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xls" ContentType="application/haansoftxls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slides/slide6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4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5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6.xml" ContentType="application/vnd.openxmlformats-officedocument.theme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theme/theme7.xml" ContentType="application/vnd.openxmlformats-officedocument.theme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8.xml" ContentType="application/vnd.openxmlformats-officedocument.theme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9.xml" ContentType="application/vnd.openxmlformats-officedocument.theme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heme/theme10.xml" ContentType="application/vnd.openxmlformats-officedocument.theme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65" r:id="rId1"/>
    <p:sldMasterId id="2147483953" r:id="rId2"/>
    <p:sldMasterId id="2147483966" r:id="rId3"/>
    <p:sldMasterId id="2147483994" r:id="rId4"/>
    <p:sldMasterId id="2147484006" r:id="rId5"/>
    <p:sldMasterId id="2147484035" r:id="rId6"/>
    <p:sldMasterId id="2147484051" r:id="rId7"/>
    <p:sldMasterId id="2147484060" r:id="rId8"/>
    <p:sldMasterId id="2147484078" r:id="rId9"/>
    <p:sldMasterId id="2147484087" r:id="rId10"/>
    <p:sldMasterId id="2147484096" r:id="rId11"/>
  </p:sldMasterIdLst>
  <p:notesMasterIdLst>
    <p:notesMasterId r:id="rId81"/>
  </p:notesMasterIdLst>
  <p:handoutMasterIdLst>
    <p:handoutMasterId r:id="rId82"/>
  </p:handoutMasterIdLst>
  <p:sldIdLst>
    <p:sldId id="888" r:id="rId12"/>
    <p:sldId id="633" r:id="rId13"/>
    <p:sldId id="631" r:id="rId14"/>
    <p:sldId id="930" r:id="rId15"/>
    <p:sldId id="931" r:id="rId16"/>
    <p:sldId id="788" r:id="rId17"/>
    <p:sldId id="789" r:id="rId18"/>
    <p:sldId id="932" r:id="rId19"/>
    <p:sldId id="790" r:id="rId20"/>
    <p:sldId id="846" r:id="rId21"/>
    <p:sldId id="793" r:id="rId22"/>
    <p:sldId id="918" r:id="rId23"/>
    <p:sldId id="794" r:id="rId24"/>
    <p:sldId id="795" r:id="rId25"/>
    <p:sldId id="797" r:id="rId26"/>
    <p:sldId id="798" r:id="rId27"/>
    <p:sldId id="800" r:id="rId28"/>
    <p:sldId id="915" r:id="rId29"/>
    <p:sldId id="801" r:id="rId30"/>
    <p:sldId id="867" r:id="rId31"/>
    <p:sldId id="916" r:id="rId32"/>
    <p:sldId id="869" r:id="rId33"/>
    <p:sldId id="870" r:id="rId34"/>
    <p:sldId id="871" r:id="rId35"/>
    <p:sldId id="872" r:id="rId36"/>
    <p:sldId id="802" r:id="rId37"/>
    <p:sldId id="873" r:id="rId38"/>
    <p:sldId id="875" r:id="rId39"/>
    <p:sldId id="876" r:id="rId40"/>
    <p:sldId id="734" r:id="rId41"/>
    <p:sldId id="735" r:id="rId42"/>
    <p:sldId id="736" r:id="rId43"/>
    <p:sldId id="814" r:id="rId44"/>
    <p:sldId id="813" r:id="rId45"/>
    <p:sldId id="815" r:id="rId46"/>
    <p:sldId id="903" r:id="rId47"/>
    <p:sldId id="739" r:id="rId48"/>
    <p:sldId id="817" r:id="rId49"/>
    <p:sldId id="834" r:id="rId50"/>
    <p:sldId id="881" r:id="rId51"/>
    <p:sldId id="919" r:id="rId52"/>
    <p:sldId id="821" r:id="rId53"/>
    <p:sldId id="822" r:id="rId54"/>
    <p:sldId id="824" r:id="rId55"/>
    <p:sldId id="920" r:id="rId56"/>
    <p:sldId id="823" r:id="rId57"/>
    <p:sldId id="838" r:id="rId58"/>
    <p:sldId id="880" r:id="rId59"/>
    <p:sldId id="847" r:id="rId60"/>
    <p:sldId id="848" r:id="rId61"/>
    <p:sldId id="745" r:id="rId62"/>
    <p:sldId id="752" r:id="rId63"/>
    <p:sldId id="829" r:id="rId64"/>
    <p:sldId id="830" r:id="rId65"/>
    <p:sldId id="831" r:id="rId66"/>
    <p:sldId id="832" r:id="rId67"/>
    <p:sldId id="833" r:id="rId68"/>
    <p:sldId id="945" r:id="rId69"/>
    <p:sldId id="933" r:id="rId70"/>
    <p:sldId id="937" r:id="rId71"/>
    <p:sldId id="936" r:id="rId72"/>
    <p:sldId id="935" r:id="rId73"/>
    <p:sldId id="941" r:id="rId74"/>
    <p:sldId id="940" r:id="rId75"/>
    <p:sldId id="942" r:id="rId76"/>
    <p:sldId id="939" r:id="rId77"/>
    <p:sldId id="938" r:id="rId78"/>
    <p:sldId id="943" r:id="rId79"/>
    <p:sldId id="929" r:id="rId80"/>
  </p:sldIdLst>
  <p:sldSz cx="10693400" cy="7561263"/>
  <p:notesSz cx="6797675" cy="9874250"/>
  <p:custDataLst>
    <p:tags r:id="rId83"/>
  </p:custDataLst>
  <p:defaultTextStyle>
    <a:defPPr>
      <a:defRPr lang="en-US"/>
    </a:defPPr>
    <a:lvl1pPr algn="l" rtl="0" fontAlgn="base" latinLnBrk="1">
      <a:spcBef>
        <a:spcPct val="0"/>
      </a:spcBef>
      <a:spcAft>
        <a:spcPct val="0"/>
      </a:spcAft>
      <a:defRPr kumimoji="1" sz="800" kern="1200">
        <a:solidFill>
          <a:schemeClr val="tx1"/>
        </a:solidFill>
        <a:latin typeface="Trebuchet MS" pitchFamily="34" charset="0"/>
        <a:ea typeface="굴림" pitchFamily="50" charset="-127"/>
        <a:cs typeface="+mn-cs"/>
      </a:defRPr>
    </a:lvl1pPr>
    <a:lvl2pPr marL="494698" indent="-39509" algn="l" rtl="0" fontAlgn="base" latinLnBrk="1">
      <a:spcBef>
        <a:spcPct val="0"/>
      </a:spcBef>
      <a:spcAft>
        <a:spcPct val="0"/>
      </a:spcAft>
      <a:defRPr kumimoji="1" sz="800" kern="1200">
        <a:solidFill>
          <a:schemeClr val="tx1"/>
        </a:solidFill>
        <a:latin typeface="Trebuchet MS" pitchFamily="34" charset="0"/>
        <a:ea typeface="굴림" pitchFamily="50" charset="-127"/>
        <a:cs typeface="+mn-cs"/>
      </a:defRPr>
    </a:lvl2pPr>
    <a:lvl3pPr marL="990982" indent="-80606" algn="l" rtl="0" fontAlgn="base" latinLnBrk="1">
      <a:spcBef>
        <a:spcPct val="0"/>
      </a:spcBef>
      <a:spcAft>
        <a:spcPct val="0"/>
      </a:spcAft>
      <a:defRPr kumimoji="1" sz="800" kern="1200">
        <a:solidFill>
          <a:schemeClr val="tx1"/>
        </a:solidFill>
        <a:latin typeface="Trebuchet MS" pitchFamily="34" charset="0"/>
        <a:ea typeface="굴림" pitchFamily="50" charset="-127"/>
        <a:cs typeface="+mn-cs"/>
      </a:defRPr>
    </a:lvl3pPr>
    <a:lvl4pPr marL="1485682" indent="-120119" algn="l" rtl="0" fontAlgn="base" latinLnBrk="1">
      <a:spcBef>
        <a:spcPct val="0"/>
      </a:spcBef>
      <a:spcAft>
        <a:spcPct val="0"/>
      </a:spcAft>
      <a:defRPr kumimoji="1" sz="800" kern="1200">
        <a:solidFill>
          <a:schemeClr val="tx1"/>
        </a:solidFill>
        <a:latin typeface="Trebuchet MS" pitchFamily="34" charset="0"/>
        <a:ea typeface="굴림" pitchFamily="50" charset="-127"/>
        <a:cs typeface="+mn-cs"/>
      </a:defRPr>
    </a:lvl4pPr>
    <a:lvl5pPr marL="1981961" indent="-161212" algn="l" rtl="0" fontAlgn="base" latinLnBrk="1">
      <a:spcBef>
        <a:spcPct val="0"/>
      </a:spcBef>
      <a:spcAft>
        <a:spcPct val="0"/>
      </a:spcAft>
      <a:defRPr kumimoji="1" sz="800" kern="1200">
        <a:solidFill>
          <a:schemeClr val="tx1"/>
        </a:solidFill>
        <a:latin typeface="Trebuchet MS" pitchFamily="34" charset="0"/>
        <a:ea typeface="굴림" pitchFamily="50" charset="-127"/>
        <a:cs typeface="+mn-cs"/>
      </a:defRPr>
    </a:lvl5pPr>
    <a:lvl6pPr marL="2275939" algn="l" defTabSz="910365" rtl="0" eaLnBrk="1" latinLnBrk="1" hangingPunct="1">
      <a:defRPr kumimoji="1" sz="800" kern="1200">
        <a:solidFill>
          <a:schemeClr val="tx1"/>
        </a:solidFill>
        <a:latin typeface="Trebuchet MS" pitchFamily="34" charset="0"/>
        <a:ea typeface="굴림" pitchFamily="50" charset="-127"/>
        <a:cs typeface="+mn-cs"/>
      </a:defRPr>
    </a:lvl6pPr>
    <a:lvl7pPr marL="2731126" algn="l" defTabSz="910365" rtl="0" eaLnBrk="1" latinLnBrk="1" hangingPunct="1">
      <a:defRPr kumimoji="1" sz="800" kern="1200">
        <a:solidFill>
          <a:schemeClr val="tx1"/>
        </a:solidFill>
        <a:latin typeface="Trebuchet MS" pitchFamily="34" charset="0"/>
        <a:ea typeface="굴림" pitchFamily="50" charset="-127"/>
        <a:cs typeface="+mn-cs"/>
      </a:defRPr>
    </a:lvl7pPr>
    <a:lvl8pPr marL="3186313" algn="l" defTabSz="910365" rtl="0" eaLnBrk="1" latinLnBrk="1" hangingPunct="1">
      <a:defRPr kumimoji="1" sz="800" kern="1200">
        <a:solidFill>
          <a:schemeClr val="tx1"/>
        </a:solidFill>
        <a:latin typeface="Trebuchet MS" pitchFamily="34" charset="0"/>
        <a:ea typeface="굴림" pitchFamily="50" charset="-127"/>
        <a:cs typeface="+mn-cs"/>
      </a:defRPr>
    </a:lvl8pPr>
    <a:lvl9pPr marL="3641500" algn="l" defTabSz="910365" rtl="0" eaLnBrk="1" latinLnBrk="1" hangingPunct="1">
      <a:defRPr kumimoji="1" sz="800" kern="1200">
        <a:solidFill>
          <a:schemeClr val="tx1"/>
        </a:solidFill>
        <a:latin typeface="Trebuchet MS" pitchFamily="34" charset="0"/>
        <a:ea typeface="굴림" pitchFamily="50" charset="-127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413">
          <p15:clr>
            <a:srgbClr val="A4A3A4"/>
          </p15:clr>
        </p15:guide>
        <p15:guide id="2" orient="horz" pos="412">
          <p15:clr>
            <a:srgbClr val="A4A3A4"/>
          </p15:clr>
        </p15:guide>
        <p15:guide id="3" orient="horz" pos="694">
          <p15:clr>
            <a:srgbClr val="A4A3A4"/>
          </p15:clr>
        </p15:guide>
        <p15:guide id="4" pos="461">
          <p15:clr>
            <a:srgbClr val="A4A3A4"/>
          </p15:clr>
        </p15:guide>
        <p15:guide id="5" pos="6428">
          <p15:clr>
            <a:srgbClr val="A4A3A4"/>
          </p15:clr>
        </p15:guide>
        <p15:guide id="6" pos="308">
          <p15:clr>
            <a:srgbClr val="A4A3A4"/>
          </p15:clr>
        </p15:guide>
        <p15:guide id="7" pos="73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99"/>
    <a:srgbClr val="0000FF"/>
    <a:srgbClr val="FF0000"/>
    <a:srgbClr val="FFFF00"/>
    <a:srgbClr val="008000"/>
    <a:srgbClr val="0033CC"/>
    <a:srgbClr val="0594FF"/>
    <a:srgbClr val="1D9EFF"/>
    <a:srgbClr val="726D68"/>
    <a:srgbClr val="FF99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보통 스타일 2 - 강조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보통 스타일 2 - 강조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보통 스타일 2 - 강조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스타일 없음, 눈금 없음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031" autoAdjust="0"/>
    <p:restoredTop sz="99869" autoAdjust="0"/>
  </p:normalViewPr>
  <p:slideViewPr>
    <p:cSldViewPr snapToObjects="1">
      <p:cViewPr varScale="1">
        <p:scale>
          <a:sx n="71" d="100"/>
          <a:sy n="71" d="100"/>
        </p:scale>
        <p:origin x="1260" y="66"/>
      </p:cViewPr>
      <p:guideLst>
        <p:guide orient="horz" pos="4413"/>
        <p:guide orient="horz" pos="412"/>
        <p:guide orient="horz" pos="694"/>
        <p:guide pos="461"/>
        <p:guide pos="6428"/>
        <p:guide pos="308"/>
        <p:guide pos="737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5" d="100"/>
        <a:sy n="25" d="100"/>
      </p:scale>
      <p:origin x="0" y="0"/>
    </p:cViewPr>
  </p:sorterViewPr>
  <p:notesViewPr>
    <p:cSldViewPr snapToObjects="1">
      <p:cViewPr varScale="1">
        <p:scale>
          <a:sx n="81" d="100"/>
          <a:sy n="81" d="100"/>
        </p:scale>
        <p:origin x="-4020" y="-84"/>
      </p:cViewPr>
      <p:guideLst>
        <p:guide orient="horz" pos="3110"/>
        <p:guide pos="2141"/>
      </p:guideLst>
    </p:cSldViewPr>
  </p:notesViewPr>
  <p:gridSpacing cx="45005" cy="45005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slide" Target="slides/slide28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slide" Target="slides/slide31.xml"/><Relationship Id="rId47" Type="http://schemas.openxmlformats.org/officeDocument/2006/relationships/slide" Target="slides/slide36.xml"/><Relationship Id="rId50" Type="http://schemas.openxmlformats.org/officeDocument/2006/relationships/slide" Target="slides/slide39.xml"/><Relationship Id="rId55" Type="http://schemas.openxmlformats.org/officeDocument/2006/relationships/slide" Target="slides/slide44.xml"/><Relationship Id="rId63" Type="http://schemas.openxmlformats.org/officeDocument/2006/relationships/slide" Target="slides/slide52.xml"/><Relationship Id="rId68" Type="http://schemas.openxmlformats.org/officeDocument/2006/relationships/slide" Target="slides/slide57.xml"/><Relationship Id="rId76" Type="http://schemas.openxmlformats.org/officeDocument/2006/relationships/slide" Target="slides/slide65.xml"/><Relationship Id="rId84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60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slide" Target="slides/slide34.xml"/><Relationship Id="rId53" Type="http://schemas.openxmlformats.org/officeDocument/2006/relationships/slide" Target="slides/slide42.xml"/><Relationship Id="rId58" Type="http://schemas.openxmlformats.org/officeDocument/2006/relationships/slide" Target="slides/slide47.xml"/><Relationship Id="rId66" Type="http://schemas.openxmlformats.org/officeDocument/2006/relationships/slide" Target="slides/slide55.xml"/><Relationship Id="rId74" Type="http://schemas.openxmlformats.org/officeDocument/2006/relationships/slide" Target="slides/slide63.xml"/><Relationship Id="rId79" Type="http://schemas.openxmlformats.org/officeDocument/2006/relationships/slide" Target="slides/slide68.xml"/><Relationship Id="rId87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50.xml"/><Relationship Id="rId82" Type="http://schemas.openxmlformats.org/officeDocument/2006/relationships/handoutMaster" Target="handoutMasters/handoutMaster1.xml"/><Relationship Id="rId19" Type="http://schemas.openxmlformats.org/officeDocument/2006/relationships/slide" Target="slides/slide8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slide" Target="slides/slide32.xml"/><Relationship Id="rId48" Type="http://schemas.openxmlformats.org/officeDocument/2006/relationships/slide" Target="slides/slide37.xml"/><Relationship Id="rId56" Type="http://schemas.openxmlformats.org/officeDocument/2006/relationships/slide" Target="slides/slide45.xml"/><Relationship Id="rId64" Type="http://schemas.openxmlformats.org/officeDocument/2006/relationships/slide" Target="slides/slide53.xml"/><Relationship Id="rId69" Type="http://schemas.openxmlformats.org/officeDocument/2006/relationships/slide" Target="slides/slide58.xml"/><Relationship Id="rId77" Type="http://schemas.openxmlformats.org/officeDocument/2006/relationships/slide" Target="slides/slide66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40.xml"/><Relationship Id="rId72" Type="http://schemas.openxmlformats.org/officeDocument/2006/relationships/slide" Target="slides/slide61.xml"/><Relationship Id="rId80" Type="http://schemas.openxmlformats.org/officeDocument/2006/relationships/slide" Target="slides/slide69.xml"/><Relationship Id="rId85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slide" Target="slides/slide35.xml"/><Relationship Id="rId59" Type="http://schemas.openxmlformats.org/officeDocument/2006/relationships/slide" Target="slides/slide48.xml"/><Relationship Id="rId67" Type="http://schemas.openxmlformats.org/officeDocument/2006/relationships/slide" Target="slides/slide56.xml"/><Relationship Id="rId20" Type="http://schemas.openxmlformats.org/officeDocument/2006/relationships/slide" Target="slides/slide9.xml"/><Relationship Id="rId41" Type="http://schemas.openxmlformats.org/officeDocument/2006/relationships/slide" Target="slides/slide30.xml"/><Relationship Id="rId54" Type="http://schemas.openxmlformats.org/officeDocument/2006/relationships/slide" Target="slides/slide43.xml"/><Relationship Id="rId62" Type="http://schemas.openxmlformats.org/officeDocument/2006/relationships/slide" Target="slides/slide51.xml"/><Relationship Id="rId70" Type="http://schemas.openxmlformats.org/officeDocument/2006/relationships/slide" Target="slides/slide59.xml"/><Relationship Id="rId75" Type="http://schemas.openxmlformats.org/officeDocument/2006/relationships/slide" Target="slides/slide64.xml"/><Relationship Id="rId83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49" Type="http://schemas.openxmlformats.org/officeDocument/2006/relationships/slide" Target="slides/slide38.xml"/><Relationship Id="rId57" Type="http://schemas.openxmlformats.org/officeDocument/2006/relationships/slide" Target="slides/slide46.xml"/><Relationship Id="rId10" Type="http://schemas.openxmlformats.org/officeDocument/2006/relationships/slideMaster" Target="slideMasters/slideMaster10.xml"/><Relationship Id="rId31" Type="http://schemas.openxmlformats.org/officeDocument/2006/relationships/slide" Target="slides/slide20.xml"/><Relationship Id="rId44" Type="http://schemas.openxmlformats.org/officeDocument/2006/relationships/slide" Target="slides/slide33.xml"/><Relationship Id="rId52" Type="http://schemas.openxmlformats.org/officeDocument/2006/relationships/slide" Target="slides/slide41.xml"/><Relationship Id="rId60" Type="http://schemas.openxmlformats.org/officeDocument/2006/relationships/slide" Target="slides/slide49.xml"/><Relationship Id="rId65" Type="http://schemas.openxmlformats.org/officeDocument/2006/relationships/slide" Target="slides/slide54.xml"/><Relationship Id="rId73" Type="http://schemas.openxmlformats.org/officeDocument/2006/relationships/slide" Target="slides/slide62.xml"/><Relationship Id="rId78" Type="http://schemas.openxmlformats.org/officeDocument/2006/relationships/slide" Target="slides/slide67.xml"/><Relationship Id="rId81" Type="http://schemas.openxmlformats.org/officeDocument/2006/relationships/notesMaster" Target="notesMasters/notesMaster1.xml"/><Relationship Id="rId86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5_4">
  <dgm:title val=""/>
  <dgm:desc val=""/>
  <dgm:catLst>
    <dgm:cat type="accent5" pri="11400"/>
  </dgm:catLst>
  <dgm:styleLbl name="node0">
    <dgm:fillClrLst meth="cycle">
      <a:schemeClr val="accent5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5">
        <a:shade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5">
        <a:shade val="50000"/>
      </a:schemeClr>
      <a:schemeClr val="accent5">
        <a:tint val="55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5">
        <a:shade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5">
        <a:shade val="80000"/>
        <a:alpha val="50000"/>
      </a:schemeClr>
      <a:schemeClr val="accent5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5">
        <a:shade val="90000"/>
      </a:schemeClr>
      <a:schemeClr val="accent5">
        <a:tint val="50000"/>
      </a:schemeClr>
    </dgm:fillClrLst>
    <dgm:linClrLst meth="cycle">
      <a:schemeClr val="accent5">
        <a:shade val="90000"/>
      </a:schemeClr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5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5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5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>
        <a:tint val="60000"/>
      </a:schemeClr>
    </dgm:fillClrLst>
    <dgm:linClrLst meth="repeat">
      <a:schemeClr val="accent5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5">
        <a:shade val="8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5">
        <a:tint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5">
        <a:tint val="7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5">
        <a:shade val="50000"/>
      </a:schemeClr>
      <a:schemeClr val="accent5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5">
        <a:alpha val="90000"/>
        <a:tint val="55000"/>
      </a:schemeClr>
    </dgm:fillClrLst>
    <dgm:linClrLst meth="repeat">
      <a:schemeClr val="accent5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5">
        <a:alpha val="90000"/>
        <a:tint val="55000"/>
      </a:schemeClr>
    </dgm:fillClrLst>
    <dgm:linClrLst meth="repeat">
      <a:schemeClr val="accent5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5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5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5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5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5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55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D1B6800-D68A-478F-B4F1-778A9BD0854A}" type="doc">
      <dgm:prSet loTypeId="urn:microsoft.com/office/officeart/2005/8/layout/pyramid2" loCatId="pyramid" qsTypeId="urn:microsoft.com/office/officeart/2005/8/quickstyle/3d8" qsCatId="3D" csTypeId="urn:microsoft.com/office/officeart/2005/8/colors/colorful1#1" csCatId="colorful" phldr="1"/>
      <dgm:spPr/>
    </dgm:pt>
    <dgm:pt modelId="{99405842-4294-4CAD-87FD-21FF2DB05D92}">
      <dgm:prSet phldrT="[텍스트]" custT="1"/>
      <dgm:spPr/>
      <dgm:t>
        <a:bodyPr/>
        <a:lstStyle/>
        <a:p>
          <a:pPr latinLnBrk="0"/>
          <a:r>
            <a:rPr lang="ko-KR" altLang="en-US" sz="1800" dirty="0" smtClean="0">
              <a:latin typeface="HY헤드라인M" pitchFamily="18" charset="-127"/>
              <a:ea typeface="HY헤드라인M" pitchFamily="18" charset="-127"/>
            </a:rPr>
            <a:t>집단의 유전적 개량 가치 증대</a:t>
          </a:r>
          <a:endParaRPr lang="ko-KR" altLang="en-US" sz="1800" dirty="0">
            <a:latin typeface="HY헤드라인M" pitchFamily="18" charset="-127"/>
            <a:ea typeface="HY헤드라인M" pitchFamily="18" charset="-127"/>
          </a:endParaRPr>
        </a:p>
      </dgm:t>
    </dgm:pt>
    <dgm:pt modelId="{8AE8AE5A-8B82-4F3C-A79D-DFF908553BBE}" type="parTrans" cxnId="{8B3A9114-7046-494B-91F7-3AF650F0AD64}">
      <dgm:prSet/>
      <dgm:spPr/>
      <dgm:t>
        <a:bodyPr/>
        <a:lstStyle/>
        <a:p>
          <a:pPr latinLnBrk="1"/>
          <a:endParaRPr lang="ko-KR" altLang="en-US"/>
        </a:p>
      </dgm:t>
    </dgm:pt>
    <dgm:pt modelId="{F86D9D72-0155-4E78-B988-993075E4DBCE}" type="sibTrans" cxnId="{8B3A9114-7046-494B-91F7-3AF650F0AD64}">
      <dgm:prSet/>
      <dgm:spPr/>
      <dgm:t>
        <a:bodyPr/>
        <a:lstStyle/>
        <a:p>
          <a:pPr latinLnBrk="1"/>
          <a:endParaRPr lang="ko-KR" altLang="en-US"/>
        </a:p>
      </dgm:t>
    </dgm:pt>
    <dgm:pt modelId="{1B0D7F96-4112-4CCB-8D86-EC2C660B46BB}">
      <dgm:prSet phldrT="[텍스트]" custT="1"/>
      <dgm:spPr/>
      <dgm:t>
        <a:bodyPr/>
        <a:lstStyle/>
        <a:p>
          <a:pPr latinLnBrk="0"/>
          <a:r>
            <a:rPr lang="ko-KR" altLang="en-US" sz="1800" dirty="0" smtClean="0">
              <a:latin typeface="HY헤드라인M" pitchFamily="18" charset="-127"/>
              <a:ea typeface="HY헤드라인M" pitchFamily="18" charset="-127"/>
            </a:rPr>
            <a:t>번식능력이 우수한 개체 육성</a:t>
          </a:r>
          <a:endParaRPr lang="ko-KR" altLang="en-US" sz="1800" dirty="0">
            <a:latin typeface="HY헤드라인M" pitchFamily="18" charset="-127"/>
            <a:ea typeface="HY헤드라인M" pitchFamily="18" charset="-127"/>
          </a:endParaRPr>
        </a:p>
      </dgm:t>
    </dgm:pt>
    <dgm:pt modelId="{950DD7A2-3FB5-4F92-909F-157DAFF813F7}" type="parTrans" cxnId="{29D31C93-494F-4DB7-B803-043704118D90}">
      <dgm:prSet/>
      <dgm:spPr/>
      <dgm:t>
        <a:bodyPr/>
        <a:lstStyle/>
        <a:p>
          <a:pPr latinLnBrk="1"/>
          <a:endParaRPr lang="ko-KR" altLang="en-US"/>
        </a:p>
      </dgm:t>
    </dgm:pt>
    <dgm:pt modelId="{12B06D31-27B6-4820-A126-4852906624CF}" type="sibTrans" cxnId="{29D31C93-494F-4DB7-B803-043704118D90}">
      <dgm:prSet/>
      <dgm:spPr/>
      <dgm:t>
        <a:bodyPr/>
        <a:lstStyle/>
        <a:p>
          <a:pPr latinLnBrk="1"/>
          <a:endParaRPr lang="ko-KR" altLang="en-US"/>
        </a:p>
      </dgm:t>
    </dgm:pt>
    <dgm:pt modelId="{3534AFF9-353C-4B96-964D-AC356951E3ED}">
      <dgm:prSet phldrT="[텍스트]" custT="1"/>
      <dgm:spPr/>
      <dgm:t>
        <a:bodyPr/>
        <a:lstStyle/>
        <a:p>
          <a:pPr latinLnBrk="0"/>
          <a:r>
            <a:rPr lang="ko-KR" altLang="en-US" sz="1800" dirty="0" smtClean="0">
              <a:latin typeface="HY헤드라인M" pitchFamily="18" charset="-127"/>
              <a:ea typeface="HY헤드라인M" pitchFamily="18" charset="-127"/>
            </a:rPr>
            <a:t>농가 경제가치 향상 및 수익 증대</a:t>
          </a:r>
          <a:endParaRPr lang="ko-KR" altLang="en-US" sz="1800" dirty="0">
            <a:latin typeface="HY헤드라인M" pitchFamily="18" charset="-127"/>
            <a:ea typeface="HY헤드라인M" pitchFamily="18" charset="-127"/>
          </a:endParaRPr>
        </a:p>
      </dgm:t>
    </dgm:pt>
    <dgm:pt modelId="{22486E0D-B039-4E3F-B832-A4C8F91AE943}" type="parTrans" cxnId="{5D1CD7F6-F552-4557-BE48-F10F8ADF6DE9}">
      <dgm:prSet/>
      <dgm:spPr/>
      <dgm:t>
        <a:bodyPr/>
        <a:lstStyle/>
        <a:p>
          <a:pPr latinLnBrk="1"/>
          <a:endParaRPr lang="ko-KR" altLang="en-US"/>
        </a:p>
      </dgm:t>
    </dgm:pt>
    <dgm:pt modelId="{7339C3F7-5E39-48EF-938F-A1A85D00C0D3}" type="sibTrans" cxnId="{5D1CD7F6-F552-4557-BE48-F10F8ADF6DE9}">
      <dgm:prSet/>
      <dgm:spPr/>
      <dgm:t>
        <a:bodyPr/>
        <a:lstStyle/>
        <a:p>
          <a:pPr latinLnBrk="1"/>
          <a:endParaRPr lang="ko-KR" altLang="en-US"/>
        </a:p>
      </dgm:t>
    </dgm:pt>
    <dgm:pt modelId="{03FEEA5E-5649-4037-B1F6-C42194C77CBF}" type="pres">
      <dgm:prSet presAssocID="{BD1B6800-D68A-478F-B4F1-778A9BD0854A}" presName="compositeShape" presStyleCnt="0">
        <dgm:presLayoutVars>
          <dgm:dir val="rev"/>
          <dgm:resizeHandles/>
        </dgm:presLayoutVars>
      </dgm:prSet>
      <dgm:spPr/>
    </dgm:pt>
    <dgm:pt modelId="{B700FAA0-A5DD-428F-88E0-F2B814834EF6}" type="pres">
      <dgm:prSet presAssocID="{BD1B6800-D68A-478F-B4F1-778A9BD0854A}" presName="pyramid" presStyleLbl="node1" presStyleIdx="0" presStyleCnt="1" custLinFactNeighborX="9917" custLinFactNeighborY="-10909"/>
      <dgm:spPr>
        <a:prstGeom prst="upArrow">
          <a:avLst/>
        </a:prstGeom>
      </dgm:spPr>
    </dgm:pt>
    <dgm:pt modelId="{EF1CD696-89B2-4237-8E84-89C839487016}" type="pres">
      <dgm:prSet presAssocID="{BD1B6800-D68A-478F-B4F1-778A9BD0854A}" presName="theList" presStyleCnt="0"/>
      <dgm:spPr/>
    </dgm:pt>
    <dgm:pt modelId="{BA4A70DD-39CC-4E2B-A7E8-89B97DF2ED7F}" type="pres">
      <dgm:prSet presAssocID="{99405842-4294-4CAD-87FD-21FF2DB05D92}" presName="aNode" presStyleLbl="fgAcc1" presStyleIdx="0" presStyleCnt="3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4630497D-D5A0-423F-92A8-275E6763EA2A}" type="pres">
      <dgm:prSet presAssocID="{99405842-4294-4CAD-87FD-21FF2DB05D92}" presName="aSpace" presStyleCnt="0"/>
      <dgm:spPr/>
    </dgm:pt>
    <dgm:pt modelId="{7F7BEE8C-C044-4D9E-A3AB-A199A51D278F}" type="pres">
      <dgm:prSet presAssocID="{1B0D7F96-4112-4CCB-8D86-EC2C660B46BB}" presName="aNode" presStyleLbl="fgAcc1" presStyleIdx="1" presStyleCnt="3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E1529037-4EE5-48DB-83D1-28511680BAD0}" type="pres">
      <dgm:prSet presAssocID="{1B0D7F96-4112-4CCB-8D86-EC2C660B46BB}" presName="aSpace" presStyleCnt="0"/>
      <dgm:spPr/>
    </dgm:pt>
    <dgm:pt modelId="{2F58CB89-819F-4BCD-B5C2-DA0E07ACC988}" type="pres">
      <dgm:prSet presAssocID="{3534AFF9-353C-4B96-964D-AC356951E3ED}" presName="aNode" presStyleLbl="fgAcc1" presStyleIdx="2" presStyleCnt="3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92B09795-2C86-45B4-881D-2083D2CCB617}" type="pres">
      <dgm:prSet presAssocID="{3534AFF9-353C-4B96-964D-AC356951E3ED}" presName="aSpace" presStyleCnt="0"/>
      <dgm:spPr/>
    </dgm:pt>
  </dgm:ptLst>
  <dgm:cxnLst>
    <dgm:cxn modelId="{5CEDC57D-9F94-4949-804A-AEE0B3DFEBC4}" type="presOf" srcId="{1B0D7F96-4112-4CCB-8D86-EC2C660B46BB}" destId="{7F7BEE8C-C044-4D9E-A3AB-A199A51D278F}" srcOrd="0" destOrd="0" presId="urn:microsoft.com/office/officeart/2005/8/layout/pyramid2"/>
    <dgm:cxn modelId="{018EA7E4-2E03-43D8-B840-BF84CA0DF105}" type="presOf" srcId="{BD1B6800-D68A-478F-B4F1-778A9BD0854A}" destId="{03FEEA5E-5649-4037-B1F6-C42194C77CBF}" srcOrd="0" destOrd="0" presId="urn:microsoft.com/office/officeart/2005/8/layout/pyramid2"/>
    <dgm:cxn modelId="{52E3B62A-B32C-44D0-B153-4FFD8AE3B687}" type="presOf" srcId="{99405842-4294-4CAD-87FD-21FF2DB05D92}" destId="{BA4A70DD-39CC-4E2B-A7E8-89B97DF2ED7F}" srcOrd="0" destOrd="0" presId="urn:microsoft.com/office/officeart/2005/8/layout/pyramid2"/>
    <dgm:cxn modelId="{29D31C93-494F-4DB7-B803-043704118D90}" srcId="{BD1B6800-D68A-478F-B4F1-778A9BD0854A}" destId="{1B0D7F96-4112-4CCB-8D86-EC2C660B46BB}" srcOrd="1" destOrd="0" parTransId="{950DD7A2-3FB5-4F92-909F-157DAFF813F7}" sibTransId="{12B06D31-27B6-4820-A126-4852906624CF}"/>
    <dgm:cxn modelId="{8B3A9114-7046-494B-91F7-3AF650F0AD64}" srcId="{BD1B6800-D68A-478F-B4F1-778A9BD0854A}" destId="{99405842-4294-4CAD-87FD-21FF2DB05D92}" srcOrd="0" destOrd="0" parTransId="{8AE8AE5A-8B82-4F3C-A79D-DFF908553BBE}" sibTransId="{F86D9D72-0155-4E78-B988-993075E4DBCE}"/>
    <dgm:cxn modelId="{7BBFD1B2-4C18-4487-833C-CAD1C3B5ADC0}" type="presOf" srcId="{3534AFF9-353C-4B96-964D-AC356951E3ED}" destId="{2F58CB89-819F-4BCD-B5C2-DA0E07ACC988}" srcOrd="0" destOrd="0" presId="urn:microsoft.com/office/officeart/2005/8/layout/pyramid2"/>
    <dgm:cxn modelId="{5D1CD7F6-F552-4557-BE48-F10F8ADF6DE9}" srcId="{BD1B6800-D68A-478F-B4F1-778A9BD0854A}" destId="{3534AFF9-353C-4B96-964D-AC356951E3ED}" srcOrd="2" destOrd="0" parTransId="{22486E0D-B039-4E3F-B832-A4C8F91AE943}" sibTransId="{7339C3F7-5E39-48EF-938F-A1A85D00C0D3}"/>
    <dgm:cxn modelId="{0B4B65B7-01E9-4571-9255-A0C7BBABA0DC}" type="presParOf" srcId="{03FEEA5E-5649-4037-B1F6-C42194C77CBF}" destId="{B700FAA0-A5DD-428F-88E0-F2B814834EF6}" srcOrd="0" destOrd="0" presId="urn:microsoft.com/office/officeart/2005/8/layout/pyramid2"/>
    <dgm:cxn modelId="{486B25D5-DFB7-40B7-8525-F5F93602BA59}" type="presParOf" srcId="{03FEEA5E-5649-4037-B1F6-C42194C77CBF}" destId="{EF1CD696-89B2-4237-8E84-89C839487016}" srcOrd="1" destOrd="0" presId="urn:microsoft.com/office/officeart/2005/8/layout/pyramid2"/>
    <dgm:cxn modelId="{9ECAC209-2B77-46C3-9DEB-45120F14C81D}" type="presParOf" srcId="{EF1CD696-89B2-4237-8E84-89C839487016}" destId="{BA4A70DD-39CC-4E2B-A7E8-89B97DF2ED7F}" srcOrd="0" destOrd="0" presId="urn:microsoft.com/office/officeart/2005/8/layout/pyramid2"/>
    <dgm:cxn modelId="{7D0423BE-C2D4-4F35-8AF2-94B918DD5CC5}" type="presParOf" srcId="{EF1CD696-89B2-4237-8E84-89C839487016}" destId="{4630497D-D5A0-423F-92A8-275E6763EA2A}" srcOrd="1" destOrd="0" presId="urn:microsoft.com/office/officeart/2005/8/layout/pyramid2"/>
    <dgm:cxn modelId="{F941CEC8-5C07-4DE9-A396-A520C3EF61C9}" type="presParOf" srcId="{EF1CD696-89B2-4237-8E84-89C839487016}" destId="{7F7BEE8C-C044-4D9E-A3AB-A199A51D278F}" srcOrd="2" destOrd="0" presId="urn:microsoft.com/office/officeart/2005/8/layout/pyramid2"/>
    <dgm:cxn modelId="{47AF2CA8-DE7E-4713-9585-941C2D152AD4}" type="presParOf" srcId="{EF1CD696-89B2-4237-8E84-89C839487016}" destId="{E1529037-4EE5-48DB-83D1-28511680BAD0}" srcOrd="3" destOrd="0" presId="urn:microsoft.com/office/officeart/2005/8/layout/pyramid2"/>
    <dgm:cxn modelId="{2A29EE63-EF49-4B03-92BD-84C36843FFA9}" type="presParOf" srcId="{EF1CD696-89B2-4237-8E84-89C839487016}" destId="{2F58CB89-819F-4BCD-B5C2-DA0E07ACC988}" srcOrd="4" destOrd="0" presId="urn:microsoft.com/office/officeart/2005/8/layout/pyramid2"/>
    <dgm:cxn modelId="{0867BFFC-1D7A-4F18-ADAD-3DB510D6943C}" type="presParOf" srcId="{EF1CD696-89B2-4237-8E84-89C839487016}" destId="{92B09795-2C86-45B4-881D-2083D2CCB617}" srcOrd="5" destOrd="0" presId="urn:microsoft.com/office/officeart/2005/8/layout/pyramid2"/>
  </dgm:cxnLst>
  <dgm:bg>
    <a:effectLst>
      <a:outerShdw blurRad="152400" dist="317500" dir="5400000" sx="90000" sy="-19000" rotWithShape="0">
        <a:prstClr val="black">
          <a:alpha val="15000"/>
        </a:prstClr>
      </a:outerShdw>
    </a:effectLst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BD1B6800-D68A-478F-B4F1-778A9BD0854A}" type="doc">
      <dgm:prSet loTypeId="urn:microsoft.com/office/officeart/2005/8/layout/pyramid2" loCatId="pyramid" qsTypeId="urn:microsoft.com/office/officeart/2005/8/quickstyle/3d8" qsCatId="3D" csTypeId="urn:microsoft.com/office/officeart/2005/8/colors/accent5_4" csCatId="accent5" phldr="1"/>
      <dgm:spPr/>
    </dgm:pt>
    <dgm:pt modelId="{99405842-4294-4CAD-87FD-21FF2DB05D92}">
      <dgm:prSet phldrT="[텍스트]" custT="1"/>
      <dgm:spPr/>
      <dgm:t>
        <a:bodyPr/>
        <a:lstStyle/>
        <a:p>
          <a:pPr latinLnBrk="0"/>
          <a:r>
            <a:rPr lang="ko-KR" altLang="en-US" sz="1800" dirty="0" smtClean="0">
              <a:latin typeface="HY헤드라인M" pitchFamily="18" charset="-127"/>
              <a:ea typeface="HY헤드라인M" pitchFamily="18" charset="-127"/>
            </a:rPr>
            <a:t>유전적 불량형질 보유 개체 도태</a:t>
          </a:r>
          <a:endParaRPr lang="ko-KR" altLang="en-US" sz="1800" dirty="0">
            <a:latin typeface="HY헤드라인M" pitchFamily="18" charset="-127"/>
            <a:ea typeface="HY헤드라인M" pitchFamily="18" charset="-127"/>
          </a:endParaRPr>
        </a:p>
      </dgm:t>
    </dgm:pt>
    <dgm:pt modelId="{8AE8AE5A-8B82-4F3C-A79D-DFF908553BBE}" type="parTrans" cxnId="{8B3A9114-7046-494B-91F7-3AF650F0AD64}">
      <dgm:prSet/>
      <dgm:spPr/>
      <dgm:t>
        <a:bodyPr/>
        <a:lstStyle/>
        <a:p>
          <a:pPr latinLnBrk="1"/>
          <a:endParaRPr lang="ko-KR" altLang="en-US"/>
        </a:p>
      </dgm:t>
    </dgm:pt>
    <dgm:pt modelId="{F86D9D72-0155-4E78-B988-993075E4DBCE}" type="sibTrans" cxnId="{8B3A9114-7046-494B-91F7-3AF650F0AD64}">
      <dgm:prSet/>
      <dgm:spPr/>
      <dgm:t>
        <a:bodyPr/>
        <a:lstStyle/>
        <a:p>
          <a:pPr latinLnBrk="1"/>
          <a:endParaRPr lang="ko-KR" altLang="en-US"/>
        </a:p>
      </dgm:t>
    </dgm:pt>
    <dgm:pt modelId="{1B0D7F96-4112-4CCB-8D86-EC2C660B46BB}">
      <dgm:prSet phldrT="[텍스트]" custT="1"/>
      <dgm:spPr/>
      <dgm:t>
        <a:bodyPr/>
        <a:lstStyle/>
        <a:p>
          <a:pPr latinLnBrk="0"/>
          <a:r>
            <a:rPr lang="ko-KR" altLang="en-US" sz="1800" dirty="0" err="1" smtClean="0">
              <a:latin typeface="HY헤드라인M" pitchFamily="18" charset="-127"/>
              <a:ea typeface="HY헤드라인M" pitchFamily="18" charset="-127"/>
            </a:rPr>
            <a:t>저능력우</a:t>
          </a:r>
          <a:r>
            <a:rPr lang="ko-KR" altLang="en-US" sz="1800" dirty="0" smtClean="0">
              <a:latin typeface="HY헤드라인M" pitchFamily="18" charset="-127"/>
              <a:ea typeface="HY헤드라인M" pitchFamily="18" charset="-127"/>
            </a:rPr>
            <a:t> 생산 비율 감소</a:t>
          </a:r>
          <a:endParaRPr lang="ko-KR" altLang="en-US" sz="1800" dirty="0">
            <a:latin typeface="HY헤드라인M" pitchFamily="18" charset="-127"/>
            <a:ea typeface="HY헤드라인M" pitchFamily="18" charset="-127"/>
          </a:endParaRPr>
        </a:p>
      </dgm:t>
    </dgm:pt>
    <dgm:pt modelId="{950DD7A2-3FB5-4F92-909F-157DAFF813F7}" type="parTrans" cxnId="{29D31C93-494F-4DB7-B803-043704118D90}">
      <dgm:prSet/>
      <dgm:spPr/>
      <dgm:t>
        <a:bodyPr/>
        <a:lstStyle/>
        <a:p>
          <a:pPr latinLnBrk="1"/>
          <a:endParaRPr lang="ko-KR" altLang="en-US"/>
        </a:p>
      </dgm:t>
    </dgm:pt>
    <dgm:pt modelId="{12B06D31-27B6-4820-A126-4852906624CF}" type="sibTrans" cxnId="{29D31C93-494F-4DB7-B803-043704118D90}">
      <dgm:prSet/>
      <dgm:spPr/>
      <dgm:t>
        <a:bodyPr/>
        <a:lstStyle/>
        <a:p>
          <a:pPr latinLnBrk="1"/>
          <a:endParaRPr lang="ko-KR" altLang="en-US"/>
        </a:p>
      </dgm:t>
    </dgm:pt>
    <dgm:pt modelId="{3534AFF9-353C-4B96-964D-AC356951E3ED}">
      <dgm:prSet phldrT="[텍스트]" custT="1"/>
      <dgm:spPr/>
      <dgm:t>
        <a:bodyPr/>
        <a:lstStyle/>
        <a:p>
          <a:pPr latinLnBrk="1"/>
          <a:r>
            <a:rPr lang="ko-KR" altLang="en-US" sz="1800" dirty="0" smtClean="0">
              <a:latin typeface="HY헤드라인M" pitchFamily="18" charset="-127"/>
              <a:ea typeface="HY헤드라인M" pitchFamily="18" charset="-127"/>
            </a:rPr>
            <a:t>생산비</a:t>
          </a:r>
          <a:r>
            <a:rPr lang="en-US" altLang="ko-KR" sz="1800" dirty="0" smtClean="0">
              <a:latin typeface="HY헤드라인M" pitchFamily="18" charset="-127"/>
              <a:ea typeface="HY헤드라인M" pitchFamily="18" charset="-127"/>
            </a:rPr>
            <a:t>, </a:t>
          </a:r>
          <a:r>
            <a:rPr lang="ko-KR" altLang="en-US" sz="1800" dirty="0" smtClean="0">
              <a:latin typeface="HY헤드라인M" pitchFamily="18" charset="-127"/>
              <a:ea typeface="HY헤드라인M" pitchFamily="18" charset="-127"/>
            </a:rPr>
            <a:t>경영비 등 </a:t>
          </a:r>
          <a:endParaRPr lang="en-US" altLang="ko-KR" sz="1800" dirty="0" smtClean="0">
            <a:latin typeface="HY헤드라인M" pitchFamily="18" charset="-127"/>
            <a:ea typeface="HY헤드라인M" pitchFamily="18" charset="-127"/>
          </a:endParaRPr>
        </a:p>
        <a:p>
          <a:pPr latinLnBrk="1"/>
          <a:r>
            <a:rPr lang="ko-KR" altLang="en-US" sz="1800" dirty="0" smtClean="0">
              <a:latin typeface="HY헤드라인M" pitchFamily="18" charset="-127"/>
              <a:ea typeface="HY헤드라인M" pitchFamily="18" charset="-127"/>
            </a:rPr>
            <a:t>경제비용 절감</a:t>
          </a:r>
          <a:endParaRPr lang="ko-KR" altLang="en-US" sz="1800" dirty="0">
            <a:latin typeface="HY헤드라인M" pitchFamily="18" charset="-127"/>
            <a:ea typeface="HY헤드라인M" pitchFamily="18" charset="-127"/>
          </a:endParaRPr>
        </a:p>
      </dgm:t>
    </dgm:pt>
    <dgm:pt modelId="{22486E0D-B039-4E3F-B832-A4C8F91AE943}" type="parTrans" cxnId="{5D1CD7F6-F552-4557-BE48-F10F8ADF6DE9}">
      <dgm:prSet/>
      <dgm:spPr/>
      <dgm:t>
        <a:bodyPr/>
        <a:lstStyle/>
        <a:p>
          <a:pPr latinLnBrk="1"/>
          <a:endParaRPr lang="ko-KR" altLang="en-US"/>
        </a:p>
      </dgm:t>
    </dgm:pt>
    <dgm:pt modelId="{7339C3F7-5E39-48EF-938F-A1A85D00C0D3}" type="sibTrans" cxnId="{5D1CD7F6-F552-4557-BE48-F10F8ADF6DE9}">
      <dgm:prSet/>
      <dgm:spPr/>
      <dgm:t>
        <a:bodyPr/>
        <a:lstStyle/>
        <a:p>
          <a:pPr latinLnBrk="1"/>
          <a:endParaRPr lang="ko-KR" altLang="en-US"/>
        </a:p>
      </dgm:t>
    </dgm:pt>
    <dgm:pt modelId="{03FEEA5E-5649-4037-B1F6-C42194C77CBF}" type="pres">
      <dgm:prSet presAssocID="{BD1B6800-D68A-478F-B4F1-778A9BD0854A}" presName="compositeShape" presStyleCnt="0">
        <dgm:presLayoutVars>
          <dgm:dir/>
          <dgm:resizeHandles/>
        </dgm:presLayoutVars>
      </dgm:prSet>
      <dgm:spPr/>
    </dgm:pt>
    <dgm:pt modelId="{B700FAA0-A5DD-428F-88E0-F2B814834EF6}" type="pres">
      <dgm:prSet presAssocID="{BD1B6800-D68A-478F-B4F1-778A9BD0854A}" presName="pyramid" presStyleLbl="node1" presStyleIdx="0" presStyleCnt="1" custLinFactNeighborY="1786"/>
      <dgm:spPr>
        <a:prstGeom prst="downArrow">
          <a:avLst/>
        </a:prstGeom>
      </dgm:spPr>
    </dgm:pt>
    <dgm:pt modelId="{EF1CD696-89B2-4237-8E84-89C839487016}" type="pres">
      <dgm:prSet presAssocID="{BD1B6800-D68A-478F-B4F1-778A9BD0854A}" presName="theList" presStyleCnt="0"/>
      <dgm:spPr/>
    </dgm:pt>
    <dgm:pt modelId="{BA4A70DD-39CC-4E2B-A7E8-89B97DF2ED7F}" type="pres">
      <dgm:prSet presAssocID="{99405842-4294-4CAD-87FD-21FF2DB05D92}" presName="aNode" presStyleLbl="fgAcc1" presStyleIdx="0" presStyleCnt="3" custLinFactY="-11674" custLinFactNeighborX="-663" custLinFactNeighborY="-100000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4630497D-D5A0-423F-92A8-275E6763EA2A}" type="pres">
      <dgm:prSet presAssocID="{99405842-4294-4CAD-87FD-21FF2DB05D92}" presName="aSpace" presStyleCnt="0"/>
      <dgm:spPr/>
    </dgm:pt>
    <dgm:pt modelId="{7F7BEE8C-C044-4D9E-A3AB-A199A51D278F}" type="pres">
      <dgm:prSet presAssocID="{1B0D7F96-4112-4CCB-8D86-EC2C660B46BB}" presName="aNode" presStyleLbl="fgAcc1" presStyleIdx="1" presStyleCnt="3" custLinFactY="-11674" custLinFactNeighborX="-663" custLinFactNeighborY="-100000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E1529037-4EE5-48DB-83D1-28511680BAD0}" type="pres">
      <dgm:prSet presAssocID="{1B0D7F96-4112-4CCB-8D86-EC2C660B46BB}" presName="aSpace" presStyleCnt="0"/>
      <dgm:spPr/>
    </dgm:pt>
    <dgm:pt modelId="{2F58CB89-819F-4BCD-B5C2-DA0E07ACC988}" type="pres">
      <dgm:prSet presAssocID="{3534AFF9-353C-4B96-964D-AC356951E3ED}" presName="aNode" presStyleLbl="fgAcc1" presStyleIdx="2" presStyleCnt="3" custLinFactY="-11674" custLinFactNeighborX="-663" custLinFactNeighborY="-100000">
        <dgm:presLayoutVars>
          <dgm:bulletEnabled val="1"/>
        </dgm:presLayoutVars>
      </dgm:prSet>
      <dgm:spPr/>
      <dgm:t>
        <a:bodyPr/>
        <a:lstStyle/>
        <a:p>
          <a:pPr latinLnBrk="1"/>
          <a:endParaRPr lang="ko-KR" altLang="en-US"/>
        </a:p>
      </dgm:t>
    </dgm:pt>
    <dgm:pt modelId="{92B09795-2C86-45B4-881D-2083D2CCB617}" type="pres">
      <dgm:prSet presAssocID="{3534AFF9-353C-4B96-964D-AC356951E3ED}" presName="aSpace" presStyleCnt="0"/>
      <dgm:spPr/>
    </dgm:pt>
  </dgm:ptLst>
  <dgm:cxnLst>
    <dgm:cxn modelId="{7731F6F2-E24E-4E77-8651-390E44700095}" type="presOf" srcId="{1B0D7F96-4112-4CCB-8D86-EC2C660B46BB}" destId="{7F7BEE8C-C044-4D9E-A3AB-A199A51D278F}" srcOrd="0" destOrd="0" presId="urn:microsoft.com/office/officeart/2005/8/layout/pyramid2"/>
    <dgm:cxn modelId="{29D31C93-494F-4DB7-B803-043704118D90}" srcId="{BD1B6800-D68A-478F-B4F1-778A9BD0854A}" destId="{1B0D7F96-4112-4CCB-8D86-EC2C660B46BB}" srcOrd="1" destOrd="0" parTransId="{950DD7A2-3FB5-4F92-909F-157DAFF813F7}" sibTransId="{12B06D31-27B6-4820-A126-4852906624CF}"/>
    <dgm:cxn modelId="{8B3A9114-7046-494B-91F7-3AF650F0AD64}" srcId="{BD1B6800-D68A-478F-B4F1-778A9BD0854A}" destId="{99405842-4294-4CAD-87FD-21FF2DB05D92}" srcOrd="0" destOrd="0" parTransId="{8AE8AE5A-8B82-4F3C-A79D-DFF908553BBE}" sibTransId="{F86D9D72-0155-4E78-B988-993075E4DBCE}"/>
    <dgm:cxn modelId="{351C137A-DD48-4719-8BEA-870FCDC4562A}" type="presOf" srcId="{BD1B6800-D68A-478F-B4F1-778A9BD0854A}" destId="{03FEEA5E-5649-4037-B1F6-C42194C77CBF}" srcOrd="0" destOrd="0" presId="urn:microsoft.com/office/officeart/2005/8/layout/pyramid2"/>
    <dgm:cxn modelId="{575F91A7-842E-47C9-B192-90C42C3D10A1}" type="presOf" srcId="{3534AFF9-353C-4B96-964D-AC356951E3ED}" destId="{2F58CB89-819F-4BCD-B5C2-DA0E07ACC988}" srcOrd="0" destOrd="0" presId="urn:microsoft.com/office/officeart/2005/8/layout/pyramid2"/>
    <dgm:cxn modelId="{5D1CD7F6-F552-4557-BE48-F10F8ADF6DE9}" srcId="{BD1B6800-D68A-478F-B4F1-778A9BD0854A}" destId="{3534AFF9-353C-4B96-964D-AC356951E3ED}" srcOrd="2" destOrd="0" parTransId="{22486E0D-B039-4E3F-B832-A4C8F91AE943}" sibTransId="{7339C3F7-5E39-48EF-938F-A1A85D00C0D3}"/>
    <dgm:cxn modelId="{C85B646F-1349-4BB4-BBB2-9855F4B7F9C2}" type="presOf" srcId="{99405842-4294-4CAD-87FD-21FF2DB05D92}" destId="{BA4A70DD-39CC-4E2B-A7E8-89B97DF2ED7F}" srcOrd="0" destOrd="0" presId="urn:microsoft.com/office/officeart/2005/8/layout/pyramid2"/>
    <dgm:cxn modelId="{B41CD6B5-55A3-4234-86D5-407A8EFC5DE4}" type="presParOf" srcId="{03FEEA5E-5649-4037-B1F6-C42194C77CBF}" destId="{B700FAA0-A5DD-428F-88E0-F2B814834EF6}" srcOrd="0" destOrd="0" presId="urn:microsoft.com/office/officeart/2005/8/layout/pyramid2"/>
    <dgm:cxn modelId="{AE2378E2-001C-4A35-B611-7A822EA7FAF5}" type="presParOf" srcId="{03FEEA5E-5649-4037-B1F6-C42194C77CBF}" destId="{EF1CD696-89B2-4237-8E84-89C839487016}" srcOrd="1" destOrd="0" presId="urn:microsoft.com/office/officeart/2005/8/layout/pyramid2"/>
    <dgm:cxn modelId="{4C0FE521-0F66-4046-A674-DBFF76737375}" type="presParOf" srcId="{EF1CD696-89B2-4237-8E84-89C839487016}" destId="{BA4A70DD-39CC-4E2B-A7E8-89B97DF2ED7F}" srcOrd="0" destOrd="0" presId="urn:microsoft.com/office/officeart/2005/8/layout/pyramid2"/>
    <dgm:cxn modelId="{D6EBCA2B-7DAA-4152-8B07-804CDC45DEF1}" type="presParOf" srcId="{EF1CD696-89B2-4237-8E84-89C839487016}" destId="{4630497D-D5A0-423F-92A8-275E6763EA2A}" srcOrd="1" destOrd="0" presId="urn:microsoft.com/office/officeart/2005/8/layout/pyramid2"/>
    <dgm:cxn modelId="{6BED2EC3-E913-4FC7-A148-2B16FC4E156F}" type="presParOf" srcId="{EF1CD696-89B2-4237-8E84-89C839487016}" destId="{7F7BEE8C-C044-4D9E-A3AB-A199A51D278F}" srcOrd="2" destOrd="0" presId="urn:microsoft.com/office/officeart/2005/8/layout/pyramid2"/>
    <dgm:cxn modelId="{2FC16307-B755-4C3D-87B4-E97BC692AB98}" type="presParOf" srcId="{EF1CD696-89B2-4237-8E84-89C839487016}" destId="{E1529037-4EE5-48DB-83D1-28511680BAD0}" srcOrd="3" destOrd="0" presId="urn:microsoft.com/office/officeart/2005/8/layout/pyramid2"/>
    <dgm:cxn modelId="{0C25566E-F99B-491C-AE19-203ED77F8807}" type="presParOf" srcId="{EF1CD696-89B2-4237-8E84-89C839487016}" destId="{2F58CB89-819F-4BCD-B5C2-DA0E07ACC988}" srcOrd="4" destOrd="0" presId="urn:microsoft.com/office/officeart/2005/8/layout/pyramid2"/>
    <dgm:cxn modelId="{5DD8DAEB-EFF7-44B3-AB3A-8B7CAE085E67}" type="presParOf" srcId="{EF1CD696-89B2-4237-8E84-89C839487016}" destId="{92B09795-2C86-45B4-881D-2083D2CCB617}" srcOrd="5" destOrd="0" presId="urn:microsoft.com/office/officeart/2005/8/layout/pyramid2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pyramid2">
  <dgm:title val=""/>
  <dgm:desc val=""/>
  <dgm:catLst>
    <dgm:cat type="pyramid" pri="3000"/>
    <dgm:cat type="list" pri="21000"/>
    <dgm:cat type="convert" pri="17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compositeShape">
    <dgm:alg type="composite"/>
    <dgm:shape xmlns:r="http://schemas.openxmlformats.org/officeDocument/2006/relationships" r:blip="">
      <dgm:adjLst/>
    </dgm:shape>
    <dgm:presOf/>
    <dgm:varLst>
      <dgm:dir/>
      <dgm:resizeHandles/>
    </dgm:varLst>
    <dgm:choose name="Name0">
      <dgm:if name="Name1" func="var" arg="dir" op="equ" val="norm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l" for="ch" forName="theList" refType="w" refFor="ch" refForName="pyramid" fact="0.5"/>
          <dgm:constr type="h" for="des" forName="aSpace" refType="h" fact="0.1"/>
        </dgm:constrLst>
      </dgm:if>
      <dgm:else name="Name2">
        <dgm:constrLst>
          <dgm:constr type="w" for="ch" forName="pyramid" refType="h"/>
          <dgm:constr type="h" for="ch" forName="pyramid" refType="h"/>
          <dgm:constr type="h" for="ch" forName="theList" refType="h" fact="0.8"/>
          <dgm:constr type="w" for="ch" forName="theList" refType="h" fact="0.65"/>
          <dgm:constr type="ctrY" for="ch" forName="theList" refType="h" refFor="ch" refForName="pyramid" fact="0.5"/>
          <dgm:constr type="r" for="ch" forName="theList" refType="w" refFor="ch" refForName="pyramid" fact="0.5"/>
          <dgm:constr type="h" for="des" forName="aSpace" refType="h" fact="0.1"/>
        </dgm:constrLst>
      </dgm:else>
    </dgm:choose>
    <dgm:ruleLst/>
    <dgm:choose name="Name3">
      <dgm:if name="Name4" axis="ch" ptType="node" func="cnt" op="gte" val="1">
        <dgm:layoutNode name="pyramid" styleLbl="node1">
          <dgm:alg type="sp"/>
          <dgm:shape xmlns:r="http://schemas.openxmlformats.org/officeDocument/2006/relationships" type="triangle" r:blip="">
            <dgm:adjLst/>
          </dgm:shape>
          <dgm:presOf/>
          <dgm:constrLst/>
          <dgm:ruleLst/>
        </dgm:layoutNode>
        <dgm:layoutNode name="theLis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aNode" refType="w"/>
            <dgm:constr type="h" for="ch" forName="aNode" refType="h"/>
            <dgm:constr type="primFontSz" for="ch" ptType="node" op="equ"/>
          </dgm:constrLst>
          <dgm:ruleLst/>
          <dgm:forEach name="aNodeForEach" axis="ch" ptType="node">
            <dgm:layoutNode name="aNode" styleLbl="fgAcc1">
              <dgm:varLst>
                <dgm:bulletEnabled val="1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desOrSelf" ptType="node"/>
              <dgm:constrLst>
                <dgm:constr type="primFontSz" val="65"/>
                <dgm:constr type="tMarg" refType="primFontSz" fact="0.3"/>
                <dgm:constr type="bMarg" refType="primFontSz" fact="0.3"/>
                <dgm:constr type="lMarg" refType="primFontSz" fact="0.3"/>
                <dgm:constr type="rMarg" refType="primFontSz" fact="0.3"/>
              </dgm:constrLst>
              <dgm:ruleLst>
                <dgm:rule type="primFontSz" val="5" fact="NaN" max="NaN"/>
              </dgm:ruleLst>
            </dgm:layoutNode>
            <dgm:layoutNode name="a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layoutNode>
      </dgm:if>
      <dgm:else name="Name5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8">
  <dgm:title val=""/>
  <dgm:desc val=""/>
  <dgm:catLst>
    <dgm:cat type="3D" pri="11800"/>
  </dgm:catLst>
  <dgm:scene3d>
    <a:camera prst="perspectiveHeroicExtremeRightFacing" zoom="82000">
      <a:rot lat="21300000" lon="20400000" rev="180000"/>
    </a:camera>
    <a:lightRig rig="morning" dir="t">
      <a:rot lat="0" lon="0" rev="20400000"/>
    </a:lightRig>
  </dgm:scene3d>
  <dgm:styleLbl name="node0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30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600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635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1520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152400" extrusionH="63500" prstMaterial="matte">
      <a:bevelT w="4445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190500" prstMaterial="matte">
      <a:bevelT w="120650" h="38100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152400" extrusionH="63500" prstMaterial="matte">
      <a:bevelT w="4445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152400" extrusionH="63500" prstMaterial="matte">
      <a:bevelT w="4445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152400" extrusionH="63500" prstMaterial="matte">
      <a:bevelT w="4445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152400" extrusionH="63500" prstMaterial="matte">
      <a:bevelT w="4445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8">
  <dgm:title val=""/>
  <dgm:desc val=""/>
  <dgm:catLst>
    <dgm:cat type="3D" pri="11800"/>
  </dgm:catLst>
  <dgm:scene3d>
    <a:camera prst="perspectiveHeroicExtremeRightFacing" zoom="82000">
      <a:rot lat="21300000" lon="20400000" rev="180000"/>
    </a:camera>
    <a:lightRig rig="morning" dir="t">
      <a:rot lat="0" lon="0" rev="20400000"/>
    </a:lightRig>
  </dgm:scene3d>
  <dgm:styleLbl name="node0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 z="-30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 z="-600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 z="635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 z="-1520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 z="60000" prstMaterial="flat">
      <a:bevelT w="120900" h="88900"/>
      <a:bevelB w="88900" h="31750" prst="angle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 z="-152400" extrusionH="63500" prstMaterial="matte">
      <a:bevelT w="4445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 extrusionH="190500" prstMaterial="matte">
      <a:bevelT w="120650" h="38100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 z="-152400" extrusionH="63500" prstMaterial="matte">
      <a:bevelT w="4445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 z="-152400" extrusionH="63500" prstMaterial="matte">
      <a:bevelT w="4445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 z="-152400" extrusionH="63500" prstMaterial="matte">
      <a:bevelT w="4445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 z="-152400" extrusionH="63500" prstMaterial="matte">
      <a:bevelT w="4445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 extrusionH="190500" prstMaterial="matte">
      <a:bevelT w="120650" h="38100" prst="relaxedInset"/>
      <a:bevelB w="120650" h="571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23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3388" cy="530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65" tIns="45625" rIns="91265" bIns="45625" numCol="1" anchor="t" anchorCtr="0" compatLnSpc="1">
            <a:prstTxWarp prst="textNoShape">
              <a:avLst/>
            </a:prstTxWarp>
          </a:bodyPr>
          <a:lstStyle>
            <a:lvl1pPr defTabSz="912813" latinLnBrk="0">
              <a:spcBef>
                <a:spcPct val="50000"/>
              </a:spcBef>
              <a:defRPr kumimoji="0" sz="130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9523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6350" y="0"/>
            <a:ext cx="2973388" cy="530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65" tIns="45625" rIns="91265" bIns="45625" numCol="1" anchor="t" anchorCtr="0" compatLnSpc="1">
            <a:prstTxWarp prst="textNoShape">
              <a:avLst/>
            </a:prstTxWarp>
          </a:bodyPr>
          <a:lstStyle>
            <a:lvl1pPr algn="r" defTabSz="912813" latinLnBrk="0">
              <a:spcBef>
                <a:spcPct val="50000"/>
              </a:spcBef>
              <a:defRPr kumimoji="0" sz="130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9523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09113"/>
            <a:ext cx="2973388" cy="450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65" tIns="45625" rIns="91265" bIns="45625" numCol="1" anchor="b" anchorCtr="0" compatLnSpc="1">
            <a:prstTxWarp prst="textNoShape">
              <a:avLst/>
            </a:prstTxWarp>
          </a:bodyPr>
          <a:lstStyle>
            <a:lvl1pPr defTabSz="912813" latinLnBrk="0">
              <a:spcBef>
                <a:spcPct val="50000"/>
              </a:spcBef>
              <a:defRPr kumimoji="0" sz="130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9523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6350" y="9409113"/>
            <a:ext cx="2973388" cy="450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65" tIns="45625" rIns="91265" bIns="45625" numCol="1" anchor="b" anchorCtr="0" compatLnSpc="1">
            <a:prstTxWarp prst="textNoShape">
              <a:avLst/>
            </a:prstTxWarp>
          </a:bodyPr>
          <a:lstStyle>
            <a:lvl1pPr algn="r" defTabSz="912813" latinLnBrk="0">
              <a:spcBef>
                <a:spcPct val="50000"/>
              </a:spcBef>
              <a:defRPr kumimoji="0" sz="1300">
                <a:latin typeface="굴림" pitchFamily="50" charset="-127"/>
                <a:ea typeface="굴림" pitchFamily="50" charset="-127"/>
              </a:defRPr>
            </a:lvl1pPr>
          </a:lstStyle>
          <a:p>
            <a:pPr>
              <a:defRPr/>
            </a:pPr>
            <a:fld id="{786CAF03-B687-4858-AF2E-3DBB49F6482F}" type="slidenum">
              <a:rPr lang="ko-KR" altLang="en-US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5870708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3225" cy="490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65" tIns="45625" rIns="91265" bIns="45625" numCol="1" anchor="t" anchorCtr="0" compatLnSpc="1">
            <a:prstTxWarp prst="textNoShape">
              <a:avLst/>
            </a:prstTxWarp>
          </a:bodyPr>
          <a:lstStyle>
            <a:lvl1pPr defTabSz="912813" latinLnBrk="0">
              <a:defRPr kumimoji="0" sz="1300">
                <a:latin typeface="Times New Roman" pitchFamily="18" charset="0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4450" y="0"/>
            <a:ext cx="2943225" cy="4905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65" tIns="45625" rIns="91265" bIns="45625" numCol="1" anchor="t" anchorCtr="0" compatLnSpc="1">
            <a:prstTxWarp prst="textNoShape">
              <a:avLst/>
            </a:prstTxWarp>
          </a:bodyPr>
          <a:lstStyle>
            <a:lvl1pPr algn="r" defTabSz="912813" latinLnBrk="0">
              <a:defRPr kumimoji="0" sz="1300">
                <a:latin typeface="Times New Roman" pitchFamily="18" charset="0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463" y="4689475"/>
            <a:ext cx="4984750" cy="4448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65" tIns="45625" rIns="91265" bIns="4562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noProof="0" smtClean="0"/>
              <a:t>마스터 텍스트 스타일을 편집합니다</a:t>
            </a:r>
          </a:p>
          <a:p>
            <a:pPr lvl="1"/>
            <a:r>
              <a:rPr lang="ko-KR" altLang="en-US" noProof="0" smtClean="0"/>
              <a:t>둘째 수준</a:t>
            </a:r>
          </a:p>
          <a:p>
            <a:pPr lvl="2"/>
            <a:r>
              <a:rPr lang="ko-KR" altLang="en-US" noProof="0" smtClean="0"/>
              <a:t>셋째 수준</a:t>
            </a:r>
          </a:p>
          <a:p>
            <a:pPr lvl="3"/>
            <a:r>
              <a:rPr lang="ko-KR" altLang="en-US" noProof="0" smtClean="0"/>
              <a:t>넷째 수준</a:t>
            </a:r>
          </a:p>
          <a:p>
            <a:pPr lvl="4"/>
            <a:r>
              <a:rPr lang="ko-KR" altLang="en-US" noProof="0" smtClean="0"/>
              <a:t>다섯째 수준</a:t>
            </a:r>
          </a:p>
        </p:txBody>
      </p:sp>
      <p:sp>
        <p:nvSpPr>
          <p:cNvPr id="307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383713"/>
            <a:ext cx="2943225" cy="49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65" tIns="45625" rIns="91265" bIns="45625" numCol="1" anchor="b" anchorCtr="0" compatLnSpc="1">
            <a:prstTxWarp prst="textNoShape">
              <a:avLst/>
            </a:prstTxWarp>
          </a:bodyPr>
          <a:lstStyle>
            <a:lvl1pPr defTabSz="912813" latinLnBrk="0">
              <a:defRPr kumimoji="0" sz="1300">
                <a:latin typeface="Times New Roman" pitchFamily="18" charset="0"/>
                <a:ea typeface="굴림" pitchFamily="50" charset="-127"/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307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4450" y="9383713"/>
            <a:ext cx="2943225" cy="49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265" tIns="45625" rIns="91265" bIns="45625" numCol="1" anchor="b" anchorCtr="0" compatLnSpc="1">
            <a:prstTxWarp prst="textNoShape">
              <a:avLst/>
            </a:prstTxWarp>
          </a:bodyPr>
          <a:lstStyle>
            <a:lvl1pPr algn="r" defTabSz="912813" latinLnBrk="0">
              <a:defRPr kumimoji="0" sz="1300">
                <a:latin typeface="Times New Roman" pitchFamily="18" charset="0"/>
                <a:ea typeface="굴림" pitchFamily="50" charset="-127"/>
              </a:defRPr>
            </a:lvl1pPr>
          </a:lstStyle>
          <a:p>
            <a:pPr>
              <a:defRPr/>
            </a:pPr>
            <a:fld id="{075EDF6F-4A20-455C-A7DA-66CB8D2F720C}" type="slidenum">
              <a:rPr lang="ko-KR" altLang="en-US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166333214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latinLnBrk="1" hangingPunct="0">
      <a:spcBef>
        <a:spcPct val="30000"/>
      </a:spcBef>
      <a:spcAft>
        <a:spcPct val="0"/>
      </a:spcAft>
      <a:defRPr kumimoji="1" sz="1300" kern="1200">
        <a:solidFill>
          <a:schemeClr val="tx1"/>
        </a:solidFill>
        <a:latin typeface="굴림" pitchFamily="50" charset="-127"/>
        <a:ea typeface="굴림" pitchFamily="50" charset="-127"/>
        <a:cs typeface="Arial" charset="0"/>
      </a:defRPr>
    </a:lvl1pPr>
    <a:lvl2pPr marL="494698" algn="l" rtl="0" eaLnBrk="0" fontAlgn="base" latinLnBrk="1" hangingPunct="0">
      <a:spcBef>
        <a:spcPct val="30000"/>
      </a:spcBef>
      <a:spcAft>
        <a:spcPct val="0"/>
      </a:spcAft>
      <a:defRPr kumimoji="1" sz="1300" kern="1200">
        <a:solidFill>
          <a:schemeClr val="tx1"/>
        </a:solidFill>
        <a:latin typeface="굴림" pitchFamily="50" charset="-127"/>
        <a:ea typeface="굴림" pitchFamily="50" charset="-127"/>
        <a:cs typeface="Arial" charset="0"/>
      </a:defRPr>
    </a:lvl2pPr>
    <a:lvl3pPr marL="990982" algn="l" rtl="0" eaLnBrk="0" fontAlgn="base" latinLnBrk="1" hangingPunct="0">
      <a:spcBef>
        <a:spcPct val="30000"/>
      </a:spcBef>
      <a:spcAft>
        <a:spcPct val="0"/>
      </a:spcAft>
      <a:defRPr kumimoji="1" sz="1300" kern="1200">
        <a:solidFill>
          <a:schemeClr val="tx1"/>
        </a:solidFill>
        <a:latin typeface="굴림" pitchFamily="50" charset="-127"/>
        <a:ea typeface="굴림" pitchFamily="50" charset="-127"/>
        <a:cs typeface="Arial" charset="0"/>
      </a:defRPr>
    </a:lvl3pPr>
    <a:lvl4pPr marL="1485682" algn="l" rtl="0" eaLnBrk="0" fontAlgn="base" latinLnBrk="1" hangingPunct="0">
      <a:spcBef>
        <a:spcPct val="30000"/>
      </a:spcBef>
      <a:spcAft>
        <a:spcPct val="0"/>
      </a:spcAft>
      <a:defRPr kumimoji="1" sz="1300" kern="1200">
        <a:solidFill>
          <a:schemeClr val="tx1"/>
        </a:solidFill>
        <a:latin typeface="굴림" pitchFamily="50" charset="-127"/>
        <a:ea typeface="굴림" pitchFamily="50" charset="-127"/>
        <a:cs typeface="Arial" charset="0"/>
      </a:defRPr>
    </a:lvl4pPr>
    <a:lvl5pPr marL="1981961" algn="l" rtl="0" eaLnBrk="0" fontAlgn="base" latinLnBrk="1" hangingPunct="0">
      <a:spcBef>
        <a:spcPct val="30000"/>
      </a:spcBef>
      <a:spcAft>
        <a:spcPct val="0"/>
      </a:spcAft>
      <a:defRPr kumimoji="1" sz="1300" kern="1200">
        <a:solidFill>
          <a:schemeClr val="tx1"/>
        </a:solidFill>
        <a:latin typeface="굴림" pitchFamily="50" charset="-127"/>
        <a:ea typeface="굴림" pitchFamily="50" charset="-127"/>
        <a:cs typeface="Arial" charset="0"/>
      </a:defRPr>
    </a:lvl5pPr>
    <a:lvl6pPr marL="2478271" algn="l" defTabSz="991305" rtl="0" eaLnBrk="1" latinLnBrk="1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73917" algn="l" defTabSz="991305" rtl="0" eaLnBrk="1" latinLnBrk="1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69575" algn="l" defTabSz="991305" rtl="0" eaLnBrk="1" latinLnBrk="1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65228" algn="l" defTabSz="991305" rtl="0" eaLnBrk="1" latinLnBrk="1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9pPr>
          </a:lstStyle>
          <a:p>
            <a:pPr eaLnBrk="1" hangingPunct="1"/>
            <a:fld id="{EA3E5FA6-B029-4FB9-8B80-45D463CDBD20}" type="slidenum">
              <a:rPr kumimoji="0" lang="ko-KR" altLang="en-US" smtClean="0"/>
              <a:pPr eaLnBrk="1" hangingPunct="1"/>
              <a:t>0</a:t>
            </a:fld>
            <a:endParaRPr kumimoji="0" lang="en-US" altLang="ko-KR" smtClean="0"/>
          </a:p>
        </p:txBody>
      </p:sp>
      <p:sp>
        <p:nvSpPr>
          <p:cNvPr id="1095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82638" y="741363"/>
            <a:ext cx="5232400" cy="3702050"/>
          </a:xfrm>
          <a:prstGeom prst="rect">
            <a:avLst/>
          </a:prstGeom>
          <a:ln/>
        </p:spPr>
      </p:sp>
      <p:sp>
        <p:nvSpPr>
          <p:cNvPr id="10957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ko-KR" altLang="en-US" smtClean="0">
              <a:latin typeface="Arial" pitchFamily="34" charset="0"/>
              <a:ea typeface="굴림" pitchFamily="50" charset="-127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77260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813" eaLnBrk="0" hangingPunct="0">
              <a:spcBef>
                <a:spcPct val="30000"/>
              </a:spcBef>
              <a:defRPr kumimoji="1" sz="13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4538" indent="-285750" defTabSz="912813" eaLnBrk="0" hangingPunct="0">
              <a:spcBef>
                <a:spcPct val="30000"/>
              </a:spcBef>
              <a:defRPr kumimoji="1" sz="13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7763" indent="-228600" defTabSz="912813" eaLnBrk="0" hangingPunct="0">
              <a:spcBef>
                <a:spcPct val="30000"/>
              </a:spcBef>
              <a:defRPr kumimoji="1" sz="13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6550" indent="-228600" defTabSz="912813" eaLnBrk="0" hangingPunct="0">
              <a:spcBef>
                <a:spcPct val="30000"/>
              </a:spcBef>
              <a:defRPr kumimoji="1" sz="13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65338" indent="-228600" defTabSz="912813" eaLnBrk="0" hangingPunct="0">
              <a:spcBef>
                <a:spcPct val="30000"/>
              </a:spcBef>
              <a:defRPr kumimoji="1" sz="13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22538" indent="-228600" defTabSz="912813" eaLnBrk="0" fontAlgn="base" hangingPunct="0">
              <a:spcBef>
                <a:spcPct val="30000"/>
              </a:spcBef>
              <a:spcAft>
                <a:spcPct val="0"/>
              </a:spcAft>
              <a:defRPr kumimoji="1" sz="13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9738" indent="-228600" defTabSz="912813" eaLnBrk="0" fontAlgn="base" hangingPunct="0">
              <a:spcBef>
                <a:spcPct val="30000"/>
              </a:spcBef>
              <a:spcAft>
                <a:spcPct val="0"/>
              </a:spcAft>
              <a:defRPr kumimoji="1" sz="13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36938" indent="-228600" defTabSz="912813" eaLnBrk="0" fontAlgn="base" hangingPunct="0">
              <a:spcBef>
                <a:spcPct val="30000"/>
              </a:spcBef>
              <a:spcAft>
                <a:spcPct val="0"/>
              </a:spcAft>
              <a:defRPr kumimoji="1" sz="13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94138" indent="-228600" defTabSz="912813" eaLnBrk="0" fontAlgn="base" hangingPunct="0">
              <a:spcBef>
                <a:spcPct val="30000"/>
              </a:spcBef>
              <a:spcAft>
                <a:spcPct val="0"/>
              </a:spcAft>
              <a:defRPr kumimoji="1" sz="13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7A812557-40B6-44E8-8CC4-F47A8CE004E5}" type="slidenum">
              <a:rPr kumimoji="0" lang="ko-KR" altLang="en-GB" sz="1200" smtClean="0">
                <a:solidFill>
                  <a:srgbClr val="000000"/>
                </a:solidFill>
                <a:latin typeface="Arial" pitchFamily="34" charset="0"/>
                <a:ea typeface="HY견고딕" pitchFamily="18" charset="-127"/>
              </a:rPr>
              <a:pPr eaLnBrk="1" hangingPunct="1">
                <a:spcBef>
                  <a:spcPct val="0"/>
                </a:spcBef>
              </a:pPr>
              <a:t>9</a:t>
            </a:fld>
            <a:endParaRPr kumimoji="0" lang="en-GB" altLang="ko-KR" sz="1200" smtClean="0">
              <a:solidFill>
                <a:srgbClr val="000000"/>
              </a:solidFill>
              <a:latin typeface="Arial" pitchFamily="34" charset="0"/>
              <a:ea typeface="HY견고딕" pitchFamily="18" charset="-127"/>
            </a:endParaRPr>
          </a:p>
        </p:txBody>
      </p:sp>
      <p:sp>
        <p:nvSpPr>
          <p:cNvPr id="1484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784225" y="741363"/>
            <a:ext cx="5232400" cy="37020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sp>
      <p:sp>
        <p:nvSpPr>
          <p:cNvPr id="14848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ko-KR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343310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12813" eaLnBrk="0" hangingPunct="0">
              <a:spcBef>
                <a:spcPct val="30000"/>
              </a:spcBef>
              <a:defRPr kumimoji="1" sz="13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4538" indent="-285750" defTabSz="912813" eaLnBrk="0" hangingPunct="0">
              <a:spcBef>
                <a:spcPct val="30000"/>
              </a:spcBef>
              <a:defRPr kumimoji="1" sz="13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7763" indent="-228600" defTabSz="912813" eaLnBrk="0" hangingPunct="0">
              <a:spcBef>
                <a:spcPct val="30000"/>
              </a:spcBef>
              <a:defRPr kumimoji="1" sz="13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6550" indent="-228600" defTabSz="912813" eaLnBrk="0" hangingPunct="0">
              <a:spcBef>
                <a:spcPct val="30000"/>
              </a:spcBef>
              <a:defRPr kumimoji="1" sz="13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65338" indent="-228600" defTabSz="912813" eaLnBrk="0" hangingPunct="0">
              <a:spcBef>
                <a:spcPct val="30000"/>
              </a:spcBef>
              <a:defRPr kumimoji="1" sz="13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22538" indent="-228600" defTabSz="912813" eaLnBrk="0" fontAlgn="base" hangingPunct="0">
              <a:spcBef>
                <a:spcPct val="30000"/>
              </a:spcBef>
              <a:spcAft>
                <a:spcPct val="0"/>
              </a:spcAft>
              <a:defRPr kumimoji="1" sz="13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9738" indent="-228600" defTabSz="912813" eaLnBrk="0" fontAlgn="base" hangingPunct="0">
              <a:spcBef>
                <a:spcPct val="30000"/>
              </a:spcBef>
              <a:spcAft>
                <a:spcPct val="0"/>
              </a:spcAft>
              <a:defRPr kumimoji="1" sz="13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36938" indent="-228600" defTabSz="912813" eaLnBrk="0" fontAlgn="base" hangingPunct="0">
              <a:spcBef>
                <a:spcPct val="30000"/>
              </a:spcBef>
              <a:spcAft>
                <a:spcPct val="0"/>
              </a:spcAft>
              <a:defRPr kumimoji="1" sz="13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94138" indent="-228600" defTabSz="912813" eaLnBrk="0" fontAlgn="base" hangingPunct="0">
              <a:spcBef>
                <a:spcPct val="30000"/>
              </a:spcBef>
              <a:spcAft>
                <a:spcPct val="0"/>
              </a:spcAft>
              <a:defRPr kumimoji="1" sz="13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7A812557-40B6-44E8-8CC4-F47A8CE004E5}" type="slidenum">
              <a:rPr kumimoji="0" lang="ko-KR" altLang="en-GB" sz="1200" smtClean="0">
                <a:solidFill>
                  <a:srgbClr val="000000"/>
                </a:solidFill>
                <a:latin typeface="Arial" pitchFamily="34" charset="0"/>
                <a:ea typeface="HY견고딕" pitchFamily="18" charset="-127"/>
              </a:rPr>
              <a:pPr eaLnBrk="1" hangingPunct="1">
                <a:spcBef>
                  <a:spcPct val="0"/>
                </a:spcBef>
              </a:pPr>
              <a:t>10</a:t>
            </a:fld>
            <a:endParaRPr kumimoji="0" lang="en-GB" altLang="ko-KR" sz="1200" smtClean="0">
              <a:solidFill>
                <a:srgbClr val="000000"/>
              </a:solidFill>
              <a:latin typeface="Arial" pitchFamily="34" charset="0"/>
              <a:ea typeface="HY견고딕" pitchFamily="18" charset="-127"/>
            </a:endParaRPr>
          </a:p>
        </p:txBody>
      </p:sp>
      <p:sp>
        <p:nvSpPr>
          <p:cNvPr id="14848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784225" y="741363"/>
            <a:ext cx="5232400" cy="370205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sp>
      <p:sp>
        <p:nvSpPr>
          <p:cNvPr id="148484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altLang="ko-KR" smtClean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75510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82638" y="741363"/>
            <a:ext cx="5233987" cy="3702050"/>
          </a:xfrm>
          <a:prstGeom prst="rect">
            <a:avLst/>
          </a:prstGeo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A51D67-0C14-4576-BCC5-A508196B7BB5}" type="slidenum">
              <a:rPr lang="ko-KR" altLang="en-US" smtClean="0">
                <a:solidFill>
                  <a:prstClr val="black"/>
                </a:solidFill>
              </a:rPr>
              <a:pPr/>
              <a:t>11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89200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82638" y="741363"/>
            <a:ext cx="5233987" cy="3702050"/>
          </a:xfrm>
          <a:prstGeom prst="rect">
            <a:avLst/>
          </a:prstGeo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A51D67-0C14-4576-BCC5-A508196B7BB5}" type="slidenum">
              <a:rPr lang="ko-KR" altLang="en-US" smtClean="0">
                <a:solidFill>
                  <a:prstClr val="black"/>
                </a:solidFill>
              </a:rPr>
              <a:pPr/>
              <a:t>17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89200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82638" y="741363"/>
            <a:ext cx="5233987" cy="3702050"/>
          </a:xfrm>
          <a:prstGeom prst="rect">
            <a:avLst/>
          </a:prstGeo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A51D67-0C14-4576-BCC5-A508196B7BB5}" type="slidenum">
              <a:rPr lang="ko-KR" altLang="en-US" smtClean="0">
                <a:solidFill>
                  <a:prstClr val="black"/>
                </a:solidFill>
              </a:rPr>
              <a:pPr/>
              <a:t>20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89200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82638" y="741363"/>
            <a:ext cx="5233987" cy="3702050"/>
          </a:xfrm>
          <a:prstGeom prst="rect">
            <a:avLst/>
          </a:prstGeo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A51D67-0C14-4576-BCC5-A508196B7BB5}" type="slidenum">
              <a:rPr lang="ko-KR" altLang="en-US" smtClean="0">
                <a:solidFill>
                  <a:prstClr val="black"/>
                </a:solidFill>
              </a:rPr>
              <a:pPr/>
              <a:t>40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89200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>
          <a:xfrm>
            <a:off x="782638" y="741363"/>
            <a:ext cx="5233987" cy="3702050"/>
          </a:xfrm>
          <a:prstGeom prst="rect">
            <a:avLst/>
          </a:prstGeom>
        </p:spPr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ko-KR" altLang="en-US" dirty="0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A51D67-0C14-4576-BCC5-A508196B7BB5}" type="slidenum">
              <a:rPr lang="ko-KR" altLang="en-US" smtClean="0">
                <a:solidFill>
                  <a:prstClr val="black"/>
                </a:solidFill>
              </a:rPr>
              <a:pPr/>
              <a:t>44</a:t>
            </a:fld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89200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hyperlink" Target="http://hangeul.naver.com/font" TargetMode="External"/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hyperlink" Target="http://hangeul.naver.com/font" TargetMode="External"/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hyperlink" Target="http://hangeul.naver.com/font" TargetMode="External"/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hyperlink" Target="http://hangeul.naver.com/font" TargetMode="External"/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hyperlink" Target="http://hangeul.naver.com/font" TargetMode="External"/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hyperlink" Target="http://hangeul.naver.com/font" TargetMode="External"/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hyperlink" Target="http://hangeul.naver.com/font" TargetMode="External"/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hyperlink" Target="http://hangeul.naver.com/font" TargetMode="External"/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hyperlink" Target="http://hangeul.naver.com/font" TargetMode="External"/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9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hyperlink" Target="http://hangeul.naver.com/font" TargetMode="External"/><Relationship Id="rId1" Type="http://schemas.openxmlformats.org/officeDocument/2006/relationships/slideMaster" Target="../slideMasters/slideMaster9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9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9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4"/>
          <p:cNvSpPr>
            <a:spLocks noChangeArrowheads="1"/>
          </p:cNvSpPr>
          <p:nvPr userDrawn="1"/>
        </p:nvSpPr>
        <p:spPr bwMode="auto">
          <a:xfrm>
            <a:off x="7389813" y="7115203"/>
            <a:ext cx="3105150" cy="238125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noFill/>
            <a:round/>
            <a:headEnd/>
            <a:tailEnd/>
          </a:ln>
          <a:effectLst/>
        </p:spPr>
        <p:txBody>
          <a:bodyPr wrap="none" lIns="99133" tIns="49583" rIns="99133" bIns="49583" anchor="ctr"/>
          <a:lstStyle/>
          <a:p>
            <a:pPr algn="ctr">
              <a:defRPr/>
            </a:pPr>
            <a:endParaRPr lang="ko-KR" altLang="en-US" sz="1300" dirty="0">
              <a:solidFill>
                <a:schemeClr val="bg1"/>
              </a:solidFill>
              <a:latin typeface="Tahoma" pitchFamily="34" charset="0"/>
              <a:ea typeface="HY견고딕" pitchFamily="18" charset="-127"/>
            </a:endParaRPr>
          </a:p>
        </p:txBody>
      </p:sp>
      <p:pic>
        <p:nvPicPr>
          <p:cNvPr id="3" name="그림 6" descr="bgindex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04" y="0"/>
            <a:ext cx="10691813" cy="7564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534670" y="302802"/>
            <a:ext cx="9624060" cy="1260211"/>
          </a:xfrm>
          <a:prstGeom prst="rect">
            <a:avLst/>
          </a:prstGeom>
        </p:spPr>
        <p:txBody>
          <a:bodyPr lIns="99133" tIns="49583" rIns="99133" bIns="49583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098328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직선 연결선 5"/>
          <p:cNvCxnSpPr/>
          <p:nvPr userDrawn="1"/>
        </p:nvCxnSpPr>
        <p:spPr>
          <a:xfrm>
            <a:off x="426617" y="3786901"/>
            <a:ext cx="9830350" cy="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부제목 2"/>
          <p:cNvSpPr txBox="1">
            <a:spLocks/>
          </p:cNvSpPr>
          <p:nvPr userDrawn="1"/>
        </p:nvSpPr>
        <p:spPr>
          <a:xfrm>
            <a:off x="309277" y="7042284"/>
            <a:ext cx="3747927" cy="503264"/>
          </a:xfrm>
          <a:prstGeom prst="rect">
            <a:avLst/>
          </a:prstGeom>
        </p:spPr>
        <p:txBody>
          <a:bodyPr vert="horz" lIns="104214" tIns="52107" rIns="104214" bIns="52107" rtlCol="0">
            <a:noAutofit/>
          </a:bodyPr>
          <a:lstStyle>
            <a:lvl1pPr marL="0" indent="0" algn="l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50000"/>
              </a:lnSpc>
              <a:spcAft>
                <a:spcPts val="0"/>
              </a:spcAft>
            </a:pPr>
            <a:r>
              <a:rPr kumimoji="0" lang="ko-KR" altLang="en-US" sz="900" spc="-23" dirty="0" smtClean="0">
                <a:solidFill>
                  <a:prstClr val="white">
                    <a:lumMod val="50000"/>
                  </a:prstClr>
                </a:solidFill>
                <a:latin typeface="나눔고딕" pitchFamily="50" charset="-127"/>
                <a:ea typeface="나눔고딕" pitchFamily="50" charset="-127"/>
              </a:rPr>
              <a:t>이 문서는 나눔글꼴로 작성되었습니다</a:t>
            </a:r>
            <a:r>
              <a:rPr kumimoji="0" lang="en-US" altLang="ko-KR" sz="900" spc="-23" dirty="0" smtClean="0">
                <a:solidFill>
                  <a:prstClr val="white">
                    <a:lumMod val="50000"/>
                  </a:prstClr>
                </a:solidFill>
                <a:latin typeface="나눔고딕" pitchFamily="50" charset="-127"/>
                <a:ea typeface="나눔고딕" pitchFamily="50" charset="-127"/>
              </a:rPr>
              <a:t>. </a:t>
            </a:r>
            <a:r>
              <a:rPr kumimoji="0" lang="ko-KR" altLang="en-US" sz="900" u="sng" spc="-23" dirty="0" smtClean="0">
                <a:solidFill>
                  <a:srgbClr val="4495D2"/>
                </a:solidFill>
                <a:latin typeface="나눔고딕" pitchFamily="50" charset="-127"/>
                <a:ea typeface="나눔고딕" pitchFamily="50" charset="-127"/>
                <a:hlinkClick r:id="rId2"/>
              </a:rPr>
              <a:t>설치하기</a:t>
            </a:r>
            <a:endParaRPr kumimoji="0" lang="ko-KR" altLang="en-US" sz="900" u="sng" spc="-23" dirty="0">
              <a:solidFill>
                <a:srgbClr val="4495D2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cxnSp>
        <p:nvCxnSpPr>
          <p:cNvPr id="8" name="직선 연결선 7"/>
          <p:cNvCxnSpPr/>
          <p:nvPr userDrawn="1"/>
        </p:nvCxnSpPr>
        <p:spPr>
          <a:xfrm>
            <a:off x="426617" y="4398189"/>
            <a:ext cx="186244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연결선 8"/>
          <p:cNvCxnSpPr/>
          <p:nvPr userDrawn="1"/>
        </p:nvCxnSpPr>
        <p:spPr>
          <a:xfrm>
            <a:off x="426617" y="4739974"/>
            <a:ext cx="186244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직선 연결선 9"/>
          <p:cNvCxnSpPr/>
          <p:nvPr userDrawn="1"/>
        </p:nvCxnSpPr>
        <p:spPr>
          <a:xfrm>
            <a:off x="426617" y="5084646"/>
            <a:ext cx="186244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 userDrawn="1"/>
        </p:nvCxnSpPr>
        <p:spPr>
          <a:xfrm>
            <a:off x="426617" y="5428406"/>
            <a:ext cx="186244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6612680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내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61FD00-3F21-42CF-9EF5-8F6D81CE3AF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3-29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D217C8-C1B9-4E84-BCEB-D9195FCD88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6" name="직선 연결선 5"/>
          <p:cNvCxnSpPr/>
          <p:nvPr userDrawn="1"/>
        </p:nvCxnSpPr>
        <p:spPr>
          <a:xfrm>
            <a:off x="426617" y="604040"/>
            <a:ext cx="9830350" cy="0"/>
          </a:xfrm>
          <a:prstGeom prst="line">
            <a:avLst/>
          </a:prstGeom>
          <a:ln w="3175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그림 8" descr="jg_a4_02_ci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022560" y="7084281"/>
            <a:ext cx="1367793" cy="277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753697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표지_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직선 연결선 7"/>
          <p:cNvCxnSpPr/>
          <p:nvPr userDrawn="1"/>
        </p:nvCxnSpPr>
        <p:spPr>
          <a:xfrm>
            <a:off x="426617" y="3786901"/>
            <a:ext cx="9830350" cy="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연결선 8"/>
          <p:cNvCxnSpPr/>
          <p:nvPr userDrawn="1"/>
        </p:nvCxnSpPr>
        <p:spPr>
          <a:xfrm>
            <a:off x="426617" y="4398189"/>
            <a:ext cx="186244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직선 연결선 9"/>
          <p:cNvCxnSpPr/>
          <p:nvPr userDrawn="1"/>
        </p:nvCxnSpPr>
        <p:spPr>
          <a:xfrm>
            <a:off x="426617" y="4739974"/>
            <a:ext cx="186244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 userDrawn="1"/>
        </p:nvCxnSpPr>
        <p:spPr>
          <a:xfrm>
            <a:off x="426617" y="5084646"/>
            <a:ext cx="186244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직선 연결선 11"/>
          <p:cNvCxnSpPr/>
          <p:nvPr userDrawn="1"/>
        </p:nvCxnSpPr>
        <p:spPr>
          <a:xfrm>
            <a:off x="426617" y="5428406"/>
            <a:ext cx="186244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텍스트 개체 틀 3"/>
          <p:cNvSpPr>
            <a:spLocks noGrp="1"/>
          </p:cNvSpPr>
          <p:nvPr>
            <p:ph type="body" sz="half" idx="2" hasCustomPrompt="1"/>
          </p:nvPr>
        </p:nvSpPr>
        <p:spPr>
          <a:xfrm>
            <a:off x="364936" y="272046"/>
            <a:ext cx="9751362" cy="204134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6200" b="1" spc="-285" baseline="0">
                <a:solidFill>
                  <a:schemeClr val="accent4">
                    <a:lumMod val="50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  <a:lvl2pPr marL="521068" indent="0">
              <a:buNone/>
              <a:defRPr sz="1400"/>
            </a:lvl2pPr>
            <a:lvl3pPr marL="1042136" indent="0">
              <a:buNone/>
              <a:defRPr sz="1100"/>
            </a:lvl3pPr>
            <a:lvl4pPr marL="1563204" indent="0">
              <a:buNone/>
              <a:defRPr sz="1000"/>
            </a:lvl4pPr>
            <a:lvl5pPr marL="2084273" indent="0">
              <a:buNone/>
              <a:defRPr sz="1000"/>
            </a:lvl5pPr>
            <a:lvl6pPr marL="2605339" indent="0">
              <a:buNone/>
              <a:defRPr sz="1000"/>
            </a:lvl6pPr>
            <a:lvl7pPr marL="3126408" indent="0">
              <a:buNone/>
              <a:defRPr sz="1000"/>
            </a:lvl7pPr>
            <a:lvl8pPr marL="3647477" indent="0">
              <a:buNone/>
              <a:defRPr sz="1000"/>
            </a:lvl8pPr>
            <a:lvl9pPr marL="4168543" indent="0">
              <a:buNone/>
              <a:defRPr sz="1000"/>
            </a:lvl9pPr>
          </a:lstStyle>
          <a:p>
            <a:pPr lvl="0"/>
            <a:r>
              <a:rPr lang="ko-KR" altLang="en-US" dirty="0" smtClean="0"/>
              <a:t>제목을 입력하세요</a:t>
            </a:r>
            <a:endParaRPr lang="en-US" altLang="ko-KR" dirty="0" smtClean="0"/>
          </a:p>
          <a:p>
            <a:pPr lvl="0"/>
            <a:endParaRPr lang="ko-KR" altLang="en-US" dirty="0" smtClean="0"/>
          </a:p>
        </p:txBody>
      </p:sp>
      <p:sp>
        <p:nvSpPr>
          <p:cNvPr id="21" name="제목 1"/>
          <p:cNvSpPr>
            <a:spLocks noGrp="1"/>
          </p:cNvSpPr>
          <p:nvPr>
            <p:ph type="title"/>
          </p:nvPr>
        </p:nvSpPr>
        <p:spPr>
          <a:xfrm>
            <a:off x="314022" y="4415772"/>
            <a:ext cx="9844712" cy="336085"/>
          </a:xfrm>
        </p:spPr>
        <p:txBody>
          <a:bodyPr anchor="t">
            <a:normAutofit/>
          </a:bodyPr>
          <a:lstStyle>
            <a:lvl1pPr algn="l">
              <a:buFont typeface="Wingdings" pitchFamily="2" charset="2"/>
              <a:buNone/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14" name="부제목 2"/>
          <p:cNvSpPr txBox="1">
            <a:spLocks/>
          </p:cNvSpPr>
          <p:nvPr userDrawn="1"/>
        </p:nvSpPr>
        <p:spPr>
          <a:xfrm>
            <a:off x="309277" y="7042284"/>
            <a:ext cx="3747927" cy="503264"/>
          </a:xfrm>
          <a:prstGeom prst="rect">
            <a:avLst/>
          </a:prstGeom>
        </p:spPr>
        <p:txBody>
          <a:bodyPr vert="horz" lIns="104214" tIns="52107" rIns="104214" bIns="52107" rtlCol="0">
            <a:noAutofit/>
          </a:bodyPr>
          <a:lstStyle>
            <a:lvl1pPr marL="0" indent="0" algn="l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50000"/>
              </a:lnSpc>
              <a:spcAft>
                <a:spcPts val="0"/>
              </a:spcAft>
            </a:pPr>
            <a:r>
              <a:rPr kumimoji="0" lang="ko-KR" altLang="en-US" sz="900" spc="-23" dirty="0" smtClean="0">
                <a:solidFill>
                  <a:prstClr val="white">
                    <a:lumMod val="50000"/>
                  </a:prstClr>
                </a:solidFill>
                <a:latin typeface="나눔고딕" pitchFamily="50" charset="-127"/>
                <a:ea typeface="나눔고딕" pitchFamily="50" charset="-127"/>
              </a:rPr>
              <a:t>이 문서는 나눔글꼴로 작성되었습니다</a:t>
            </a:r>
            <a:r>
              <a:rPr kumimoji="0" lang="en-US" altLang="ko-KR" sz="900" spc="-23" dirty="0" smtClean="0">
                <a:solidFill>
                  <a:prstClr val="white">
                    <a:lumMod val="50000"/>
                  </a:prstClr>
                </a:solidFill>
                <a:latin typeface="나눔고딕" pitchFamily="50" charset="-127"/>
                <a:ea typeface="나눔고딕" pitchFamily="50" charset="-127"/>
              </a:rPr>
              <a:t>. </a:t>
            </a:r>
            <a:r>
              <a:rPr kumimoji="0" lang="ko-KR" altLang="en-US" sz="900" u="sng" spc="-23" dirty="0" smtClean="0">
                <a:solidFill>
                  <a:srgbClr val="4495D2"/>
                </a:solidFill>
                <a:latin typeface="나눔고딕" pitchFamily="50" charset="-127"/>
                <a:ea typeface="나눔고딕" pitchFamily="50" charset="-127"/>
                <a:hlinkClick r:id="rId2"/>
              </a:rPr>
              <a:t>설치하기</a:t>
            </a:r>
            <a:endParaRPr kumimoji="0" lang="ko-KR" altLang="en-US" sz="900" u="sng" spc="-23" dirty="0">
              <a:solidFill>
                <a:srgbClr val="4495D2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4975739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내지_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61FD00-3F21-42CF-9EF5-8F6D81CE3AF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3-29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D217C8-C1B9-4E84-BCEB-D9195FCD88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7" name="직선 연결선 6"/>
          <p:cNvCxnSpPr/>
          <p:nvPr userDrawn="1"/>
        </p:nvCxnSpPr>
        <p:spPr>
          <a:xfrm>
            <a:off x="426617" y="604040"/>
            <a:ext cx="9830350" cy="0"/>
          </a:xfrm>
          <a:prstGeom prst="line">
            <a:avLst/>
          </a:prstGeom>
          <a:ln w="3175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제목 1"/>
          <p:cNvSpPr>
            <a:spLocks noGrp="1"/>
          </p:cNvSpPr>
          <p:nvPr>
            <p:ph type="title"/>
          </p:nvPr>
        </p:nvSpPr>
        <p:spPr>
          <a:xfrm>
            <a:off x="430710" y="630105"/>
            <a:ext cx="9817135" cy="932906"/>
          </a:xfrm>
        </p:spPr>
        <p:txBody>
          <a:bodyPr>
            <a:normAutofit/>
          </a:bodyPr>
          <a:lstStyle>
            <a:lvl1pPr algn="l">
              <a:defRPr sz="4600" b="1">
                <a:solidFill>
                  <a:schemeClr val="accent4">
                    <a:lumMod val="50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14" name="내용 개체 틀 2"/>
          <p:cNvSpPr>
            <a:spLocks noGrp="1"/>
          </p:cNvSpPr>
          <p:nvPr>
            <p:ph idx="1" hasCustomPrompt="1"/>
          </p:nvPr>
        </p:nvSpPr>
        <p:spPr>
          <a:xfrm>
            <a:off x="430706" y="1736297"/>
            <a:ext cx="2227792" cy="350057"/>
          </a:xfrm>
        </p:spPr>
        <p:txBody>
          <a:bodyPr>
            <a:normAutofit/>
          </a:bodyPr>
          <a:lstStyle>
            <a:lvl1pPr>
              <a:buFontTx/>
              <a:buNone/>
              <a:defRPr sz="1400" b="1">
                <a:solidFill>
                  <a:srgbClr val="3D3C3E"/>
                </a:solidFill>
              </a:defRPr>
            </a:lvl1pPr>
            <a:lvl2pPr>
              <a:buFontTx/>
              <a:buNone/>
              <a:defRPr sz="1400"/>
            </a:lvl2pPr>
            <a:lvl3pPr>
              <a:buFontTx/>
              <a:buNone/>
              <a:defRPr sz="1400"/>
            </a:lvl3pPr>
            <a:lvl4pPr>
              <a:buFontTx/>
              <a:buNone/>
              <a:defRPr sz="1400"/>
            </a:lvl4pPr>
            <a:lvl5pPr>
              <a:buFontTx/>
              <a:buNone/>
              <a:defRPr sz="1400"/>
            </a:lvl5pPr>
          </a:lstStyle>
          <a:p>
            <a:pPr lvl="0"/>
            <a:r>
              <a:rPr lang="ko-KR" altLang="en-US" smtClean="0"/>
              <a:t>내용제목</a:t>
            </a:r>
          </a:p>
        </p:txBody>
      </p:sp>
      <p:sp>
        <p:nvSpPr>
          <p:cNvPr id="15" name="내용 개체 틀 2"/>
          <p:cNvSpPr>
            <a:spLocks noGrp="1"/>
          </p:cNvSpPr>
          <p:nvPr>
            <p:ph idx="13" hasCustomPrompt="1"/>
          </p:nvPr>
        </p:nvSpPr>
        <p:spPr>
          <a:xfrm>
            <a:off x="2732758" y="1736297"/>
            <a:ext cx="7515084" cy="364060"/>
          </a:xfrm>
        </p:spPr>
        <p:txBody>
          <a:bodyPr>
            <a:normAutofit/>
          </a:bodyPr>
          <a:lstStyle>
            <a:lvl1pPr>
              <a:buNone/>
              <a:defRPr sz="1400" b="1" baseline="0">
                <a:solidFill>
                  <a:srgbClr val="3D3C3E"/>
                </a:solidFill>
                <a:latin typeface="나눔고딕" pitchFamily="50" charset="-127"/>
                <a:ea typeface="나눔고딕" pitchFamily="50" charset="-127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ko-KR" altLang="en-US" smtClean="0"/>
              <a:t>내용을 입력하십시오</a:t>
            </a:r>
            <a:r>
              <a:rPr lang="en-US" altLang="ko-KR" smtClean="0"/>
              <a:t>.</a:t>
            </a:r>
            <a:endParaRPr lang="ko-KR" altLang="en-US" smtClean="0"/>
          </a:p>
        </p:txBody>
      </p:sp>
      <p:pic>
        <p:nvPicPr>
          <p:cNvPr id="16" name="그림 15" descr="jg_a4_02_ci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022560" y="7084281"/>
            <a:ext cx="1367793" cy="277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328611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빈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61FD00-3F21-42CF-9EF5-8F6D81CE3AF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3-29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D217C8-C1B9-4E84-BCEB-D9195FCD88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그림 6" descr="jg_a4_02_ci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022560" y="7084281"/>
            <a:ext cx="1367793" cy="277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441661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802005" y="2348898"/>
            <a:ext cx="9089390" cy="1620771"/>
          </a:xfrm>
        </p:spPr>
        <p:txBody>
          <a:bodyPr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604010" y="4284720"/>
            <a:ext cx="7485380" cy="1932323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  <a:lvl2pPr marL="5210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21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32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42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5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64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74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685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fld id="{8761FD00-3F21-42CF-9EF5-8F6D81CE3AF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3-29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fld id="{97D217C8-C1B9-4E84-BCEB-D9195FCD88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467146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  <a:lvl2pPr>
              <a:defRPr>
                <a:latin typeface="나눔고딕" pitchFamily="50" charset="-127"/>
                <a:ea typeface="나눔고딕" pitchFamily="50" charset="-127"/>
              </a:defRPr>
            </a:lvl2pPr>
            <a:lvl3pPr>
              <a:defRPr>
                <a:latin typeface="나눔고딕" pitchFamily="50" charset="-127"/>
                <a:ea typeface="나눔고딕" pitchFamily="50" charset="-127"/>
              </a:defRPr>
            </a:lvl3pPr>
            <a:lvl4pPr>
              <a:defRPr>
                <a:latin typeface="나눔고딕" pitchFamily="50" charset="-127"/>
                <a:ea typeface="나눔고딕" pitchFamily="50" charset="-127"/>
              </a:defRPr>
            </a:lvl4pPr>
            <a:lvl5pPr>
              <a:defRPr>
                <a:latin typeface="나눔고딕" pitchFamily="50" charset="-127"/>
                <a:ea typeface="나눔고딕" pitchFamily="50" charset="-127"/>
              </a:defRPr>
            </a:lvl5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fld id="{8761FD00-3F21-42CF-9EF5-8F6D81CE3AF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3-29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fld id="{97D217C8-C1B9-4E84-BCEB-D9195FCD88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그림 7" descr="jg_a4_02_ci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022560" y="7084281"/>
            <a:ext cx="1367793" cy="277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320988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6878812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직선 연결선 5"/>
          <p:cNvCxnSpPr/>
          <p:nvPr userDrawn="1"/>
        </p:nvCxnSpPr>
        <p:spPr>
          <a:xfrm>
            <a:off x="426617" y="3786901"/>
            <a:ext cx="9830350" cy="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부제목 2"/>
          <p:cNvSpPr txBox="1">
            <a:spLocks/>
          </p:cNvSpPr>
          <p:nvPr userDrawn="1"/>
        </p:nvSpPr>
        <p:spPr>
          <a:xfrm>
            <a:off x="309275" y="7042284"/>
            <a:ext cx="3747927" cy="503264"/>
          </a:xfrm>
          <a:prstGeom prst="rect">
            <a:avLst/>
          </a:prstGeom>
        </p:spPr>
        <p:txBody>
          <a:bodyPr vert="horz" lIns="104306" tIns="52153" rIns="104306" bIns="52153" rtlCol="0">
            <a:noAutofit/>
          </a:bodyPr>
          <a:lstStyle>
            <a:lvl1pPr marL="0" indent="0" algn="l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50000"/>
              </a:lnSpc>
              <a:spcAft>
                <a:spcPts val="0"/>
              </a:spcAft>
            </a:pPr>
            <a:r>
              <a:rPr kumimoji="0" lang="ko-KR" altLang="en-US" sz="900" spc="-23" dirty="0" smtClean="0">
                <a:solidFill>
                  <a:prstClr val="white">
                    <a:lumMod val="50000"/>
                  </a:prstClr>
                </a:solidFill>
                <a:latin typeface="나눔고딕" pitchFamily="50" charset="-127"/>
                <a:ea typeface="나눔고딕" pitchFamily="50" charset="-127"/>
              </a:rPr>
              <a:t>이 문서는 나눔글꼴로 작성되었습니다</a:t>
            </a:r>
            <a:r>
              <a:rPr kumimoji="0" lang="en-US" altLang="ko-KR" sz="900" spc="-23" dirty="0" smtClean="0">
                <a:solidFill>
                  <a:prstClr val="white">
                    <a:lumMod val="50000"/>
                  </a:prstClr>
                </a:solidFill>
                <a:latin typeface="나눔고딕" pitchFamily="50" charset="-127"/>
                <a:ea typeface="나눔고딕" pitchFamily="50" charset="-127"/>
              </a:rPr>
              <a:t>. </a:t>
            </a:r>
            <a:r>
              <a:rPr kumimoji="0" lang="ko-KR" altLang="en-US" sz="900" u="sng" spc="-23" dirty="0" smtClean="0">
                <a:solidFill>
                  <a:srgbClr val="4495D2"/>
                </a:solidFill>
                <a:latin typeface="나눔고딕" pitchFamily="50" charset="-127"/>
                <a:ea typeface="나눔고딕" pitchFamily="50" charset="-127"/>
                <a:hlinkClick r:id="rId2"/>
              </a:rPr>
              <a:t>설치하기</a:t>
            </a:r>
            <a:endParaRPr kumimoji="0" lang="ko-KR" altLang="en-US" sz="900" u="sng" spc="-23" dirty="0">
              <a:solidFill>
                <a:srgbClr val="4495D2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cxnSp>
        <p:nvCxnSpPr>
          <p:cNvPr id="8" name="직선 연결선 7"/>
          <p:cNvCxnSpPr/>
          <p:nvPr userDrawn="1"/>
        </p:nvCxnSpPr>
        <p:spPr>
          <a:xfrm>
            <a:off x="426617" y="4398189"/>
            <a:ext cx="186244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연결선 8"/>
          <p:cNvCxnSpPr/>
          <p:nvPr userDrawn="1"/>
        </p:nvCxnSpPr>
        <p:spPr>
          <a:xfrm>
            <a:off x="426617" y="4739974"/>
            <a:ext cx="186244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직선 연결선 9"/>
          <p:cNvCxnSpPr/>
          <p:nvPr userDrawn="1"/>
        </p:nvCxnSpPr>
        <p:spPr>
          <a:xfrm>
            <a:off x="426617" y="5084646"/>
            <a:ext cx="186244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 userDrawn="1"/>
        </p:nvCxnSpPr>
        <p:spPr>
          <a:xfrm>
            <a:off x="426617" y="5428406"/>
            <a:ext cx="186244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57978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644782" y="143524"/>
            <a:ext cx="2513977" cy="1419488"/>
          </a:xfrm>
          <a:prstGeom prst="rect">
            <a:avLst/>
          </a:prstGeom>
        </p:spPr>
        <p:txBody>
          <a:bodyPr vert="eaVert" lIns="99133" tIns="49583" rIns="99133" bIns="49583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101109" y="143524"/>
            <a:ext cx="7379131" cy="1419488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내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61FD00-3F21-42CF-9EF5-8F6D81CE3AF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3-29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D217C8-C1B9-4E84-BCEB-D9195FCD88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6" name="직선 연결선 5"/>
          <p:cNvCxnSpPr/>
          <p:nvPr userDrawn="1"/>
        </p:nvCxnSpPr>
        <p:spPr>
          <a:xfrm>
            <a:off x="426617" y="604040"/>
            <a:ext cx="9830350" cy="0"/>
          </a:xfrm>
          <a:prstGeom prst="line">
            <a:avLst/>
          </a:prstGeom>
          <a:ln w="3175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그림 8" descr="jg_a4_02_ci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022554" y="7084281"/>
            <a:ext cx="1367793" cy="277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333271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표지_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직선 연결선 7"/>
          <p:cNvCxnSpPr/>
          <p:nvPr userDrawn="1"/>
        </p:nvCxnSpPr>
        <p:spPr>
          <a:xfrm>
            <a:off x="426617" y="3786901"/>
            <a:ext cx="9830350" cy="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연결선 8"/>
          <p:cNvCxnSpPr/>
          <p:nvPr userDrawn="1"/>
        </p:nvCxnSpPr>
        <p:spPr>
          <a:xfrm>
            <a:off x="426617" y="4398189"/>
            <a:ext cx="186244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직선 연결선 9"/>
          <p:cNvCxnSpPr/>
          <p:nvPr userDrawn="1"/>
        </p:nvCxnSpPr>
        <p:spPr>
          <a:xfrm>
            <a:off x="426617" y="4739974"/>
            <a:ext cx="186244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 userDrawn="1"/>
        </p:nvCxnSpPr>
        <p:spPr>
          <a:xfrm>
            <a:off x="426617" y="5084646"/>
            <a:ext cx="186244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직선 연결선 11"/>
          <p:cNvCxnSpPr/>
          <p:nvPr userDrawn="1"/>
        </p:nvCxnSpPr>
        <p:spPr>
          <a:xfrm>
            <a:off x="426617" y="5428406"/>
            <a:ext cx="186244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텍스트 개체 틀 3"/>
          <p:cNvSpPr>
            <a:spLocks noGrp="1"/>
          </p:cNvSpPr>
          <p:nvPr>
            <p:ph type="body" sz="half" idx="2" hasCustomPrompt="1"/>
          </p:nvPr>
        </p:nvSpPr>
        <p:spPr>
          <a:xfrm>
            <a:off x="364936" y="272046"/>
            <a:ext cx="9751362" cy="204134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6200" b="1" spc="-285" baseline="0">
                <a:solidFill>
                  <a:schemeClr val="accent4">
                    <a:lumMod val="50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  <a:lvl2pPr marL="521528" indent="0">
              <a:buNone/>
              <a:defRPr sz="1400"/>
            </a:lvl2pPr>
            <a:lvl3pPr marL="1043056" indent="0">
              <a:buNone/>
              <a:defRPr sz="1100"/>
            </a:lvl3pPr>
            <a:lvl4pPr marL="1564584" indent="0">
              <a:buNone/>
              <a:defRPr sz="1000"/>
            </a:lvl4pPr>
            <a:lvl5pPr marL="2086112" indent="0">
              <a:buNone/>
              <a:defRPr sz="1000"/>
            </a:lvl5pPr>
            <a:lvl6pPr marL="2607640" indent="0">
              <a:buNone/>
              <a:defRPr sz="1000"/>
            </a:lvl6pPr>
            <a:lvl7pPr marL="3129168" indent="0">
              <a:buNone/>
              <a:defRPr sz="1000"/>
            </a:lvl7pPr>
            <a:lvl8pPr marL="3650696" indent="0">
              <a:buNone/>
              <a:defRPr sz="1000"/>
            </a:lvl8pPr>
            <a:lvl9pPr marL="4172224" indent="0">
              <a:buNone/>
              <a:defRPr sz="1000"/>
            </a:lvl9pPr>
          </a:lstStyle>
          <a:p>
            <a:pPr lvl="0"/>
            <a:r>
              <a:rPr lang="ko-KR" altLang="en-US" dirty="0" smtClean="0"/>
              <a:t>제목을 입력하세요</a:t>
            </a:r>
            <a:endParaRPr lang="en-US" altLang="ko-KR" dirty="0" smtClean="0"/>
          </a:p>
          <a:p>
            <a:pPr lvl="0"/>
            <a:endParaRPr lang="ko-KR" altLang="en-US" dirty="0" smtClean="0"/>
          </a:p>
        </p:txBody>
      </p:sp>
      <p:sp>
        <p:nvSpPr>
          <p:cNvPr id="21" name="제목 1"/>
          <p:cNvSpPr>
            <a:spLocks noGrp="1"/>
          </p:cNvSpPr>
          <p:nvPr>
            <p:ph type="title"/>
          </p:nvPr>
        </p:nvSpPr>
        <p:spPr>
          <a:xfrm>
            <a:off x="314019" y="4415769"/>
            <a:ext cx="9844712" cy="336085"/>
          </a:xfrm>
        </p:spPr>
        <p:txBody>
          <a:bodyPr anchor="t">
            <a:normAutofit/>
          </a:bodyPr>
          <a:lstStyle>
            <a:lvl1pPr algn="l">
              <a:buFont typeface="Wingdings" pitchFamily="2" charset="2"/>
              <a:buNone/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14" name="부제목 2"/>
          <p:cNvSpPr txBox="1">
            <a:spLocks/>
          </p:cNvSpPr>
          <p:nvPr userDrawn="1"/>
        </p:nvSpPr>
        <p:spPr>
          <a:xfrm>
            <a:off x="309275" y="7042284"/>
            <a:ext cx="3747927" cy="503264"/>
          </a:xfrm>
          <a:prstGeom prst="rect">
            <a:avLst/>
          </a:prstGeom>
        </p:spPr>
        <p:txBody>
          <a:bodyPr vert="horz" lIns="104306" tIns="52153" rIns="104306" bIns="52153" rtlCol="0">
            <a:noAutofit/>
          </a:bodyPr>
          <a:lstStyle>
            <a:lvl1pPr marL="0" indent="0" algn="l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50000"/>
              </a:lnSpc>
              <a:spcAft>
                <a:spcPts val="0"/>
              </a:spcAft>
            </a:pPr>
            <a:r>
              <a:rPr kumimoji="0" lang="ko-KR" altLang="en-US" sz="900" spc="-23" dirty="0" smtClean="0">
                <a:solidFill>
                  <a:prstClr val="white">
                    <a:lumMod val="50000"/>
                  </a:prstClr>
                </a:solidFill>
                <a:latin typeface="나눔고딕" pitchFamily="50" charset="-127"/>
                <a:ea typeface="나눔고딕" pitchFamily="50" charset="-127"/>
              </a:rPr>
              <a:t>이 문서는 나눔글꼴로 작성되었습니다</a:t>
            </a:r>
            <a:r>
              <a:rPr kumimoji="0" lang="en-US" altLang="ko-KR" sz="900" spc="-23" dirty="0" smtClean="0">
                <a:solidFill>
                  <a:prstClr val="white">
                    <a:lumMod val="50000"/>
                  </a:prstClr>
                </a:solidFill>
                <a:latin typeface="나눔고딕" pitchFamily="50" charset="-127"/>
                <a:ea typeface="나눔고딕" pitchFamily="50" charset="-127"/>
              </a:rPr>
              <a:t>. </a:t>
            </a:r>
            <a:r>
              <a:rPr kumimoji="0" lang="ko-KR" altLang="en-US" sz="900" u="sng" spc="-23" dirty="0" smtClean="0">
                <a:solidFill>
                  <a:srgbClr val="4495D2"/>
                </a:solidFill>
                <a:latin typeface="나눔고딕" pitchFamily="50" charset="-127"/>
                <a:ea typeface="나눔고딕" pitchFamily="50" charset="-127"/>
                <a:hlinkClick r:id="rId2"/>
              </a:rPr>
              <a:t>설치하기</a:t>
            </a:r>
            <a:endParaRPr kumimoji="0" lang="ko-KR" altLang="en-US" sz="900" u="sng" spc="-23" dirty="0">
              <a:solidFill>
                <a:srgbClr val="4495D2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23874536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내지_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61FD00-3F21-42CF-9EF5-8F6D81CE3AF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3-29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D217C8-C1B9-4E84-BCEB-D9195FCD88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7" name="직선 연결선 6"/>
          <p:cNvCxnSpPr/>
          <p:nvPr userDrawn="1"/>
        </p:nvCxnSpPr>
        <p:spPr>
          <a:xfrm>
            <a:off x="426617" y="604040"/>
            <a:ext cx="9830350" cy="0"/>
          </a:xfrm>
          <a:prstGeom prst="line">
            <a:avLst/>
          </a:prstGeom>
          <a:ln w="3175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제목 1"/>
          <p:cNvSpPr>
            <a:spLocks noGrp="1"/>
          </p:cNvSpPr>
          <p:nvPr>
            <p:ph type="title"/>
          </p:nvPr>
        </p:nvSpPr>
        <p:spPr>
          <a:xfrm>
            <a:off x="430707" y="630105"/>
            <a:ext cx="9817135" cy="932906"/>
          </a:xfrm>
        </p:spPr>
        <p:txBody>
          <a:bodyPr>
            <a:normAutofit/>
          </a:bodyPr>
          <a:lstStyle>
            <a:lvl1pPr algn="l">
              <a:defRPr sz="4600" b="1">
                <a:solidFill>
                  <a:schemeClr val="accent4">
                    <a:lumMod val="50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14" name="내용 개체 틀 2"/>
          <p:cNvSpPr>
            <a:spLocks noGrp="1"/>
          </p:cNvSpPr>
          <p:nvPr>
            <p:ph idx="1" hasCustomPrompt="1"/>
          </p:nvPr>
        </p:nvSpPr>
        <p:spPr>
          <a:xfrm>
            <a:off x="430706" y="1736292"/>
            <a:ext cx="2227792" cy="350057"/>
          </a:xfrm>
        </p:spPr>
        <p:txBody>
          <a:bodyPr>
            <a:normAutofit/>
          </a:bodyPr>
          <a:lstStyle>
            <a:lvl1pPr>
              <a:buFontTx/>
              <a:buNone/>
              <a:defRPr sz="1400" b="1">
                <a:solidFill>
                  <a:srgbClr val="3D3C3E"/>
                </a:solidFill>
              </a:defRPr>
            </a:lvl1pPr>
            <a:lvl2pPr>
              <a:buFontTx/>
              <a:buNone/>
              <a:defRPr sz="1400"/>
            </a:lvl2pPr>
            <a:lvl3pPr>
              <a:buFontTx/>
              <a:buNone/>
              <a:defRPr sz="1400"/>
            </a:lvl3pPr>
            <a:lvl4pPr>
              <a:buFontTx/>
              <a:buNone/>
              <a:defRPr sz="1400"/>
            </a:lvl4pPr>
            <a:lvl5pPr>
              <a:buFontTx/>
              <a:buNone/>
              <a:defRPr sz="1400"/>
            </a:lvl5pPr>
          </a:lstStyle>
          <a:p>
            <a:pPr lvl="0"/>
            <a:r>
              <a:rPr lang="ko-KR" altLang="en-US" smtClean="0"/>
              <a:t>내용제목</a:t>
            </a:r>
          </a:p>
        </p:txBody>
      </p:sp>
      <p:sp>
        <p:nvSpPr>
          <p:cNvPr id="15" name="내용 개체 틀 2"/>
          <p:cNvSpPr>
            <a:spLocks noGrp="1"/>
          </p:cNvSpPr>
          <p:nvPr>
            <p:ph idx="13" hasCustomPrompt="1"/>
          </p:nvPr>
        </p:nvSpPr>
        <p:spPr>
          <a:xfrm>
            <a:off x="2732758" y="1736292"/>
            <a:ext cx="7515084" cy="364060"/>
          </a:xfrm>
        </p:spPr>
        <p:txBody>
          <a:bodyPr>
            <a:normAutofit/>
          </a:bodyPr>
          <a:lstStyle>
            <a:lvl1pPr>
              <a:buNone/>
              <a:defRPr sz="1400" b="1" baseline="0">
                <a:solidFill>
                  <a:srgbClr val="3D3C3E"/>
                </a:solidFill>
                <a:latin typeface="나눔고딕" pitchFamily="50" charset="-127"/>
                <a:ea typeface="나눔고딕" pitchFamily="50" charset="-127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ko-KR" altLang="en-US" smtClean="0"/>
              <a:t>내용을 입력하십시오</a:t>
            </a:r>
            <a:r>
              <a:rPr lang="en-US" altLang="ko-KR" smtClean="0"/>
              <a:t>.</a:t>
            </a:r>
            <a:endParaRPr lang="ko-KR" altLang="en-US" smtClean="0"/>
          </a:p>
        </p:txBody>
      </p:sp>
      <p:pic>
        <p:nvPicPr>
          <p:cNvPr id="16" name="그림 15" descr="jg_a4_02_ci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022554" y="7084281"/>
            <a:ext cx="1367793" cy="277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852618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빈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61FD00-3F21-42CF-9EF5-8F6D81CE3AF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3-29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D217C8-C1B9-4E84-BCEB-D9195FCD88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그림 6" descr="jg_a4_02_ci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022554" y="7084281"/>
            <a:ext cx="1367793" cy="277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442916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802005" y="2348893"/>
            <a:ext cx="9089390" cy="1620771"/>
          </a:xfrm>
        </p:spPr>
        <p:txBody>
          <a:bodyPr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604010" y="4284716"/>
            <a:ext cx="7485380" cy="1932323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  <a:lvl2pPr marL="521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fld id="{8761FD00-3F21-42CF-9EF5-8F6D81CE3AF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3-29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fld id="{97D217C8-C1B9-4E84-BCEB-D9195FCD88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6015851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  <a:lvl2pPr>
              <a:defRPr>
                <a:latin typeface="나눔고딕" pitchFamily="50" charset="-127"/>
                <a:ea typeface="나눔고딕" pitchFamily="50" charset="-127"/>
              </a:defRPr>
            </a:lvl2pPr>
            <a:lvl3pPr>
              <a:defRPr>
                <a:latin typeface="나눔고딕" pitchFamily="50" charset="-127"/>
                <a:ea typeface="나눔고딕" pitchFamily="50" charset="-127"/>
              </a:defRPr>
            </a:lvl3pPr>
            <a:lvl4pPr>
              <a:defRPr>
                <a:latin typeface="나눔고딕" pitchFamily="50" charset="-127"/>
                <a:ea typeface="나눔고딕" pitchFamily="50" charset="-127"/>
              </a:defRPr>
            </a:lvl4pPr>
            <a:lvl5pPr>
              <a:defRPr>
                <a:latin typeface="나눔고딕" pitchFamily="50" charset="-127"/>
                <a:ea typeface="나눔고딕" pitchFamily="50" charset="-127"/>
              </a:defRPr>
            </a:lvl5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fld id="{8761FD00-3F21-42CF-9EF5-8F6D81CE3AF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3-29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fld id="{97D217C8-C1B9-4E84-BCEB-D9195FCD88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그림 7" descr="jg_a4_02_ci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022554" y="7084281"/>
            <a:ext cx="1367793" cy="277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4787379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79353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00"/>
          <p:cNvGrpSpPr>
            <a:grpSpLocks/>
          </p:cNvGrpSpPr>
          <p:nvPr/>
        </p:nvGrpSpPr>
        <p:grpSpPr bwMode="auto">
          <a:xfrm>
            <a:off x="6000185" y="204785"/>
            <a:ext cx="4427737" cy="3843642"/>
            <a:chOff x="3232" y="117"/>
            <a:chExt cx="2385" cy="2196"/>
          </a:xfrm>
        </p:grpSpPr>
        <p:sp>
          <p:nvSpPr>
            <p:cNvPr id="5" name="AutoShape 101"/>
            <p:cNvSpPr>
              <a:spLocks noChangeArrowheads="1"/>
            </p:cNvSpPr>
            <p:nvPr userDrawn="1"/>
          </p:nvSpPr>
          <p:spPr bwMode="gray">
            <a:xfrm>
              <a:off x="4440" y="117"/>
              <a:ext cx="571" cy="539"/>
            </a:xfrm>
            <a:prstGeom prst="roundRect">
              <a:avLst>
                <a:gd name="adj" fmla="val 16667"/>
              </a:avLst>
            </a:prstGeom>
            <a:solidFill>
              <a:srgbClr val="FFFFFF">
                <a:alpha val="20000"/>
              </a:srgbClr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r" latinLnBrk="0">
                <a:defRPr/>
              </a:pPr>
              <a:endParaRPr kumimoji="0" lang="ko-KR" altLang="en-US"/>
            </a:p>
          </p:txBody>
        </p:sp>
        <p:sp>
          <p:nvSpPr>
            <p:cNvPr id="6" name="AutoShape 102"/>
            <p:cNvSpPr>
              <a:spLocks noChangeArrowheads="1"/>
            </p:cNvSpPr>
            <p:nvPr userDrawn="1"/>
          </p:nvSpPr>
          <p:spPr bwMode="gray">
            <a:xfrm>
              <a:off x="5045" y="117"/>
              <a:ext cx="572" cy="539"/>
            </a:xfrm>
            <a:prstGeom prst="roundRect">
              <a:avLst>
                <a:gd name="adj" fmla="val 16667"/>
              </a:avLst>
            </a:prstGeom>
            <a:solidFill>
              <a:srgbClr val="FFFFFF">
                <a:alpha val="39999"/>
              </a:srgbClr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r" latinLnBrk="0">
                <a:defRPr/>
              </a:pPr>
              <a:endParaRPr kumimoji="0" lang="ko-KR" altLang="en-US"/>
            </a:p>
          </p:txBody>
        </p:sp>
        <p:sp>
          <p:nvSpPr>
            <p:cNvPr id="7" name="AutoShape 103"/>
            <p:cNvSpPr>
              <a:spLocks noChangeArrowheads="1"/>
            </p:cNvSpPr>
            <p:nvPr userDrawn="1"/>
          </p:nvSpPr>
          <p:spPr bwMode="gray">
            <a:xfrm>
              <a:off x="4440" y="683"/>
              <a:ext cx="571" cy="539"/>
            </a:xfrm>
            <a:prstGeom prst="roundRect">
              <a:avLst>
                <a:gd name="adj" fmla="val 16667"/>
              </a:avLst>
            </a:prstGeom>
            <a:solidFill>
              <a:srgbClr val="FFFFFF">
                <a:alpha val="39999"/>
              </a:srgbClr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r" latinLnBrk="0">
                <a:defRPr/>
              </a:pPr>
              <a:endParaRPr kumimoji="0" lang="ko-KR" altLang="en-US"/>
            </a:p>
          </p:txBody>
        </p:sp>
        <p:sp>
          <p:nvSpPr>
            <p:cNvPr id="8" name="AutoShape 104"/>
            <p:cNvSpPr>
              <a:spLocks noChangeArrowheads="1"/>
            </p:cNvSpPr>
            <p:nvPr userDrawn="1"/>
          </p:nvSpPr>
          <p:spPr bwMode="gray">
            <a:xfrm>
              <a:off x="3232" y="117"/>
              <a:ext cx="572" cy="539"/>
            </a:xfrm>
            <a:prstGeom prst="roundRect">
              <a:avLst>
                <a:gd name="adj" fmla="val 16667"/>
              </a:avLst>
            </a:prstGeom>
            <a:solidFill>
              <a:srgbClr val="FFFFFF">
                <a:alpha val="20000"/>
              </a:srgbClr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r" latinLnBrk="0">
                <a:defRPr/>
              </a:pPr>
              <a:endParaRPr kumimoji="0" lang="ko-KR" altLang="en-US"/>
            </a:p>
          </p:txBody>
        </p:sp>
        <p:sp>
          <p:nvSpPr>
            <p:cNvPr id="9" name="AutoShape 105"/>
            <p:cNvSpPr>
              <a:spLocks noChangeArrowheads="1"/>
            </p:cNvSpPr>
            <p:nvPr userDrawn="1"/>
          </p:nvSpPr>
          <p:spPr bwMode="gray">
            <a:xfrm>
              <a:off x="3839" y="683"/>
              <a:ext cx="571" cy="538"/>
            </a:xfrm>
            <a:prstGeom prst="roundRect">
              <a:avLst>
                <a:gd name="adj" fmla="val 16667"/>
              </a:avLst>
            </a:prstGeom>
            <a:solidFill>
              <a:srgbClr val="FFFFFF">
                <a:alpha val="20000"/>
              </a:srgbClr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r" latinLnBrk="0">
                <a:defRPr/>
              </a:pPr>
              <a:endParaRPr kumimoji="0" lang="ko-KR" altLang="en-US"/>
            </a:p>
          </p:txBody>
        </p:sp>
        <p:sp>
          <p:nvSpPr>
            <p:cNvPr id="10" name="AutoShape 106"/>
            <p:cNvSpPr>
              <a:spLocks noChangeArrowheads="1"/>
            </p:cNvSpPr>
            <p:nvPr userDrawn="1"/>
          </p:nvSpPr>
          <p:spPr bwMode="gray">
            <a:xfrm>
              <a:off x="5045" y="1201"/>
              <a:ext cx="572" cy="538"/>
            </a:xfrm>
            <a:prstGeom prst="roundRect">
              <a:avLst>
                <a:gd name="adj" fmla="val 16667"/>
              </a:avLst>
            </a:prstGeom>
            <a:solidFill>
              <a:srgbClr val="FFFFFF">
                <a:alpha val="20000"/>
              </a:srgbClr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r" latinLnBrk="0">
                <a:defRPr/>
              </a:pPr>
              <a:endParaRPr kumimoji="0" lang="ko-KR" altLang="en-US"/>
            </a:p>
          </p:txBody>
        </p:sp>
        <p:sp>
          <p:nvSpPr>
            <p:cNvPr id="11" name="AutoShape 107"/>
            <p:cNvSpPr>
              <a:spLocks noChangeArrowheads="1"/>
            </p:cNvSpPr>
            <p:nvPr userDrawn="1"/>
          </p:nvSpPr>
          <p:spPr bwMode="gray">
            <a:xfrm>
              <a:off x="5045" y="1774"/>
              <a:ext cx="572" cy="539"/>
            </a:xfrm>
            <a:prstGeom prst="roundRect">
              <a:avLst>
                <a:gd name="adj" fmla="val 16667"/>
              </a:avLst>
            </a:prstGeom>
            <a:solidFill>
              <a:srgbClr val="FFFFFF">
                <a:alpha val="20000"/>
              </a:srgbClr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r" latinLnBrk="0">
                <a:defRPr/>
              </a:pPr>
              <a:endParaRPr kumimoji="0" lang="ko-KR" altLang="en-US"/>
            </a:p>
          </p:txBody>
        </p:sp>
      </p:grp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80331" y="1291744"/>
            <a:ext cx="6690181" cy="1620771"/>
          </a:xfrm>
          <a:prstGeom prst="rect">
            <a:avLst/>
          </a:prstGeom>
        </p:spPr>
        <p:txBody>
          <a:bodyPr lIns="103849" tIns="51925" rIns="103849" bIns="51925"/>
          <a:lstStyle>
            <a:lvl1pPr>
              <a:defRPr sz="5700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en-US" altLang="ko-KR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82191" y="2846003"/>
            <a:ext cx="6714226" cy="551343"/>
          </a:xfrm>
        </p:spPr>
        <p:txBody>
          <a:bodyPr/>
          <a:lstStyle>
            <a:lvl1pPr marL="0" indent="0">
              <a:buFontTx/>
              <a:buNone/>
              <a:defRPr sz="2500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smtClean="0"/>
              <a:t>마스터 부제목 스타일 편집</a:t>
            </a:r>
            <a:endParaRPr lang="en-US" altLang="ko-KR"/>
          </a:p>
        </p:txBody>
      </p:sp>
      <p:sp>
        <p:nvSpPr>
          <p:cNvPr id="12" name="Rectangle 32"/>
          <p:cNvSpPr>
            <a:spLocks noGrp="1" noChangeArrowheads="1"/>
          </p:cNvSpPr>
          <p:nvPr>
            <p:ph type="dt" sz="half" idx="10"/>
          </p:nvPr>
        </p:nvSpPr>
        <p:spPr>
          <a:xfrm>
            <a:off x="1043353" y="7148194"/>
            <a:ext cx="1706118" cy="262544"/>
          </a:xfrm>
          <a:prstGeom prst="rect">
            <a:avLst/>
          </a:prstGeom>
        </p:spPr>
        <p:txBody>
          <a:bodyPr lIns="103849" tIns="51925" rIns="103849" bIns="51925"/>
          <a:lstStyle>
            <a:lvl1pPr>
              <a:defRPr/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13" name="Rectangle 33"/>
          <p:cNvSpPr>
            <a:spLocks noGrp="1" noChangeArrowheads="1"/>
          </p:cNvSpPr>
          <p:nvPr>
            <p:ph type="ftr" sz="quarter" idx="11"/>
          </p:nvPr>
        </p:nvSpPr>
        <p:spPr>
          <a:xfrm>
            <a:off x="4151148" y="7148194"/>
            <a:ext cx="1503759" cy="262544"/>
          </a:xfrm>
          <a:prstGeom prst="rect">
            <a:avLst/>
          </a:prstGeom>
          <a:ln algn="ctr"/>
        </p:spPr>
        <p:txBody>
          <a:bodyPr lIns="103849" tIns="51925" rIns="103849" bIns="51925"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14" name="Rectangle 34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22529" y="7148194"/>
            <a:ext cx="865126" cy="262544"/>
          </a:xfrm>
          <a:prstGeom prst="rect">
            <a:avLst/>
          </a:prstGeom>
        </p:spPr>
        <p:txBody>
          <a:bodyPr lIns="103849" tIns="51925" rIns="103849" bIns="51925"/>
          <a:lstStyle>
            <a:lvl1pPr algn="l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F8712DF5-045B-4E04-B586-E6F37F567611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67447106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제목 7"/>
          <p:cNvSpPr>
            <a:spLocks noGrp="1"/>
          </p:cNvSpPr>
          <p:nvPr>
            <p:ph type="ctrTitle"/>
          </p:nvPr>
        </p:nvSpPr>
        <p:spPr>
          <a:xfrm>
            <a:off x="2673350" y="3444575"/>
            <a:ext cx="7218045" cy="2088622"/>
          </a:xfrm>
        </p:spPr>
        <p:txBody>
          <a:bodyPr/>
          <a:lstStyle>
            <a:lvl1pPr>
              <a:defRPr b="1"/>
            </a:lvl1pPr>
          </a:lstStyle>
          <a:p>
            <a:r>
              <a:rPr kumimoji="0" lang="ko-KR" altLang="en-US" smtClean="0"/>
              <a:t>마스터 제목 스타일 편집</a:t>
            </a:r>
            <a:endParaRPr kumimoji="0" lang="en-US"/>
          </a:p>
        </p:txBody>
      </p:sp>
      <p:sp>
        <p:nvSpPr>
          <p:cNvPr id="9" name="부제목 8"/>
          <p:cNvSpPr>
            <a:spLocks noGrp="1"/>
          </p:cNvSpPr>
          <p:nvPr>
            <p:ph type="subTitle" idx="1"/>
          </p:nvPr>
        </p:nvSpPr>
        <p:spPr>
          <a:xfrm>
            <a:off x="2673350" y="5516394"/>
            <a:ext cx="7218045" cy="1512253"/>
          </a:xfrm>
        </p:spPr>
        <p:txBody>
          <a:bodyPr/>
          <a:lstStyle>
            <a:lvl1pPr marL="0" indent="0" algn="l">
              <a:buNone/>
              <a:defRPr sz="2100" b="1">
                <a:solidFill>
                  <a:schemeClr val="tx2"/>
                </a:solidFill>
              </a:defRPr>
            </a:lvl1pPr>
            <a:lvl2pPr marL="518411" indent="0" algn="ctr">
              <a:buNone/>
            </a:lvl2pPr>
            <a:lvl3pPr marL="1036814" indent="0" algn="ctr">
              <a:buNone/>
            </a:lvl3pPr>
            <a:lvl4pPr marL="1555224" indent="0" algn="ctr">
              <a:buNone/>
            </a:lvl4pPr>
            <a:lvl5pPr marL="2073636" indent="0" algn="ctr">
              <a:buNone/>
            </a:lvl5pPr>
            <a:lvl6pPr marL="2592040" indent="0" algn="ctr">
              <a:buNone/>
            </a:lvl6pPr>
            <a:lvl7pPr marL="3110446" indent="0" algn="ctr">
              <a:buNone/>
            </a:lvl7pPr>
            <a:lvl8pPr marL="3628861" indent="0" algn="ctr">
              <a:buNone/>
            </a:lvl8pPr>
            <a:lvl9pPr marL="4147265" indent="0" algn="ctr">
              <a:buNone/>
            </a:lvl9pPr>
          </a:lstStyle>
          <a:p>
            <a:r>
              <a:rPr kumimoji="0" lang="ko-KR" altLang="en-US" smtClean="0"/>
              <a:t>마스터 부제목 스타일 편집</a:t>
            </a:r>
            <a:endParaRPr kumimoji="0" lang="en-US"/>
          </a:p>
        </p:txBody>
      </p:sp>
      <p:sp>
        <p:nvSpPr>
          <p:cNvPr id="28" name="날짜 개체 틀 27"/>
          <p:cNvSpPr>
            <a:spLocks noGrp="1"/>
          </p:cNvSpPr>
          <p:nvPr>
            <p:ph type="dt" sz="half" idx="10"/>
          </p:nvPr>
        </p:nvSpPr>
        <p:spPr bwMode="auto">
          <a:xfrm rot="5400000">
            <a:off x="9156757" y="1281752"/>
            <a:ext cx="2520421" cy="445558"/>
          </a:xfrm>
        </p:spPr>
        <p:txBody>
          <a:bodyPr/>
          <a:lstStyle/>
          <a:p>
            <a:fld id="{582EF422-6799-4543-9129-69758A77C2D3}" type="datetimeFigureOut">
              <a:rPr lang="ko-KR" altLang="en-US" smtClean="0">
                <a:solidFill>
                  <a:srgbClr val="575F6D"/>
                </a:solidFill>
              </a:rPr>
              <a:pPr/>
              <a:t>2018-03-29</a:t>
            </a:fld>
            <a:endParaRPr lang="ko-KR" altLang="en-US">
              <a:solidFill>
                <a:srgbClr val="575F6D"/>
              </a:solidFill>
            </a:endParaRPr>
          </a:p>
        </p:txBody>
      </p:sp>
      <p:sp>
        <p:nvSpPr>
          <p:cNvPr id="17" name="바닥글 개체 틀 16"/>
          <p:cNvSpPr>
            <a:spLocks noGrp="1"/>
          </p:cNvSpPr>
          <p:nvPr>
            <p:ph type="ftr" sz="quarter" idx="11"/>
          </p:nvPr>
        </p:nvSpPr>
        <p:spPr bwMode="auto">
          <a:xfrm rot="5400000">
            <a:off x="8398816" y="4597640"/>
            <a:ext cx="4032674" cy="449123"/>
          </a:xfrm>
        </p:spPr>
        <p:txBody>
          <a:bodyPr/>
          <a:lstStyle/>
          <a:p>
            <a:endParaRPr lang="ko-KR" altLang="en-US">
              <a:solidFill>
                <a:srgbClr val="575F6D"/>
              </a:solidFill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445562" y="0"/>
            <a:ext cx="712893" cy="7561263"/>
          </a:xfrm>
          <a:prstGeom prst="rect">
            <a:avLst/>
          </a:prstGeom>
          <a:solidFill>
            <a:schemeClr val="accent1">
              <a:tint val="60000"/>
              <a:alpha val="54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685" tIns="51843" rIns="103685" bIns="51843" anchor="ctr"/>
          <a:lstStyle/>
          <a:p>
            <a:pPr algn="ctr" defTabSz="1036814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white"/>
              </a:solidFill>
            </a:endParaRPr>
          </a:p>
        </p:txBody>
      </p:sp>
      <p:sp>
        <p:nvSpPr>
          <p:cNvPr id="12" name="직사각형 11"/>
          <p:cNvSpPr/>
          <p:nvPr/>
        </p:nvSpPr>
        <p:spPr bwMode="auto">
          <a:xfrm>
            <a:off x="323159" y="0"/>
            <a:ext cx="122399" cy="7561263"/>
          </a:xfrm>
          <a:prstGeom prst="rect">
            <a:avLst/>
          </a:prstGeom>
          <a:solidFill>
            <a:schemeClr val="accent1">
              <a:tint val="40000"/>
              <a:alpha val="36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685" tIns="51843" rIns="103685" bIns="51843" anchor="ctr"/>
          <a:lstStyle/>
          <a:p>
            <a:pPr algn="ctr" defTabSz="1036814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white"/>
              </a:solidFill>
            </a:endParaRPr>
          </a:p>
        </p:txBody>
      </p:sp>
      <p:sp>
        <p:nvSpPr>
          <p:cNvPr id="14" name="직사각형 13"/>
          <p:cNvSpPr/>
          <p:nvPr/>
        </p:nvSpPr>
        <p:spPr bwMode="auto">
          <a:xfrm>
            <a:off x="1158453" y="0"/>
            <a:ext cx="212689" cy="7561263"/>
          </a:xfrm>
          <a:prstGeom prst="rect">
            <a:avLst/>
          </a:prstGeom>
          <a:solidFill>
            <a:schemeClr val="accent1">
              <a:tint val="40000"/>
              <a:alpha val="70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685" tIns="51843" rIns="103685" bIns="51843" anchor="ctr"/>
          <a:lstStyle/>
          <a:p>
            <a:pPr algn="ctr" defTabSz="1036814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white"/>
              </a:solidFill>
            </a:endParaRPr>
          </a:p>
        </p:txBody>
      </p:sp>
      <p:sp>
        <p:nvSpPr>
          <p:cNvPr id="19" name="직사각형 18"/>
          <p:cNvSpPr/>
          <p:nvPr/>
        </p:nvSpPr>
        <p:spPr bwMode="auto">
          <a:xfrm>
            <a:off x="1334710" y="0"/>
            <a:ext cx="269300" cy="7561263"/>
          </a:xfrm>
          <a:prstGeom prst="rect">
            <a:avLst/>
          </a:prstGeom>
          <a:solidFill>
            <a:schemeClr val="accent1">
              <a:tint val="20000"/>
              <a:alpha val="71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685" tIns="51843" rIns="103685" bIns="51843" anchor="ctr"/>
          <a:lstStyle/>
          <a:p>
            <a:pPr algn="ctr" defTabSz="1036814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white"/>
              </a:solidFill>
            </a:endParaRPr>
          </a:p>
        </p:txBody>
      </p:sp>
      <p:sp>
        <p:nvSpPr>
          <p:cNvPr id="11" name="직선 연결선 10"/>
          <p:cNvSpPr>
            <a:spLocks noChangeShapeType="1"/>
          </p:cNvSpPr>
          <p:nvPr/>
        </p:nvSpPr>
        <p:spPr bwMode="auto">
          <a:xfrm>
            <a:off x="124363" y="0"/>
            <a:ext cx="0" cy="7561263"/>
          </a:xfrm>
          <a:prstGeom prst="line">
            <a:avLst/>
          </a:prstGeom>
          <a:noFill/>
          <a:ln w="57150" cap="flat" cmpd="sng" algn="ctr">
            <a:solidFill>
              <a:schemeClr val="accent1">
                <a:tint val="60000"/>
                <a:alpha val="73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685" tIns="51843" rIns="103685" bIns="51843" anchor="t" compatLnSpc="1"/>
          <a:lstStyle/>
          <a:p>
            <a:pPr defTabSz="1036814" fontAlgn="auto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black"/>
              </a:solidFill>
              <a:latin typeface="Century Schoolbook"/>
            </a:endParaRPr>
          </a:p>
        </p:txBody>
      </p:sp>
      <p:sp>
        <p:nvSpPr>
          <p:cNvPr id="18" name="직선 연결선 17"/>
          <p:cNvSpPr>
            <a:spLocks noChangeShapeType="1"/>
          </p:cNvSpPr>
          <p:nvPr/>
        </p:nvSpPr>
        <p:spPr bwMode="auto">
          <a:xfrm>
            <a:off x="1069340" y="0"/>
            <a:ext cx="0" cy="7561263"/>
          </a:xfrm>
          <a:prstGeom prst="line">
            <a:avLst/>
          </a:prstGeom>
          <a:noFill/>
          <a:ln w="57150" cap="flat" cmpd="sng" algn="ctr">
            <a:solidFill>
              <a:schemeClr val="accent1">
                <a:tint val="20000"/>
                <a:alpha val="83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685" tIns="51843" rIns="103685" bIns="51843" anchor="t" compatLnSpc="1"/>
          <a:lstStyle/>
          <a:p>
            <a:pPr defTabSz="1036814" fontAlgn="auto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black"/>
              </a:solidFill>
              <a:latin typeface="Century Schoolbook"/>
            </a:endParaRPr>
          </a:p>
        </p:txBody>
      </p:sp>
      <p:sp>
        <p:nvSpPr>
          <p:cNvPr id="20" name="직선 연결선 19"/>
          <p:cNvSpPr>
            <a:spLocks noChangeShapeType="1"/>
          </p:cNvSpPr>
          <p:nvPr/>
        </p:nvSpPr>
        <p:spPr bwMode="auto">
          <a:xfrm>
            <a:off x="998837" y="0"/>
            <a:ext cx="0" cy="7561263"/>
          </a:xfrm>
          <a:prstGeom prst="line">
            <a:avLst/>
          </a:prstGeom>
          <a:noFill/>
          <a:ln w="57150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685" tIns="51843" rIns="103685" bIns="51843" anchor="t" compatLnSpc="1"/>
          <a:lstStyle/>
          <a:p>
            <a:pPr defTabSz="1036814" fontAlgn="auto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black"/>
              </a:solidFill>
              <a:latin typeface="Century Schoolbook"/>
            </a:endParaRPr>
          </a:p>
        </p:txBody>
      </p:sp>
      <p:sp>
        <p:nvSpPr>
          <p:cNvPr id="16" name="직선 연결선 15"/>
          <p:cNvSpPr>
            <a:spLocks noChangeShapeType="1"/>
          </p:cNvSpPr>
          <p:nvPr/>
        </p:nvSpPr>
        <p:spPr bwMode="auto">
          <a:xfrm>
            <a:off x="2019210" y="0"/>
            <a:ext cx="0" cy="7561263"/>
          </a:xfrm>
          <a:prstGeom prst="line">
            <a:avLst/>
          </a:prstGeom>
          <a:noFill/>
          <a:ln w="28575" cap="flat" cmpd="sng" algn="ctr">
            <a:solidFill>
              <a:schemeClr val="accent1">
                <a:tint val="60000"/>
                <a:alpha val="82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685" tIns="51843" rIns="103685" bIns="51843" anchor="t" compatLnSpc="1"/>
          <a:lstStyle/>
          <a:p>
            <a:pPr defTabSz="1036814" fontAlgn="auto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black"/>
              </a:solidFill>
              <a:latin typeface="Century Schoolbook"/>
            </a:endParaRPr>
          </a:p>
        </p:txBody>
      </p:sp>
      <p:sp>
        <p:nvSpPr>
          <p:cNvPr id="15" name="직선 연결선 14"/>
          <p:cNvSpPr>
            <a:spLocks noChangeShapeType="1"/>
          </p:cNvSpPr>
          <p:nvPr/>
        </p:nvSpPr>
        <p:spPr bwMode="auto">
          <a:xfrm>
            <a:off x="1247563" y="0"/>
            <a:ext cx="0" cy="7561263"/>
          </a:xfrm>
          <a:prstGeom prst="line">
            <a:avLst/>
          </a:prstGeom>
          <a:noFill/>
          <a:ln w="9525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685" tIns="51843" rIns="103685" bIns="51843" anchor="t" compatLnSpc="1"/>
          <a:lstStyle/>
          <a:p>
            <a:pPr defTabSz="1036814" fontAlgn="auto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black"/>
              </a:solidFill>
              <a:latin typeface="Century Schoolbook"/>
            </a:endParaRPr>
          </a:p>
        </p:txBody>
      </p:sp>
      <p:sp>
        <p:nvSpPr>
          <p:cNvPr id="22" name="직선 연결선 21"/>
          <p:cNvSpPr>
            <a:spLocks noChangeShapeType="1"/>
          </p:cNvSpPr>
          <p:nvPr/>
        </p:nvSpPr>
        <p:spPr bwMode="auto">
          <a:xfrm>
            <a:off x="10658148" y="0"/>
            <a:ext cx="0" cy="7561263"/>
          </a:xfrm>
          <a:prstGeom prst="line">
            <a:avLst/>
          </a:prstGeom>
          <a:noFill/>
          <a:ln w="57150" cap="flat" cmpd="thickThin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685" tIns="51843" rIns="103685" bIns="51843" anchor="t" compatLnSpc="1"/>
          <a:lstStyle/>
          <a:p>
            <a:pPr defTabSz="1036814" fontAlgn="auto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black"/>
              </a:solidFill>
              <a:latin typeface="Century Schoolbook"/>
            </a:endParaRPr>
          </a:p>
        </p:txBody>
      </p:sp>
      <p:sp>
        <p:nvSpPr>
          <p:cNvPr id="27" name="직사각형 26"/>
          <p:cNvSpPr/>
          <p:nvPr/>
        </p:nvSpPr>
        <p:spPr bwMode="auto">
          <a:xfrm>
            <a:off x="1425787" y="0"/>
            <a:ext cx="89112" cy="7561263"/>
          </a:xfrm>
          <a:prstGeom prst="rect">
            <a:avLst/>
          </a:prstGeom>
          <a:solidFill>
            <a:schemeClr val="accent1">
              <a:tint val="60000"/>
              <a:alpha val="51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685" tIns="51843" rIns="103685" bIns="51843" anchor="ctr"/>
          <a:lstStyle/>
          <a:p>
            <a:pPr algn="ctr" defTabSz="1036814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 dirty="0">
              <a:solidFill>
                <a:prstClr val="white"/>
              </a:solidFill>
            </a:endParaRPr>
          </a:p>
        </p:txBody>
      </p:sp>
      <p:sp>
        <p:nvSpPr>
          <p:cNvPr id="21" name="타원 20"/>
          <p:cNvSpPr/>
          <p:nvPr/>
        </p:nvSpPr>
        <p:spPr bwMode="auto">
          <a:xfrm>
            <a:off x="712894" y="3780631"/>
            <a:ext cx="1514898" cy="1428239"/>
          </a:xfrm>
          <a:prstGeom prst="ellipse">
            <a:avLst/>
          </a:prstGeom>
          <a:solidFill>
            <a:schemeClr val="accent1"/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685" tIns="51843" rIns="103685" bIns="51843" anchor="ctr"/>
          <a:lstStyle/>
          <a:p>
            <a:pPr algn="ctr" defTabSz="1036814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 dirty="0">
              <a:solidFill>
                <a:prstClr val="white"/>
              </a:solidFill>
            </a:endParaRPr>
          </a:p>
        </p:txBody>
      </p:sp>
      <p:sp>
        <p:nvSpPr>
          <p:cNvPr id="23" name="타원 22"/>
          <p:cNvSpPr/>
          <p:nvPr/>
        </p:nvSpPr>
        <p:spPr bwMode="auto">
          <a:xfrm>
            <a:off x="1531542" y="5365820"/>
            <a:ext cx="750110" cy="707200"/>
          </a:xfrm>
          <a:prstGeom prst="ellipse">
            <a:avLst/>
          </a:prstGeom>
          <a:ln w="285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685" tIns="51843" rIns="103685" bIns="51843" anchor="ctr"/>
          <a:lstStyle/>
          <a:p>
            <a:pPr algn="ctr" defTabSz="1036814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 dirty="0">
              <a:solidFill>
                <a:prstClr val="white"/>
              </a:solidFill>
            </a:endParaRPr>
          </a:p>
        </p:txBody>
      </p:sp>
      <p:sp>
        <p:nvSpPr>
          <p:cNvPr id="24" name="타원 23"/>
          <p:cNvSpPr/>
          <p:nvPr/>
        </p:nvSpPr>
        <p:spPr bwMode="auto">
          <a:xfrm>
            <a:off x="1275957" y="6064702"/>
            <a:ext cx="160401" cy="151225"/>
          </a:xfrm>
          <a:prstGeom prst="ellipse">
            <a:avLst/>
          </a:prstGeom>
          <a:ln w="127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685" tIns="51843" rIns="103685" bIns="51843" anchor="ctr"/>
          <a:lstStyle/>
          <a:p>
            <a:pPr algn="ctr" defTabSz="1036814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 dirty="0">
              <a:solidFill>
                <a:prstClr val="white"/>
              </a:solidFill>
            </a:endParaRPr>
          </a:p>
        </p:txBody>
      </p:sp>
      <p:sp>
        <p:nvSpPr>
          <p:cNvPr id="26" name="타원 25"/>
          <p:cNvSpPr/>
          <p:nvPr/>
        </p:nvSpPr>
        <p:spPr bwMode="auto">
          <a:xfrm>
            <a:off x="1946199" y="6381709"/>
            <a:ext cx="320802" cy="302451"/>
          </a:xfrm>
          <a:prstGeom prst="ellipse">
            <a:avLst/>
          </a:prstGeom>
          <a:ln w="127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685" tIns="51843" rIns="103685" bIns="51843" anchor="ctr"/>
          <a:lstStyle/>
          <a:p>
            <a:pPr algn="ctr" defTabSz="1036814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 dirty="0">
              <a:solidFill>
                <a:prstClr val="white"/>
              </a:solidFill>
            </a:endParaRPr>
          </a:p>
        </p:txBody>
      </p:sp>
      <p:sp>
        <p:nvSpPr>
          <p:cNvPr id="25" name="타원 24"/>
          <p:cNvSpPr/>
          <p:nvPr/>
        </p:nvSpPr>
        <p:spPr>
          <a:xfrm>
            <a:off x="2227792" y="4956828"/>
            <a:ext cx="427736" cy="403267"/>
          </a:xfrm>
          <a:prstGeom prst="ellipse">
            <a:avLst/>
          </a:prstGeom>
          <a:ln w="285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685" tIns="51843" rIns="103685" bIns="51843" anchor="ctr"/>
          <a:lstStyle/>
          <a:p>
            <a:pPr algn="ctr" defTabSz="1036814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 dirty="0">
              <a:solidFill>
                <a:prstClr val="white"/>
              </a:solidFill>
            </a:endParaRPr>
          </a:p>
        </p:txBody>
      </p:sp>
      <p:sp>
        <p:nvSpPr>
          <p:cNvPr id="29" name="슬라이드 번호 개체 틀 28"/>
          <p:cNvSpPr>
            <a:spLocks noGrp="1"/>
          </p:cNvSpPr>
          <p:nvPr>
            <p:ph type="sldNum" sz="quarter" idx="12"/>
          </p:nvPr>
        </p:nvSpPr>
        <p:spPr bwMode="auto">
          <a:xfrm>
            <a:off x="1550150" y="5434123"/>
            <a:ext cx="712893" cy="570594"/>
          </a:xfrm>
        </p:spPr>
        <p:txBody>
          <a:bodyPr/>
          <a:lstStyle/>
          <a:p>
            <a:fld id="{0FFC04F2-410B-478E-B5E8-05AEE79BCA15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4714263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ko-KR" altLang="en-US" smtClean="0"/>
              <a:t>마스터 제목 스타일 편집</a:t>
            </a:r>
            <a:endParaRPr kumimoji="0" lang="en-US"/>
          </a:p>
        </p:txBody>
      </p:sp>
      <p:sp>
        <p:nvSpPr>
          <p:cNvPr id="8" name="내용 개체 틀 7"/>
          <p:cNvSpPr>
            <a:spLocks noGrp="1"/>
          </p:cNvSpPr>
          <p:nvPr>
            <p:ph sz="quarter" idx="1"/>
          </p:nvPr>
        </p:nvSpPr>
        <p:spPr>
          <a:xfrm>
            <a:off x="534670" y="1764294"/>
            <a:ext cx="8732943" cy="5373538"/>
          </a:xfrm>
        </p:spPr>
        <p:txBody>
          <a:bodyPr/>
          <a:lstStyle/>
          <a:p>
            <a:pPr lvl="0" eaLnBrk="1" latinLnBrk="0" hangingPunct="1"/>
            <a:r>
              <a:rPr lang="ko-KR" altLang="en-US" smtClean="0"/>
              <a:t>마스터 텍스트 스타일을 편집합니다</a:t>
            </a:r>
          </a:p>
          <a:p>
            <a:pPr lvl="1" eaLnBrk="1" latinLnBrk="0" hangingPunct="1"/>
            <a:r>
              <a:rPr lang="ko-KR" altLang="en-US" smtClean="0"/>
              <a:t>둘째 수준</a:t>
            </a:r>
          </a:p>
          <a:p>
            <a:pPr lvl="2" eaLnBrk="1" latinLnBrk="0" hangingPunct="1"/>
            <a:r>
              <a:rPr lang="ko-KR" altLang="en-US" smtClean="0"/>
              <a:t>셋째 수준</a:t>
            </a:r>
          </a:p>
          <a:p>
            <a:pPr lvl="3" eaLnBrk="1" latinLnBrk="0" hangingPunct="1"/>
            <a:r>
              <a:rPr lang="ko-KR" altLang="en-US" smtClean="0"/>
              <a:t>넷째 수준</a:t>
            </a:r>
          </a:p>
          <a:p>
            <a:pPr lvl="4" eaLnBrk="1" latinLnBrk="0" hangingPunct="1"/>
            <a:r>
              <a:rPr lang="ko-KR" altLang="en-US" smtClean="0"/>
              <a:t>다섯째 수준</a:t>
            </a:r>
            <a:endParaRPr kumimoji="0" 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4"/>
          </p:nvPr>
        </p:nvSpPr>
        <p:spPr/>
        <p:txBody>
          <a:bodyPr rtlCol="0"/>
          <a:lstStyle/>
          <a:p>
            <a:fld id="{582EF422-6799-4543-9129-69758A77C2D3}" type="datetimeFigureOut">
              <a:rPr lang="ko-KR" altLang="en-US" smtClean="0">
                <a:solidFill>
                  <a:srgbClr val="575F6D"/>
                </a:solidFill>
              </a:rPr>
              <a:pPr/>
              <a:t>2018-03-29</a:t>
            </a:fld>
            <a:endParaRPr lang="ko-KR" altLang="en-US">
              <a:solidFill>
                <a:srgbClr val="575F6D"/>
              </a:solidFill>
            </a:endParaRPr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5"/>
          </p:nvPr>
        </p:nvSpPr>
        <p:spPr/>
        <p:txBody>
          <a:bodyPr rtlCol="0"/>
          <a:lstStyle/>
          <a:p>
            <a:fld id="{0FFC04F2-410B-478E-B5E8-05AEE79BCA15}" type="slidenum">
              <a:rPr lang="ko-KR" altLang="en-US" smtClean="0"/>
              <a:pPr/>
              <a:t>‹#›</a:t>
            </a:fld>
            <a:endParaRPr lang="ko-KR" altLang="en-US"/>
          </a:p>
        </p:txBody>
      </p:sp>
      <p:sp>
        <p:nvSpPr>
          <p:cNvPr id="10" name="바닥글 개체 틀 9"/>
          <p:cNvSpPr>
            <a:spLocks noGrp="1"/>
          </p:cNvSpPr>
          <p:nvPr>
            <p:ph type="ftr" sz="quarter" idx="16"/>
          </p:nvPr>
        </p:nvSpPr>
        <p:spPr/>
        <p:txBody>
          <a:bodyPr rtlCol="0"/>
          <a:lstStyle/>
          <a:p>
            <a:endParaRPr lang="ko-KR" altLang="en-US">
              <a:solidFill>
                <a:srgbClr val="575F6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337154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구역 머리글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673350" y="3192533"/>
            <a:ext cx="7218045" cy="2264178"/>
          </a:xfrm>
        </p:spPr>
        <p:txBody>
          <a:bodyPr/>
          <a:lstStyle>
            <a:lvl1pPr algn="l">
              <a:buNone/>
              <a:defRPr sz="3400" b="1" cap="small" baseline="0"/>
            </a:lvl1pPr>
          </a:lstStyle>
          <a:p>
            <a:r>
              <a:rPr kumimoji="0" lang="ko-KR" altLang="en-US" smtClean="0"/>
              <a:t>마스터 제목 스타일 편집</a:t>
            </a:r>
            <a:endParaRPr kumimoji="0" 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2673350" y="5523922"/>
            <a:ext cx="7218045" cy="1512253"/>
          </a:xfrm>
        </p:spPr>
        <p:txBody>
          <a:bodyPr anchor="t"/>
          <a:lstStyle>
            <a:lvl1pPr marL="0" indent="0">
              <a:buNone/>
              <a:defRPr sz="2100" b="1">
                <a:solidFill>
                  <a:schemeClr val="tx2"/>
                </a:solidFill>
              </a:defRPr>
            </a:lvl1pPr>
            <a:lvl2pPr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 bwMode="auto">
          <a:xfrm rot="5400000">
            <a:off x="9155161" y="1277712"/>
            <a:ext cx="2520421" cy="445558"/>
          </a:xfrm>
        </p:spPr>
        <p:txBody>
          <a:bodyPr/>
          <a:lstStyle/>
          <a:p>
            <a:fld id="{582EF422-6799-4543-9129-69758A77C2D3}" type="datetimeFigureOut">
              <a:rPr lang="ko-KR" altLang="en-US" smtClean="0">
                <a:solidFill>
                  <a:srgbClr val="FFF39D"/>
                </a:solidFill>
              </a:rPr>
              <a:pPr/>
              <a:t>2018-03-29</a:t>
            </a:fld>
            <a:endParaRPr lang="ko-KR" altLang="en-US">
              <a:solidFill>
                <a:srgbClr val="FFF39D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 bwMode="auto">
          <a:xfrm rot="5400000">
            <a:off x="8399035" y="4594483"/>
            <a:ext cx="4032674" cy="449123"/>
          </a:xfrm>
        </p:spPr>
        <p:txBody>
          <a:bodyPr/>
          <a:lstStyle/>
          <a:p>
            <a:endParaRPr lang="ko-KR" altLang="en-US">
              <a:solidFill>
                <a:srgbClr val="FFF39D"/>
              </a:solidFill>
            </a:endParaRPr>
          </a:p>
        </p:txBody>
      </p:sp>
      <p:sp>
        <p:nvSpPr>
          <p:cNvPr id="9" name="직사각형 8"/>
          <p:cNvSpPr/>
          <p:nvPr/>
        </p:nvSpPr>
        <p:spPr bwMode="auto">
          <a:xfrm>
            <a:off x="445562" y="0"/>
            <a:ext cx="712893" cy="7561263"/>
          </a:xfrm>
          <a:prstGeom prst="rect">
            <a:avLst/>
          </a:prstGeom>
          <a:solidFill>
            <a:schemeClr val="accent1">
              <a:tint val="60000"/>
              <a:alpha val="54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685" tIns="51843" rIns="103685" bIns="51843" anchor="ctr"/>
          <a:lstStyle/>
          <a:p>
            <a:pPr algn="ctr" defTabSz="1036814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white"/>
              </a:solidFill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323159" y="0"/>
            <a:ext cx="122399" cy="7561263"/>
          </a:xfrm>
          <a:prstGeom prst="rect">
            <a:avLst/>
          </a:prstGeom>
          <a:solidFill>
            <a:schemeClr val="accent1">
              <a:tint val="40000"/>
              <a:alpha val="36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685" tIns="51843" rIns="103685" bIns="51843" anchor="ctr"/>
          <a:lstStyle/>
          <a:p>
            <a:pPr algn="ctr" defTabSz="1036814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white"/>
              </a:solidFill>
            </a:endParaRPr>
          </a:p>
        </p:txBody>
      </p:sp>
      <p:sp>
        <p:nvSpPr>
          <p:cNvPr id="11" name="직사각형 10"/>
          <p:cNvSpPr/>
          <p:nvPr/>
        </p:nvSpPr>
        <p:spPr bwMode="auto">
          <a:xfrm>
            <a:off x="1158453" y="0"/>
            <a:ext cx="212689" cy="7561263"/>
          </a:xfrm>
          <a:prstGeom prst="rect">
            <a:avLst/>
          </a:prstGeom>
          <a:solidFill>
            <a:schemeClr val="accent1">
              <a:tint val="40000"/>
              <a:alpha val="70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685" tIns="51843" rIns="103685" bIns="51843" anchor="ctr"/>
          <a:lstStyle/>
          <a:p>
            <a:pPr algn="ctr" defTabSz="1036814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white"/>
              </a:solidFill>
            </a:endParaRPr>
          </a:p>
        </p:txBody>
      </p:sp>
      <p:sp>
        <p:nvSpPr>
          <p:cNvPr id="12" name="직사각형 11"/>
          <p:cNvSpPr/>
          <p:nvPr/>
        </p:nvSpPr>
        <p:spPr bwMode="auto">
          <a:xfrm>
            <a:off x="1334710" y="0"/>
            <a:ext cx="269300" cy="7561263"/>
          </a:xfrm>
          <a:prstGeom prst="rect">
            <a:avLst/>
          </a:prstGeom>
          <a:solidFill>
            <a:schemeClr val="accent1">
              <a:tint val="20000"/>
              <a:alpha val="71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685" tIns="51843" rIns="103685" bIns="51843" anchor="ctr"/>
          <a:lstStyle/>
          <a:p>
            <a:pPr algn="ctr" defTabSz="1036814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white"/>
              </a:solidFill>
            </a:endParaRPr>
          </a:p>
        </p:txBody>
      </p:sp>
      <p:sp>
        <p:nvSpPr>
          <p:cNvPr id="13" name="직선 연결선 12"/>
          <p:cNvSpPr>
            <a:spLocks noChangeShapeType="1"/>
          </p:cNvSpPr>
          <p:nvPr/>
        </p:nvSpPr>
        <p:spPr bwMode="auto">
          <a:xfrm>
            <a:off x="124363" y="0"/>
            <a:ext cx="0" cy="7561263"/>
          </a:xfrm>
          <a:prstGeom prst="line">
            <a:avLst/>
          </a:prstGeom>
          <a:noFill/>
          <a:ln w="57150" cap="flat" cmpd="sng" algn="ctr">
            <a:solidFill>
              <a:schemeClr val="accent1">
                <a:tint val="60000"/>
                <a:alpha val="73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685" tIns="51843" rIns="103685" bIns="51843" anchor="t" compatLnSpc="1"/>
          <a:lstStyle/>
          <a:p>
            <a:pPr defTabSz="1036814" fontAlgn="auto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white"/>
              </a:solidFill>
              <a:latin typeface="Century Schoolbook"/>
            </a:endParaRPr>
          </a:p>
        </p:txBody>
      </p:sp>
      <p:sp>
        <p:nvSpPr>
          <p:cNvPr id="14" name="직선 연결선 13"/>
          <p:cNvSpPr>
            <a:spLocks noChangeShapeType="1"/>
          </p:cNvSpPr>
          <p:nvPr/>
        </p:nvSpPr>
        <p:spPr bwMode="auto">
          <a:xfrm>
            <a:off x="1069340" y="0"/>
            <a:ext cx="0" cy="7561263"/>
          </a:xfrm>
          <a:prstGeom prst="line">
            <a:avLst/>
          </a:prstGeom>
          <a:noFill/>
          <a:ln w="57150" cap="flat" cmpd="sng" algn="ctr">
            <a:solidFill>
              <a:schemeClr val="accent1">
                <a:tint val="20000"/>
                <a:alpha val="83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685" tIns="51843" rIns="103685" bIns="51843" anchor="t" compatLnSpc="1"/>
          <a:lstStyle/>
          <a:p>
            <a:pPr defTabSz="1036814" fontAlgn="auto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white"/>
              </a:solidFill>
              <a:latin typeface="Century Schoolbook"/>
            </a:endParaRPr>
          </a:p>
        </p:txBody>
      </p:sp>
      <p:sp>
        <p:nvSpPr>
          <p:cNvPr id="15" name="직선 연결선 14"/>
          <p:cNvSpPr>
            <a:spLocks noChangeShapeType="1"/>
          </p:cNvSpPr>
          <p:nvPr/>
        </p:nvSpPr>
        <p:spPr bwMode="auto">
          <a:xfrm>
            <a:off x="998837" y="0"/>
            <a:ext cx="0" cy="7561263"/>
          </a:xfrm>
          <a:prstGeom prst="line">
            <a:avLst/>
          </a:prstGeom>
          <a:noFill/>
          <a:ln w="57150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685" tIns="51843" rIns="103685" bIns="51843" anchor="t" compatLnSpc="1"/>
          <a:lstStyle/>
          <a:p>
            <a:pPr defTabSz="1036814" fontAlgn="auto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white"/>
              </a:solidFill>
              <a:latin typeface="Century Schoolbook"/>
            </a:endParaRPr>
          </a:p>
        </p:txBody>
      </p:sp>
      <p:sp>
        <p:nvSpPr>
          <p:cNvPr id="16" name="직선 연결선 15"/>
          <p:cNvSpPr>
            <a:spLocks noChangeShapeType="1"/>
          </p:cNvSpPr>
          <p:nvPr/>
        </p:nvSpPr>
        <p:spPr bwMode="auto">
          <a:xfrm>
            <a:off x="2019210" y="0"/>
            <a:ext cx="0" cy="7561263"/>
          </a:xfrm>
          <a:prstGeom prst="line">
            <a:avLst/>
          </a:prstGeom>
          <a:noFill/>
          <a:ln w="28575" cap="flat" cmpd="sng" algn="ctr">
            <a:solidFill>
              <a:schemeClr val="accent1">
                <a:tint val="60000"/>
                <a:alpha val="82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685" tIns="51843" rIns="103685" bIns="51843" anchor="t" compatLnSpc="1"/>
          <a:lstStyle/>
          <a:p>
            <a:pPr defTabSz="1036814" fontAlgn="auto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white"/>
              </a:solidFill>
              <a:latin typeface="Century Schoolbook"/>
            </a:endParaRPr>
          </a:p>
        </p:txBody>
      </p:sp>
      <p:sp>
        <p:nvSpPr>
          <p:cNvPr id="17" name="직선 연결선 16"/>
          <p:cNvSpPr>
            <a:spLocks noChangeShapeType="1"/>
          </p:cNvSpPr>
          <p:nvPr/>
        </p:nvSpPr>
        <p:spPr bwMode="auto">
          <a:xfrm>
            <a:off x="1247563" y="0"/>
            <a:ext cx="0" cy="7561263"/>
          </a:xfrm>
          <a:prstGeom prst="line">
            <a:avLst/>
          </a:prstGeom>
          <a:noFill/>
          <a:ln w="9525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685" tIns="51843" rIns="103685" bIns="51843" anchor="t" compatLnSpc="1"/>
          <a:lstStyle/>
          <a:p>
            <a:pPr defTabSz="1036814" fontAlgn="auto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white"/>
              </a:solidFill>
              <a:latin typeface="Century Schoolbook"/>
            </a:endParaRPr>
          </a:p>
        </p:txBody>
      </p:sp>
      <p:sp>
        <p:nvSpPr>
          <p:cNvPr id="18" name="직사각형 17"/>
          <p:cNvSpPr/>
          <p:nvPr/>
        </p:nvSpPr>
        <p:spPr bwMode="auto">
          <a:xfrm>
            <a:off x="1425787" y="0"/>
            <a:ext cx="89112" cy="7561263"/>
          </a:xfrm>
          <a:prstGeom prst="rect">
            <a:avLst/>
          </a:prstGeom>
          <a:solidFill>
            <a:schemeClr val="accent1">
              <a:tint val="60000"/>
              <a:alpha val="51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685" tIns="51843" rIns="103685" bIns="51843" anchor="ctr"/>
          <a:lstStyle/>
          <a:p>
            <a:pPr algn="ctr" defTabSz="1036814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 dirty="0">
              <a:solidFill>
                <a:prstClr val="white"/>
              </a:solidFill>
            </a:endParaRPr>
          </a:p>
        </p:txBody>
      </p:sp>
      <p:sp>
        <p:nvSpPr>
          <p:cNvPr id="19" name="타원 18"/>
          <p:cNvSpPr/>
          <p:nvPr/>
        </p:nvSpPr>
        <p:spPr bwMode="auto">
          <a:xfrm>
            <a:off x="712894" y="3780631"/>
            <a:ext cx="1514898" cy="1428239"/>
          </a:xfrm>
          <a:prstGeom prst="ellipse">
            <a:avLst/>
          </a:prstGeom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685" tIns="51843" rIns="103685" bIns="51843" anchor="ctr"/>
          <a:lstStyle/>
          <a:p>
            <a:pPr algn="ctr" defTabSz="1036814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 dirty="0">
              <a:solidFill>
                <a:prstClr val="white"/>
              </a:solidFill>
            </a:endParaRPr>
          </a:p>
        </p:txBody>
      </p:sp>
      <p:sp>
        <p:nvSpPr>
          <p:cNvPr id="20" name="타원 19"/>
          <p:cNvSpPr/>
          <p:nvPr/>
        </p:nvSpPr>
        <p:spPr bwMode="auto">
          <a:xfrm>
            <a:off x="1549168" y="5365820"/>
            <a:ext cx="750110" cy="707200"/>
          </a:xfrm>
          <a:prstGeom prst="ellipse">
            <a:avLst/>
          </a:prstGeom>
          <a:ln w="285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685" tIns="51843" rIns="103685" bIns="51843" anchor="ctr"/>
          <a:lstStyle/>
          <a:p>
            <a:pPr algn="ctr" defTabSz="1036814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 dirty="0">
              <a:solidFill>
                <a:prstClr val="white"/>
              </a:solidFill>
            </a:endParaRPr>
          </a:p>
        </p:txBody>
      </p:sp>
      <p:sp>
        <p:nvSpPr>
          <p:cNvPr id="21" name="타원 20"/>
          <p:cNvSpPr/>
          <p:nvPr/>
        </p:nvSpPr>
        <p:spPr bwMode="auto">
          <a:xfrm>
            <a:off x="1275957" y="6064702"/>
            <a:ext cx="160401" cy="151225"/>
          </a:xfrm>
          <a:prstGeom prst="ellipse">
            <a:avLst/>
          </a:prstGeom>
          <a:ln w="127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685" tIns="51843" rIns="103685" bIns="51843" anchor="ctr"/>
          <a:lstStyle/>
          <a:p>
            <a:pPr algn="ctr" defTabSz="1036814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 dirty="0">
              <a:solidFill>
                <a:prstClr val="white"/>
              </a:solidFill>
            </a:endParaRPr>
          </a:p>
        </p:txBody>
      </p:sp>
      <p:sp>
        <p:nvSpPr>
          <p:cNvPr id="22" name="타원 21"/>
          <p:cNvSpPr/>
          <p:nvPr/>
        </p:nvSpPr>
        <p:spPr bwMode="auto">
          <a:xfrm>
            <a:off x="1946199" y="6385066"/>
            <a:ext cx="320802" cy="302451"/>
          </a:xfrm>
          <a:prstGeom prst="ellipse">
            <a:avLst/>
          </a:prstGeom>
          <a:ln w="127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685" tIns="51843" rIns="103685" bIns="51843" anchor="ctr"/>
          <a:lstStyle/>
          <a:p>
            <a:pPr algn="ctr" defTabSz="1036814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 dirty="0">
              <a:solidFill>
                <a:prstClr val="white"/>
              </a:solidFill>
            </a:endParaRPr>
          </a:p>
        </p:txBody>
      </p:sp>
      <p:sp>
        <p:nvSpPr>
          <p:cNvPr id="23" name="타원 22"/>
          <p:cNvSpPr/>
          <p:nvPr/>
        </p:nvSpPr>
        <p:spPr bwMode="auto">
          <a:xfrm>
            <a:off x="2197433" y="4939284"/>
            <a:ext cx="427736" cy="403267"/>
          </a:xfrm>
          <a:prstGeom prst="ellipse">
            <a:avLst/>
          </a:prstGeom>
          <a:ln w="285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685" tIns="51843" rIns="103685" bIns="51843" anchor="ctr"/>
          <a:lstStyle/>
          <a:p>
            <a:pPr algn="ctr" defTabSz="1036814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 dirty="0">
              <a:solidFill>
                <a:prstClr val="white"/>
              </a:solidFill>
            </a:endParaRPr>
          </a:p>
        </p:txBody>
      </p:sp>
      <p:sp>
        <p:nvSpPr>
          <p:cNvPr id="26" name="직선 연결선 25"/>
          <p:cNvSpPr>
            <a:spLocks noChangeShapeType="1"/>
          </p:cNvSpPr>
          <p:nvPr/>
        </p:nvSpPr>
        <p:spPr bwMode="auto">
          <a:xfrm>
            <a:off x="10639540" y="0"/>
            <a:ext cx="0" cy="7561263"/>
          </a:xfrm>
          <a:prstGeom prst="line">
            <a:avLst/>
          </a:prstGeom>
          <a:noFill/>
          <a:ln w="57150" cap="flat" cmpd="thickThin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685" tIns="51843" rIns="103685" bIns="51843" anchor="t" compatLnSpc="1"/>
          <a:lstStyle/>
          <a:p>
            <a:pPr defTabSz="1036814" fontAlgn="auto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white"/>
              </a:solidFill>
              <a:latin typeface="Century Schoolbook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 bwMode="auto">
          <a:xfrm>
            <a:off x="1567776" y="5434123"/>
            <a:ext cx="712893" cy="570594"/>
          </a:xfrm>
        </p:spPr>
        <p:txBody>
          <a:bodyPr/>
          <a:lstStyle/>
          <a:p>
            <a:fld id="{0FFC04F2-410B-478E-B5E8-05AEE79BCA15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27248919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ko-KR" altLang="en-US" smtClean="0"/>
              <a:t>마스터 제목 스타일 편집</a:t>
            </a:r>
            <a:endParaRPr kumimoji="0" 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2EF422-6799-4543-9129-69758A77C2D3}" type="datetimeFigureOut">
              <a:rPr lang="ko-KR" altLang="en-US" smtClean="0">
                <a:solidFill>
                  <a:srgbClr val="575F6D"/>
                </a:solidFill>
              </a:rPr>
              <a:pPr/>
              <a:t>2018-03-29</a:t>
            </a:fld>
            <a:endParaRPr lang="ko-KR" altLang="en-US">
              <a:solidFill>
                <a:srgbClr val="575F6D"/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srgbClr val="575F6D"/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FC04F2-410B-478E-B5E8-05AEE79BCA15}" type="slidenum">
              <a:rPr lang="ko-KR" altLang="en-US" smtClean="0"/>
              <a:pPr/>
              <a:t>‹#›</a:t>
            </a:fld>
            <a:endParaRPr lang="ko-KR" altLang="en-US"/>
          </a:p>
        </p:txBody>
      </p:sp>
      <p:sp>
        <p:nvSpPr>
          <p:cNvPr id="9" name="내용 개체 틀 8"/>
          <p:cNvSpPr>
            <a:spLocks noGrp="1"/>
          </p:cNvSpPr>
          <p:nvPr>
            <p:ph sz="quarter" idx="1"/>
          </p:nvPr>
        </p:nvSpPr>
        <p:spPr>
          <a:xfrm>
            <a:off x="534670" y="1764295"/>
            <a:ext cx="4277360" cy="5040842"/>
          </a:xfrm>
        </p:spPr>
        <p:txBody>
          <a:bodyPr/>
          <a:lstStyle/>
          <a:p>
            <a:pPr lvl="0" eaLnBrk="1" latinLnBrk="0" hangingPunct="1"/>
            <a:r>
              <a:rPr lang="ko-KR" altLang="en-US" smtClean="0"/>
              <a:t>마스터 텍스트 스타일을 편집합니다</a:t>
            </a:r>
          </a:p>
          <a:p>
            <a:pPr lvl="1" eaLnBrk="1" latinLnBrk="0" hangingPunct="1"/>
            <a:r>
              <a:rPr lang="ko-KR" altLang="en-US" smtClean="0"/>
              <a:t>둘째 수준</a:t>
            </a:r>
          </a:p>
          <a:p>
            <a:pPr lvl="2" eaLnBrk="1" latinLnBrk="0" hangingPunct="1"/>
            <a:r>
              <a:rPr lang="ko-KR" altLang="en-US" smtClean="0"/>
              <a:t>셋째 수준</a:t>
            </a:r>
          </a:p>
          <a:p>
            <a:pPr lvl="3" eaLnBrk="1" latinLnBrk="0" hangingPunct="1"/>
            <a:r>
              <a:rPr lang="ko-KR" altLang="en-US" smtClean="0"/>
              <a:t>넷째 수준</a:t>
            </a:r>
          </a:p>
          <a:p>
            <a:pPr lvl="4" eaLnBrk="1" latinLnBrk="0" hangingPunct="1"/>
            <a:r>
              <a:rPr lang="ko-KR" altLang="en-US" smtClean="0"/>
              <a:t>다섯째 수준</a:t>
            </a:r>
            <a:endParaRPr kumimoji="0" lang="en-US"/>
          </a:p>
        </p:txBody>
      </p:sp>
      <p:sp>
        <p:nvSpPr>
          <p:cNvPr id="11" name="내용 개체 틀 10"/>
          <p:cNvSpPr>
            <a:spLocks noGrp="1"/>
          </p:cNvSpPr>
          <p:nvPr>
            <p:ph sz="quarter" idx="2"/>
          </p:nvPr>
        </p:nvSpPr>
        <p:spPr>
          <a:xfrm>
            <a:off x="4993818" y="1764295"/>
            <a:ext cx="4277360" cy="5040842"/>
          </a:xfrm>
        </p:spPr>
        <p:txBody>
          <a:bodyPr/>
          <a:lstStyle/>
          <a:p>
            <a:pPr lvl="0" eaLnBrk="1" latinLnBrk="0" hangingPunct="1"/>
            <a:r>
              <a:rPr lang="ko-KR" altLang="en-US" smtClean="0"/>
              <a:t>마스터 텍스트 스타일을 편집합니다</a:t>
            </a:r>
          </a:p>
          <a:p>
            <a:pPr lvl="1" eaLnBrk="1" latinLnBrk="0" hangingPunct="1"/>
            <a:r>
              <a:rPr lang="ko-KR" altLang="en-US" smtClean="0"/>
              <a:t>둘째 수준</a:t>
            </a:r>
          </a:p>
          <a:p>
            <a:pPr lvl="2" eaLnBrk="1" latinLnBrk="0" hangingPunct="1"/>
            <a:r>
              <a:rPr lang="ko-KR" altLang="en-US" smtClean="0"/>
              <a:t>셋째 수준</a:t>
            </a:r>
          </a:p>
          <a:p>
            <a:pPr lvl="3" eaLnBrk="1" latinLnBrk="0" hangingPunct="1"/>
            <a:r>
              <a:rPr lang="ko-KR" altLang="en-US" smtClean="0"/>
              <a:t>넷째 수준</a:t>
            </a:r>
          </a:p>
          <a:p>
            <a:pPr lvl="4" eaLnBrk="1" latinLnBrk="0" hangingPunct="1"/>
            <a:r>
              <a:rPr lang="ko-KR" altLang="en-US" smtClean="0"/>
              <a:t>다섯째 수준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285693055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534670" y="301050"/>
            <a:ext cx="8822055" cy="1260211"/>
          </a:xfrm>
        </p:spPr>
        <p:txBody>
          <a:bodyPr anchor="b"/>
          <a:lstStyle>
            <a:lvl1pPr>
              <a:defRPr/>
            </a:lvl1pPr>
          </a:lstStyle>
          <a:p>
            <a:r>
              <a:rPr kumimoji="0" lang="ko-KR" altLang="en-US" smtClean="0"/>
              <a:t>마스터 제목 스타일 편집</a:t>
            </a:r>
            <a:endParaRPr kumimoji="0" 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2EF422-6799-4543-9129-69758A77C2D3}" type="datetimeFigureOut">
              <a:rPr lang="ko-KR" altLang="en-US" smtClean="0">
                <a:solidFill>
                  <a:srgbClr val="575F6D"/>
                </a:solidFill>
              </a:rPr>
              <a:pPr/>
              <a:t>2018-03-29</a:t>
            </a:fld>
            <a:endParaRPr lang="ko-KR" altLang="en-US">
              <a:solidFill>
                <a:srgbClr val="575F6D"/>
              </a:solidFill>
            </a:endParaRPr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srgbClr val="575F6D"/>
              </a:solidFill>
            </a:endParaRPr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FC04F2-410B-478E-B5E8-05AEE79BCA15}" type="slidenum">
              <a:rPr lang="ko-KR" altLang="en-US" smtClean="0"/>
              <a:pPr/>
              <a:t>‹#›</a:t>
            </a:fld>
            <a:endParaRPr lang="ko-KR" altLang="en-US"/>
          </a:p>
        </p:txBody>
      </p:sp>
      <p:sp>
        <p:nvSpPr>
          <p:cNvPr id="11" name="내용 개체 틀 10"/>
          <p:cNvSpPr>
            <a:spLocks noGrp="1"/>
          </p:cNvSpPr>
          <p:nvPr>
            <p:ph sz="quarter" idx="2"/>
          </p:nvPr>
        </p:nvSpPr>
        <p:spPr>
          <a:xfrm>
            <a:off x="534670" y="2604435"/>
            <a:ext cx="4277360" cy="4284716"/>
          </a:xfrm>
        </p:spPr>
        <p:txBody>
          <a:bodyPr/>
          <a:lstStyle/>
          <a:p>
            <a:pPr lvl="0" eaLnBrk="1" latinLnBrk="0" hangingPunct="1"/>
            <a:r>
              <a:rPr lang="ko-KR" altLang="en-US" smtClean="0"/>
              <a:t>마스터 텍스트 스타일을 편집합니다</a:t>
            </a:r>
          </a:p>
          <a:p>
            <a:pPr lvl="1" eaLnBrk="1" latinLnBrk="0" hangingPunct="1"/>
            <a:r>
              <a:rPr lang="ko-KR" altLang="en-US" smtClean="0"/>
              <a:t>둘째 수준</a:t>
            </a:r>
          </a:p>
          <a:p>
            <a:pPr lvl="2" eaLnBrk="1" latinLnBrk="0" hangingPunct="1"/>
            <a:r>
              <a:rPr lang="ko-KR" altLang="en-US" smtClean="0"/>
              <a:t>셋째 수준</a:t>
            </a:r>
          </a:p>
          <a:p>
            <a:pPr lvl="3" eaLnBrk="1" latinLnBrk="0" hangingPunct="1"/>
            <a:r>
              <a:rPr lang="ko-KR" altLang="en-US" smtClean="0"/>
              <a:t>넷째 수준</a:t>
            </a:r>
          </a:p>
          <a:p>
            <a:pPr lvl="4" eaLnBrk="1" latinLnBrk="0" hangingPunct="1"/>
            <a:r>
              <a:rPr lang="ko-KR" altLang="en-US" smtClean="0"/>
              <a:t>다섯째 수준</a:t>
            </a:r>
            <a:endParaRPr kumimoji="0" lang="en-US"/>
          </a:p>
        </p:txBody>
      </p:sp>
      <p:sp>
        <p:nvSpPr>
          <p:cNvPr id="13" name="내용 개체 틀 12"/>
          <p:cNvSpPr>
            <a:spLocks noGrp="1"/>
          </p:cNvSpPr>
          <p:nvPr>
            <p:ph sz="quarter" idx="4"/>
          </p:nvPr>
        </p:nvSpPr>
        <p:spPr>
          <a:xfrm>
            <a:off x="5112782" y="2604435"/>
            <a:ext cx="4277360" cy="4284716"/>
          </a:xfrm>
        </p:spPr>
        <p:txBody>
          <a:bodyPr/>
          <a:lstStyle/>
          <a:p>
            <a:pPr lvl="0" eaLnBrk="1" latinLnBrk="0" hangingPunct="1"/>
            <a:r>
              <a:rPr lang="ko-KR" altLang="en-US" smtClean="0"/>
              <a:t>마스터 텍스트 스타일을 편집합니다</a:t>
            </a:r>
          </a:p>
          <a:p>
            <a:pPr lvl="1" eaLnBrk="1" latinLnBrk="0" hangingPunct="1"/>
            <a:r>
              <a:rPr lang="ko-KR" altLang="en-US" smtClean="0"/>
              <a:t>둘째 수준</a:t>
            </a:r>
          </a:p>
          <a:p>
            <a:pPr lvl="2" eaLnBrk="1" latinLnBrk="0" hangingPunct="1"/>
            <a:r>
              <a:rPr lang="ko-KR" altLang="en-US" smtClean="0"/>
              <a:t>셋째 수준</a:t>
            </a:r>
          </a:p>
          <a:p>
            <a:pPr lvl="3" eaLnBrk="1" latinLnBrk="0" hangingPunct="1"/>
            <a:r>
              <a:rPr lang="ko-KR" altLang="en-US" smtClean="0"/>
              <a:t>넷째 수준</a:t>
            </a:r>
          </a:p>
          <a:p>
            <a:pPr lvl="4" eaLnBrk="1" latinLnBrk="0" hangingPunct="1"/>
            <a:r>
              <a:rPr lang="ko-KR" altLang="en-US" smtClean="0"/>
              <a:t>다섯째 수준</a:t>
            </a:r>
            <a:endParaRPr kumimoji="0" lang="en-US"/>
          </a:p>
        </p:txBody>
      </p:sp>
      <p:sp>
        <p:nvSpPr>
          <p:cNvPr id="12" name="텍스트 개체 틀 11"/>
          <p:cNvSpPr>
            <a:spLocks noGrp="1"/>
          </p:cNvSpPr>
          <p:nvPr>
            <p:ph type="body" sz="quarter" idx="1"/>
          </p:nvPr>
        </p:nvSpPr>
        <p:spPr>
          <a:xfrm>
            <a:off x="534670" y="1730689"/>
            <a:ext cx="4277360" cy="725881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</p:spPr>
        <p:txBody>
          <a:bodyPr rtlCol="0" anchor="ctr">
            <a:noAutofit/>
          </a:bodyPr>
          <a:lstStyle>
            <a:lvl1pPr marL="0" indent="0">
              <a:buFontTx/>
              <a:buNone/>
              <a:defRPr sz="23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ko-KR" altLang="en-US" smtClean="0"/>
              <a:t>마스터 텍스트 스타일을 편집합니다</a:t>
            </a:r>
          </a:p>
        </p:txBody>
      </p:sp>
      <p:sp>
        <p:nvSpPr>
          <p:cNvPr id="14" name="텍스트 개체 틀 13"/>
          <p:cNvSpPr>
            <a:spLocks noGrp="1"/>
          </p:cNvSpPr>
          <p:nvPr>
            <p:ph type="body" sz="quarter" idx="3"/>
          </p:nvPr>
        </p:nvSpPr>
        <p:spPr>
          <a:xfrm>
            <a:off x="5079365" y="1730689"/>
            <a:ext cx="4277360" cy="725881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</p:spPr>
        <p:txBody>
          <a:bodyPr rtlCol="0" anchor="ctr">
            <a:noAutofit/>
          </a:bodyPr>
          <a:lstStyle>
            <a:lvl1pPr marL="0" indent="0">
              <a:buFontTx/>
              <a:buNone/>
              <a:defRPr sz="23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56194266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ko-KR" altLang="en-US" smtClean="0"/>
              <a:t>마스터 제목 스타일 편집</a:t>
            </a:r>
            <a:endParaRPr kumimoji="0" lang="en-US"/>
          </a:p>
        </p:txBody>
      </p:sp>
      <p:sp>
        <p:nvSpPr>
          <p:cNvPr id="6" name="날짜 개체 틀 5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fld id="{582EF422-6799-4543-9129-69758A77C2D3}" type="datetimeFigureOut">
              <a:rPr lang="ko-KR" altLang="en-US" smtClean="0">
                <a:solidFill>
                  <a:srgbClr val="575F6D"/>
                </a:solidFill>
              </a:rPr>
              <a:pPr/>
              <a:t>2018-03-29</a:t>
            </a:fld>
            <a:endParaRPr lang="ko-KR" altLang="en-US">
              <a:solidFill>
                <a:srgbClr val="575F6D"/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/>
          <a:p>
            <a:fld id="{0FFC04F2-410B-478E-B5E8-05AEE79BCA15}" type="slidenum">
              <a:rPr lang="ko-KR" altLang="en-US" smtClean="0"/>
              <a:pPr/>
              <a:t>‹#›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/>
          <a:p>
            <a:endParaRPr lang="ko-KR" altLang="en-US">
              <a:solidFill>
                <a:srgbClr val="575F6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997823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2EF422-6799-4543-9129-69758A77C2D3}" type="datetimeFigureOut">
              <a:rPr lang="ko-KR" altLang="en-US" smtClean="0">
                <a:solidFill>
                  <a:srgbClr val="575F6D"/>
                </a:solidFill>
              </a:rPr>
              <a:pPr/>
              <a:t>2018-03-29</a:t>
            </a:fld>
            <a:endParaRPr lang="ko-KR" altLang="en-US">
              <a:solidFill>
                <a:srgbClr val="575F6D"/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srgbClr val="575F6D"/>
              </a:solidFill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FC04F2-410B-478E-B5E8-05AEE79BCA15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062968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534670" y="302802"/>
            <a:ext cx="9624060" cy="1260211"/>
          </a:xfrm>
          <a:prstGeom prst="rect">
            <a:avLst/>
          </a:prstGeom>
        </p:spPr>
        <p:txBody>
          <a:bodyPr lIns="99133" tIns="49583" rIns="99133" bIns="49583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캡션 있는 콘텐츠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직선 연결선 9"/>
          <p:cNvSpPr>
            <a:spLocks noChangeShapeType="1"/>
          </p:cNvSpPr>
          <p:nvPr/>
        </p:nvSpPr>
        <p:spPr bwMode="auto">
          <a:xfrm>
            <a:off x="10247842" y="0"/>
            <a:ext cx="0" cy="7561263"/>
          </a:xfrm>
          <a:prstGeom prst="line">
            <a:avLst/>
          </a:prstGeom>
          <a:noFill/>
          <a:ln w="38100" cap="flat" cmpd="sng" algn="ctr">
            <a:solidFill>
              <a:schemeClr val="accent1">
                <a:tint val="60000"/>
                <a:alpha val="93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685" tIns="51843" rIns="103685" bIns="51843" anchor="t" compatLnSpc="1"/>
          <a:lstStyle/>
          <a:p>
            <a:pPr defTabSz="1036814" fontAlgn="auto">
              <a:spcBef>
                <a:spcPts val="0"/>
              </a:spcBef>
              <a:spcAft>
                <a:spcPts val="0"/>
              </a:spcAft>
            </a:pPr>
            <a:endParaRPr kumimoji="0" lang="en-US" sz="2100" dirty="0">
              <a:solidFill>
                <a:prstClr val="black"/>
              </a:solidFill>
              <a:latin typeface="Century Schoolbook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 rot="5400000">
            <a:off x="4154233" y="3513297"/>
            <a:ext cx="6956362" cy="534670"/>
          </a:xfrm>
        </p:spPr>
        <p:txBody>
          <a:bodyPr anchor="b"/>
          <a:lstStyle>
            <a:lvl1pPr algn="l">
              <a:buNone/>
              <a:defRPr sz="2300" b="1" cap="small" baseline="0"/>
            </a:lvl1pPr>
          </a:lstStyle>
          <a:p>
            <a:r>
              <a:rPr kumimoji="0" lang="ko-KR" altLang="en-US" smtClean="0"/>
              <a:t>마스터 제목 스타일 편집</a:t>
            </a:r>
            <a:endParaRPr kumimoji="0" 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2"/>
          </p:nvPr>
        </p:nvSpPr>
        <p:spPr>
          <a:xfrm>
            <a:off x="7966583" y="302450"/>
            <a:ext cx="1785798" cy="5494518"/>
          </a:xfrm>
        </p:spPr>
        <p:txBody>
          <a:bodyPr/>
          <a:lstStyle>
            <a:lvl1pPr marL="0" indent="0">
              <a:spcBef>
                <a:spcPts val="456"/>
              </a:spcBef>
              <a:spcAft>
                <a:spcPts val="1141"/>
              </a:spcAft>
              <a:buNone/>
              <a:defRPr sz="1400"/>
            </a:lvl1pPr>
            <a:lvl2pPr>
              <a:buNone/>
              <a:defRPr sz="1400"/>
            </a:lvl2pPr>
            <a:lvl3pPr>
              <a:buNone/>
              <a:defRPr sz="11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 eaLnBrk="1" latinLnBrk="0" hangingPunct="1"/>
            <a:r>
              <a:rPr kumimoji="0" lang="ko-KR" altLang="en-US" smtClean="0"/>
              <a:t>마스터 텍스트 스타일을 편집합니다</a:t>
            </a:r>
          </a:p>
        </p:txBody>
      </p:sp>
      <p:sp>
        <p:nvSpPr>
          <p:cNvPr id="8" name="직선 연결선 7"/>
          <p:cNvSpPr>
            <a:spLocks noChangeShapeType="1"/>
          </p:cNvSpPr>
          <p:nvPr/>
        </p:nvSpPr>
        <p:spPr bwMode="auto">
          <a:xfrm>
            <a:off x="7307157" y="0"/>
            <a:ext cx="0" cy="7561263"/>
          </a:xfrm>
          <a:prstGeom prst="line">
            <a:avLst/>
          </a:prstGeom>
          <a:noFill/>
          <a:ln w="38100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685" tIns="51843" rIns="103685" bIns="51843" anchor="t" compatLnSpc="1"/>
          <a:lstStyle/>
          <a:p>
            <a:pPr defTabSz="1036814" fontAlgn="auto">
              <a:spcBef>
                <a:spcPts val="0"/>
              </a:spcBef>
              <a:spcAft>
                <a:spcPts val="0"/>
              </a:spcAft>
            </a:pPr>
            <a:endParaRPr kumimoji="0" lang="en-US" sz="2100" dirty="0">
              <a:solidFill>
                <a:prstClr val="black"/>
              </a:solidFill>
              <a:latin typeface="Century Schoolbook"/>
            </a:endParaRPr>
          </a:p>
        </p:txBody>
      </p:sp>
      <p:sp>
        <p:nvSpPr>
          <p:cNvPr id="9" name="직선 연결선 8"/>
          <p:cNvSpPr>
            <a:spLocks noChangeShapeType="1"/>
          </p:cNvSpPr>
          <p:nvPr/>
        </p:nvSpPr>
        <p:spPr bwMode="auto">
          <a:xfrm>
            <a:off x="7241546" y="0"/>
            <a:ext cx="0" cy="7561263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685" tIns="51843" rIns="103685" bIns="51843" anchor="t" compatLnSpc="1"/>
          <a:lstStyle/>
          <a:p>
            <a:pPr defTabSz="1036814" fontAlgn="auto">
              <a:spcBef>
                <a:spcPts val="0"/>
              </a:spcBef>
              <a:spcAft>
                <a:spcPts val="0"/>
              </a:spcAft>
            </a:pPr>
            <a:endParaRPr kumimoji="0" lang="en-US" sz="2100" dirty="0">
              <a:solidFill>
                <a:prstClr val="black"/>
              </a:solidFill>
              <a:latin typeface="Century Schoolbook"/>
            </a:endParaRPr>
          </a:p>
        </p:txBody>
      </p:sp>
      <p:sp>
        <p:nvSpPr>
          <p:cNvPr id="11" name="직선 연결선 10"/>
          <p:cNvSpPr>
            <a:spLocks noChangeShapeType="1"/>
          </p:cNvSpPr>
          <p:nvPr/>
        </p:nvSpPr>
        <p:spPr bwMode="auto">
          <a:xfrm>
            <a:off x="10515177" y="0"/>
            <a:ext cx="0" cy="7561263"/>
          </a:xfrm>
          <a:prstGeom prst="line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685" tIns="51843" rIns="103685" bIns="51843" anchor="t" compatLnSpc="1"/>
          <a:lstStyle/>
          <a:p>
            <a:pPr defTabSz="1036814" fontAlgn="auto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black"/>
              </a:solidFill>
              <a:latin typeface="Century Schoolbook"/>
            </a:endParaRPr>
          </a:p>
        </p:txBody>
      </p:sp>
      <p:sp>
        <p:nvSpPr>
          <p:cNvPr id="12" name="직사각형 11"/>
          <p:cNvSpPr/>
          <p:nvPr/>
        </p:nvSpPr>
        <p:spPr bwMode="auto">
          <a:xfrm>
            <a:off x="10336953" y="0"/>
            <a:ext cx="356447" cy="7561263"/>
          </a:xfrm>
          <a:prstGeom prst="rect">
            <a:avLst/>
          </a:prstGeom>
          <a:solidFill>
            <a:schemeClr val="accent1">
              <a:tint val="60000"/>
              <a:alpha val="87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685" tIns="51843" rIns="103685" bIns="51843" anchor="ctr"/>
          <a:lstStyle/>
          <a:p>
            <a:pPr algn="ctr" defTabSz="1036814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white"/>
              </a:solidFill>
            </a:endParaRPr>
          </a:p>
        </p:txBody>
      </p:sp>
      <p:sp>
        <p:nvSpPr>
          <p:cNvPr id="13" name="직선 연결선 12"/>
          <p:cNvSpPr>
            <a:spLocks noChangeShapeType="1"/>
          </p:cNvSpPr>
          <p:nvPr/>
        </p:nvSpPr>
        <p:spPr bwMode="auto">
          <a:xfrm>
            <a:off x="10426065" y="0"/>
            <a:ext cx="0" cy="7561263"/>
          </a:xfrm>
          <a:prstGeom prst="lin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685" tIns="51843" rIns="103685" bIns="51843" anchor="t" compatLnSpc="1"/>
          <a:lstStyle/>
          <a:p>
            <a:pPr defTabSz="1036814" fontAlgn="auto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black"/>
              </a:solidFill>
              <a:latin typeface="Century Schoolbook"/>
            </a:endParaRPr>
          </a:p>
        </p:txBody>
      </p:sp>
      <p:sp>
        <p:nvSpPr>
          <p:cNvPr id="14" name="타원 13"/>
          <p:cNvSpPr/>
          <p:nvPr/>
        </p:nvSpPr>
        <p:spPr>
          <a:xfrm>
            <a:off x="9538513" y="6301058"/>
            <a:ext cx="641604" cy="604901"/>
          </a:xfrm>
          <a:prstGeom prst="ellipse">
            <a:avLst/>
          </a:prstGeom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685" tIns="51843" rIns="103685" bIns="51843" anchor="ctr"/>
          <a:lstStyle/>
          <a:p>
            <a:pPr algn="ctr" defTabSz="1036814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 dirty="0">
              <a:solidFill>
                <a:prstClr val="white"/>
              </a:solidFill>
            </a:endParaRPr>
          </a:p>
        </p:txBody>
      </p:sp>
      <p:sp>
        <p:nvSpPr>
          <p:cNvPr id="18" name="내용 개체 틀 17"/>
          <p:cNvSpPr>
            <a:spLocks noGrp="1"/>
          </p:cNvSpPr>
          <p:nvPr>
            <p:ph sz="quarter" idx="1"/>
          </p:nvPr>
        </p:nvSpPr>
        <p:spPr>
          <a:xfrm>
            <a:off x="356448" y="302454"/>
            <a:ext cx="6594263" cy="6976525"/>
          </a:xfrm>
        </p:spPr>
        <p:txBody>
          <a:bodyPr/>
          <a:lstStyle/>
          <a:p>
            <a:pPr lvl="0" eaLnBrk="1" latinLnBrk="0" hangingPunct="1"/>
            <a:r>
              <a:rPr lang="ko-KR" altLang="en-US" smtClean="0"/>
              <a:t>마스터 텍스트 스타일을 편집합니다</a:t>
            </a:r>
          </a:p>
          <a:p>
            <a:pPr lvl="1" eaLnBrk="1" latinLnBrk="0" hangingPunct="1"/>
            <a:r>
              <a:rPr lang="ko-KR" altLang="en-US" smtClean="0"/>
              <a:t>둘째 수준</a:t>
            </a:r>
          </a:p>
          <a:p>
            <a:pPr lvl="2" eaLnBrk="1" latinLnBrk="0" hangingPunct="1"/>
            <a:r>
              <a:rPr lang="ko-KR" altLang="en-US" smtClean="0"/>
              <a:t>셋째 수준</a:t>
            </a:r>
          </a:p>
          <a:p>
            <a:pPr lvl="3" eaLnBrk="1" latinLnBrk="0" hangingPunct="1"/>
            <a:r>
              <a:rPr lang="ko-KR" altLang="en-US" smtClean="0"/>
              <a:t>넷째 수준</a:t>
            </a:r>
          </a:p>
          <a:p>
            <a:pPr lvl="4" eaLnBrk="1" latinLnBrk="0" hangingPunct="1"/>
            <a:r>
              <a:rPr lang="ko-KR" altLang="en-US" smtClean="0"/>
              <a:t>다섯째 수준</a:t>
            </a:r>
            <a:endParaRPr kumimoji="0" lang="en-US"/>
          </a:p>
        </p:txBody>
      </p:sp>
      <p:sp>
        <p:nvSpPr>
          <p:cNvPr id="21" name="날짜 개체 틀 20"/>
          <p:cNvSpPr>
            <a:spLocks noGrp="1"/>
          </p:cNvSpPr>
          <p:nvPr>
            <p:ph type="dt" sz="half" idx="14"/>
          </p:nvPr>
        </p:nvSpPr>
        <p:spPr/>
        <p:txBody>
          <a:bodyPr rtlCol="0"/>
          <a:lstStyle/>
          <a:p>
            <a:fld id="{582EF422-6799-4543-9129-69758A77C2D3}" type="datetimeFigureOut">
              <a:rPr lang="ko-KR" altLang="en-US" smtClean="0">
                <a:solidFill>
                  <a:srgbClr val="575F6D"/>
                </a:solidFill>
              </a:rPr>
              <a:pPr/>
              <a:t>2018-03-29</a:t>
            </a:fld>
            <a:endParaRPr lang="ko-KR" altLang="en-US">
              <a:solidFill>
                <a:srgbClr val="575F6D"/>
              </a:solidFill>
            </a:endParaRPr>
          </a:p>
        </p:txBody>
      </p:sp>
      <p:sp>
        <p:nvSpPr>
          <p:cNvPr id="22" name="슬라이드 번호 개체 틀 21"/>
          <p:cNvSpPr>
            <a:spLocks noGrp="1"/>
          </p:cNvSpPr>
          <p:nvPr>
            <p:ph type="sldNum" sz="quarter" idx="15"/>
          </p:nvPr>
        </p:nvSpPr>
        <p:spPr/>
        <p:txBody>
          <a:bodyPr rtlCol="0"/>
          <a:lstStyle/>
          <a:p>
            <a:fld id="{0FFC04F2-410B-478E-B5E8-05AEE79BCA15}" type="slidenum">
              <a:rPr lang="ko-KR" altLang="en-US" smtClean="0"/>
              <a:pPr/>
              <a:t>‹#›</a:t>
            </a:fld>
            <a:endParaRPr lang="ko-KR" altLang="en-US"/>
          </a:p>
        </p:txBody>
      </p:sp>
      <p:sp>
        <p:nvSpPr>
          <p:cNvPr id="23" name="바닥글 개체 틀 22"/>
          <p:cNvSpPr>
            <a:spLocks noGrp="1"/>
          </p:cNvSpPr>
          <p:nvPr>
            <p:ph type="ftr" sz="quarter" idx="16"/>
          </p:nvPr>
        </p:nvSpPr>
        <p:spPr/>
        <p:txBody>
          <a:bodyPr rtlCol="0"/>
          <a:lstStyle/>
          <a:p>
            <a:endParaRPr lang="ko-KR" altLang="en-US">
              <a:solidFill>
                <a:srgbClr val="575F6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594303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직선 연결선 8"/>
          <p:cNvSpPr>
            <a:spLocks noChangeShapeType="1"/>
          </p:cNvSpPr>
          <p:nvPr/>
        </p:nvSpPr>
        <p:spPr bwMode="auto">
          <a:xfrm>
            <a:off x="10247842" y="0"/>
            <a:ext cx="0" cy="7561263"/>
          </a:xfrm>
          <a:prstGeom prst="line">
            <a:avLst/>
          </a:prstGeom>
          <a:noFill/>
          <a:ln w="38100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685" tIns="51843" rIns="103685" bIns="51843" anchor="t" compatLnSpc="1"/>
          <a:lstStyle/>
          <a:p>
            <a:pPr defTabSz="1036814" fontAlgn="auto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black"/>
              </a:solidFill>
              <a:latin typeface="Century Schoolbook"/>
            </a:endParaRPr>
          </a:p>
        </p:txBody>
      </p:sp>
      <p:sp>
        <p:nvSpPr>
          <p:cNvPr id="13" name="타원 12"/>
          <p:cNvSpPr/>
          <p:nvPr/>
        </p:nvSpPr>
        <p:spPr>
          <a:xfrm>
            <a:off x="9538513" y="6301058"/>
            <a:ext cx="641604" cy="604901"/>
          </a:xfrm>
          <a:prstGeom prst="ellipse">
            <a:avLst/>
          </a:prstGeom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685" tIns="51843" rIns="103685" bIns="51843" anchor="ctr"/>
          <a:lstStyle/>
          <a:p>
            <a:pPr algn="ctr" defTabSz="1036814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 dirty="0">
              <a:solidFill>
                <a:prstClr val="white"/>
              </a:solidFill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 rot="5400000">
            <a:off x="4128836" y="3513297"/>
            <a:ext cx="6956362" cy="534670"/>
          </a:xfrm>
        </p:spPr>
        <p:txBody>
          <a:bodyPr anchor="b"/>
          <a:lstStyle>
            <a:lvl1pPr algn="l">
              <a:buNone/>
              <a:defRPr sz="2300" b="1"/>
            </a:lvl1pPr>
          </a:lstStyle>
          <a:p>
            <a:r>
              <a:rPr kumimoji="0" lang="ko-KR" altLang="en-US" smtClean="0"/>
              <a:t>마스터 제목 스타일 편집</a:t>
            </a:r>
            <a:endParaRPr kumimoji="0" 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0" y="0"/>
            <a:ext cx="7218045" cy="7561263"/>
          </a:xfrm>
          <a:solidFill>
            <a:schemeClr val="bg2"/>
          </a:solidFill>
          <a:ln w="1270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buNone/>
              <a:defRPr sz="3700"/>
            </a:lvl1pPr>
          </a:lstStyle>
          <a:p>
            <a:pPr algn="ctr" eaLnBrk="1" latinLnBrk="0" hangingPunct="1">
              <a:buFontTx/>
              <a:buNone/>
            </a:pPr>
            <a:r>
              <a:rPr kumimoji="0" lang="ko-KR" altLang="en-US" smtClean="0"/>
              <a:t>그림을 추가하려면 아이콘을 클릭하십시오</a:t>
            </a:r>
            <a:endParaRPr kumimoji="0" 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7912225" y="291953"/>
            <a:ext cx="1782233" cy="5464273"/>
          </a:xfrm>
        </p:spPr>
        <p:txBody>
          <a:bodyPr rot="0" spcFirstLastPara="0" vertOverflow="overflow" horzOverflow="overflow" vert="horz" wrap="square" lIns="103685" tIns="51843" rIns="103685" bIns="51843" numCol="1" spcCol="311046" rtlCol="0" fromWordArt="0" anchor="t" anchorCtr="0" forceAA="0" compatLnSpc="1">
            <a:normAutofit/>
          </a:bodyPr>
          <a:lstStyle>
            <a:lvl1pPr marL="0" indent="0">
              <a:spcBef>
                <a:spcPts val="114"/>
              </a:spcBef>
              <a:spcAft>
                <a:spcPts val="456"/>
              </a:spcAft>
              <a:buFontTx/>
              <a:buNone/>
              <a:defRPr sz="1400"/>
            </a:lvl1pPr>
            <a:lvl2pPr>
              <a:defRPr sz="14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 eaLnBrk="1" latinLnBrk="0" hangingPunct="1"/>
            <a:r>
              <a:rPr kumimoji="0" lang="ko-KR" altLang="en-US" smtClean="0"/>
              <a:t>마스터 텍스트 스타일을 편집합니다</a:t>
            </a:r>
          </a:p>
        </p:txBody>
      </p:sp>
      <p:sp>
        <p:nvSpPr>
          <p:cNvPr id="10" name="직선 연결선 9"/>
          <p:cNvSpPr>
            <a:spLocks noChangeShapeType="1"/>
          </p:cNvSpPr>
          <p:nvPr/>
        </p:nvSpPr>
        <p:spPr bwMode="auto">
          <a:xfrm>
            <a:off x="10515177" y="0"/>
            <a:ext cx="0" cy="7561263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685" tIns="51843" rIns="103685" bIns="51843" anchor="t" compatLnSpc="1"/>
          <a:lstStyle/>
          <a:p>
            <a:pPr defTabSz="1036814" fontAlgn="auto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black"/>
              </a:solidFill>
              <a:latin typeface="Century Schoolbook"/>
            </a:endParaRPr>
          </a:p>
        </p:txBody>
      </p:sp>
      <p:sp>
        <p:nvSpPr>
          <p:cNvPr id="11" name="직사각형 10"/>
          <p:cNvSpPr/>
          <p:nvPr/>
        </p:nvSpPr>
        <p:spPr bwMode="auto">
          <a:xfrm>
            <a:off x="10336953" y="0"/>
            <a:ext cx="356447" cy="7561263"/>
          </a:xfrm>
          <a:prstGeom prst="rect">
            <a:avLst/>
          </a:prstGeom>
          <a:solidFill>
            <a:schemeClr val="accent1">
              <a:tint val="60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685" tIns="51843" rIns="103685" bIns="51843" anchor="ctr"/>
          <a:lstStyle/>
          <a:p>
            <a:pPr algn="ctr" defTabSz="1036814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white"/>
              </a:solidFill>
            </a:endParaRPr>
          </a:p>
        </p:txBody>
      </p:sp>
      <p:sp>
        <p:nvSpPr>
          <p:cNvPr id="12" name="직선 연결선 11"/>
          <p:cNvSpPr>
            <a:spLocks noChangeShapeType="1"/>
          </p:cNvSpPr>
          <p:nvPr/>
        </p:nvSpPr>
        <p:spPr bwMode="auto">
          <a:xfrm>
            <a:off x="10426065" y="0"/>
            <a:ext cx="0" cy="7561263"/>
          </a:xfrm>
          <a:prstGeom prst="lin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685" tIns="51843" rIns="103685" bIns="51843" anchor="t" compatLnSpc="1"/>
          <a:lstStyle/>
          <a:p>
            <a:pPr defTabSz="1036814" fontAlgn="auto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black"/>
              </a:solidFill>
              <a:latin typeface="Century Schoolbook"/>
            </a:endParaRPr>
          </a:p>
        </p:txBody>
      </p:sp>
      <p:sp>
        <p:nvSpPr>
          <p:cNvPr id="19" name="직선 연결선 18"/>
          <p:cNvSpPr>
            <a:spLocks noChangeShapeType="1"/>
          </p:cNvSpPr>
          <p:nvPr/>
        </p:nvSpPr>
        <p:spPr bwMode="auto">
          <a:xfrm>
            <a:off x="7307157" y="0"/>
            <a:ext cx="0" cy="7561263"/>
          </a:xfrm>
          <a:prstGeom prst="line">
            <a:avLst/>
          </a:prstGeom>
          <a:noFill/>
          <a:ln w="38100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685" tIns="51843" rIns="103685" bIns="51843" anchor="t" compatLnSpc="1"/>
          <a:lstStyle/>
          <a:p>
            <a:pPr defTabSz="1036814" fontAlgn="auto">
              <a:spcBef>
                <a:spcPts val="0"/>
              </a:spcBef>
              <a:spcAft>
                <a:spcPts val="0"/>
              </a:spcAft>
            </a:pPr>
            <a:endParaRPr kumimoji="0" lang="en-US" sz="2100" dirty="0">
              <a:solidFill>
                <a:prstClr val="black"/>
              </a:solidFill>
              <a:latin typeface="Century Schoolbook"/>
            </a:endParaRPr>
          </a:p>
        </p:txBody>
      </p:sp>
      <p:sp>
        <p:nvSpPr>
          <p:cNvPr id="20" name="직선 연결선 19"/>
          <p:cNvSpPr>
            <a:spLocks noChangeShapeType="1"/>
          </p:cNvSpPr>
          <p:nvPr/>
        </p:nvSpPr>
        <p:spPr bwMode="auto">
          <a:xfrm>
            <a:off x="7241546" y="0"/>
            <a:ext cx="0" cy="7561263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685" tIns="51843" rIns="103685" bIns="51843" anchor="t" compatLnSpc="1"/>
          <a:lstStyle/>
          <a:p>
            <a:pPr defTabSz="1036814" fontAlgn="auto">
              <a:spcBef>
                <a:spcPts val="0"/>
              </a:spcBef>
              <a:spcAft>
                <a:spcPts val="0"/>
              </a:spcAft>
            </a:pPr>
            <a:endParaRPr kumimoji="0" lang="en-US" sz="2100" dirty="0">
              <a:solidFill>
                <a:prstClr val="black"/>
              </a:solidFill>
              <a:latin typeface="Century Schoolbook"/>
            </a:endParaRPr>
          </a:p>
        </p:txBody>
      </p:sp>
      <p:sp>
        <p:nvSpPr>
          <p:cNvPr id="17" name="날짜 개체 틀 16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fld id="{582EF422-6799-4543-9129-69758A77C2D3}" type="datetimeFigureOut">
              <a:rPr lang="ko-KR" altLang="en-US" smtClean="0">
                <a:solidFill>
                  <a:srgbClr val="575F6D"/>
                </a:solidFill>
              </a:rPr>
              <a:pPr/>
              <a:t>2018-03-29</a:t>
            </a:fld>
            <a:endParaRPr lang="ko-KR" altLang="en-US">
              <a:solidFill>
                <a:srgbClr val="575F6D"/>
              </a:solidFill>
            </a:endParaRPr>
          </a:p>
        </p:txBody>
      </p:sp>
      <p:sp>
        <p:nvSpPr>
          <p:cNvPr id="18" name="슬라이드 번호 개체 틀 17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/>
          <a:p>
            <a:fld id="{0FFC04F2-410B-478E-B5E8-05AEE79BCA15}" type="slidenum">
              <a:rPr lang="ko-KR" altLang="en-US" smtClean="0"/>
              <a:pPr/>
              <a:t>‹#›</a:t>
            </a:fld>
            <a:endParaRPr lang="ko-KR" altLang="en-US"/>
          </a:p>
        </p:txBody>
      </p:sp>
      <p:sp>
        <p:nvSpPr>
          <p:cNvPr id="21" name="바닥글 개체 틀 20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/>
          <a:p>
            <a:endParaRPr lang="ko-KR" altLang="en-US">
              <a:solidFill>
                <a:srgbClr val="575F6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40375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ko-KR" altLang="en-US" smtClean="0"/>
              <a:t>마스터 제목 스타일 편집</a:t>
            </a:r>
            <a:endParaRPr kumimoji="0" 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ko-KR" altLang="en-US" smtClean="0"/>
              <a:t>마스터 텍스트 스타일을 편집합니다</a:t>
            </a:r>
          </a:p>
          <a:p>
            <a:pPr lvl="1" eaLnBrk="1" latinLnBrk="0" hangingPunct="1"/>
            <a:r>
              <a:rPr lang="ko-KR" altLang="en-US" smtClean="0"/>
              <a:t>둘째 수준</a:t>
            </a:r>
          </a:p>
          <a:p>
            <a:pPr lvl="2" eaLnBrk="1" latinLnBrk="0" hangingPunct="1"/>
            <a:r>
              <a:rPr lang="ko-KR" altLang="en-US" smtClean="0"/>
              <a:t>셋째 수준</a:t>
            </a:r>
          </a:p>
          <a:p>
            <a:pPr lvl="3" eaLnBrk="1" latinLnBrk="0" hangingPunct="1"/>
            <a:r>
              <a:rPr lang="ko-KR" altLang="en-US" smtClean="0"/>
              <a:t>넷째 수준</a:t>
            </a:r>
          </a:p>
          <a:p>
            <a:pPr lvl="4" eaLnBrk="1" latinLnBrk="0" hangingPunct="1"/>
            <a:r>
              <a:rPr lang="ko-KR" altLang="en-US" smtClean="0"/>
              <a:t>다섯째 수준</a:t>
            </a:r>
            <a:endParaRPr kumimoji="0" 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2EF422-6799-4543-9129-69758A77C2D3}" type="datetimeFigureOut">
              <a:rPr lang="ko-KR" altLang="en-US" smtClean="0">
                <a:solidFill>
                  <a:srgbClr val="575F6D"/>
                </a:solidFill>
              </a:rPr>
              <a:pPr/>
              <a:t>2018-03-29</a:t>
            </a:fld>
            <a:endParaRPr lang="ko-KR" altLang="en-US">
              <a:solidFill>
                <a:srgbClr val="575F6D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srgbClr val="575F6D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FC04F2-410B-478E-B5E8-05AEE79BCA15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47991106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752716" y="302807"/>
            <a:ext cx="1960457" cy="6451578"/>
          </a:xfrm>
        </p:spPr>
        <p:txBody>
          <a:bodyPr vert="eaVert"/>
          <a:lstStyle/>
          <a:p>
            <a:r>
              <a:rPr kumimoji="0" lang="ko-KR" altLang="en-US" smtClean="0"/>
              <a:t>마스터 제목 스타일 편집</a:t>
            </a:r>
            <a:endParaRPr kumimoji="0" 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534670" y="302807"/>
            <a:ext cx="7039822" cy="6451578"/>
          </a:xfrm>
        </p:spPr>
        <p:txBody>
          <a:bodyPr vert="eaVert"/>
          <a:lstStyle/>
          <a:p>
            <a:pPr lvl="0" eaLnBrk="1" latinLnBrk="0" hangingPunct="1"/>
            <a:r>
              <a:rPr lang="ko-KR" altLang="en-US" smtClean="0"/>
              <a:t>마스터 텍스트 스타일을 편집합니다</a:t>
            </a:r>
          </a:p>
          <a:p>
            <a:pPr lvl="1" eaLnBrk="1" latinLnBrk="0" hangingPunct="1"/>
            <a:r>
              <a:rPr lang="ko-KR" altLang="en-US" smtClean="0"/>
              <a:t>둘째 수준</a:t>
            </a:r>
          </a:p>
          <a:p>
            <a:pPr lvl="2" eaLnBrk="1" latinLnBrk="0" hangingPunct="1"/>
            <a:r>
              <a:rPr lang="ko-KR" altLang="en-US" smtClean="0"/>
              <a:t>셋째 수준</a:t>
            </a:r>
          </a:p>
          <a:p>
            <a:pPr lvl="3" eaLnBrk="1" latinLnBrk="0" hangingPunct="1"/>
            <a:r>
              <a:rPr lang="ko-KR" altLang="en-US" smtClean="0"/>
              <a:t>넷째 수준</a:t>
            </a:r>
          </a:p>
          <a:p>
            <a:pPr lvl="4" eaLnBrk="1" latinLnBrk="0" hangingPunct="1"/>
            <a:r>
              <a:rPr lang="ko-KR" altLang="en-US" smtClean="0"/>
              <a:t>다섯째 수준</a:t>
            </a:r>
            <a:endParaRPr kumimoji="0" 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2EF422-6799-4543-9129-69758A77C2D3}" type="datetimeFigureOut">
              <a:rPr lang="ko-KR" altLang="en-US" smtClean="0">
                <a:solidFill>
                  <a:srgbClr val="575F6D"/>
                </a:solidFill>
              </a:rPr>
              <a:pPr/>
              <a:t>2018-03-29</a:t>
            </a:fld>
            <a:endParaRPr lang="ko-KR" altLang="en-US">
              <a:solidFill>
                <a:srgbClr val="575F6D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srgbClr val="575F6D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FC04F2-410B-478E-B5E8-05AEE79BCA15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6720780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802005" y="672112"/>
            <a:ext cx="9089390" cy="6049010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575F6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932569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00"/>
          <p:cNvGrpSpPr>
            <a:grpSpLocks/>
          </p:cNvGrpSpPr>
          <p:nvPr/>
        </p:nvGrpSpPr>
        <p:grpSpPr bwMode="auto">
          <a:xfrm>
            <a:off x="6000185" y="204785"/>
            <a:ext cx="4427737" cy="3843642"/>
            <a:chOff x="3232" y="117"/>
            <a:chExt cx="2385" cy="2196"/>
          </a:xfrm>
        </p:grpSpPr>
        <p:sp>
          <p:nvSpPr>
            <p:cNvPr id="5" name="AutoShape 101"/>
            <p:cNvSpPr>
              <a:spLocks noChangeArrowheads="1"/>
            </p:cNvSpPr>
            <p:nvPr userDrawn="1"/>
          </p:nvSpPr>
          <p:spPr bwMode="gray">
            <a:xfrm>
              <a:off x="4440" y="117"/>
              <a:ext cx="571" cy="539"/>
            </a:xfrm>
            <a:prstGeom prst="roundRect">
              <a:avLst>
                <a:gd name="adj" fmla="val 16667"/>
              </a:avLst>
            </a:prstGeom>
            <a:solidFill>
              <a:srgbClr val="FFFFFF">
                <a:alpha val="20000"/>
              </a:srgbClr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r" latinLnBrk="0">
                <a:defRPr/>
              </a:pPr>
              <a:endParaRPr kumimoji="0" lang="ko-KR" altLang="en-US" sz="18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6" name="AutoShape 102"/>
            <p:cNvSpPr>
              <a:spLocks noChangeArrowheads="1"/>
            </p:cNvSpPr>
            <p:nvPr userDrawn="1"/>
          </p:nvSpPr>
          <p:spPr bwMode="gray">
            <a:xfrm>
              <a:off x="5045" y="117"/>
              <a:ext cx="572" cy="539"/>
            </a:xfrm>
            <a:prstGeom prst="roundRect">
              <a:avLst>
                <a:gd name="adj" fmla="val 16667"/>
              </a:avLst>
            </a:prstGeom>
            <a:solidFill>
              <a:srgbClr val="FFFFFF">
                <a:alpha val="39999"/>
              </a:srgbClr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r" latinLnBrk="0">
                <a:defRPr/>
              </a:pPr>
              <a:endParaRPr kumimoji="0" lang="ko-KR" altLang="en-US" sz="18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7" name="AutoShape 103"/>
            <p:cNvSpPr>
              <a:spLocks noChangeArrowheads="1"/>
            </p:cNvSpPr>
            <p:nvPr userDrawn="1"/>
          </p:nvSpPr>
          <p:spPr bwMode="gray">
            <a:xfrm>
              <a:off x="4440" y="683"/>
              <a:ext cx="571" cy="539"/>
            </a:xfrm>
            <a:prstGeom prst="roundRect">
              <a:avLst>
                <a:gd name="adj" fmla="val 16667"/>
              </a:avLst>
            </a:prstGeom>
            <a:solidFill>
              <a:srgbClr val="FFFFFF">
                <a:alpha val="39999"/>
              </a:srgbClr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r" latinLnBrk="0">
                <a:defRPr/>
              </a:pPr>
              <a:endParaRPr kumimoji="0" lang="ko-KR" altLang="en-US" sz="18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8" name="AutoShape 104"/>
            <p:cNvSpPr>
              <a:spLocks noChangeArrowheads="1"/>
            </p:cNvSpPr>
            <p:nvPr userDrawn="1"/>
          </p:nvSpPr>
          <p:spPr bwMode="gray">
            <a:xfrm>
              <a:off x="3232" y="117"/>
              <a:ext cx="572" cy="539"/>
            </a:xfrm>
            <a:prstGeom prst="roundRect">
              <a:avLst>
                <a:gd name="adj" fmla="val 16667"/>
              </a:avLst>
            </a:prstGeom>
            <a:solidFill>
              <a:srgbClr val="FFFFFF">
                <a:alpha val="20000"/>
              </a:srgbClr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r" latinLnBrk="0">
                <a:defRPr/>
              </a:pPr>
              <a:endParaRPr kumimoji="0" lang="ko-KR" altLang="en-US" sz="18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9" name="AutoShape 105"/>
            <p:cNvSpPr>
              <a:spLocks noChangeArrowheads="1"/>
            </p:cNvSpPr>
            <p:nvPr userDrawn="1"/>
          </p:nvSpPr>
          <p:spPr bwMode="gray">
            <a:xfrm>
              <a:off x="3839" y="683"/>
              <a:ext cx="571" cy="538"/>
            </a:xfrm>
            <a:prstGeom prst="roundRect">
              <a:avLst>
                <a:gd name="adj" fmla="val 16667"/>
              </a:avLst>
            </a:prstGeom>
            <a:solidFill>
              <a:srgbClr val="FFFFFF">
                <a:alpha val="20000"/>
              </a:srgbClr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r" latinLnBrk="0">
                <a:defRPr/>
              </a:pPr>
              <a:endParaRPr kumimoji="0" lang="ko-KR" altLang="en-US" sz="18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0" name="AutoShape 106"/>
            <p:cNvSpPr>
              <a:spLocks noChangeArrowheads="1"/>
            </p:cNvSpPr>
            <p:nvPr userDrawn="1"/>
          </p:nvSpPr>
          <p:spPr bwMode="gray">
            <a:xfrm>
              <a:off x="5045" y="1201"/>
              <a:ext cx="572" cy="538"/>
            </a:xfrm>
            <a:prstGeom prst="roundRect">
              <a:avLst>
                <a:gd name="adj" fmla="val 16667"/>
              </a:avLst>
            </a:prstGeom>
            <a:solidFill>
              <a:srgbClr val="FFFFFF">
                <a:alpha val="20000"/>
              </a:srgbClr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r" latinLnBrk="0">
                <a:defRPr/>
              </a:pPr>
              <a:endParaRPr kumimoji="0" lang="ko-KR" altLang="en-US" sz="18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1" name="AutoShape 107"/>
            <p:cNvSpPr>
              <a:spLocks noChangeArrowheads="1"/>
            </p:cNvSpPr>
            <p:nvPr userDrawn="1"/>
          </p:nvSpPr>
          <p:spPr bwMode="gray">
            <a:xfrm>
              <a:off x="5045" y="1774"/>
              <a:ext cx="572" cy="539"/>
            </a:xfrm>
            <a:prstGeom prst="roundRect">
              <a:avLst>
                <a:gd name="adj" fmla="val 16667"/>
              </a:avLst>
            </a:prstGeom>
            <a:solidFill>
              <a:srgbClr val="FFFFFF">
                <a:alpha val="20000"/>
              </a:srgbClr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r" latinLnBrk="0">
                <a:defRPr/>
              </a:pPr>
              <a:endParaRPr kumimoji="0" lang="ko-KR" altLang="en-US" sz="1800">
                <a:solidFill>
                  <a:srgbClr val="000000"/>
                </a:solidFill>
                <a:latin typeface="Arial" pitchFamily="34" charset="0"/>
              </a:endParaRPr>
            </a:p>
          </p:txBody>
        </p:sp>
      </p:grp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80331" y="1291753"/>
            <a:ext cx="6690181" cy="1620771"/>
          </a:xfrm>
        </p:spPr>
        <p:txBody>
          <a:bodyPr/>
          <a:lstStyle>
            <a:lvl1pPr>
              <a:defRPr sz="5700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en-US" altLang="ko-KR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82191" y="2846012"/>
            <a:ext cx="6714226" cy="551343"/>
          </a:xfrm>
        </p:spPr>
        <p:txBody>
          <a:bodyPr/>
          <a:lstStyle>
            <a:lvl1pPr marL="0" indent="0">
              <a:buFontTx/>
              <a:buNone/>
              <a:defRPr sz="2500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smtClean="0"/>
              <a:t>마스터 부제목 스타일 편집</a:t>
            </a:r>
            <a:endParaRPr lang="en-US" altLang="ko-KR"/>
          </a:p>
        </p:txBody>
      </p:sp>
      <p:sp>
        <p:nvSpPr>
          <p:cNvPr id="12" name="Rectangle 32"/>
          <p:cNvSpPr>
            <a:spLocks noGrp="1" noChangeArrowheads="1"/>
          </p:cNvSpPr>
          <p:nvPr>
            <p:ph type="dt" sz="half" idx="10"/>
          </p:nvPr>
        </p:nvSpPr>
        <p:spPr>
          <a:xfrm>
            <a:off x="1043353" y="7148194"/>
            <a:ext cx="1706118" cy="26254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13" name="Rectangle 33"/>
          <p:cNvSpPr>
            <a:spLocks noGrp="1" noChangeArrowheads="1"/>
          </p:cNvSpPr>
          <p:nvPr>
            <p:ph type="ftr" sz="quarter" idx="11"/>
          </p:nvPr>
        </p:nvSpPr>
        <p:spPr>
          <a:xfrm>
            <a:off x="4151158" y="7148194"/>
            <a:ext cx="1503759" cy="262544"/>
          </a:xfrm>
          <a:ln algn="ctr"/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14" name="Rectangle 34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22529" y="7148194"/>
            <a:ext cx="865126" cy="262544"/>
          </a:xfrm>
        </p:spPr>
        <p:txBody>
          <a:bodyPr/>
          <a:lstStyle>
            <a:lvl1pPr algn="l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A89412B1-8A1E-48B0-B720-1B7F07E700F1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08940894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맑은 고딕" pitchFamily="50" charset="-127"/>
                <a:ea typeface="맑은 고딕" pitchFamily="50" charset="-127"/>
              </a:defRPr>
            </a:lvl1pPr>
            <a:lvl2pPr>
              <a:defRPr>
                <a:latin typeface="맑은 고딕" pitchFamily="50" charset="-127"/>
                <a:ea typeface="맑은 고딕" pitchFamily="50" charset="-127"/>
              </a:defRPr>
            </a:lvl2pPr>
            <a:lvl3pPr>
              <a:defRPr>
                <a:latin typeface="맑은 고딕" pitchFamily="50" charset="-127"/>
                <a:ea typeface="맑은 고딕" pitchFamily="50" charset="-127"/>
              </a:defRPr>
            </a:lvl3pPr>
            <a:lvl4pPr>
              <a:defRPr>
                <a:latin typeface="맑은 고딕" pitchFamily="50" charset="-127"/>
                <a:ea typeface="맑은 고딕" pitchFamily="50" charset="-127"/>
              </a:defRPr>
            </a:lvl4pPr>
            <a:lvl5pPr>
              <a:defRPr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5" name="슬라이드 번호 개체 틀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7027E7-DD2D-4EC8-9AF0-0F6531E8AB2E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23919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44705" y="4858848"/>
            <a:ext cx="9089390" cy="1501751"/>
          </a:xfrm>
        </p:spPr>
        <p:txBody>
          <a:bodyPr anchor="t"/>
          <a:lstStyle>
            <a:lvl1pPr algn="l">
              <a:defRPr sz="4600" b="1" cap="all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44705" y="3204786"/>
            <a:ext cx="9089390" cy="1654026"/>
          </a:xfrm>
        </p:spPr>
        <p:txBody>
          <a:bodyPr anchor="b"/>
          <a:lstStyle>
            <a:lvl1pPr marL="0" indent="0">
              <a:buNone/>
              <a:defRPr sz="2300">
                <a:latin typeface="맑은 고딕" pitchFamily="50" charset="-127"/>
                <a:ea typeface="맑은 고딕" pitchFamily="50" charset="-127"/>
              </a:defRPr>
            </a:lvl1pPr>
            <a:lvl2pPr marL="518502" indent="0">
              <a:buNone/>
              <a:defRPr sz="2100"/>
            </a:lvl2pPr>
            <a:lvl3pPr marL="1036997" indent="0">
              <a:buNone/>
              <a:defRPr sz="1800"/>
            </a:lvl3pPr>
            <a:lvl4pPr marL="1555498" indent="0">
              <a:buNone/>
              <a:defRPr sz="1600"/>
            </a:lvl4pPr>
            <a:lvl5pPr marL="2074002" indent="0">
              <a:buNone/>
              <a:defRPr sz="1600"/>
            </a:lvl5pPr>
            <a:lvl6pPr marL="2592497" indent="0">
              <a:buNone/>
              <a:defRPr sz="1600"/>
            </a:lvl6pPr>
            <a:lvl7pPr marL="3110995" indent="0">
              <a:buNone/>
              <a:defRPr sz="1600"/>
            </a:lvl7pPr>
            <a:lvl8pPr marL="3629501" indent="0">
              <a:buNone/>
              <a:defRPr sz="1600"/>
            </a:lvl8pPr>
            <a:lvl9pPr marL="4147997" indent="0">
              <a:buNone/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7B3AEAA-8A0F-4E8D-967A-567679B2BAA4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843698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534670" y="1764295"/>
            <a:ext cx="4722918" cy="4990084"/>
          </a:xfrm>
        </p:spPr>
        <p:txBody>
          <a:bodyPr/>
          <a:lstStyle>
            <a:lvl1pPr>
              <a:defRPr sz="3200">
                <a:latin typeface="맑은 고딕" pitchFamily="50" charset="-127"/>
                <a:ea typeface="맑은 고딕" pitchFamily="50" charset="-127"/>
              </a:defRPr>
            </a:lvl1pPr>
            <a:lvl2pPr>
              <a:defRPr sz="2700">
                <a:latin typeface="맑은 고딕" pitchFamily="50" charset="-127"/>
                <a:ea typeface="맑은 고딕" pitchFamily="50" charset="-127"/>
              </a:defRPr>
            </a:lvl2pPr>
            <a:lvl3pPr>
              <a:defRPr sz="2300">
                <a:latin typeface="맑은 고딕" pitchFamily="50" charset="-127"/>
                <a:ea typeface="맑은 고딕" pitchFamily="50" charset="-127"/>
              </a:defRPr>
            </a:lvl3pPr>
            <a:lvl4pPr>
              <a:defRPr sz="2100">
                <a:latin typeface="맑은 고딕" pitchFamily="50" charset="-127"/>
                <a:ea typeface="맑은 고딕" pitchFamily="50" charset="-127"/>
              </a:defRPr>
            </a:lvl4pPr>
            <a:lvl5pPr>
              <a:defRPr sz="2100">
                <a:latin typeface="맑은 고딕" pitchFamily="50" charset="-127"/>
                <a:ea typeface="맑은 고딕" pitchFamily="50" charset="-127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435812" y="1764295"/>
            <a:ext cx="4722918" cy="4990084"/>
          </a:xfrm>
        </p:spPr>
        <p:txBody>
          <a:bodyPr/>
          <a:lstStyle>
            <a:lvl1pPr>
              <a:defRPr sz="3200">
                <a:latin typeface="맑은 고딕" pitchFamily="50" charset="-127"/>
                <a:ea typeface="맑은 고딕" pitchFamily="50" charset="-127"/>
              </a:defRPr>
            </a:lvl1pPr>
            <a:lvl2pPr>
              <a:defRPr sz="2700">
                <a:latin typeface="맑은 고딕" pitchFamily="50" charset="-127"/>
                <a:ea typeface="맑은 고딕" pitchFamily="50" charset="-127"/>
              </a:defRPr>
            </a:lvl2pPr>
            <a:lvl3pPr>
              <a:defRPr sz="2300">
                <a:latin typeface="맑은 고딕" pitchFamily="50" charset="-127"/>
                <a:ea typeface="맑은 고딕" pitchFamily="50" charset="-127"/>
              </a:defRPr>
            </a:lvl3pPr>
            <a:lvl4pPr>
              <a:defRPr sz="2100">
                <a:latin typeface="맑은 고딕" pitchFamily="50" charset="-127"/>
                <a:ea typeface="맑은 고딕" pitchFamily="50" charset="-127"/>
              </a:defRPr>
            </a:lvl4pPr>
            <a:lvl5pPr>
              <a:defRPr sz="2100">
                <a:latin typeface="맑은 고딕" pitchFamily="50" charset="-127"/>
                <a:ea typeface="맑은 고딕" pitchFamily="50" charset="-127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C02CA5-9F07-4FFE-936C-FC38F7CB0E92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933709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534670" y="302802"/>
            <a:ext cx="9624060" cy="1260211"/>
          </a:xfrm>
        </p:spPr>
        <p:txBody>
          <a:bodyPr/>
          <a:lstStyle>
            <a:lvl1pPr>
              <a:defRPr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534670" y="1692533"/>
            <a:ext cx="4724775" cy="705367"/>
          </a:xfrm>
        </p:spPr>
        <p:txBody>
          <a:bodyPr anchor="b"/>
          <a:lstStyle>
            <a:lvl1pPr marL="0" indent="0">
              <a:buNone/>
              <a:defRPr sz="2700" b="1">
                <a:latin typeface="맑은 고딕" pitchFamily="50" charset="-127"/>
                <a:ea typeface="맑은 고딕" pitchFamily="50" charset="-127"/>
              </a:defRPr>
            </a:lvl1pPr>
            <a:lvl2pPr marL="518502" indent="0">
              <a:buNone/>
              <a:defRPr sz="2300" b="1"/>
            </a:lvl2pPr>
            <a:lvl3pPr marL="1036997" indent="0">
              <a:buNone/>
              <a:defRPr sz="2100" b="1"/>
            </a:lvl3pPr>
            <a:lvl4pPr marL="1555498" indent="0">
              <a:buNone/>
              <a:defRPr sz="1800" b="1"/>
            </a:lvl4pPr>
            <a:lvl5pPr marL="2074002" indent="0">
              <a:buNone/>
              <a:defRPr sz="1800" b="1"/>
            </a:lvl5pPr>
            <a:lvl6pPr marL="2592497" indent="0">
              <a:buNone/>
              <a:defRPr sz="1800" b="1"/>
            </a:lvl6pPr>
            <a:lvl7pPr marL="3110995" indent="0">
              <a:buNone/>
              <a:defRPr sz="1800" b="1"/>
            </a:lvl7pPr>
            <a:lvl8pPr marL="3629501" indent="0">
              <a:buNone/>
              <a:defRPr sz="1800" b="1"/>
            </a:lvl8pPr>
            <a:lvl9pPr marL="4147997" indent="0">
              <a:buNone/>
              <a:defRPr sz="18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34670" y="2397901"/>
            <a:ext cx="4724775" cy="4356478"/>
          </a:xfrm>
        </p:spPr>
        <p:txBody>
          <a:bodyPr/>
          <a:lstStyle>
            <a:lvl1pPr>
              <a:defRPr sz="2700">
                <a:latin typeface="맑은 고딕" pitchFamily="50" charset="-127"/>
                <a:ea typeface="맑은 고딕" pitchFamily="50" charset="-127"/>
              </a:defRPr>
            </a:lvl1pPr>
            <a:lvl2pPr>
              <a:defRPr sz="2300">
                <a:latin typeface="맑은 고딕" pitchFamily="50" charset="-127"/>
                <a:ea typeface="맑은 고딕" pitchFamily="50" charset="-127"/>
              </a:defRPr>
            </a:lvl2pPr>
            <a:lvl3pPr>
              <a:defRPr sz="2100">
                <a:latin typeface="맑은 고딕" pitchFamily="50" charset="-127"/>
                <a:ea typeface="맑은 고딕" pitchFamily="50" charset="-127"/>
              </a:defRPr>
            </a:lvl3pPr>
            <a:lvl4pPr>
              <a:defRPr sz="1800">
                <a:latin typeface="맑은 고딕" pitchFamily="50" charset="-127"/>
                <a:ea typeface="맑은 고딕" pitchFamily="50" charset="-127"/>
              </a:defRPr>
            </a:lvl4pPr>
            <a:lvl5pPr>
              <a:defRPr sz="1800">
                <a:latin typeface="맑은 고딕" pitchFamily="50" charset="-127"/>
                <a:ea typeface="맑은 고딕" pitchFamily="50" charset="-127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432138" y="1692533"/>
            <a:ext cx="4726631" cy="705367"/>
          </a:xfrm>
        </p:spPr>
        <p:txBody>
          <a:bodyPr anchor="b"/>
          <a:lstStyle>
            <a:lvl1pPr marL="0" indent="0">
              <a:buNone/>
              <a:defRPr sz="2700" b="1">
                <a:latin typeface="맑은 고딕" pitchFamily="50" charset="-127"/>
                <a:ea typeface="맑은 고딕" pitchFamily="50" charset="-127"/>
              </a:defRPr>
            </a:lvl1pPr>
            <a:lvl2pPr marL="518502" indent="0">
              <a:buNone/>
              <a:defRPr sz="2300" b="1"/>
            </a:lvl2pPr>
            <a:lvl3pPr marL="1036997" indent="0">
              <a:buNone/>
              <a:defRPr sz="2100" b="1"/>
            </a:lvl3pPr>
            <a:lvl4pPr marL="1555498" indent="0">
              <a:buNone/>
              <a:defRPr sz="1800" b="1"/>
            </a:lvl4pPr>
            <a:lvl5pPr marL="2074002" indent="0">
              <a:buNone/>
              <a:defRPr sz="1800" b="1"/>
            </a:lvl5pPr>
            <a:lvl6pPr marL="2592497" indent="0">
              <a:buNone/>
              <a:defRPr sz="1800" b="1"/>
            </a:lvl6pPr>
            <a:lvl7pPr marL="3110995" indent="0">
              <a:buNone/>
              <a:defRPr sz="1800" b="1"/>
            </a:lvl7pPr>
            <a:lvl8pPr marL="3629501" indent="0">
              <a:buNone/>
              <a:defRPr sz="1800" b="1"/>
            </a:lvl8pPr>
            <a:lvl9pPr marL="4147997" indent="0">
              <a:buNone/>
              <a:defRPr sz="18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432138" y="2397901"/>
            <a:ext cx="4726631" cy="4356478"/>
          </a:xfrm>
        </p:spPr>
        <p:txBody>
          <a:bodyPr/>
          <a:lstStyle>
            <a:lvl1pPr>
              <a:defRPr sz="2700">
                <a:latin typeface="맑은 고딕" pitchFamily="50" charset="-127"/>
                <a:ea typeface="맑은 고딕" pitchFamily="50" charset="-127"/>
              </a:defRPr>
            </a:lvl1pPr>
            <a:lvl2pPr>
              <a:defRPr sz="2300">
                <a:latin typeface="맑은 고딕" pitchFamily="50" charset="-127"/>
                <a:ea typeface="맑은 고딕" pitchFamily="50" charset="-127"/>
              </a:defRPr>
            </a:lvl2pPr>
            <a:lvl3pPr>
              <a:defRPr sz="2100">
                <a:latin typeface="맑은 고딕" pitchFamily="50" charset="-127"/>
                <a:ea typeface="맑은 고딕" pitchFamily="50" charset="-127"/>
              </a:defRPr>
            </a:lvl3pPr>
            <a:lvl4pPr>
              <a:defRPr sz="1800">
                <a:latin typeface="맑은 고딕" pitchFamily="50" charset="-127"/>
                <a:ea typeface="맑은 고딕" pitchFamily="50" charset="-127"/>
              </a:defRPr>
            </a:lvl4pPr>
            <a:lvl5pPr>
              <a:defRPr sz="1800">
                <a:latin typeface="맑은 고딕" pitchFamily="50" charset="-127"/>
                <a:ea typeface="맑은 고딕" pitchFamily="50" charset="-127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8F6BE8-6F86-41B6-92A8-523134B1E988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76040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44848" y="4858840"/>
            <a:ext cx="9089390" cy="1501751"/>
          </a:xfrm>
          <a:prstGeom prst="rect">
            <a:avLst/>
          </a:prstGeom>
        </p:spPr>
        <p:txBody>
          <a:bodyPr lIns="99133" tIns="49583" rIns="99133" bIns="49583" anchor="t"/>
          <a:lstStyle>
            <a:lvl1pPr algn="l">
              <a:defRPr sz="44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44848" y="3204786"/>
            <a:ext cx="9089390" cy="1654026"/>
          </a:xfrm>
        </p:spPr>
        <p:txBody>
          <a:bodyPr anchor="b"/>
          <a:lstStyle>
            <a:lvl1pPr marL="0" indent="0">
              <a:buNone/>
              <a:defRPr sz="2200"/>
            </a:lvl1pPr>
            <a:lvl2pPr marL="495651" indent="0">
              <a:buNone/>
              <a:defRPr sz="2100"/>
            </a:lvl2pPr>
            <a:lvl3pPr marL="991305" indent="0">
              <a:buNone/>
              <a:defRPr sz="1700"/>
            </a:lvl3pPr>
            <a:lvl4pPr marL="1486957" indent="0">
              <a:buNone/>
              <a:defRPr sz="1500"/>
            </a:lvl4pPr>
            <a:lvl5pPr marL="1982616" indent="0">
              <a:buNone/>
              <a:defRPr sz="1500"/>
            </a:lvl5pPr>
            <a:lvl6pPr marL="2478271" indent="0">
              <a:buNone/>
              <a:defRPr sz="1500"/>
            </a:lvl6pPr>
            <a:lvl7pPr marL="2973917" indent="0">
              <a:buNone/>
              <a:defRPr sz="1500"/>
            </a:lvl7pPr>
            <a:lvl8pPr marL="3469575" indent="0">
              <a:buNone/>
              <a:defRPr sz="1500"/>
            </a:lvl8pPr>
            <a:lvl9pPr marL="3965228" indent="0">
              <a:buNone/>
              <a:defRPr sz="15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422645D-254A-4DD3-B3B8-34EC398E2D12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024353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C5BCF36-184A-4399-B7A0-744FD1E600DB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470535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534709" y="301050"/>
            <a:ext cx="3518055" cy="1281214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180822" y="301051"/>
            <a:ext cx="5977908" cy="6453328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534709" y="1582265"/>
            <a:ext cx="3518055" cy="5172114"/>
          </a:xfrm>
        </p:spPr>
        <p:txBody>
          <a:bodyPr/>
          <a:lstStyle>
            <a:lvl1pPr marL="0" indent="0">
              <a:buNone/>
              <a:defRPr sz="1600"/>
            </a:lvl1pPr>
            <a:lvl2pPr marL="518502" indent="0">
              <a:buNone/>
              <a:defRPr sz="1400"/>
            </a:lvl2pPr>
            <a:lvl3pPr marL="1036997" indent="0">
              <a:buNone/>
              <a:defRPr sz="1100"/>
            </a:lvl3pPr>
            <a:lvl4pPr marL="1555498" indent="0">
              <a:buNone/>
              <a:defRPr sz="1000"/>
            </a:lvl4pPr>
            <a:lvl5pPr marL="2074002" indent="0">
              <a:buNone/>
              <a:defRPr sz="1000"/>
            </a:lvl5pPr>
            <a:lvl6pPr marL="2592497" indent="0">
              <a:buNone/>
              <a:defRPr sz="1000"/>
            </a:lvl6pPr>
            <a:lvl7pPr marL="3110995" indent="0">
              <a:buNone/>
              <a:defRPr sz="1000"/>
            </a:lvl7pPr>
            <a:lvl8pPr marL="3629501" indent="0">
              <a:buNone/>
              <a:defRPr sz="1000"/>
            </a:lvl8pPr>
            <a:lvl9pPr marL="4147997" indent="0">
              <a:buNone/>
              <a:defRPr sz="1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B0505F7-7709-46EB-BD78-8A596E418C94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853507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095981" y="5292884"/>
            <a:ext cx="6416040" cy="624855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2095981" y="675613"/>
            <a:ext cx="6416040" cy="4536758"/>
          </a:xfrm>
        </p:spPr>
        <p:txBody>
          <a:bodyPr/>
          <a:lstStyle>
            <a:lvl1pPr marL="0" indent="0">
              <a:buNone/>
              <a:defRPr sz="3700"/>
            </a:lvl1pPr>
            <a:lvl2pPr marL="518502" indent="0">
              <a:buNone/>
              <a:defRPr sz="3200"/>
            </a:lvl2pPr>
            <a:lvl3pPr marL="1036997" indent="0">
              <a:buNone/>
              <a:defRPr sz="2700"/>
            </a:lvl3pPr>
            <a:lvl4pPr marL="1555498" indent="0">
              <a:buNone/>
              <a:defRPr sz="2300"/>
            </a:lvl4pPr>
            <a:lvl5pPr marL="2074002" indent="0">
              <a:buNone/>
              <a:defRPr sz="2300"/>
            </a:lvl5pPr>
            <a:lvl6pPr marL="2592497" indent="0">
              <a:buNone/>
              <a:defRPr sz="2300"/>
            </a:lvl6pPr>
            <a:lvl7pPr marL="3110995" indent="0">
              <a:buNone/>
              <a:defRPr sz="2300"/>
            </a:lvl7pPr>
            <a:lvl8pPr marL="3629501" indent="0">
              <a:buNone/>
              <a:defRPr sz="2300"/>
            </a:lvl8pPr>
            <a:lvl9pPr marL="4147997" indent="0">
              <a:buNone/>
              <a:defRPr sz="2300"/>
            </a:lvl9pPr>
          </a:lstStyle>
          <a:p>
            <a:pPr lvl="0"/>
            <a:r>
              <a:rPr lang="ko-KR" altLang="en-US" noProof="0" smtClean="0"/>
              <a:t>그림을 추가하려면 아이콘을 클릭하십시오</a:t>
            </a:r>
            <a:endParaRPr lang="ko-KR" altLang="en-US" noProof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2095981" y="5917739"/>
            <a:ext cx="6416040" cy="887398"/>
          </a:xfrm>
        </p:spPr>
        <p:txBody>
          <a:bodyPr/>
          <a:lstStyle>
            <a:lvl1pPr marL="0" indent="0">
              <a:buNone/>
              <a:defRPr sz="1600"/>
            </a:lvl1pPr>
            <a:lvl2pPr marL="518502" indent="0">
              <a:buNone/>
              <a:defRPr sz="1400"/>
            </a:lvl2pPr>
            <a:lvl3pPr marL="1036997" indent="0">
              <a:buNone/>
              <a:defRPr sz="1100"/>
            </a:lvl3pPr>
            <a:lvl4pPr marL="1555498" indent="0">
              <a:buNone/>
              <a:defRPr sz="1000"/>
            </a:lvl4pPr>
            <a:lvl5pPr marL="2074002" indent="0">
              <a:buNone/>
              <a:defRPr sz="1000"/>
            </a:lvl5pPr>
            <a:lvl6pPr marL="2592497" indent="0">
              <a:buNone/>
              <a:defRPr sz="1000"/>
            </a:lvl6pPr>
            <a:lvl7pPr marL="3110995" indent="0">
              <a:buNone/>
              <a:defRPr sz="1000"/>
            </a:lvl7pPr>
            <a:lvl8pPr marL="3629501" indent="0">
              <a:buNone/>
              <a:defRPr sz="1000"/>
            </a:lvl8pPr>
            <a:lvl9pPr marL="4147997" indent="0">
              <a:buNone/>
              <a:defRPr sz="1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E34EBFB-340A-4894-9620-D30E8E77D51B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162428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32031C0-C9E0-45A9-9C71-5179F9A3685D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554482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769424" y="302807"/>
            <a:ext cx="2411584" cy="6451578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534671" y="302807"/>
            <a:ext cx="7056531" cy="6451578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B1B087-7A5C-403F-8904-E0A9A7A2391E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173942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802005" y="672112"/>
            <a:ext cx="9089390" cy="6049010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609675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제목 및 차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02005" y="672112"/>
            <a:ext cx="9089390" cy="1260211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차트 개체 틀 2"/>
          <p:cNvSpPr>
            <a:spLocks noGrp="1"/>
          </p:cNvSpPr>
          <p:nvPr>
            <p:ph type="chart" idx="1"/>
          </p:nvPr>
        </p:nvSpPr>
        <p:spPr>
          <a:xfrm>
            <a:off x="802005" y="2184365"/>
            <a:ext cx="9089390" cy="4536758"/>
          </a:xfrm>
        </p:spPr>
        <p:txBody>
          <a:bodyPr/>
          <a:lstStyle/>
          <a:p>
            <a:pPr lvl="0"/>
            <a:endParaRPr lang="ko-KR" altLang="en-US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>
                <a:solidFill>
                  <a:srgbClr val="000000"/>
                </a:solidFill>
              </a:rPr>
              <a:t>(</a:t>
            </a:r>
            <a:r>
              <a:rPr lang="ko-KR" altLang="en-US">
                <a:solidFill>
                  <a:srgbClr val="000000"/>
                </a:solidFill>
              </a:rPr>
              <a:t>社</a:t>
            </a:r>
            <a:r>
              <a:rPr lang="en-US" altLang="ko-KR">
                <a:solidFill>
                  <a:srgbClr val="000000"/>
                </a:solidFill>
              </a:rPr>
              <a:t>)</a:t>
            </a:r>
            <a:r>
              <a:rPr lang="ko-KR" altLang="en-US">
                <a:solidFill>
                  <a:srgbClr val="000000"/>
                </a:solidFill>
              </a:rPr>
              <a:t>韓國種畜改良協會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71F0A3-975E-4016-899E-086F23B6D2BA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520674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제목 및 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02005" y="672112"/>
            <a:ext cx="9089390" cy="1260211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표 개체 틀 2"/>
          <p:cNvSpPr>
            <a:spLocks noGrp="1"/>
          </p:cNvSpPr>
          <p:nvPr>
            <p:ph type="tbl" idx="1"/>
          </p:nvPr>
        </p:nvSpPr>
        <p:spPr>
          <a:xfrm>
            <a:off x="802005" y="2184365"/>
            <a:ext cx="9089390" cy="4536758"/>
          </a:xfrm>
        </p:spPr>
        <p:txBody>
          <a:bodyPr/>
          <a:lstStyle/>
          <a:p>
            <a:pPr lvl="0"/>
            <a:endParaRPr lang="ko-KR" altLang="en-US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>
                <a:solidFill>
                  <a:srgbClr val="000000"/>
                </a:solidFill>
              </a:rPr>
              <a:t>(</a:t>
            </a:r>
            <a:r>
              <a:rPr lang="ko-KR" altLang="en-US">
                <a:solidFill>
                  <a:srgbClr val="000000"/>
                </a:solidFill>
              </a:rPr>
              <a:t>社</a:t>
            </a:r>
            <a:r>
              <a:rPr lang="en-US" altLang="ko-KR">
                <a:solidFill>
                  <a:srgbClr val="000000"/>
                </a:solidFill>
              </a:rPr>
              <a:t>)</a:t>
            </a:r>
            <a:r>
              <a:rPr lang="ko-KR" altLang="en-US">
                <a:solidFill>
                  <a:srgbClr val="000000"/>
                </a:solidFill>
              </a:rPr>
              <a:t>韓國種畜改良協會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732AD7-9935-4EDD-9D76-23A90E9AB7F7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623048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>
  <p:cSld name="제목 및 내용 4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sz="quarter"/>
          </p:nvPr>
        </p:nvSpPr>
        <p:spPr>
          <a:xfrm>
            <a:off x="802005" y="672112"/>
            <a:ext cx="9089390" cy="1260211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quarter" idx="1"/>
          </p:nvPr>
        </p:nvSpPr>
        <p:spPr>
          <a:xfrm>
            <a:off x="802005" y="2184367"/>
            <a:ext cx="4455583" cy="218436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quarter" idx="2"/>
          </p:nvPr>
        </p:nvSpPr>
        <p:spPr>
          <a:xfrm>
            <a:off x="5435813" y="2184367"/>
            <a:ext cx="4455583" cy="218436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내용 개체 틀 4"/>
          <p:cNvSpPr>
            <a:spLocks noGrp="1"/>
          </p:cNvSpPr>
          <p:nvPr>
            <p:ph sz="quarter" idx="3"/>
          </p:nvPr>
        </p:nvSpPr>
        <p:spPr>
          <a:xfrm>
            <a:off x="802005" y="4536761"/>
            <a:ext cx="4455583" cy="218436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435813" y="4536761"/>
            <a:ext cx="4455583" cy="218436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>
                <a:solidFill>
                  <a:srgbClr val="000000"/>
                </a:solidFill>
              </a:rPr>
              <a:t>(</a:t>
            </a:r>
            <a:r>
              <a:rPr lang="ko-KR" altLang="en-US">
                <a:solidFill>
                  <a:srgbClr val="000000"/>
                </a:solidFill>
              </a:rPr>
              <a:t>社</a:t>
            </a:r>
            <a:r>
              <a:rPr lang="en-US" altLang="ko-KR">
                <a:solidFill>
                  <a:srgbClr val="000000"/>
                </a:solidFill>
              </a:rPr>
              <a:t>)</a:t>
            </a:r>
            <a:r>
              <a:rPr lang="ko-KR" altLang="en-US">
                <a:solidFill>
                  <a:srgbClr val="000000"/>
                </a:solidFill>
              </a:rPr>
              <a:t>韓國種畜改良協會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B458A0-CCAC-44A2-AEE7-962F6FB053BB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77523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534670" y="302802"/>
            <a:ext cx="9624060" cy="1260211"/>
          </a:xfrm>
          <a:prstGeom prst="rect">
            <a:avLst/>
          </a:prstGeom>
        </p:spPr>
        <p:txBody>
          <a:bodyPr lIns="99133" tIns="49583" rIns="99133" bIns="49583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101110" y="143524"/>
            <a:ext cx="3074353" cy="329055"/>
          </a:xfrm>
        </p:spPr>
        <p:txBody>
          <a:bodyPr/>
          <a:lstStyle>
            <a:lvl1pPr>
              <a:defRPr sz="3000"/>
            </a:lvl1pPr>
            <a:lvl2pPr>
              <a:defRPr sz="2600"/>
            </a:lvl2pPr>
            <a:lvl3pPr>
              <a:defRPr sz="22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3339977" y="143524"/>
            <a:ext cx="3076066" cy="329055"/>
          </a:xfrm>
        </p:spPr>
        <p:txBody>
          <a:bodyPr/>
          <a:lstStyle>
            <a:lvl1pPr>
              <a:defRPr sz="3000"/>
            </a:lvl1pPr>
            <a:lvl2pPr>
              <a:defRPr sz="2600"/>
            </a:lvl2pPr>
            <a:lvl3pPr>
              <a:defRPr sz="22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utoShape 4"/>
          <p:cNvSpPr>
            <a:spLocks noChangeArrowheads="1"/>
          </p:cNvSpPr>
          <p:nvPr userDrawn="1"/>
        </p:nvSpPr>
        <p:spPr bwMode="auto">
          <a:xfrm>
            <a:off x="7389813" y="7115213"/>
            <a:ext cx="3105150" cy="238125"/>
          </a:xfrm>
          <a:prstGeom prst="roundRect">
            <a:avLst>
              <a:gd name="adj" fmla="val 16667"/>
            </a:avLst>
          </a:prstGeom>
          <a:solidFill>
            <a:schemeClr val="bg1"/>
          </a:solidFill>
          <a:ln w="9525">
            <a:noFill/>
            <a:round/>
            <a:headEnd/>
            <a:tailEnd/>
          </a:ln>
          <a:effectLst/>
        </p:spPr>
        <p:txBody>
          <a:bodyPr wrap="none" lIns="98977" tIns="49510" rIns="98977" bIns="49510" anchor="ctr"/>
          <a:lstStyle/>
          <a:p>
            <a:pPr algn="ctr">
              <a:defRPr/>
            </a:pPr>
            <a:endParaRPr lang="ko-KR" altLang="en-US" sz="1300" dirty="0">
              <a:solidFill>
                <a:srgbClr val="FFFFFF"/>
              </a:solidFill>
              <a:latin typeface="Tahoma" pitchFamily="34" charset="0"/>
              <a:ea typeface="HY견고딕" pitchFamily="18" charset="-127"/>
            </a:endParaRPr>
          </a:p>
        </p:txBody>
      </p:sp>
      <p:pic>
        <p:nvPicPr>
          <p:cNvPr id="3" name="그림 6" descr="bgindex.jp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214" y="0"/>
            <a:ext cx="10691813" cy="7564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64986000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534670" y="302802"/>
            <a:ext cx="9624060" cy="1260211"/>
          </a:xfrm>
          <a:prstGeom prst="rect">
            <a:avLst/>
          </a:prstGeom>
        </p:spPr>
        <p:txBody>
          <a:bodyPr lIns="98977" tIns="49510" rIns="98977" bIns="49510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2683240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44848" y="4858850"/>
            <a:ext cx="9089390" cy="1501751"/>
          </a:xfrm>
          <a:prstGeom prst="rect">
            <a:avLst/>
          </a:prstGeom>
        </p:spPr>
        <p:txBody>
          <a:bodyPr lIns="98977" tIns="49510" rIns="98977" bIns="49510" anchor="t"/>
          <a:lstStyle>
            <a:lvl1pPr algn="l">
              <a:defRPr sz="4400" b="1" cap="all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44848" y="3204786"/>
            <a:ext cx="9089390" cy="1654026"/>
          </a:xfrm>
        </p:spPr>
        <p:txBody>
          <a:bodyPr anchor="b"/>
          <a:lstStyle>
            <a:lvl1pPr marL="0" indent="0">
              <a:buNone/>
              <a:defRPr sz="2200"/>
            </a:lvl1pPr>
            <a:lvl2pPr marL="494864" indent="0">
              <a:buNone/>
              <a:defRPr sz="2100"/>
            </a:lvl2pPr>
            <a:lvl3pPr marL="989732" indent="0">
              <a:buNone/>
              <a:defRPr sz="1700"/>
            </a:lvl3pPr>
            <a:lvl4pPr marL="1484597" indent="0">
              <a:buNone/>
              <a:defRPr sz="1500"/>
            </a:lvl4pPr>
            <a:lvl5pPr marL="1979472" indent="0">
              <a:buNone/>
              <a:defRPr sz="1500"/>
            </a:lvl5pPr>
            <a:lvl6pPr marL="2474338" indent="0">
              <a:buNone/>
              <a:defRPr sz="1500"/>
            </a:lvl6pPr>
            <a:lvl7pPr marL="2969196" indent="0">
              <a:buNone/>
              <a:defRPr sz="1500"/>
            </a:lvl7pPr>
            <a:lvl8pPr marL="3464069" indent="0">
              <a:buNone/>
              <a:defRPr sz="1500"/>
            </a:lvl8pPr>
            <a:lvl9pPr marL="3958936" indent="0">
              <a:buNone/>
              <a:defRPr sz="15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5896349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534670" y="302802"/>
            <a:ext cx="9624060" cy="1260211"/>
          </a:xfrm>
          <a:prstGeom prst="rect">
            <a:avLst/>
          </a:prstGeom>
        </p:spPr>
        <p:txBody>
          <a:bodyPr lIns="98977" tIns="49510" rIns="98977" bIns="49510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101110" y="143524"/>
            <a:ext cx="3074353" cy="329055"/>
          </a:xfrm>
        </p:spPr>
        <p:txBody>
          <a:bodyPr/>
          <a:lstStyle>
            <a:lvl1pPr>
              <a:defRPr sz="3000"/>
            </a:lvl1pPr>
            <a:lvl2pPr>
              <a:defRPr sz="2600"/>
            </a:lvl2pPr>
            <a:lvl3pPr>
              <a:defRPr sz="22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3339977" y="143524"/>
            <a:ext cx="3076066" cy="329055"/>
          </a:xfrm>
        </p:spPr>
        <p:txBody>
          <a:bodyPr/>
          <a:lstStyle>
            <a:lvl1pPr>
              <a:defRPr sz="3000"/>
            </a:lvl1pPr>
            <a:lvl2pPr>
              <a:defRPr sz="2600"/>
            </a:lvl2pPr>
            <a:lvl3pPr>
              <a:defRPr sz="22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7671979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534670" y="302802"/>
            <a:ext cx="9624060" cy="1260211"/>
          </a:xfrm>
          <a:prstGeom prst="rect">
            <a:avLst/>
          </a:prstGeom>
        </p:spPr>
        <p:txBody>
          <a:bodyPr lIns="98977" tIns="49510" rIns="98977" bIns="49510"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534671" y="1692533"/>
            <a:ext cx="4724633" cy="705367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494864" indent="0">
              <a:buNone/>
              <a:defRPr sz="2200" b="1"/>
            </a:lvl2pPr>
            <a:lvl3pPr marL="989732" indent="0">
              <a:buNone/>
              <a:defRPr sz="2100" b="1"/>
            </a:lvl3pPr>
            <a:lvl4pPr marL="1484597" indent="0">
              <a:buNone/>
              <a:defRPr sz="1700" b="1"/>
            </a:lvl4pPr>
            <a:lvl5pPr marL="1979472" indent="0">
              <a:buNone/>
              <a:defRPr sz="1700" b="1"/>
            </a:lvl5pPr>
            <a:lvl6pPr marL="2474338" indent="0">
              <a:buNone/>
              <a:defRPr sz="1700" b="1"/>
            </a:lvl6pPr>
            <a:lvl7pPr marL="2969196" indent="0">
              <a:buNone/>
              <a:defRPr sz="1700" b="1"/>
            </a:lvl7pPr>
            <a:lvl8pPr marL="3464069" indent="0">
              <a:buNone/>
              <a:defRPr sz="1700" b="1"/>
            </a:lvl8pPr>
            <a:lvl9pPr marL="3958936" indent="0">
              <a:buNone/>
              <a:defRPr sz="17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34671" y="2397901"/>
            <a:ext cx="4724633" cy="4356478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1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432388" y="1692533"/>
            <a:ext cx="4726346" cy="705367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494864" indent="0">
              <a:buNone/>
              <a:defRPr sz="2200" b="1"/>
            </a:lvl2pPr>
            <a:lvl3pPr marL="989732" indent="0">
              <a:buNone/>
              <a:defRPr sz="2100" b="1"/>
            </a:lvl3pPr>
            <a:lvl4pPr marL="1484597" indent="0">
              <a:buNone/>
              <a:defRPr sz="1700" b="1"/>
            </a:lvl4pPr>
            <a:lvl5pPr marL="1979472" indent="0">
              <a:buNone/>
              <a:defRPr sz="1700" b="1"/>
            </a:lvl5pPr>
            <a:lvl6pPr marL="2474338" indent="0">
              <a:buNone/>
              <a:defRPr sz="1700" b="1"/>
            </a:lvl6pPr>
            <a:lvl7pPr marL="2969196" indent="0">
              <a:buNone/>
              <a:defRPr sz="1700" b="1"/>
            </a:lvl7pPr>
            <a:lvl8pPr marL="3464069" indent="0">
              <a:buNone/>
              <a:defRPr sz="1700" b="1"/>
            </a:lvl8pPr>
            <a:lvl9pPr marL="3958936" indent="0">
              <a:buNone/>
              <a:defRPr sz="17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432388" y="2397901"/>
            <a:ext cx="4726346" cy="4356478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1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3413861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534670" y="302802"/>
            <a:ext cx="9624060" cy="1260211"/>
          </a:xfrm>
          <a:prstGeom prst="rect">
            <a:avLst/>
          </a:prstGeom>
        </p:spPr>
        <p:txBody>
          <a:bodyPr lIns="98977" tIns="49510" rIns="98977" bIns="49510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51194934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801546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534670" y="301050"/>
            <a:ext cx="3518198" cy="1281214"/>
          </a:xfrm>
          <a:prstGeom prst="rect">
            <a:avLst/>
          </a:prstGeom>
        </p:spPr>
        <p:txBody>
          <a:bodyPr lIns="98977" tIns="49510" rIns="98977" bIns="49510" anchor="b"/>
          <a:lstStyle>
            <a:lvl1pPr algn="l">
              <a:defRPr sz="22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181397" y="301051"/>
            <a:ext cx="5977336" cy="6453328"/>
          </a:xfrm>
        </p:spPr>
        <p:txBody>
          <a:bodyPr/>
          <a:lstStyle>
            <a:lvl1pPr>
              <a:defRPr sz="3500"/>
            </a:lvl1pPr>
            <a:lvl2pPr>
              <a:defRPr sz="3000"/>
            </a:lvl2pPr>
            <a:lvl3pPr>
              <a:defRPr sz="26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534670" y="1582265"/>
            <a:ext cx="3518198" cy="5172114"/>
          </a:xfrm>
        </p:spPr>
        <p:txBody>
          <a:bodyPr/>
          <a:lstStyle>
            <a:lvl1pPr marL="0" indent="0">
              <a:buNone/>
              <a:defRPr sz="1500"/>
            </a:lvl1pPr>
            <a:lvl2pPr marL="494864" indent="0">
              <a:buNone/>
              <a:defRPr sz="1300"/>
            </a:lvl2pPr>
            <a:lvl3pPr marL="989732" indent="0">
              <a:buNone/>
              <a:defRPr sz="1100"/>
            </a:lvl3pPr>
            <a:lvl4pPr marL="1484597" indent="0">
              <a:buNone/>
              <a:defRPr sz="1000"/>
            </a:lvl4pPr>
            <a:lvl5pPr marL="1979472" indent="0">
              <a:buNone/>
              <a:defRPr sz="1000"/>
            </a:lvl5pPr>
            <a:lvl6pPr marL="2474338" indent="0">
              <a:buNone/>
              <a:defRPr sz="1000"/>
            </a:lvl6pPr>
            <a:lvl7pPr marL="2969196" indent="0">
              <a:buNone/>
              <a:defRPr sz="1000"/>
            </a:lvl7pPr>
            <a:lvl8pPr marL="3464069" indent="0">
              <a:buNone/>
              <a:defRPr sz="1000"/>
            </a:lvl8pPr>
            <a:lvl9pPr marL="3958936" indent="0">
              <a:buNone/>
              <a:defRPr sz="1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165026921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095839" y="5292884"/>
            <a:ext cx="6416040" cy="624855"/>
          </a:xfrm>
          <a:prstGeom prst="rect">
            <a:avLst/>
          </a:prstGeom>
        </p:spPr>
        <p:txBody>
          <a:bodyPr lIns="98977" tIns="49510" rIns="98977" bIns="49510" anchor="b"/>
          <a:lstStyle>
            <a:lvl1pPr algn="l">
              <a:defRPr sz="22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2095839" y="675613"/>
            <a:ext cx="6416040" cy="4536758"/>
          </a:xfrm>
        </p:spPr>
        <p:txBody>
          <a:bodyPr/>
          <a:lstStyle>
            <a:lvl1pPr marL="0" indent="0">
              <a:buNone/>
              <a:defRPr sz="3500"/>
            </a:lvl1pPr>
            <a:lvl2pPr marL="494864" indent="0">
              <a:buNone/>
              <a:defRPr sz="3000"/>
            </a:lvl2pPr>
            <a:lvl3pPr marL="989732" indent="0">
              <a:buNone/>
              <a:defRPr sz="2600"/>
            </a:lvl3pPr>
            <a:lvl4pPr marL="1484597" indent="0">
              <a:buNone/>
              <a:defRPr sz="2200"/>
            </a:lvl4pPr>
            <a:lvl5pPr marL="1979472" indent="0">
              <a:buNone/>
              <a:defRPr sz="2200"/>
            </a:lvl5pPr>
            <a:lvl6pPr marL="2474338" indent="0">
              <a:buNone/>
              <a:defRPr sz="2200"/>
            </a:lvl6pPr>
            <a:lvl7pPr marL="2969196" indent="0">
              <a:buNone/>
              <a:defRPr sz="2200"/>
            </a:lvl7pPr>
            <a:lvl8pPr marL="3464069" indent="0">
              <a:buNone/>
              <a:defRPr sz="2200"/>
            </a:lvl8pPr>
            <a:lvl9pPr marL="3958936" indent="0">
              <a:buNone/>
              <a:defRPr sz="2200"/>
            </a:lvl9pPr>
          </a:lstStyle>
          <a:p>
            <a:pPr lvl="0"/>
            <a:endParaRPr lang="ko-KR" altLang="en-US" noProof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2095839" y="5917739"/>
            <a:ext cx="6416040" cy="887398"/>
          </a:xfrm>
        </p:spPr>
        <p:txBody>
          <a:bodyPr/>
          <a:lstStyle>
            <a:lvl1pPr marL="0" indent="0">
              <a:buNone/>
              <a:defRPr sz="1500"/>
            </a:lvl1pPr>
            <a:lvl2pPr marL="494864" indent="0">
              <a:buNone/>
              <a:defRPr sz="1300"/>
            </a:lvl2pPr>
            <a:lvl3pPr marL="989732" indent="0">
              <a:buNone/>
              <a:defRPr sz="1100"/>
            </a:lvl3pPr>
            <a:lvl4pPr marL="1484597" indent="0">
              <a:buNone/>
              <a:defRPr sz="1000"/>
            </a:lvl4pPr>
            <a:lvl5pPr marL="1979472" indent="0">
              <a:buNone/>
              <a:defRPr sz="1000"/>
            </a:lvl5pPr>
            <a:lvl6pPr marL="2474338" indent="0">
              <a:buNone/>
              <a:defRPr sz="1000"/>
            </a:lvl6pPr>
            <a:lvl7pPr marL="2969196" indent="0">
              <a:buNone/>
              <a:defRPr sz="1000"/>
            </a:lvl7pPr>
            <a:lvl8pPr marL="3464069" indent="0">
              <a:buNone/>
              <a:defRPr sz="1000"/>
            </a:lvl8pPr>
            <a:lvl9pPr marL="3958936" indent="0">
              <a:buNone/>
              <a:defRPr sz="1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221373334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534670" y="302802"/>
            <a:ext cx="9624060" cy="1260211"/>
          </a:xfrm>
          <a:prstGeom prst="rect">
            <a:avLst/>
          </a:prstGeom>
        </p:spPr>
        <p:txBody>
          <a:bodyPr lIns="98977" tIns="49510" rIns="98977" bIns="49510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8531673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534670" y="302802"/>
            <a:ext cx="9624060" cy="1260211"/>
          </a:xfrm>
          <a:prstGeom prst="rect">
            <a:avLst/>
          </a:prstGeom>
        </p:spPr>
        <p:txBody>
          <a:bodyPr lIns="99133" tIns="49583" rIns="99133" bIns="49583"/>
          <a:lstStyle>
            <a:lvl1pPr>
              <a:defRPr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534671" y="1692533"/>
            <a:ext cx="4724633" cy="705367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495651" indent="0">
              <a:buNone/>
              <a:defRPr sz="2200" b="1"/>
            </a:lvl2pPr>
            <a:lvl3pPr marL="991305" indent="0">
              <a:buNone/>
              <a:defRPr sz="2100" b="1"/>
            </a:lvl3pPr>
            <a:lvl4pPr marL="1486957" indent="0">
              <a:buNone/>
              <a:defRPr sz="1700" b="1"/>
            </a:lvl4pPr>
            <a:lvl5pPr marL="1982616" indent="0">
              <a:buNone/>
              <a:defRPr sz="1700" b="1"/>
            </a:lvl5pPr>
            <a:lvl6pPr marL="2478271" indent="0">
              <a:buNone/>
              <a:defRPr sz="1700" b="1"/>
            </a:lvl6pPr>
            <a:lvl7pPr marL="2973917" indent="0">
              <a:buNone/>
              <a:defRPr sz="1700" b="1"/>
            </a:lvl7pPr>
            <a:lvl8pPr marL="3469575" indent="0">
              <a:buNone/>
              <a:defRPr sz="1700" b="1"/>
            </a:lvl8pPr>
            <a:lvl9pPr marL="3965228" indent="0">
              <a:buNone/>
              <a:defRPr sz="17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34671" y="2397901"/>
            <a:ext cx="4724633" cy="4356478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1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432388" y="1692533"/>
            <a:ext cx="4726346" cy="705367"/>
          </a:xfrm>
        </p:spPr>
        <p:txBody>
          <a:bodyPr anchor="b"/>
          <a:lstStyle>
            <a:lvl1pPr marL="0" indent="0">
              <a:buNone/>
              <a:defRPr sz="2600" b="1"/>
            </a:lvl1pPr>
            <a:lvl2pPr marL="495651" indent="0">
              <a:buNone/>
              <a:defRPr sz="2200" b="1"/>
            </a:lvl2pPr>
            <a:lvl3pPr marL="991305" indent="0">
              <a:buNone/>
              <a:defRPr sz="2100" b="1"/>
            </a:lvl3pPr>
            <a:lvl4pPr marL="1486957" indent="0">
              <a:buNone/>
              <a:defRPr sz="1700" b="1"/>
            </a:lvl4pPr>
            <a:lvl5pPr marL="1982616" indent="0">
              <a:buNone/>
              <a:defRPr sz="1700" b="1"/>
            </a:lvl5pPr>
            <a:lvl6pPr marL="2478271" indent="0">
              <a:buNone/>
              <a:defRPr sz="1700" b="1"/>
            </a:lvl6pPr>
            <a:lvl7pPr marL="2973917" indent="0">
              <a:buNone/>
              <a:defRPr sz="1700" b="1"/>
            </a:lvl7pPr>
            <a:lvl8pPr marL="3469575" indent="0">
              <a:buNone/>
              <a:defRPr sz="1700" b="1"/>
            </a:lvl8pPr>
            <a:lvl9pPr marL="3965228" indent="0">
              <a:buNone/>
              <a:defRPr sz="17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432388" y="2397901"/>
            <a:ext cx="4726346" cy="4356478"/>
          </a:xfrm>
        </p:spPr>
        <p:txBody>
          <a:bodyPr/>
          <a:lstStyle>
            <a:lvl1pPr>
              <a:defRPr sz="2600"/>
            </a:lvl1pPr>
            <a:lvl2pPr>
              <a:defRPr sz="2200"/>
            </a:lvl2pPr>
            <a:lvl3pPr>
              <a:defRPr sz="2100"/>
            </a:lvl3pPr>
            <a:lvl4pPr>
              <a:defRPr sz="1700"/>
            </a:lvl4pPr>
            <a:lvl5pPr>
              <a:defRPr sz="1700"/>
            </a:lvl5pPr>
            <a:lvl6pPr>
              <a:defRPr sz="1700"/>
            </a:lvl6pPr>
            <a:lvl7pPr>
              <a:defRPr sz="1700"/>
            </a:lvl7pPr>
            <a:lvl8pPr>
              <a:defRPr sz="1700"/>
            </a:lvl8pPr>
            <a:lvl9pPr>
              <a:defRPr sz="17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644792" y="143524"/>
            <a:ext cx="2513977" cy="1419488"/>
          </a:xfrm>
          <a:prstGeom prst="rect">
            <a:avLst/>
          </a:prstGeom>
        </p:spPr>
        <p:txBody>
          <a:bodyPr vert="eaVert" lIns="98977" tIns="49510" rIns="98977" bIns="49510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101109" y="143524"/>
            <a:ext cx="7379131" cy="1419488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89139030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제목 7"/>
          <p:cNvSpPr>
            <a:spLocks noGrp="1"/>
          </p:cNvSpPr>
          <p:nvPr>
            <p:ph type="ctrTitle"/>
          </p:nvPr>
        </p:nvSpPr>
        <p:spPr>
          <a:xfrm>
            <a:off x="2673350" y="3444575"/>
            <a:ext cx="7218045" cy="2088622"/>
          </a:xfrm>
        </p:spPr>
        <p:txBody>
          <a:bodyPr/>
          <a:lstStyle>
            <a:lvl1pPr>
              <a:defRPr b="1"/>
            </a:lvl1pPr>
          </a:lstStyle>
          <a:p>
            <a:r>
              <a:rPr kumimoji="0" lang="ko-KR" altLang="en-US" smtClean="0"/>
              <a:t>마스터 제목 스타일 편집</a:t>
            </a:r>
            <a:endParaRPr kumimoji="0" lang="en-US"/>
          </a:p>
        </p:txBody>
      </p:sp>
      <p:sp>
        <p:nvSpPr>
          <p:cNvPr id="9" name="부제목 8"/>
          <p:cNvSpPr>
            <a:spLocks noGrp="1"/>
          </p:cNvSpPr>
          <p:nvPr>
            <p:ph type="subTitle" idx="1"/>
          </p:nvPr>
        </p:nvSpPr>
        <p:spPr>
          <a:xfrm>
            <a:off x="2673350" y="5516394"/>
            <a:ext cx="7218045" cy="1512253"/>
          </a:xfrm>
        </p:spPr>
        <p:txBody>
          <a:bodyPr/>
          <a:lstStyle>
            <a:lvl1pPr marL="0" indent="0" algn="l">
              <a:buNone/>
              <a:defRPr sz="2100" b="1">
                <a:solidFill>
                  <a:schemeClr val="tx2"/>
                </a:solidFill>
              </a:defRPr>
            </a:lvl1pPr>
            <a:lvl2pPr marL="519233" indent="0" algn="ctr">
              <a:buNone/>
            </a:lvl2pPr>
            <a:lvl3pPr marL="1038462" indent="0" algn="ctr">
              <a:buNone/>
            </a:lvl3pPr>
            <a:lvl4pPr marL="1557698" indent="0" algn="ctr">
              <a:buNone/>
            </a:lvl4pPr>
            <a:lvl5pPr marL="2076931" indent="0" algn="ctr">
              <a:buNone/>
            </a:lvl5pPr>
            <a:lvl6pPr marL="2596160" indent="0" algn="ctr">
              <a:buNone/>
            </a:lvl6pPr>
            <a:lvl7pPr marL="3115391" indent="0" algn="ctr">
              <a:buNone/>
            </a:lvl7pPr>
            <a:lvl8pPr marL="3634627" indent="0" algn="ctr">
              <a:buNone/>
            </a:lvl8pPr>
            <a:lvl9pPr marL="4153857" indent="0" algn="ctr">
              <a:buNone/>
            </a:lvl9pPr>
          </a:lstStyle>
          <a:p>
            <a:r>
              <a:rPr kumimoji="0" lang="ko-KR" altLang="en-US" smtClean="0"/>
              <a:t>마스터 부제목 스타일 편집</a:t>
            </a:r>
            <a:endParaRPr kumimoji="0" lang="en-US"/>
          </a:p>
        </p:txBody>
      </p:sp>
      <p:sp>
        <p:nvSpPr>
          <p:cNvPr id="28" name="날짜 개체 틀 27"/>
          <p:cNvSpPr>
            <a:spLocks noGrp="1"/>
          </p:cNvSpPr>
          <p:nvPr>
            <p:ph type="dt" sz="half" idx="10"/>
          </p:nvPr>
        </p:nvSpPr>
        <p:spPr bwMode="auto">
          <a:xfrm rot="5400000">
            <a:off x="9156757" y="1281752"/>
            <a:ext cx="2520421" cy="445558"/>
          </a:xfrm>
        </p:spPr>
        <p:txBody>
          <a:bodyPr/>
          <a:lstStyle/>
          <a:p>
            <a:fld id="{582EF422-6799-4543-9129-69758A77C2D3}" type="datetimeFigureOut">
              <a:rPr lang="ko-KR" altLang="en-US" smtClean="0">
                <a:solidFill>
                  <a:srgbClr val="575F6D"/>
                </a:solidFill>
              </a:rPr>
              <a:pPr/>
              <a:t>2018-03-29</a:t>
            </a:fld>
            <a:endParaRPr lang="ko-KR" altLang="en-US">
              <a:solidFill>
                <a:srgbClr val="575F6D"/>
              </a:solidFill>
            </a:endParaRPr>
          </a:p>
        </p:txBody>
      </p:sp>
      <p:sp>
        <p:nvSpPr>
          <p:cNvPr id="17" name="바닥글 개체 틀 16"/>
          <p:cNvSpPr>
            <a:spLocks noGrp="1"/>
          </p:cNvSpPr>
          <p:nvPr>
            <p:ph type="ftr" sz="quarter" idx="11"/>
          </p:nvPr>
        </p:nvSpPr>
        <p:spPr bwMode="auto">
          <a:xfrm rot="5400000">
            <a:off x="8398816" y="4597640"/>
            <a:ext cx="4032674" cy="449123"/>
          </a:xfrm>
        </p:spPr>
        <p:txBody>
          <a:bodyPr/>
          <a:lstStyle/>
          <a:p>
            <a:endParaRPr lang="ko-KR" altLang="en-US">
              <a:solidFill>
                <a:srgbClr val="575F6D"/>
              </a:solidFill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445562" y="0"/>
            <a:ext cx="712893" cy="7561263"/>
          </a:xfrm>
          <a:prstGeom prst="rect">
            <a:avLst/>
          </a:prstGeom>
          <a:solidFill>
            <a:schemeClr val="accent1">
              <a:tint val="60000"/>
              <a:alpha val="54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849" tIns="51925" rIns="103849" bIns="51925" anchor="ctr"/>
          <a:lstStyle/>
          <a:p>
            <a:pPr algn="ctr" defTabSz="1038462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white"/>
              </a:solidFill>
            </a:endParaRPr>
          </a:p>
        </p:txBody>
      </p:sp>
      <p:sp>
        <p:nvSpPr>
          <p:cNvPr id="12" name="직사각형 11"/>
          <p:cNvSpPr/>
          <p:nvPr/>
        </p:nvSpPr>
        <p:spPr bwMode="auto">
          <a:xfrm>
            <a:off x="323159" y="0"/>
            <a:ext cx="122399" cy="7561263"/>
          </a:xfrm>
          <a:prstGeom prst="rect">
            <a:avLst/>
          </a:prstGeom>
          <a:solidFill>
            <a:schemeClr val="accent1">
              <a:tint val="40000"/>
              <a:alpha val="36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849" tIns="51925" rIns="103849" bIns="51925" anchor="ctr"/>
          <a:lstStyle/>
          <a:p>
            <a:pPr algn="ctr" defTabSz="1038462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white"/>
              </a:solidFill>
            </a:endParaRPr>
          </a:p>
        </p:txBody>
      </p:sp>
      <p:sp>
        <p:nvSpPr>
          <p:cNvPr id="14" name="직사각형 13"/>
          <p:cNvSpPr/>
          <p:nvPr/>
        </p:nvSpPr>
        <p:spPr bwMode="auto">
          <a:xfrm>
            <a:off x="1158453" y="0"/>
            <a:ext cx="212689" cy="7561263"/>
          </a:xfrm>
          <a:prstGeom prst="rect">
            <a:avLst/>
          </a:prstGeom>
          <a:solidFill>
            <a:schemeClr val="accent1">
              <a:tint val="40000"/>
              <a:alpha val="70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849" tIns="51925" rIns="103849" bIns="51925" anchor="ctr"/>
          <a:lstStyle/>
          <a:p>
            <a:pPr algn="ctr" defTabSz="1038462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white"/>
              </a:solidFill>
            </a:endParaRPr>
          </a:p>
        </p:txBody>
      </p:sp>
      <p:sp>
        <p:nvSpPr>
          <p:cNvPr id="19" name="직사각형 18"/>
          <p:cNvSpPr/>
          <p:nvPr/>
        </p:nvSpPr>
        <p:spPr bwMode="auto">
          <a:xfrm>
            <a:off x="1334710" y="0"/>
            <a:ext cx="269300" cy="7561263"/>
          </a:xfrm>
          <a:prstGeom prst="rect">
            <a:avLst/>
          </a:prstGeom>
          <a:solidFill>
            <a:schemeClr val="accent1">
              <a:tint val="20000"/>
              <a:alpha val="71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849" tIns="51925" rIns="103849" bIns="51925" anchor="ctr"/>
          <a:lstStyle/>
          <a:p>
            <a:pPr algn="ctr" defTabSz="1038462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white"/>
              </a:solidFill>
            </a:endParaRPr>
          </a:p>
        </p:txBody>
      </p:sp>
      <p:sp>
        <p:nvSpPr>
          <p:cNvPr id="11" name="직선 연결선 10"/>
          <p:cNvSpPr>
            <a:spLocks noChangeShapeType="1"/>
          </p:cNvSpPr>
          <p:nvPr/>
        </p:nvSpPr>
        <p:spPr bwMode="auto">
          <a:xfrm>
            <a:off x="124363" y="0"/>
            <a:ext cx="0" cy="7561263"/>
          </a:xfrm>
          <a:prstGeom prst="line">
            <a:avLst/>
          </a:prstGeom>
          <a:noFill/>
          <a:ln w="57150" cap="flat" cmpd="sng" algn="ctr">
            <a:solidFill>
              <a:schemeClr val="accent1">
                <a:tint val="60000"/>
                <a:alpha val="73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849" tIns="51925" rIns="103849" bIns="51925" anchor="t" compatLnSpc="1"/>
          <a:lstStyle/>
          <a:p>
            <a:pPr defTabSz="1038462" fontAlgn="auto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black"/>
              </a:solidFill>
              <a:latin typeface="Century Schoolbook"/>
            </a:endParaRPr>
          </a:p>
        </p:txBody>
      </p:sp>
      <p:sp>
        <p:nvSpPr>
          <p:cNvPr id="18" name="직선 연결선 17"/>
          <p:cNvSpPr>
            <a:spLocks noChangeShapeType="1"/>
          </p:cNvSpPr>
          <p:nvPr/>
        </p:nvSpPr>
        <p:spPr bwMode="auto">
          <a:xfrm>
            <a:off x="1069340" y="0"/>
            <a:ext cx="0" cy="7561263"/>
          </a:xfrm>
          <a:prstGeom prst="line">
            <a:avLst/>
          </a:prstGeom>
          <a:noFill/>
          <a:ln w="57150" cap="flat" cmpd="sng" algn="ctr">
            <a:solidFill>
              <a:schemeClr val="accent1">
                <a:tint val="20000"/>
                <a:alpha val="83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849" tIns="51925" rIns="103849" bIns="51925" anchor="t" compatLnSpc="1"/>
          <a:lstStyle/>
          <a:p>
            <a:pPr defTabSz="1038462" fontAlgn="auto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black"/>
              </a:solidFill>
              <a:latin typeface="Century Schoolbook"/>
            </a:endParaRPr>
          </a:p>
        </p:txBody>
      </p:sp>
      <p:sp>
        <p:nvSpPr>
          <p:cNvPr id="20" name="직선 연결선 19"/>
          <p:cNvSpPr>
            <a:spLocks noChangeShapeType="1"/>
          </p:cNvSpPr>
          <p:nvPr/>
        </p:nvSpPr>
        <p:spPr bwMode="auto">
          <a:xfrm>
            <a:off x="998837" y="0"/>
            <a:ext cx="0" cy="7561263"/>
          </a:xfrm>
          <a:prstGeom prst="line">
            <a:avLst/>
          </a:prstGeom>
          <a:noFill/>
          <a:ln w="57150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849" tIns="51925" rIns="103849" bIns="51925" anchor="t" compatLnSpc="1"/>
          <a:lstStyle/>
          <a:p>
            <a:pPr defTabSz="1038462" fontAlgn="auto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black"/>
              </a:solidFill>
              <a:latin typeface="Century Schoolbook"/>
            </a:endParaRPr>
          </a:p>
        </p:txBody>
      </p:sp>
      <p:sp>
        <p:nvSpPr>
          <p:cNvPr id="16" name="직선 연결선 15"/>
          <p:cNvSpPr>
            <a:spLocks noChangeShapeType="1"/>
          </p:cNvSpPr>
          <p:nvPr/>
        </p:nvSpPr>
        <p:spPr bwMode="auto">
          <a:xfrm>
            <a:off x="2019210" y="0"/>
            <a:ext cx="0" cy="7561263"/>
          </a:xfrm>
          <a:prstGeom prst="line">
            <a:avLst/>
          </a:prstGeom>
          <a:noFill/>
          <a:ln w="28575" cap="flat" cmpd="sng" algn="ctr">
            <a:solidFill>
              <a:schemeClr val="accent1">
                <a:tint val="60000"/>
                <a:alpha val="82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849" tIns="51925" rIns="103849" bIns="51925" anchor="t" compatLnSpc="1"/>
          <a:lstStyle/>
          <a:p>
            <a:pPr defTabSz="1038462" fontAlgn="auto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black"/>
              </a:solidFill>
              <a:latin typeface="Century Schoolbook"/>
            </a:endParaRPr>
          </a:p>
        </p:txBody>
      </p:sp>
      <p:sp>
        <p:nvSpPr>
          <p:cNvPr id="15" name="직선 연결선 14"/>
          <p:cNvSpPr>
            <a:spLocks noChangeShapeType="1"/>
          </p:cNvSpPr>
          <p:nvPr/>
        </p:nvSpPr>
        <p:spPr bwMode="auto">
          <a:xfrm>
            <a:off x="1247563" y="0"/>
            <a:ext cx="0" cy="7561263"/>
          </a:xfrm>
          <a:prstGeom prst="line">
            <a:avLst/>
          </a:prstGeom>
          <a:noFill/>
          <a:ln w="9525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849" tIns="51925" rIns="103849" bIns="51925" anchor="t" compatLnSpc="1"/>
          <a:lstStyle/>
          <a:p>
            <a:pPr defTabSz="1038462" fontAlgn="auto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black"/>
              </a:solidFill>
              <a:latin typeface="Century Schoolbook"/>
            </a:endParaRPr>
          </a:p>
        </p:txBody>
      </p:sp>
      <p:sp>
        <p:nvSpPr>
          <p:cNvPr id="22" name="직선 연결선 21"/>
          <p:cNvSpPr>
            <a:spLocks noChangeShapeType="1"/>
          </p:cNvSpPr>
          <p:nvPr/>
        </p:nvSpPr>
        <p:spPr bwMode="auto">
          <a:xfrm>
            <a:off x="10658148" y="0"/>
            <a:ext cx="0" cy="7561263"/>
          </a:xfrm>
          <a:prstGeom prst="line">
            <a:avLst/>
          </a:prstGeom>
          <a:noFill/>
          <a:ln w="57150" cap="flat" cmpd="thickThin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849" tIns="51925" rIns="103849" bIns="51925" anchor="t" compatLnSpc="1"/>
          <a:lstStyle/>
          <a:p>
            <a:pPr defTabSz="1038462" fontAlgn="auto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black"/>
              </a:solidFill>
              <a:latin typeface="Century Schoolbook"/>
            </a:endParaRPr>
          </a:p>
        </p:txBody>
      </p:sp>
      <p:sp>
        <p:nvSpPr>
          <p:cNvPr id="27" name="직사각형 26"/>
          <p:cNvSpPr/>
          <p:nvPr/>
        </p:nvSpPr>
        <p:spPr bwMode="auto">
          <a:xfrm>
            <a:off x="1425787" y="0"/>
            <a:ext cx="89112" cy="7561263"/>
          </a:xfrm>
          <a:prstGeom prst="rect">
            <a:avLst/>
          </a:prstGeom>
          <a:solidFill>
            <a:schemeClr val="accent1">
              <a:tint val="60000"/>
              <a:alpha val="51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849" tIns="51925" rIns="103849" bIns="51925" anchor="ctr"/>
          <a:lstStyle/>
          <a:p>
            <a:pPr algn="ctr" defTabSz="1038462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 dirty="0">
              <a:solidFill>
                <a:prstClr val="white"/>
              </a:solidFill>
            </a:endParaRPr>
          </a:p>
        </p:txBody>
      </p:sp>
      <p:sp>
        <p:nvSpPr>
          <p:cNvPr id="21" name="타원 20"/>
          <p:cNvSpPr/>
          <p:nvPr/>
        </p:nvSpPr>
        <p:spPr bwMode="auto">
          <a:xfrm>
            <a:off x="712894" y="3780631"/>
            <a:ext cx="1514898" cy="1428239"/>
          </a:xfrm>
          <a:prstGeom prst="ellipse">
            <a:avLst/>
          </a:prstGeom>
          <a:solidFill>
            <a:schemeClr val="accent1"/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849" tIns="51925" rIns="103849" bIns="51925" anchor="ctr"/>
          <a:lstStyle/>
          <a:p>
            <a:pPr algn="ctr" defTabSz="1038462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 dirty="0">
              <a:solidFill>
                <a:prstClr val="white"/>
              </a:solidFill>
            </a:endParaRPr>
          </a:p>
        </p:txBody>
      </p:sp>
      <p:sp>
        <p:nvSpPr>
          <p:cNvPr id="23" name="타원 22"/>
          <p:cNvSpPr/>
          <p:nvPr/>
        </p:nvSpPr>
        <p:spPr bwMode="auto">
          <a:xfrm>
            <a:off x="1531542" y="5365820"/>
            <a:ext cx="750110" cy="707200"/>
          </a:xfrm>
          <a:prstGeom prst="ellipse">
            <a:avLst/>
          </a:prstGeom>
          <a:ln w="285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849" tIns="51925" rIns="103849" bIns="51925" anchor="ctr"/>
          <a:lstStyle/>
          <a:p>
            <a:pPr algn="ctr" defTabSz="1038462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 dirty="0">
              <a:solidFill>
                <a:prstClr val="white"/>
              </a:solidFill>
            </a:endParaRPr>
          </a:p>
        </p:txBody>
      </p:sp>
      <p:sp>
        <p:nvSpPr>
          <p:cNvPr id="24" name="타원 23"/>
          <p:cNvSpPr/>
          <p:nvPr/>
        </p:nvSpPr>
        <p:spPr bwMode="auto">
          <a:xfrm>
            <a:off x="1275957" y="6064702"/>
            <a:ext cx="160401" cy="151225"/>
          </a:xfrm>
          <a:prstGeom prst="ellipse">
            <a:avLst/>
          </a:prstGeom>
          <a:ln w="127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849" tIns="51925" rIns="103849" bIns="51925" anchor="ctr"/>
          <a:lstStyle/>
          <a:p>
            <a:pPr algn="ctr" defTabSz="1038462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 dirty="0">
              <a:solidFill>
                <a:prstClr val="white"/>
              </a:solidFill>
            </a:endParaRPr>
          </a:p>
        </p:txBody>
      </p:sp>
      <p:sp>
        <p:nvSpPr>
          <p:cNvPr id="26" name="타원 25"/>
          <p:cNvSpPr/>
          <p:nvPr/>
        </p:nvSpPr>
        <p:spPr bwMode="auto">
          <a:xfrm>
            <a:off x="1946199" y="6381709"/>
            <a:ext cx="320802" cy="302451"/>
          </a:xfrm>
          <a:prstGeom prst="ellipse">
            <a:avLst/>
          </a:prstGeom>
          <a:ln w="127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849" tIns="51925" rIns="103849" bIns="51925" anchor="ctr"/>
          <a:lstStyle/>
          <a:p>
            <a:pPr algn="ctr" defTabSz="1038462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 dirty="0">
              <a:solidFill>
                <a:prstClr val="white"/>
              </a:solidFill>
            </a:endParaRPr>
          </a:p>
        </p:txBody>
      </p:sp>
      <p:sp>
        <p:nvSpPr>
          <p:cNvPr id="25" name="타원 24"/>
          <p:cNvSpPr/>
          <p:nvPr/>
        </p:nvSpPr>
        <p:spPr>
          <a:xfrm>
            <a:off x="2227792" y="4956828"/>
            <a:ext cx="427736" cy="403267"/>
          </a:xfrm>
          <a:prstGeom prst="ellipse">
            <a:avLst/>
          </a:prstGeom>
          <a:ln w="285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849" tIns="51925" rIns="103849" bIns="51925" anchor="ctr"/>
          <a:lstStyle/>
          <a:p>
            <a:pPr algn="ctr" defTabSz="1038462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 dirty="0">
              <a:solidFill>
                <a:prstClr val="white"/>
              </a:solidFill>
            </a:endParaRPr>
          </a:p>
        </p:txBody>
      </p:sp>
      <p:sp>
        <p:nvSpPr>
          <p:cNvPr id="29" name="슬라이드 번호 개체 틀 28"/>
          <p:cNvSpPr>
            <a:spLocks noGrp="1"/>
          </p:cNvSpPr>
          <p:nvPr>
            <p:ph type="sldNum" sz="quarter" idx="12"/>
          </p:nvPr>
        </p:nvSpPr>
        <p:spPr bwMode="auto">
          <a:xfrm>
            <a:off x="1550150" y="5434123"/>
            <a:ext cx="712893" cy="570594"/>
          </a:xfrm>
        </p:spPr>
        <p:txBody>
          <a:bodyPr/>
          <a:lstStyle/>
          <a:p>
            <a:fld id="{0FFC04F2-410B-478E-B5E8-05AEE79BCA15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34039720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ko-KR" altLang="en-US" smtClean="0"/>
              <a:t>마스터 제목 스타일 편집</a:t>
            </a:r>
            <a:endParaRPr kumimoji="0" lang="en-US"/>
          </a:p>
        </p:txBody>
      </p:sp>
      <p:sp>
        <p:nvSpPr>
          <p:cNvPr id="8" name="내용 개체 틀 7"/>
          <p:cNvSpPr>
            <a:spLocks noGrp="1"/>
          </p:cNvSpPr>
          <p:nvPr>
            <p:ph sz="quarter" idx="1"/>
          </p:nvPr>
        </p:nvSpPr>
        <p:spPr>
          <a:xfrm>
            <a:off x="534670" y="1764294"/>
            <a:ext cx="8732943" cy="5373538"/>
          </a:xfrm>
        </p:spPr>
        <p:txBody>
          <a:bodyPr/>
          <a:lstStyle/>
          <a:p>
            <a:pPr lvl="0" eaLnBrk="1" latinLnBrk="0" hangingPunct="1"/>
            <a:r>
              <a:rPr lang="ko-KR" altLang="en-US" smtClean="0"/>
              <a:t>마스터 텍스트 스타일을 편집합니다</a:t>
            </a:r>
          </a:p>
          <a:p>
            <a:pPr lvl="1" eaLnBrk="1" latinLnBrk="0" hangingPunct="1"/>
            <a:r>
              <a:rPr lang="ko-KR" altLang="en-US" smtClean="0"/>
              <a:t>둘째 수준</a:t>
            </a:r>
          </a:p>
          <a:p>
            <a:pPr lvl="2" eaLnBrk="1" latinLnBrk="0" hangingPunct="1"/>
            <a:r>
              <a:rPr lang="ko-KR" altLang="en-US" smtClean="0"/>
              <a:t>셋째 수준</a:t>
            </a:r>
          </a:p>
          <a:p>
            <a:pPr lvl="3" eaLnBrk="1" latinLnBrk="0" hangingPunct="1"/>
            <a:r>
              <a:rPr lang="ko-KR" altLang="en-US" smtClean="0"/>
              <a:t>넷째 수준</a:t>
            </a:r>
          </a:p>
          <a:p>
            <a:pPr lvl="4" eaLnBrk="1" latinLnBrk="0" hangingPunct="1"/>
            <a:r>
              <a:rPr lang="ko-KR" altLang="en-US" smtClean="0"/>
              <a:t>다섯째 수준</a:t>
            </a:r>
            <a:endParaRPr kumimoji="0" 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4"/>
          </p:nvPr>
        </p:nvSpPr>
        <p:spPr/>
        <p:txBody>
          <a:bodyPr rtlCol="0"/>
          <a:lstStyle/>
          <a:p>
            <a:fld id="{582EF422-6799-4543-9129-69758A77C2D3}" type="datetimeFigureOut">
              <a:rPr lang="ko-KR" altLang="en-US" smtClean="0">
                <a:solidFill>
                  <a:srgbClr val="575F6D"/>
                </a:solidFill>
              </a:rPr>
              <a:pPr/>
              <a:t>2018-03-29</a:t>
            </a:fld>
            <a:endParaRPr lang="ko-KR" altLang="en-US">
              <a:solidFill>
                <a:srgbClr val="575F6D"/>
              </a:solidFill>
            </a:endParaRPr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5"/>
          </p:nvPr>
        </p:nvSpPr>
        <p:spPr/>
        <p:txBody>
          <a:bodyPr rtlCol="0"/>
          <a:lstStyle/>
          <a:p>
            <a:fld id="{0FFC04F2-410B-478E-B5E8-05AEE79BCA15}" type="slidenum">
              <a:rPr lang="ko-KR" altLang="en-US" smtClean="0"/>
              <a:pPr/>
              <a:t>‹#›</a:t>
            </a:fld>
            <a:endParaRPr lang="ko-KR" altLang="en-US"/>
          </a:p>
        </p:txBody>
      </p:sp>
      <p:sp>
        <p:nvSpPr>
          <p:cNvPr id="10" name="바닥글 개체 틀 9"/>
          <p:cNvSpPr>
            <a:spLocks noGrp="1"/>
          </p:cNvSpPr>
          <p:nvPr>
            <p:ph type="ftr" sz="quarter" idx="16"/>
          </p:nvPr>
        </p:nvSpPr>
        <p:spPr/>
        <p:txBody>
          <a:bodyPr rtlCol="0"/>
          <a:lstStyle/>
          <a:p>
            <a:endParaRPr lang="ko-KR" altLang="en-US">
              <a:solidFill>
                <a:srgbClr val="575F6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127519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구역 머리글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673350" y="3192533"/>
            <a:ext cx="7218045" cy="2264178"/>
          </a:xfrm>
        </p:spPr>
        <p:txBody>
          <a:bodyPr/>
          <a:lstStyle>
            <a:lvl1pPr algn="l">
              <a:buNone/>
              <a:defRPr sz="3400" b="1" cap="small" baseline="0"/>
            </a:lvl1pPr>
          </a:lstStyle>
          <a:p>
            <a:r>
              <a:rPr kumimoji="0" lang="ko-KR" altLang="en-US" smtClean="0"/>
              <a:t>마스터 제목 스타일 편집</a:t>
            </a:r>
            <a:endParaRPr kumimoji="0" 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2673350" y="5523922"/>
            <a:ext cx="7218045" cy="1512253"/>
          </a:xfrm>
        </p:spPr>
        <p:txBody>
          <a:bodyPr anchor="t"/>
          <a:lstStyle>
            <a:lvl1pPr marL="0" indent="0">
              <a:buNone/>
              <a:defRPr sz="2100" b="1">
                <a:solidFill>
                  <a:schemeClr val="tx2"/>
                </a:solidFill>
              </a:defRPr>
            </a:lvl1pPr>
            <a:lvl2pPr>
              <a:buNone/>
              <a:defRPr sz="21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ko-KR" altLang="en-US" smtClean="0"/>
              <a:t>마스터 텍스트 스타일을 편집합니다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 bwMode="auto">
          <a:xfrm rot="5400000">
            <a:off x="9155161" y="1277712"/>
            <a:ext cx="2520421" cy="445558"/>
          </a:xfrm>
        </p:spPr>
        <p:txBody>
          <a:bodyPr/>
          <a:lstStyle/>
          <a:p>
            <a:fld id="{582EF422-6799-4543-9129-69758A77C2D3}" type="datetimeFigureOut">
              <a:rPr lang="ko-KR" altLang="en-US" smtClean="0">
                <a:solidFill>
                  <a:srgbClr val="FFF39D"/>
                </a:solidFill>
              </a:rPr>
              <a:pPr/>
              <a:t>2018-03-29</a:t>
            </a:fld>
            <a:endParaRPr lang="ko-KR" altLang="en-US">
              <a:solidFill>
                <a:srgbClr val="FFF39D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 bwMode="auto">
          <a:xfrm rot="5400000">
            <a:off x="8399035" y="4594483"/>
            <a:ext cx="4032674" cy="449123"/>
          </a:xfrm>
        </p:spPr>
        <p:txBody>
          <a:bodyPr/>
          <a:lstStyle/>
          <a:p>
            <a:endParaRPr lang="ko-KR" altLang="en-US">
              <a:solidFill>
                <a:srgbClr val="FFF39D"/>
              </a:solidFill>
            </a:endParaRPr>
          </a:p>
        </p:txBody>
      </p:sp>
      <p:sp>
        <p:nvSpPr>
          <p:cNvPr id="9" name="직사각형 8"/>
          <p:cNvSpPr/>
          <p:nvPr/>
        </p:nvSpPr>
        <p:spPr bwMode="auto">
          <a:xfrm>
            <a:off x="445562" y="0"/>
            <a:ext cx="712893" cy="7561263"/>
          </a:xfrm>
          <a:prstGeom prst="rect">
            <a:avLst/>
          </a:prstGeom>
          <a:solidFill>
            <a:schemeClr val="accent1">
              <a:tint val="60000"/>
              <a:alpha val="54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849" tIns="51925" rIns="103849" bIns="51925" anchor="ctr"/>
          <a:lstStyle/>
          <a:p>
            <a:pPr algn="ctr" defTabSz="1038462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white"/>
              </a:solidFill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323159" y="0"/>
            <a:ext cx="122399" cy="7561263"/>
          </a:xfrm>
          <a:prstGeom prst="rect">
            <a:avLst/>
          </a:prstGeom>
          <a:solidFill>
            <a:schemeClr val="accent1">
              <a:tint val="40000"/>
              <a:alpha val="36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849" tIns="51925" rIns="103849" bIns="51925" anchor="ctr"/>
          <a:lstStyle/>
          <a:p>
            <a:pPr algn="ctr" defTabSz="1038462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white"/>
              </a:solidFill>
            </a:endParaRPr>
          </a:p>
        </p:txBody>
      </p:sp>
      <p:sp>
        <p:nvSpPr>
          <p:cNvPr id="11" name="직사각형 10"/>
          <p:cNvSpPr/>
          <p:nvPr/>
        </p:nvSpPr>
        <p:spPr bwMode="auto">
          <a:xfrm>
            <a:off x="1158453" y="0"/>
            <a:ext cx="212689" cy="7561263"/>
          </a:xfrm>
          <a:prstGeom prst="rect">
            <a:avLst/>
          </a:prstGeom>
          <a:solidFill>
            <a:schemeClr val="accent1">
              <a:tint val="40000"/>
              <a:alpha val="70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849" tIns="51925" rIns="103849" bIns="51925" anchor="ctr"/>
          <a:lstStyle/>
          <a:p>
            <a:pPr algn="ctr" defTabSz="1038462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white"/>
              </a:solidFill>
            </a:endParaRPr>
          </a:p>
        </p:txBody>
      </p:sp>
      <p:sp>
        <p:nvSpPr>
          <p:cNvPr id="12" name="직사각형 11"/>
          <p:cNvSpPr/>
          <p:nvPr/>
        </p:nvSpPr>
        <p:spPr bwMode="auto">
          <a:xfrm>
            <a:off x="1334710" y="0"/>
            <a:ext cx="269300" cy="7561263"/>
          </a:xfrm>
          <a:prstGeom prst="rect">
            <a:avLst/>
          </a:prstGeom>
          <a:solidFill>
            <a:schemeClr val="accent1">
              <a:tint val="20000"/>
              <a:alpha val="71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849" tIns="51925" rIns="103849" bIns="51925" anchor="ctr"/>
          <a:lstStyle/>
          <a:p>
            <a:pPr algn="ctr" defTabSz="1038462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white"/>
              </a:solidFill>
            </a:endParaRPr>
          </a:p>
        </p:txBody>
      </p:sp>
      <p:sp>
        <p:nvSpPr>
          <p:cNvPr id="13" name="직선 연결선 12"/>
          <p:cNvSpPr>
            <a:spLocks noChangeShapeType="1"/>
          </p:cNvSpPr>
          <p:nvPr/>
        </p:nvSpPr>
        <p:spPr bwMode="auto">
          <a:xfrm>
            <a:off x="124363" y="0"/>
            <a:ext cx="0" cy="7561263"/>
          </a:xfrm>
          <a:prstGeom prst="line">
            <a:avLst/>
          </a:prstGeom>
          <a:noFill/>
          <a:ln w="57150" cap="flat" cmpd="sng" algn="ctr">
            <a:solidFill>
              <a:schemeClr val="accent1">
                <a:tint val="60000"/>
                <a:alpha val="73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849" tIns="51925" rIns="103849" bIns="51925" anchor="t" compatLnSpc="1"/>
          <a:lstStyle/>
          <a:p>
            <a:pPr defTabSz="1038462" fontAlgn="auto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white"/>
              </a:solidFill>
              <a:latin typeface="Century Schoolbook"/>
            </a:endParaRPr>
          </a:p>
        </p:txBody>
      </p:sp>
      <p:sp>
        <p:nvSpPr>
          <p:cNvPr id="14" name="직선 연결선 13"/>
          <p:cNvSpPr>
            <a:spLocks noChangeShapeType="1"/>
          </p:cNvSpPr>
          <p:nvPr/>
        </p:nvSpPr>
        <p:spPr bwMode="auto">
          <a:xfrm>
            <a:off x="1069340" y="0"/>
            <a:ext cx="0" cy="7561263"/>
          </a:xfrm>
          <a:prstGeom prst="line">
            <a:avLst/>
          </a:prstGeom>
          <a:noFill/>
          <a:ln w="57150" cap="flat" cmpd="sng" algn="ctr">
            <a:solidFill>
              <a:schemeClr val="accent1">
                <a:tint val="20000"/>
                <a:alpha val="83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849" tIns="51925" rIns="103849" bIns="51925" anchor="t" compatLnSpc="1"/>
          <a:lstStyle/>
          <a:p>
            <a:pPr defTabSz="1038462" fontAlgn="auto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white"/>
              </a:solidFill>
              <a:latin typeface="Century Schoolbook"/>
            </a:endParaRPr>
          </a:p>
        </p:txBody>
      </p:sp>
      <p:sp>
        <p:nvSpPr>
          <p:cNvPr id="15" name="직선 연결선 14"/>
          <p:cNvSpPr>
            <a:spLocks noChangeShapeType="1"/>
          </p:cNvSpPr>
          <p:nvPr/>
        </p:nvSpPr>
        <p:spPr bwMode="auto">
          <a:xfrm>
            <a:off x="998837" y="0"/>
            <a:ext cx="0" cy="7561263"/>
          </a:xfrm>
          <a:prstGeom prst="line">
            <a:avLst/>
          </a:prstGeom>
          <a:noFill/>
          <a:ln w="57150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849" tIns="51925" rIns="103849" bIns="51925" anchor="t" compatLnSpc="1"/>
          <a:lstStyle/>
          <a:p>
            <a:pPr defTabSz="1038462" fontAlgn="auto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white"/>
              </a:solidFill>
              <a:latin typeface="Century Schoolbook"/>
            </a:endParaRPr>
          </a:p>
        </p:txBody>
      </p:sp>
      <p:sp>
        <p:nvSpPr>
          <p:cNvPr id="16" name="직선 연결선 15"/>
          <p:cNvSpPr>
            <a:spLocks noChangeShapeType="1"/>
          </p:cNvSpPr>
          <p:nvPr/>
        </p:nvSpPr>
        <p:spPr bwMode="auto">
          <a:xfrm>
            <a:off x="2019210" y="0"/>
            <a:ext cx="0" cy="7561263"/>
          </a:xfrm>
          <a:prstGeom prst="line">
            <a:avLst/>
          </a:prstGeom>
          <a:noFill/>
          <a:ln w="28575" cap="flat" cmpd="sng" algn="ctr">
            <a:solidFill>
              <a:schemeClr val="accent1">
                <a:tint val="60000"/>
                <a:alpha val="82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849" tIns="51925" rIns="103849" bIns="51925" anchor="t" compatLnSpc="1"/>
          <a:lstStyle/>
          <a:p>
            <a:pPr defTabSz="1038462" fontAlgn="auto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white"/>
              </a:solidFill>
              <a:latin typeface="Century Schoolbook"/>
            </a:endParaRPr>
          </a:p>
        </p:txBody>
      </p:sp>
      <p:sp>
        <p:nvSpPr>
          <p:cNvPr id="17" name="직선 연결선 16"/>
          <p:cNvSpPr>
            <a:spLocks noChangeShapeType="1"/>
          </p:cNvSpPr>
          <p:nvPr/>
        </p:nvSpPr>
        <p:spPr bwMode="auto">
          <a:xfrm>
            <a:off x="1247563" y="0"/>
            <a:ext cx="0" cy="7561263"/>
          </a:xfrm>
          <a:prstGeom prst="line">
            <a:avLst/>
          </a:prstGeom>
          <a:noFill/>
          <a:ln w="9525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849" tIns="51925" rIns="103849" bIns="51925" anchor="t" compatLnSpc="1"/>
          <a:lstStyle/>
          <a:p>
            <a:pPr defTabSz="1038462" fontAlgn="auto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white"/>
              </a:solidFill>
              <a:latin typeface="Century Schoolbook"/>
            </a:endParaRPr>
          </a:p>
        </p:txBody>
      </p:sp>
      <p:sp>
        <p:nvSpPr>
          <p:cNvPr id="18" name="직사각형 17"/>
          <p:cNvSpPr/>
          <p:nvPr/>
        </p:nvSpPr>
        <p:spPr bwMode="auto">
          <a:xfrm>
            <a:off x="1425787" y="0"/>
            <a:ext cx="89112" cy="7561263"/>
          </a:xfrm>
          <a:prstGeom prst="rect">
            <a:avLst/>
          </a:prstGeom>
          <a:solidFill>
            <a:schemeClr val="accent1">
              <a:tint val="60000"/>
              <a:alpha val="51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849" tIns="51925" rIns="103849" bIns="51925" anchor="ctr"/>
          <a:lstStyle/>
          <a:p>
            <a:pPr algn="ctr" defTabSz="1038462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 dirty="0">
              <a:solidFill>
                <a:prstClr val="white"/>
              </a:solidFill>
            </a:endParaRPr>
          </a:p>
        </p:txBody>
      </p:sp>
      <p:sp>
        <p:nvSpPr>
          <p:cNvPr id="19" name="타원 18"/>
          <p:cNvSpPr/>
          <p:nvPr/>
        </p:nvSpPr>
        <p:spPr bwMode="auto">
          <a:xfrm>
            <a:off x="712894" y="3780631"/>
            <a:ext cx="1514898" cy="1428239"/>
          </a:xfrm>
          <a:prstGeom prst="ellipse">
            <a:avLst/>
          </a:prstGeom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849" tIns="51925" rIns="103849" bIns="51925" anchor="ctr"/>
          <a:lstStyle/>
          <a:p>
            <a:pPr algn="ctr" defTabSz="1038462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 dirty="0">
              <a:solidFill>
                <a:prstClr val="white"/>
              </a:solidFill>
            </a:endParaRPr>
          </a:p>
        </p:txBody>
      </p:sp>
      <p:sp>
        <p:nvSpPr>
          <p:cNvPr id="20" name="타원 19"/>
          <p:cNvSpPr/>
          <p:nvPr/>
        </p:nvSpPr>
        <p:spPr bwMode="auto">
          <a:xfrm>
            <a:off x="1549168" y="5365820"/>
            <a:ext cx="750110" cy="707200"/>
          </a:xfrm>
          <a:prstGeom prst="ellipse">
            <a:avLst/>
          </a:prstGeom>
          <a:ln w="285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849" tIns="51925" rIns="103849" bIns="51925" anchor="ctr"/>
          <a:lstStyle/>
          <a:p>
            <a:pPr algn="ctr" defTabSz="1038462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 dirty="0">
              <a:solidFill>
                <a:prstClr val="white"/>
              </a:solidFill>
            </a:endParaRPr>
          </a:p>
        </p:txBody>
      </p:sp>
      <p:sp>
        <p:nvSpPr>
          <p:cNvPr id="21" name="타원 20"/>
          <p:cNvSpPr/>
          <p:nvPr/>
        </p:nvSpPr>
        <p:spPr bwMode="auto">
          <a:xfrm>
            <a:off x="1275957" y="6064702"/>
            <a:ext cx="160401" cy="151225"/>
          </a:xfrm>
          <a:prstGeom prst="ellipse">
            <a:avLst/>
          </a:prstGeom>
          <a:ln w="127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849" tIns="51925" rIns="103849" bIns="51925" anchor="ctr"/>
          <a:lstStyle/>
          <a:p>
            <a:pPr algn="ctr" defTabSz="1038462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 dirty="0">
              <a:solidFill>
                <a:prstClr val="white"/>
              </a:solidFill>
            </a:endParaRPr>
          </a:p>
        </p:txBody>
      </p:sp>
      <p:sp>
        <p:nvSpPr>
          <p:cNvPr id="22" name="타원 21"/>
          <p:cNvSpPr/>
          <p:nvPr/>
        </p:nvSpPr>
        <p:spPr bwMode="auto">
          <a:xfrm>
            <a:off x="1946199" y="6385066"/>
            <a:ext cx="320802" cy="302451"/>
          </a:xfrm>
          <a:prstGeom prst="ellipse">
            <a:avLst/>
          </a:prstGeom>
          <a:ln w="127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849" tIns="51925" rIns="103849" bIns="51925" anchor="ctr"/>
          <a:lstStyle/>
          <a:p>
            <a:pPr algn="ctr" defTabSz="1038462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 dirty="0">
              <a:solidFill>
                <a:prstClr val="white"/>
              </a:solidFill>
            </a:endParaRPr>
          </a:p>
        </p:txBody>
      </p:sp>
      <p:sp>
        <p:nvSpPr>
          <p:cNvPr id="23" name="타원 22"/>
          <p:cNvSpPr/>
          <p:nvPr/>
        </p:nvSpPr>
        <p:spPr bwMode="auto">
          <a:xfrm>
            <a:off x="2197433" y="4939284"/>
            <a:ext cx="427736" cy="403267"/>
          </a:xfrm>
          <a:prstGeom prst="ellipse">
            <a:avLst/>
          </a:prstGeom>
          <a:ln w="28575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849" tIns="51925" rIns="103849" bIns="51925" anchor="ctr"/>
          <a:lstStyle/>
          <a:p>
            <a:pPr algn="ctr" defTabSz="1038462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 dirty="0">
              <a:solidFill>
                <a:prstClr val="white"/>
              </a:solidFill>
            </a:endParaRPr>
          </a:p>
        </p:txBody>
      </p:sp>
      <p:sp>
        <p:nvSpPr>
          <p:cNvPr id="26" name="직선 연결선 25"/>
          <p:cNvSpPr>
            <a:spLocks noChangeShapeType="1"/>
          </p:cNvSpPr>
          <p:nvPr/>
        </p:nvSpPr>
        <p:spPr bwMode="auto">
          <a:xfrm>
            <a:off x="10639540" y="0"/>
            <a:ext cx="0" cy="7561263"/>
          </a:xfrm>
          <a:prstGeom prst="line">
            <a:avLst/>
          </a:prstGeom>
          <a:noFill/>
          <a:ln w="57150" cap="flat" cmpd="thickThin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849" tIns="51925" rIns="103849" bIns="51925" anchor="t" compatLnSpc="1"/>
          <a:lstStyle/>
          <a:p>
            <a:pPr defTabSz="1038462" fontAlgn="auto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white"/>
              </a:solidFill>
              <a:latin typeface="Century Schoolbook"/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 bwMode="auto">
          <a:xfrm>
            <a:off x="1567776" y="5434123"/>
            <a:ext cx="712893" cy="570594"/>
          </a:xfrm>
        </p:spPr>
        <p:txBody>
          <a:bodyPr/>
          <a:lstStyle/>
          <a:p>
            <a:fld id="{0FFC04F2-410B-478E-B5E8-05AEE79BCA15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17547701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ko-KR" altLang="en-US" smtClean="0"/>
              <a:t>마스터 제목 스타일 편집</a:t>
            </a:r>
            <a:endParaRPr kumimoji="0" lang="en-US"/>
          </a:p>
        </p:txBody>
      </p:sp>
      <p:sp>
        <p:nvSpPr>
          <p:cNvPr id="5" name="날짜 개체 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2EF422-6799-4543-9129-69758A77C2D3}" type="datetimeFigureOut">
              <a:rPr lang="ko-KR" altLang="en-US" smtClean="0">
                <a:solidFill>
                  <a:srgbClr val="575F6D"/>
                </a:solidFill>
              </a:rPr>
              <a:pPr/>
              <a:t>2018-03-29</a:t>
            </a:fld>
            <a:endParaRPr lang="ko-KR" altLang="en-US">
              <a:solidFill>
                <a:srgbClr val="575F6D"/>
              </a:solidFill>
            </a:endParaRPr>
          </a:p>
        </p:txBody>
      </p:sp>
      <p:sp>
        <p:nvSpPr>
          <p:cNvPr id="6" name="바닥글 개체 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srgbClr val="575F6D"/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FC04F2-410B-478E-B5E8-05AEE79BCA15}" type="slidenum">
              <a:rPr lang="ko-KR" altLang="en-US" smtClean="0"/>
              <a:pPr/>
              <a:t>‹#›</a:t>
            </a:fld>
            <a:endParaRPr lang="ko-KR" altLang="en-US"/>
          </a:p>
        </p:txBody>
      </p:sp>
      <p:sp>
        <p:nvSpPr>
          <p:cNvPr id="9" name="내용 개체 틀 8"/>
          <p:cNvSpPr>
            <a:spLocks noGrp="1"/>
          </p:cNvSpPr>
          <p:nvPr>
            <p:ph sz="quarter" idx="1"/>
          </p:nvPr>
        </p:nvSpPr>
        <p:spPr>
          <a:xfrm>
            <a:off x="534670" y="1764295"/>
            <a:ext cx="4277360" cy="5040842"/>
          </a:xfrm>
        </p:spPr>
        <p:txBody>
          <a:bodyPr/>
          <a:lstStyle/>
          <a:p>
            <a:pPr lvl="0" eaLnBrk="1" latinLnBrk="0" hangingPunct="1"/>
            <a:r>
              <a:rPr lang="ko-KR" altLang="en-US" smtClean="0"/>
              <a:t>마스터 텍스트 스타일을 편집합니다</a:t>
            </a:r>
          </a:p>
          <a:p>
            <a:pPr lvl="1" eaLnBrk="1" latinLnBrk="0" hangingPunct="1"/>
            <a:r>
              <a:rPr lang="ko-KR" altLang="en-US" smtClean="0"/>
              <a:t>둘째 수준</a:t>
            </a:r>
          </a:p>
          <a:p>
            <a:pPr lvl="2" eaLnBrk="1" latinLnBrk="0" hangingPunct="1"/>
            <a:r>
              <a:rPr lang="ko-KR" altLang="en-US" smtClean="0"/>
              <a:t>셋째 수준</a:t>
            </a:r>
          </a:p>
          <a:p>
            <a:pPr lvl="3" eaLnBrk="1" latinLnBrk="0" hangingPunct="1"/>
            <a:r>
              <a:rPr lang="ko-KR" altLang="en-US" smtClean="0"/>
              <a:t>넷째 수준</a:t>
            </a:r>
          </a:p>
          <a:p>
            <a:pPr lvl="4" eaLnBrk="1" latinLnBrk="0" hangingPunct="1"/>
            <a:r>
              <a:rPr lang="ko-KR" altLang="en-US" smtClean="0"/>
              <a:t>다섯째 수준</a:t>
            </a:r>
            <a:endParaRPr kumimoji="0" lang="en-US"/>
          </a:p>
        </p:txBody>
      </p:sp>
      <p:sp>
        <p:nvSpPr>
          <p:cNvPr id="11" name="내용 개체 틀 10"/>
          <p:cNvSpPr>
            <a:spLocks noGrp="1"/>
          </p:cNvSpPr>
          <p:nvPr>
            <p:ph sz="quarter" idx="2"/>
          </p:nvPr>
        </p:nvSpPr>
        <p:spPr>
          <a:xfrm>
            <a:off x="4993818" y="1764295"/>
            <a:ext cx="4277360" cy="5040842"/>
          </a:xfrm>
        </p:spPr>
        <p:txBody>
          <a:bodyPr/>
          <a:lstStyle/>
          <a:p>
            <a:pPr lvl="0" eaLnBrk="1" latinLnBrk="0" hangingPunct="1"/>
            <a:r>
              <a:rPr lang="ko-KR" altLang="en-US" smtClean="0"/>
              <a:t>마스터 텍스트 스타일을 편집합니다</a:t>
            </a:r>
          </a:p>
          <a:p>
            <a:pPr lvl="1" eaLnBrk="1" latinLnBrk="0" hangingPunct="1"/>
            <a:r>
              <a:rPr lang="ko-KR" altLang="en-US" smtClean="0"/>
              <a:t>둘째 수준</a:t>
            </a:r>
          </a:p>
          <a:p>
            <a:pPr lvl="2" eaLnBrk="1" latinLnBrk="0" hangingPunct="1"/>
            <a:r>
              <a:rPr lang="ko-KR" altLang="en-US" smtClean="0"/>
              <a:t>셋째 수준</a:t>
            </a:r>
          </a:p>
          <a:p>
            <a:pPr lvl="3" eaLnBrk="1" latinLnBrk="0" hangingPunct="1"/>
            <a:r>
              <a:rPr lang="ko-KR" altLang="en-US" smtClean="0"/>
              <a:t>넷째 수준</a:t>
            </a:r>
          </a:p>
          <a:p>
            <a:pPr lvl="4" eaLnBrk="1" latinLnBrk="0" hangingPunct="1"/>
            <a:r>
              <a:rPr lang="ko-KR" altLang="en-US" smtClean="0"/>
              <a:t>다섯째 수준</a:t>
            </a:r>
            <a:endParaRPr kumimoji="0" lang="en-US"/>
          </a:p>
        </p:txBody>
      </p:sp>
    </p:spTree>
    <p:extLst>
      <p:ext uri="{BB962C8B-B14F-4D97-AF65-F5344CB8AC3E}">
        <p14:creationId xmlns:p14="http://schemas.microsoft.com/office/powerpoint/2010/main" val="302790310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534670" y="301050"/>
            <a:ext cx="8822055" cy="1260211"/>
          </a:xfrm>
        </p:spPr>
        <p:txBody>
          <a:bodyPr anchor="b"/>
          <a:lstStyle>
            <a:lvl1pPr>
              <a:defRPr/>
            </a:lvl1pPr>
          </a:lstStyle>
          <a:p>
            <a:r>
              <a:rPr kumimoji="0" lang="ko-KR" altLang="en-US" smtClean="0"/>
              <a:t>마스터 제목 스타일 편집</a:t>
            </a:r>
            <a:endParaRPr kumimoji="0" lang="en-US"/>
          </a:p>
        </p:txBody>
      </p:sp>
      <p:sp>
        <p:nvSpPr>
          <p:cNvPr id="7" name="날짜 개체 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2EF422-6799-4543-9129-69758A77C2D3}" type="datetimeFigureOut">
              <a:rPr lang="ko-KR" altLang="en-US" smtClean="0">
                <a:solidFill>
                  <a:srgbClr val="575F6D"/>
                </a:solidFill>
              </a:rPr>
              <a:pPr/>
              <a:t>2018-03-29</a:t>
            </a:fld>
            <a:endParaRPr lang="ko-KR" altLang="en-US">
              <a:solidFill>
                <a:srgbClr val="575F6D"/>
              </a:solidFill>
            </a:endParaRPr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srgbClr val="575F6D"/>
              </a:solidFill>
            </a:endParaRPr>
          </a:p>
        </p:txBody>
      </p:sp>
      <p:sp>
        <p:nvSpPr>
          <p:cNvPr id="9" name="슬라이드 번호 개체 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FC04F2-410B-478E-B5E8-05AEE79BCA15}" type="slidenum">
              <a:rPr lang="ko-KR" altLang="en-US" smtClean="0"/>
              <a:pPr/>
              <a:t>‹#›</a:t>
            </a:fld>
            <a:endParaRPr lang="ko-KR" altLang="en-US"/>
          </a:p>
        </p:txBody>
      </p:sp>
      <p:sp>
        <p:nvSpPr>
          <p:cNvPr id="11" name="내용 개체 틀 10"/>
          <p:cNvSpPr>
            <a:spLocks noGrp="1"/>
          </p:cNvSpPr>
          <p:nvPr>
            <p:ph sz="quarter" idx="2"/>
          </p:nvPr>
        </p:nvSpPr>
        <p:spPr>
          <a:xfrm>
            <a:off x="534670" y="2604435"/>
            <a:ext cx="4277360" cy="4284716"/>
          </a:xfrm>
        </p:spPr>
        <p:txBody>
          <a:bodyPr/>
          <a:lstStyle/>
          <a:p>
            <a:pPr lvl="0" eaLnBrk="1" latinLnBrk="0" hangingPunct="1"/>
            <a:r>
              <a:rPr lang="ko-KR" altLang="en-US" smtClean="0"/>
              <a:t>마스터 텍스트 스타일을 편집합니다</a:t>
            </a:r>
          </a:p>
          <a:p>
            <a:pPr lvl="1" eaLnBrk="1" latinLnBrk="0" hangingPunct="1"/>
            <a:r>
              <a:rPr lang="ko-KR" altLang="en-US" smtClean="0"/>
              <a:t>둘째 수준</a:t>
            </a:r>
          </a:p>
          <a:p>
            <a:pPr lvl="2" eaLnBrk="1" latinLnBrk="0" hangingPunct="1"/>
            <a:r>
              <a:rPr lang="ko-KR" altLang="en-US" smtClean="0"/>
              <a:t>셋째 수준</a:t>
            </a:r>
          </a:p>
          <a:p>
            <a:pPr lvl="3" eaLnBrk="1" latinLnBrk="0" hangingPunct="1"/>
            <a:r>
              <a:rPr lang="ko-KR" altLang="en-US" smtClean="0"/>
              <a:t>넷째 수준</a:t>
            </a:r>
          </a:p>
          <a:p>
            <a:pPr lvl="4" eaLnBrk="1" latinLnBrk="0" hangingPunct="1"/>
            <a:r>
              <a:rPr lang="ko-KR" altLang="en-US" smtClean="0"/>
              <a:t>다섯째 수준</a:t>
            </a:r>
            <a:endParaRPr kumimoji="0" lang="en-US"/>
          </a:p>
        </p:txBody>
      </p:sp>
      <p:sp>
        <p:nvSpPr>
          <p:cNvPr id="13" name="내용 개체 틀 12"/>
          <p:cNvSpPr>
            <a:spLocks noGrp="1"/>
          </p:cNvSpPr>
          <p:nvPr>
            <p:ph sz="quarter" idx="4"/>
          </p:nvPr>
        </p:nvSpPr>
        <p:spPr>
          <a:xfrm>
            <a:off x="5112782" y="2604435"/>
            <a:ext cx="4277360" cy="4284716"/>
          </a:xfrm>
        </p:spPr>
        <p:txBody>
          <a:bodyPr/>
          <a:lstStyle/>
          <a:p>
            <a:pPr lvl="0" eaLnBrk="1" latinLnBrk="0" hangingPunct="1"/>
            <a:r>
              <a:rPr lang="ko-KR" altLang="en-US" smtClean="0"/>
              <a:t>마스터 텍스트 스타일을 편집합니다</a:t>
            </a:r>
          </a:p>
          <a:p>
            <a:pPr lvl="1" eaLnBrk="1" latinLnBrk="0" hangingPunct="1"/>
            <a:r>
              <a:rPr lang="ko-KR" altLang="en-US" smtClean="0"/>
              <a:t>둘째 수준</a:t>
            </a:r>
          </a:p>
          <a:p>
            <a:pPr lvl="2" eaLnBrk="1" latinLnBrk="0" hangingPunct="1"/>
            <a:r>
              <a:rPr lang="ko-KR" altLang="en-US" smtClean="0"/>
              <a:t>셋째 수준</a:t>
            </a:r>
          </a:p>
          <a:p>
            <a:pPr lvl="3" eaLnBrk="1" latinLnBrk="0" hangingPunct="1"/>
            <a:r>
              <a:rPr lang="ko-KR" altLang="en-US" smtClean="0"/>
              <a:t>넷째 수준</a:t>
            </a:r>
          </a:p>
          <a:p>
            <a:pPr lvl="4" eaLnBrk="1" latinLnBrk="0" hangingPunct="1"/>
            <a:r>
              <a:rPr lang="ko-KR" altLang="en-US" smtClean="0"/>
              <a:t>다섯째 수준</a:t>
            </a:r>
            <a:endParaRPr kumimoji="0" lang="en-US"/>
          </a:p>
        </p:txBody>
      </p:sp>
      <p:sp>
        <p:nvSpPr>
          <p:cNvPr id="12" name="텍스트 개체 틀 11"/>
          <p:cNvSpPr>
            <a:spLocks noGrp="1"/>
          </p:cNvSpPr>
          <p:nvPr>
            <p:ph type="body" sz="quarter" idx="1"/>
          </p:nvPr>
        </p:nvSpPr>
        <p:spPr>
          <a:xfrm>
            <a:off x="534670" y="1730689"/>
            <a:ext cx="4277360" cy="725881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</p:spPr>
        <p:txBody>
          <a:bodyPr rtlCol="0" anchor="ctr">
            <a:noAutofit/>
          </a:bodyPr>
          <a:lstStyle>
            <a:lvl1pPr marL="0" indent="0">
              <a:buFontTx/>
              <a:buNone/>
              <a:defRPr sz="23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ko-KR" altLang="en-US" smtClean="0"/>
              <a:t>마스터 텍스트 스타일을 편집합니다</a:t>
            </a:r>
          </a:p>
        </p:txBody>
      </p:sp>
      <p:sp>
        <p:nvSpPr>
          <p:cNvPr id="14" name="텍스트 개체 틀 13"/>
          <p:cNvSpPr>
            <a:spLocks noGrp="1"/>
          </p:cNvSpPr>
          <p:nvPr>
            <p:ph type="body" sz="quarter" idx="3"/>
          </p:nvPr>
        </p:nvSpPr>
        <p:spPr>
          <a:xfrm>
            <a:off x="5079365" y="1730689"/>
            <a:ext cx="4277360" cy="725881"/>
          </a:xfrm>
          <a:prstGeom prst="roundRect">
            <a:avLst>
              <a:gd name="adj" fmla="val 16667"/>
            </a:avLst>
          </a:prstGeom>
          <a:solidFill>
            <a:schemeClr val="accent1"/>
          </a:solidFill>
        </p:spPr>
        <p:txBody>
          <a:bodyPr rtlCol="0" anchor="ctr">
            <a:noAutofit/>
          </a:bodyPr>
          <a:lstStyle>
            <a:lvl1pPr marL="0" indent="0">
              <a:buFontTx/>
              <a:buNone/>
              <a:defRPr sz="2300" b="1">
                <a:solidFill>
                  <a:srgbClr val="FFFFFF"/>
                </a:solidFill>
              </a:defRPr>
            </a:lvl1pPr>
          </a:lstStyle>
          <a:p>
            <a:pPr lvl="0" eaLnBrk="1" latinLnBrk="0" hangingPunct="1"/>
            <a:r>
              <a:rPr kumimoji="0" lang="ko-KR" altLang="en-US" smtClean="0"/>
              <a:t>마스터 텍스트 스타일을 편집합니다</a:t>
            </a:r>
          </a:p>
        </p:txBody>
      </p:sp>
    </p:spTree>
    <p:extLst>
      <p:ext uri="{BB962C8B-B14F-4D97-AF65-F5344CB8AC3E}">
        <p14:creationId xmlns:p14="http://schemas.microsoft.com/office/powerpoint/2010/main" val="294361918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ko-KR" altLang="en-US" smtClean="0"/>
              <a:t>마스터 제목 스타일 편집</a:t>
            </a:r>
            <a:endParaRPr kumimoji="0" lang="en-US"/>
          </a:p>
        </p:txBody>
      </p:sp>
      <p:sp>
        <p:nvSpPr>
          <p:cNvPr id="6" name="날짜 개체 틀 5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fld id="{582EF422-6799-4543-9129-69758A77C2D3}" type="datetimeFigureOut">
              <a:rPr lang="ko-KR" altLang="en-US" smtClean="0">
                <a:solidFill>
                  <a:srgbClr val="575F6D"/>
                </a:solidFill>
              </a:rPr>
              <a:pPr/>
              <a:t>2018-03-29</a:t>
            </a:fld>
            <a:endParaRPr lang="ko-KR" altLang="en-US">
              <a:solidFill>
                <a:srgbClr val="575F6D"/>
              </a:solidFill>
            </a:endParaRPr>
          </a:p>
        </p:txBody>
      </p:sp>
      <p:sp>
        <p:nvSpPr>
          <p:cNvPr id="7" name="슬라이드 번호 개체 틀 6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/>
          <a:p>
            <a:fld id="{0FFC04F2-410B-478E-B5E8-05AEE79BCA15}" type="slidenum">
              <a:rPr lang="ko-KR" altLang="en-US" smtClean="0"/>
              <a:pPr/>
              <a:t>‹#›</a:t>
            </a:fld>
            <a:endParaRPr lang="ko-KR" altLang="en-US"/>
          </a:p>
        </p:txBody>
      </p:sp>
      <p:sp>
        <p:nvSpPr>
          <p:cNvPr id="8" name="바닥글 개체 틀 7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/>
          <a:p>
            <a:endParaRPr lang="ko-KR" altLang="en-US">
              <a:solidFill>
                <a:srgbClr val="575F6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408129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날짜 개체 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2EF422-6799-4543-9129-69758A77C2D3}" type="datetimeFigureOut">
              <a:rPr lang="ko-KR" altLang="en-US" smtClean="0">
                <a:solidFill>
                  <a:srgbClr val="575F6D"/>
                </a:solidFill>
              </a:rPr>
              <a:pPr/>
              <a:t>2018-03-29</a:t>
            </a:fld>
            <a:endParaRPr lang="ko-KR" altLang="en-US">
              <a:solidFill>
                <a:srgbClr val="575F6D"/>
              </a:solidFill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srgbClr val="575F6D"/>
              </a:solidFill>
            </a:endParaRPr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FC04F2-410B-478E-B5E8-05AEE79BCA15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216460650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캡션 있는 콘텐츠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직선 연결선 9"/>
          <p:cNvSpPr>
            <a:spLocks noChangeShapeType="1"/>
          </p:cNvSpPr>
          <p:nvPr/>
        </p:nvSpPr>
        <p:spPr bwMode="auto">
          <a:xfrm>
            <a:off x="10247842" y="0"/>
            <a:ext cx="0" cy="7561263"/>
          </a:xfrm>
          <a:prstGeom prst="line">
            <a:avLst/>
          </a:prstGeom>
          <a:noFill/>
          <a:ln w="38100" cap="flat" cmpd="sng" algn="ctr">
            <a:solidFill>
              <a:schemeClr val="accent1">
                <a:tint val="60000"/>
                <a:alpha val="93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849" tIns="51925" rIns="103849" bIns="51925" anchor="t" compatLnSpc="1"/>
          <a:lstStyle/>
          <a:p>
            <a:pPr defTabSz="1038462" fontAlgn="auto">
              <a:spcBef>
                <a:spcPts val="0"/>
              </a:spcBef>
              <a:spcAft>
                <a:spcPts val="0"/>
              </a:spcAft>
            </a:pPr>
            <a:endParaRPr kumimoji="0" lang="en-US" sz="2100" dirty="0">
              <a:solidFill>
                <a:prstClr val="black"/>
              </a:solidFill>
              <a:latin typeface="Century Schoolbook"/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 rot="5400000">
            <a:off x="4154233" y="3513297"/>
            <a:ext cx="6956362" cy="534670"/>
          </a:xfrm>
        </p:spPr>
        <p:txBody>
          <a:bodyPr anchor="b"/>
          <a:lstStyle>
            <a:lvl1pPr algn="l">
              <a:buNone/>
              <a:defRPr sz="2300" b="1" cap="small" baseline="0"/>
            </a:lvl1pPr>
          </a:lstStyle>
          <a:p>
            <a:r>
              <a:rPr kumimoji="0" lang="ko-KR" altLang="en-US" smtClean="0"/>
              <a:t>마스터 제목 스타일 편집</a:t>
            </a:r>
            <a:endParaRPr kumimoji="0" 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2"/>
          </p:nvPr>
        </p:nvSpPr>
        <p:spPr>
          <a:xfrm>
            <a:off x="7966583" y="302450"/>
            <a:ext cx="1785798" cy="5494518"/>
          </a:xfrm>
        </p:spPr>
        <p:txBody>
          <a:bodyPr/>
          <a:lstStyle>
            <a:lvl1pPr marL="0" indent="0">
              <a:spcBef>
                <a:spcPts val="456"/>
              </a:spcBef>
              <a:spcAft>
                <a:spcPts val="1141"/>
              </a:spcAft>
              <a:buNone/>
              <a:defRPr sz="1400"/>
            </a:lvl1pPr>
            <a:lvl2pPr>
              <a:buNone/>
              <a:defRPr sz="1400"/>
            </a:lvl2pPr>
            <a:lvl3pPr>
              <a:buNone/>
              <a:defRPr sz="11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 eaLnBrk="1" latinLnBrk="0" hangingPunct="1"/>
            <a:r>
              <a:rPr kumimoji="0" lang="ko-KR" altLang="en-US" smtClean="0"/>
              <a:t>마스터 텍스트 스타일을 편집합니다</a:t>
            </a:r>
          </a:p>
        </p:txBody>
      </p:sp>
      <p:sp>
        <p:nvSpPr>
          <p:cNvPr id="8" name="직선 연결선 7"/>
          <p:cNvSpPr>
            <a:spLocks noChangeShapeType="1"/>
          </p:cNvSpPr>
          <p:nvPr/>
        </p:nvSpPr>
        <p:spPr bwMode="auto">
          <a:xfrm>
            <a:off x="7307157" y="0"/>
            <a:ext cx="0" cy="7561263"/>
          </a:xfrm>
          <a:prstGeom prst="line">
            <a:avLst/>
          </a:prstGeom>
          <a:noFill/>
          <a:ln w="38100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849" tIns="51925" rIns="103849" bIns="51925" anchor="t" compatLnSpc="1"/>
          <a:lstStyle/>
          <a:p>
            <a:pPr defTabSz="1038462" fontAlgn="auto">
              <a:spcBef>
                <a:spcPts val="0"/>
              </a:spcBef>
              <a:spcAft>
                <a:spcPts val="0"/>
              </a:spcAft>
            </a:pPr>
            <a:endParaRPr kumimoji="0" lang="en-US" sz="2100" dirty="0">
              <a:solidFill>
                <a:prstClr val="black"/>
              </a:solidFill>
              <a:latin typeface="Century Schoolbook"/>
            </a:endParaRPr>
          </a:p>
        </p:txBody>
      </p:sp>
      <p:sp>
        <p:nvSpPr>
          <p:cNvPr id="9" name="직선 연결선 8"/>
          <p:cNvSpPr>
            <a:spLocks noChangeShapeType="1"/>
          </p:cNvSpPr>
          <p:nvPr/>
        </p:nvSpPr>
        <p:spPr bwMode="auto">
          <a:xfrm>
            <a:off x="7241546" y="0"/>
            <a:ext cx="0" cy="7561263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849" tIns="51925" rIns="103849" bIns="51925" anchor="t" compatLnSpc="1"/>
          <a:lstStyle/>
          <a:p>
            <a:pPr defTabSz="1038462" fontAlgn="auto">
              <a:spcBef>
                <a:spcPts val="0"/>
              </a:spcBef>
              <a:spcAft>
                <a:spcPts val="0"/>
              </a:spcAft>
            </a:pPr>
            <a:endParaRPr kumimoji="0" lang="en-US" sz="2100" dirty="0">
              <a:solidFill>
                <a:prstClr val="black"/>
              </a:solidFill>
              <a:latin typeface="Century Schoolbook"/>
            </a:endParaRPr>
          </a:p>
        </p:txBody>
      </p:sp>
      <p:sp>
        <p:nvSpPr>
          <p:cNvPr id="11" name="직선 연결선 10"/>
          <p:cNvSpPr>
            <a:spLocks noChangeShapeType="1"/>
          </p:cNvSpPr>
          <p:nvPr/>
        </p:nvSpPr>
        <p:spPr bwMode="auto">
          <a:xfrm>
            <a:off x="10515177" y="0"/>
            <a:ext cx="0" cy="7561263"/>
          </a:xfrm>
          <a:prstGeom prst="line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849" tIns="51925" rIns="103849" bIns="51925" anchor="t" compatLnSpc="1"/>
          <a:lstStyle/>
          <a:p>
            <a:pPr defTabSz="1038462" fontAlgn="auto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black"/>
              </a:solidFill>
              <a:latin typeface="Century Schoolbook"/>
            </a:endParaRPr>
          </a:p>
        </p:txBody>
      </p:sp>
      <p:sp>
        <p:nvSpPr>
          <p:cNvPr id="12" name="직사각형 11"/>
          <p:cNvSpPr/>
          <p:nvPr/>
        </p:nvSpPr>
        <p:spPr bwMode="auto">
          <a:xfrm>
            <a:off x="10336953" y="0"/>
            <a:ext cx="356447" cy="7561263"/>
          </a:xfrm>
          <a:prstGeom prst="rect">
            <a:avLst/>
          </a:prstGeom>
          <a:solidFill>
            <a:schemeClr val="accent1">
              <a:tint val="60000"/>
              <a:alpha val="87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849" tIns="51925" rIns="103849" bIns="51925" anchor="ctr"/>
          <a:lstStyle/>
          <a:p>
            <a:pPr algn="ctr" defTabSz="1038462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white"/>
              </a:solidFill>
            </a:endParaRPr>
          </a:p>
        </p:txBody>
      </p:sp>
      <p:sp>
        <p:nvSpPr>
          <p:cNvPr id="13" name="직선 연결선 12"/>
          <p:cNvSpPr>
            <a:spLocks noChangeShapeType="1"/>
          </p:cNvSpPr>
          <p:nvPr/>
        </p:nvSpPr>
        <p:spPr bwMode="auto">
          <a:xfrm>
            <a:off x="10426065" y="0"/>
            <a:ext cx="0" cy="7561263"/>
          </a:xfrm>
          <a:prstGeom prst="lin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849" tIns="51925" rIns="103849" bIns="51925" anchor="t" compatLnSpc="1"/>
          <a:lstStyle/>
          <a:p>
            <a:pPr defTabSz="1038462" fontAlgn="auto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black"/>
              </a:solidFill>
              <a:latin typeface="Century Schoolbook"/>
            </a:endParaRPr>
          </a:p>
        </p:txBody>
      </p:sp>
      <p:sp>
        <p:nvSpPr>
          <p:cNvPr id="14" name="타원 13"/>
          <p:cNvSpPr/>
          <p:nvPr/>
        </p:nvSpPr>
        <p:spPr>
          <a:xfrm>
            <a:off x="9538513" y="6301058"/>
            <a:ext cx="641604" cy="604901"/>
          </a:xfrm>
          <a:prstGeom prst="ellipse">
            <a:avLst/>
          </a:prstGeom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849" tIns="51925" rIns="103849" bIns="51925" anchor="ctr"/>
          <a:lstStyle/>
          <a:p>
            <a:pPr algn="ctr" defTabSz="1038462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 dirty="0">
              <a:solidFill>
                <a:prstClr val="white"/>
              </a:solidFill>
            </a:endParaRPr>
          </a:p>
        </p:txBody>
      </p:sp>
      <p:sp>
        <p:nvSpPr>
          <p:cNvPr id="18" name="내용 개체 틀 17"/>
          <p:cNvSpPr>
            <a:spLocks noGrp="1"/>
          </p:cNvSpPr>
          <p:nvPr>
            <p:ph sz="quarter" idx="1"/>
          </p:nvPr>
        </p:nvSpPr>
        <p:spPr>
          <a:xfrm>
            <a:off x="356448" y="302454"/>
            <a:ext cx="6594263" cy="6976525"/>
          </a:xfrm>
        </p:spPr>
        <p:txBody>
          <a:bodyPr/>
          <a:lstStyle/>
          <a:p>
            <a:pPr lvl="0" eaLnBrk="1" latinLnBrk="0" hangingPunct="1"/>
            <a:r>
              <a:rPr lang="ko-KR" altLang="en-US" smtClean="0"/>
              <a:t>마스터 텍스트 스타일을 편집합니다</a:t>
            </a:r>
          </a:p>
          <a:p>
            <a:pPr lvl="1" eaLnBrk="1" latinLnBrk="0" hangingPunct="1"/>
            <a:r>
              <a:rPr lang="ko-KR" altLang="en-US" smtClean="0"/>
              <a:t>둘째 수준</a:t>
            </a:r>
          </a:p>
          <a:p>
            <a:pPr lvl="2" eaLnBrk="1" latinLnBrk="0" hangingPunct="1"/>
            <a:r>
              <a:rPr lang="ko-KR" altLang="en-US" smtClean="0"/>
              <a:t>셋째 수준</a:t>
            </a:r>
          </a:p>
          <a:p>
            <a:pPr lvl="3" eaLnBrk="1" latinLnBrk="0" hangingPunct="1"/>
            <a:r>
              <a:rPr lang="ko-KR" altLang="en-US" smtClean="0"/>
              <a:t>넷째 수준</a:t>
            </a:r>
          </a:p>
          <a:p>
            <a:pPr lvl="4" eaLnBrk="1" latinLnBrk="0" hangingPunct="1"/>
            <a:r>
              <a:rPr lang="ko-KR" altLang="en-US" smtClean="0"/>
              <a:t>다섯째 수준</a:t>
            </a:r>
            <a:endParaRPr kumimoji="0" lang="en-US"/>
          </a:p>
        </p:txBody>
      </p:sp>
      <p:sp>
        <p:nvSpPr>
          <p:cNvPr id="21" name="날짜 개체 틀 20"/>
          <p:cNvSpPr>
            <a:spLocks noGrp="1"/>
          </p:cNvSpPr>
          <p:nvPr>
            <p:ph type="dt" sz="half" idx="14"/>
          </p:nvPr>
        </p:nvSpPr>
        <p:spPr/>
        <p:txBody>
          <a:bodyPr rtlCol="0"/>
          <a:lstStyle/>
          <a:p>
            <a:fld id="{582EF422-6799-4543-9129-69758A77C2D3}" type="datetimeFigureOut">
              <a:rPr lang="ko-KR" altLang="en-US" smtClean="0">
                <a:solidFill>
                  <a:srgbClr val="575F6D"/>
                </a:solidFill>
              </a:rPr>
              <a:pPr/>
              <a:t>2018-03-29</a:t>
            </a:fld>
            <a:endParaRPr lang="ko-KR" altLang="en-US">
              <a:solidFill>
                <a:srgbClr val="575F6D"/>
              </a:solidFill>
            </a:endParaRPr>
          </a:p>
        </p:txBody>
      </p:sp>
      <p:sp>
        <p:nvSpPr>
          <p:cNvPr id="22" name="슬라이드 번호 개체 틀 21"/>
          <p:cNvSpPr>
            <a:spLocks noGrp="1"/>
          </p:cNvSpPr>
          <p:nvPr>
            <p:ph type="sldNum" sz="quarter" idx="15"/>
          </p:nvPr>
        </p:nvSpPr>
        <p:spPr/>
        <p:txBody>
          <a:bodyPr rtlCol="0"/>
          <a:lstStyle/>
          <a:p>
            <a:fld id="{0FFC04F2-410B-478E-B5E8-05AEE79BCA15}" type="slidenum">
              <a:rPr lang="ko-KR" altLang="en-US" smtClean="0"/>
              <a:pPr/>
              <a:t>‹#›</a:t>
            </a:fld>
            <a:endParaRPr lang="ko-KR" altLang="en-US"/>
          </a:p>
        </p:txBody>
      </p:sp>
      <p:sp>
        <p:nvSpPr>
          <p:cNvPr id="23" name="바닥글 개체 틀 22"/>
          <p:cNvSpPr>
            <a:spLocks noGrp="1"/>
          </p:cNvSpPr>
          <p:nvPr>
            <p:ph type="ftr" sz="quarter" idx="16"/>
          </p:nvPr>
        </p:nvSpPr>
        <p:spPr/>
        <p:txBody>
          <a:bodyPr rtlCol="0"/>
          <a:lstStyle/>
          <a:p>
            <a:endParaRPr lang="ko-KR" altLang="en-US">
              <a:solidFill>
                <a:srgbClr val="575F6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91836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직선 연결선 8"/>
          <p:cNvSpPr>
            <a:spLocks noChangeShapeType="1"/>
          </p:cNvSpPr>
          <p:nvPr/>
        </p:nvSpPr>
        <p:spPr bwMode="auto">
          <a:xfrm>
            <a:off x="10247842" y="0"/>
            <a:ext cx="0" cy="7561263"/>
          </a:xfrm>
          <a:prstGeom prst="line">
            <a:avLst/>
          </a:prstGeom>
          <a:noFill/>
          <a:ln w="38100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849" tIns="51925" rIns="103849" bIns="51925" anchor="t" compatLnSpc="1"/>
          <a:lstStyle/>
          <a:p>
            <a:pPr defTabSz="1038462" fontAlgn="auto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black"/>
              </a:solidFill>
              <a:latin typeface="Century Schoolbook"/>
            </a:endParaRPr>
          </a:p>
        </p:txBody>
      </p:sp>
      <p:sp>
        <p:nvSpPr>
          <p:cNvPr id="13" name="타원 12"/>
          <p:cNvSpPr/>
          <p:nvPr/>
        </p:nvSpPr>
        <p:spPr>
          <a:xfrm>
            <a:off x="9538513" y="6301058"/>
            <a:ext cx="641604" cy="604901"/>
          </a:xfrm>
          <a:prstGeom prst="ellipse">
            <a:avLst/>
          </a:prstGeom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849" tIns="51925" rIns="103849" bIns="51925" anchor="ctr"/>
          <a:lstStyle/>
          <a:p>
            <a:pPr algn="ctr" defTabSz="1038462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 dirty="0">
              <a:solidFill>
                <a:prstClr val="white"/>
              </a:solidFill>
            </a:endParaRPr>
          </a:p>
        </p:txBody>
      </p:sp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 rot="5400000">
            <a:off x="4128836" y="3513297"/>
            <a:ext cx="6956362" cy="534670"/>
          </a:xfrm>
        </p:spPr>
        <p:txBody>
          <a:bodyPr anchor="b"/>
          <a:lstStyle>
            <a:lvl1pPr algn="l">
              <a:buNone/>
              <a:defRPr sz="2300" b="1"/>
            </a:lvl1pPr>
          </a:lstStyle>
          <a:p>
            <a:r>
              <a:rPr kumimoji="0" lang="ko-KR" altLang="en-US" smtClean="0"/>
              <a:t>마스터 제목 스타일 편집</a:t>
            </a:r>
            <a:endParaRPr kumimoji="0" 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0" y="0"/>
            <a:ext cx="7218045" cy="7561263"/>
          </a:xfrm>
          <a:solidFill>
            <a:schemeClr val="bg2"/>
          </a:solidFill>
          <a:ln w="1270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/>
          <a:lstStyle>
            <a:lvl1pPr marL="0" indent="0">
              <a:buNone/>
              <a:defRPr sz="3700"/>
            </a:lvl1pPr>
          </a:lstStyle>
          <a:p>
            <a:pPr algn="ctr" eaLnBrk="1" latinLnBrk="0" hangingPunct="1">
              <a:buFontTx/>
              <a:buNone/>
            </a:pPr>
            <a:r>
              <a:rPr kumimoji="0" lang="ko-KR" altLang="en-US" smtClean="0"/>
              <a:t>그림을 추가하려면 아이콘을 클릭하십시오</a:t>
            </a:r>
            <a:endParaRPr kumimoji="0" lang="en-US" dirty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7912225" y="291953"/>
            <a:ext cx="1782233" cy="5464273"/>
          </a:xfrm>
        </p:spPr>
        <p:txBody>
          <a:bodyPr rot="0" spcFirstLastPara="0" vertOverflow="overflow" horzOverflow="overflow" vert="horz" wrap="square" lIns="103849" tIns="51925" rIns="103849" bIns="51925" numCol="1" spcCol="311540" rtlCol="0" fromWordArt="0" anchor="t" anchorCtr="0" forceAA="0" compatLnSpc="1">
            <a:normAutofit/>
          </a:bodyPr>
          <a:lstStyle>
            <a:lvl1pPr marL="0" indent="0">
              <a:spcBef>
                <a:spcPts val="114"/>
              </a:spcBef>
              <a:spcAft>
                <a:spcPts val="456"/>
              </a:spcAft>
              <a:buFontTx/>
              <a:buNone/>
              <a:defRPr sz="1400"/>
            </a:lvl1pPr>
            <a:lvl2pPr>
              <a:defRPr sz="1400"/>
            </a:lvl2pPr>
            <a:lvl3pPr>
              <a:defRPr sz="1100"/>
            </a:lvl3pPr>
            <a:lvl4pPr>
              <a:defRPr sz="1000"/>
            </a:lvl4pPr>
            <a:lvl5pPr>
              <a:defRPr sz="1000"/>
            </a:lvl5pPr>
          </a:lstStyle>
          <a:p>
            <a:pPr lvl="0" eaLnBrk="1" latinLnBrk="0" hangingPunct="1"/>
            <a:r>
              <a:rPr kumimoji="0" lang="ko-KR" altLang="en-US" smtClean="0"/>
              <a:t>마스터 텍스트 스타일을 편집합니다</a:t>
            </a:r>
          </a:p>
        </p:txBody>
      </p:sp>
      <p:sp>
        <p:nvSpPr>
          <p:cNvPr id="10" name="직선 연결선 9"/>
          <p:cNvSpPr>
            <a:spLocks noChangeShapeType="1"/>
          </p:cNvSpPr>
          <p:nvPr/>
        </p:nvSpPr>
        <p:spPr bwMode="auto">
          <a:xfrm>
            <a:off x="10515177" y="0"/>
            <a:ext cx="0" cy="7561263"/>
          </a:xfrm>
          <a:prstGeom prst="lin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849" tIns="51925" rIns="103849" bIns="51925" anchor="t" compatLnSpc="1"/>
          <a:lstStyle/>
          <a:p>
            <a:pPr defTabSz="1038462" fontAlgn="auto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black"/>
              </a:solidFill>
              <a:latin typeface="Century Schoolbook"/>
            </a:endParaRPr>
          </a:p>
        </p:txBody>
      </p:sp>
      <p:sp>
        <p:nvSpPr>
          <p:cNvPr id="11" name="직사각형 10"/>
          <p:cNvSpPr/>
          <p:nvPr/>
        </p:nvSpPr>
        <p:spPr bwMode="auto">
          <a:xfrm>
            <a:off x="10336953" y="0"/>
            <a:ext cx="356447" cy="7561263"/>
          </a:xfrm>
          <a:prstGeom prst="rect">
            <a:avLst/>
          </a:prstGeom>
          <a:solidFill>
            <a:schemeClr val="accent1">
              <a:tint val="60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849" tIns="51925" rIns="103849" bIns="51925" anchor="ctr"/>
          <a:lstStyle/>
          <a:p>
            <a:pPr algn="ctr" defTabSz="1038462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white"/>
              </a:solidFill>
            </a:endParaRPr>
          </a:p>
        </p:txBody>
      </p:sp>
      <p:sp>
        <p:nvSpPr>
          <p:cNvPr id="12" name="직선 연결선 11"/>
          <p:cNvSpPr>
            <a:spLocks noChangeShapeType="1"/>
          </p:cNvSpPr>
          <p:nvPr/>
        </p:nvSpPr>
        <p:spPr bwMode="auto">
          <a:xfrm>
            <a:off x="10426065" y="0"/>
            <a:ext cx="0" cy="7561263"/>
          </a:xfrm>
          <a:prstGeom prst="lin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849" tIns="51925" rIns="103849" bIns="51925" anchor="t" compatLnSpc="1"/>
          <a:lstStyle/>
          <a:p>
            <a:pPr defTabSz="1038462" fontAlgn="auto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black"/>
              </a:solidFill>
              <a:latin typeface="Century Schoolbook"/>
            </a:endParaRPr>
          </a:p>
        </p:txBody>
      </p:sp>
      <p:sp>
        <p:nvSpPr>
          <p:cNvPr id="19" name="직선 연결선 18"/>
          <p:cNvSpPr>
            <a:spLocks noChangeShapeType="1"/>
          </p:cNvSpPr>
          <p:nvPr/>
        </p:nvSpPr>
        <p:spPr bwMode="auto">
          <a:xfrm>
            <a:off x="7307157" y="0"/>
            <a:ext cx="0" cy="7561263"/>
          </a:xfrm>
          <a:prstGeom prst="line">
            <a:avLst/>
          </a:prstGeom>
          <a:noFill/>
          <a:ln w="38100" cap="flat" cmpd="sng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849" tIns="51925" rIns="103849" bIns="51925" anchor="t" compatLnSpc="1"/>
          <a:lstStyle/>
          <a:p>
            <a:pPr defTabSz="1038462" fontAlgn="auto">
              <a:spcBef>
                <a:spcPts val="0"/>
              </a:spcBef>
              <a:spcAft>
                <a:spcPts val="0"/>
              </a:spcAft>
            </a:pPr>
            <a:endParaRPr kumimoji="0" lang="en-US" sz="2100" dirty="0">
              <a:solidFill>
                <a:prstClr val="black"/>
              </a:solidFill>
              <a:latin typeface="Century Schoolbook"/>
            </a:endParaRPr>
          </a:p>
        </p:txBody>
      </p:sp>
      <p:sp>
        <p:nvSpPr>
          <p:cNvPr id="20" name="직선 연결선 19"/>
          <p:cNvSpPr>
            <a:spLocks noChangeShapeType="1"/>
          </p:cNvSpPr>
          <p:nvPr/>
        </p:nvSpPr>
        <p:spPr bwMode="auto">
          <a:xfrm>
            <a:off x="7241546" y="0"/>
            <a:ext cx="0" cy="7561263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849" tIns="51925" rIns="103849" bIns="51925" anchor="t" compatLnSpc="1"/>
          <a:lstStyle/>
          <a:p>
            <a:pPr defTabSz="1038462" fontAlgn="auto">
              <a:spcBef>
                <a:spcPts val="0"/>
              </a:spcBef>
              <a:spcAft>
                <a:spcPts val="0"/>
              </a:spcAft>
            </a:pPr>
            <a:endParaRPr kumimoji="0" lang="en-US" sz="2100" dirty="0">
              <a:solidFill>
                <a:prstClr val="black"/>
              </a:solidFill>
              <a:latin typeface="Century Schoolbook"/>
            </a:endParaRPr>
          </a:p>
        </p:txBody>
      </p:sp>
      <p:sp>
        <p:nvSpPr>
          <p:cNvPr id="17" name="날짜 개체 틀 16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fld id="{582EF422-6799-4543-9129-69758A77C2D3}" type="datetimeFigureOut">
              <a:rPr lang="ko-KR" altLang="en-US" smtClean="0">
                <a:solidFill>
                  <a:srgbClr val="575F6D"/>
                </a:solidFill>
              </a:rPr>
              <a:pPr/>
              <a:t>2018-03-29</a:t>
            </a:fld>
            <a:endParaRPr lang="ko-KR" altLang="en-US">
              <a:solidFill>
                <a:srgbClr val="575F6D"/>
              </a:solidFill>
            </a:endParaRPr>
          </a:p>
        </p:txBody>
      </p:sp>
      <p:sp>
        <p:nvSpPr>
          <p:cNvPr id="18" name="슬라이드 번호 개체 틀 17"/>
          <p:cNvSpPr>
            <a:spLocks noGrp="1"/>
          </p:cNvSpPr>
          <p:nvPr>
            <p:ph type="sldNum" sz="quarter" idx="11"/>
          </p:nvPr>
        </p:nvSpPr>
        <p:spPr/>
        <p:txBody>
          <a:bodyPr rtlCol="0"/>
          <a:lstStyle/>
          <a:p>
            <a:fld id="{0FFC04F2-410B-478E-B5E8-05AEE79BCA15}" type="slidenum">
              <a:rPr lang="ko-KR" altLang="en-US" smtClean="0"/>
              <a:pPr/>
              <a:t>‹#›</a:t>
            </a:fld>
            <a:endParaRPr lang="ko-KR" altLang="en-US"/>
          </a:p>
        </p:txBody>
      </p:sp>
      <p:sp>
        <p:nvSpPr>
          <p:cNvPr id="21" name="바닥글 개체 틀 20"/>
          <p:cNvSpPr>
            <a:spLocks noGrp="1"/>
          </p:cNvSpPr>
          <p:nvPr>
            <p:ph type="ftr" sz="quarter" idx="12"/>
          </p:nvPr>
        </p:nvSpPr>
        <p:spPr/>
        <p:txBody>
          <a:bodyPr rtlCol="0"/>
          <a:lstStyle/>
          <a:p>
            <a:endParaRPr lang="ko-KR" altLang="en-US">
              <a:solidFill>
                <a:srgbClr val="575F6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00790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534670" y="302802"/>
            <a:ext cx="9624060" cy="1260211"/>
          </a:xfrm>
          <a:prstGeom prst="rect">
            <a:avLst/>
          </a:prstGeom>
        </p:spPr>
        <p:txBody>
          <a:bodyPr lIns="99133" tIns="49583" rIns="99133" bIns="49583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ko-KR" altLang="en-US" smtClean="0"/>
              <a:t>마스터 제목 스타일 편집</a:t>
            </a:r>
            <a:endParaRPr kumimoji="0" 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ko-KR" altLang="en-US" smtClean="0"/>
              <a:t>마스터 텍스트 스타일을 편집합니다</a:t>
            </a:r>
          </a:p>
          <a:p>
            <a:pPr lvl="1" eaLnBrk="1" latinLnBrk="0" hangingPunct="1"/>
            <a:r>
              <a:rPr lang="ko-KR" altLang="en-US" smtClean="0"/>
              <a:t>둘째 수준</a:t>
            </a:r>
          </a:p>
          <a:p>
            <a:pPr lvl="2" eaLnBrk="1" latinLnBrk="0" hangingPunct="1"/>
            <a:r>
              <a:rPr lang="ko-KR" altLang="en-US" smtClean="0"/>
              <a:t>셋째 수준</a:t>
            </a:r>
          </a:p>
          <a:p>
            <a:pPr lvl="3" eaLnBrk="1" latinLnBrk="0" hangingPunct="1"/>
            <a:r>
              <a:rPr lang="ko-KR" altLang="en-US" smtClean="0"/>
              <a:t>넷째 수준</a:t>
            </a:r>
          </a:p>
          <a:p>
            <a:pPr lvl="4" eaLnBrk="1" latinLnBrk="0" hangingPunct="1"/>
            <a:r>
              <a:rPr lang="ko-KR" altLang="en-US" smtClean="0"/>
              <a:t>다섯째 수준</a:t>
            </a:r>
            <a:endParaRPr kumimoji="0" 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2EF422-6799-4543-9129-69758A77C2D3}" type="datetimeFigureOut">
              <a:rPr lang="ko-KR" altLang="en-US" smtClean="0">
                <a:solidFill>
                  <a:srgbClr val="575F6D"/>
                </a:solidFill>
              </a:rPr>
              <a:pPr/>
              <a:t>2018-03-29</a:t>
            </a:fld>
            <a:endParaRPr lang="ko-KR" altLang="en-US">
              <a:solidFill>
                <a:srgbClr val="575F6D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srgbClr val="575F6D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FC04F2-410B-478E-B5E8-05AEE79BCA15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410815635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752716" y="302807"/>
            <a:ext cx="1960457" cy="6451578"/>
          </a:xfrm>
        </p:spPr>
        <p:txBody>
          <a:bodyPr vert="eaVert"/>
          <a:lstStyle/>
          <a:p>
            <a:r>
              <a:rPr kumimoji="0" lang="ko-KR" altLang="en-US" smtClean="0"/>
              <a:t>마스터 제목 스타일 편집</a:t>
            </a:r>
            <a:endParaRPr kumimoji="0" 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534670" y="302807"/>
            <a:ext cx="7039822" cy="6451578"/>
          </a:xfrm>
        </p:spPr>
        <p:txBody>
          <a:bodyPr vert="eaVert"/>
          <a:lstStyle/>
          <a:p>
            <a:pPr lvl="0" eaLnBrk="1" latinLnBrk="0" hangingPunct="1"/>
            <a:r>
              <a:rPr lang="ko-KR" altLang="en-US" smtClean="0"/>
              <a:t>마스터 텍스트 스타일을 편집합니다</a:t>
            </a:r>
          </a:p>
          <a:p>
            <a:pPr lvl="1" eaLnBrk="1" latinLnBrk="0" hangingPunct="1"/>
            <a:r>
              <a:rPr lang="ko-KR" altLang="en-US" smtClean="0"/>
              <a:t>둘째 수준</a:t>
            </a:r>
          </a:p>
          <a:p>
            <a:pPr lvl="2" eaLnBrk="1" latinLnBrk="0" hangingPunct="1"/>
            <a:r>
              <a:rPr lang="ko-KR" altLang="en-US" smtClean="0"/>
              <a:t>셋째 수준</a:t>
            </a:r>
          </a:p>
          <a:p>
            <a:pPr lvl="3" eaLnBrk="1" latinLnBrk="0" hangingPunct="1"/>
            <a:r>
              <a:rPr lang="ko-KR" altLang="en-US" smtClean="0"/>
              <a:t>넷째 수준</a:t>
            </a:r>
          </a:p>
          <a:p>
            <a:pPr lvl="4" eaLnBrk="1" latinLnBrk="0" hangingPunct="1"/>
            <a:r>
              <a:rPr lang="ko-KR" altLang="en-US" smtClean="0"/>
              <a:t>다섯째 수준</a:t>
            </a:r>
            <a:endParaRPr kumimoji="0" 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2EF422-6799-4543-9129-69758A77C2D3}" type="datetimeFigureOut">
              <a:rPr lang="ko-KR" altLang="en-US" smtClean="0">
                <a:solidFill>
                  <a:srgbClr val="575F6D"/>
                </a:solidFill>
              </a:rPr>
              <a:pPr/>
              <a:t>2018-03-29</a:t>
            </a:fld>
            <a:endParaRPr lang="ko-KR" altLang="en-US">
              <a:solidFill>
                <a:srgbClr val="575F6D"/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srgbClr val="575F6D"/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FC04F2-410B-478E-B5E8-05AEE79BCA15}" type="slidenum">
              <a:rPr lang="ko-KR" altLang="en-US" smtClean="0"/>
              <a:pPr/>
              <a:t>‹#›</a:t>
            </a:fld>
            <a:endParaRPr lang="ko-KR" altLang="en-US"/>
          </a:p>
        </p:txBody>
      </p:sp>
    </p:spTree>
    <p:extLst>
      <p:ext uri="{BB962C8B-B14F-4D97-AF65-F5344CB8AC3E}">
        <p14:creationId xmlns:p14="http://schemas.microsoft.com/office/powerpoint/2010/main" val="95766287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00"/>
          <p:cNvGrpSpPr>
            <a:grpSpLocks/>
          </p:cNvGrpSpPr>
          <p:nvPr/>
        </p:nvGrpSpPr>
        <p:grpSpPr bwMode="auto">
          <a:xfrm>
            <a:off x="6000185" y="204785"/>
            <a:ext cx="4427737" cy="3843642"/>
            <a:chOff x="3232" y="117"/>
            <a:chExt cx="2385" cy="2196"/>
          </a:xfrm>
        </p:grpSpPr>
        <p:sp>
          <p:nvSpPr>
            <p:cNvPr id="5" name="AutoShape 101"/>
            <p:cNvSpPr>
              <a:spLocks noChangeArrowheads="1"/>
            </p:cNvSpPr>
            <p:nvPr userDrawn="1"/>
          </p:nvSpPr>
          <p:spPr bwMode="gray">
            <a:xfrm>
              <a:off x="4440" y="117"/>
              <a:ext cx="571" cy="539"/>
            </a:xfrm>
            <a:prstGeom prst="roundRect">
              <a:avLst>
                <a:gd name="adj" fmla="val 16667"/>
              </a:avLst>
            </a:prstGeom>
            <a:solidFill>
              <a:srgbClr val="FFFFFF">
                <a:alpha val="20000"/>
              </a:srgbClr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r" latinLnBrk="0">
                <a:defRPr/>
              </a:pPr>
              <a:endParaRPr kumimoji="0" lang="ko-KR" altLang="en-US" sz="18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6" name="AutoShape 102"/>
            <p:cNvSpPr>
              <a:spLocks noChangeArrowheads="1"/>
            </p:cNvSpPr>
            <p:nvPr userDrawn="1"/>
          </p:nvSpPr>
          <p:spPr bwMode="gray">
            <a:xfrm>
              <a:off x="5045" y="117"/>
              <a:ext cx="572" cy="539"/>
            </a:xfrm>
            <a:prstGeom prst="roundRect">
              <a:avLst>
                <a:gd name="adj" fmla="val 16667"/>
              </a:avLst>
            </a:prstGeom>
            <a:solidFill>
              <a:srgbClr val="FFFFFF">
                <a:alpha val="39999"/>
              </a:srgbClr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r" latinLnBrk="0">
                <a:defRPr/>
              </a:pPr>
              <a:endParaRPr kumimoji="0" lang="ko-KR" altLang="en-US" sz="18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7" name="AutoShape 103"/>
            <p:cNvSpPr>
              <a:spLocks noChangeArrowheads="1"/>
            </p:cNvSpPr>
            <p:nvPr userDrawn="1"/>
          </p:nvSpPr>
          <p:spPr bwMode="gray">
            <a:xfrm>
              <a:off x="4440" y="683"/>
              <a:ext cx="571" cy="539"/>
            </a:xfrm>
            <a:prstGeom prst="roundRect">
              <a:avLst>
                <a:gd name="adj" fmla="val 16667"/>
              </a:avLst>
            </a:prstGeom>
            <a:solidFill>
              <a:srgbClr val="FFFFFF">
                <a:alpha val="39999"/>
              </a:srgbClr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r" latinLnBrk="0">
                <a:defRPr/>
              </a:pPr>
              <a:endParaRPr kumimoji="0" lang="ko-KR" altLang="en-US" sz="18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8" name="AutoShape 104"/>
            <p:cNvSpPr>
              <a:spLocks noChangeArrowheads="1"/>
            </p:cNvSpPr>
            <p:nvPr userDrawn="1"/>
          </p:nvSpPr>
          <p:spPr bwMode="gray">
            <a:xfrm>
              <a:off x="3232" y="117"/>
              <a:ext cx="572" cy="539"/>
            </a:xfrm>
            <a:prstGeom prst="roundRect">
              <a:avLst>
                <a:gd name="adj" fmla="val 16667"/>
              </a:avLst>
            </a:prstGeom>
            <a:solidFill>
              <a:srgbClr val="FFFFFF">
                <a:alpha val="20000"/>
              </a:srgbClr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r" latinLnBrk="0">
                <a:defRPr/>
              </a:pPr>
              <a:endParaRPr kumimoji="0" lang="ko-KR" altLang="en-US" sz="18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9" name="AutoShape 105"/>
            <p:cNvSpPr>
              <a:spLocks noChangeArrowheads="1"/>
            </p:cNvSpPr>
            <p:nvPr userDrawn="1"/>
          </p:nvSpPr>
          <p:spPr bwMode="gray">
            <a:xfrm>
              <a:off x="3839" y="683"/>
              <a:ext cx="571" cy="538"/>
            </a:xfrm>
            <a:prstGeom prst="roundRect">
              <a:avLst>
                <a:gd name="adj" fmla="val 16667"/>
              </a:avLst>
            </a:prstGeom>
            <a:solidFill>
              <a:srgbClr val="FFFFFF">
                <a:alpha val="20000"/>
              </a:srgbClr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r" latinLnBrk="0">
                <a:defRPr/>
              </a:pPr>
              <a:endParaRPr kumimoji="0" lang="ko-KR" altLang="en-US" sz="18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0" name="AutoShape 106"/>
            <p:cNvSpPr>
              <a:spLocks noChangeArrowheads="1"/>
            </p:cNvSpPr>
            <p:nvPr userDrawn="1"/>
          </p:nvSpPr>
          <p:spPr bwMode="gray">
            <a:xfrm>
              <a:off x="5045" y="1201"/>
              <a:ext cx="572" cy="538"/>
            </a:xfrm>
            <a:prstGeom prst="roundRect">
              <a:avLst>
                <a:gd name="adj" fmla="val 16667"/>
              </a:avLst>
            </a:prstGeom>
            <a:solidFill>
              <a:srgbClr val="FFFFFF">
                <a:alpha val="20000"/>
              </a:srgbClr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r" latinLnBrk="0">
                <a:defRPr/>
              </a:pPr>
              <a:endParaRPr kumimoji="0" lang="ko-KR" altLang="en-US" sz="18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1" name="AutoShape 107"/>
            <p:cNvSpPr>
              <a:spLocks noChangeArrowheads="1"/>
            </p:cNvSpPr>
            <p:nvPr userDrawn="1"/>
          </p:nvSpPr>
          <p:spPr bwMode="gray">
            <a:xfrm>
              <a:off x="5045" y="1774"/>
              <a:ext cx="572" cy="539"/>
            </a:xfrm>
            <a:prstGeom prst="roundRect">
              <a:avLst>
                <a:gd name="adj" fmla="val 16667"/>
              </a:avLst>
            </a:prstGeom>
            <a:solidFill>
              <a:srgbClr val="FFFFFF">
                <a:alpha val="20000"/>
              </a:srgbClr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r" latinLnBrk="0">
                <a:defRPr/>
              </a:pPr>
              <a:endParaRPr kumimoji="0" lang="ko-KR" altLang="en-US" sz="1800">
                <a:solidFill>
                  <a:srgbClr val="000000"/>
                </a:solidFill>
                <a:latin typeface="Arial" pitchFamily="34" charset="0"/>
              </a:endParaRPr>
            </a:p>
          </p:txBody>
        </p:sp>
      </p:grp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280331" y="1291738"/>
            <a:ext cx="6690181" cy="1620771"/>
          </a:xfrm>
        </p:spPr>
        <p:txBody>
          <a:bodyPr/>
          <a:lstStyle>
            <a:lvl1pPr>
              <a:defRPr sz="5700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en-US" altLang="ko-KR" dirty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282191" y="2845998"/>
            <a:ext cx="6714226" cy="551343"/>
          </a:xfrm>
        </p:spPr>
        <p:txBody>
          <a:bodyPr/>
          <a:lstStyle>
            <a:lvl1pPr marL="0" indent="0">
              <a:buFontTx/>
              <a:buNone/>
              <a:defRPr sz="2500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smtClean="0"/>
              <a:t>마스터 부제목 스타일 편집</a:t>
            </a:r>
            <a:endParaRPr lang="en-US" altLang="ko-KR"/>
          </a:p>
        </p:txBody>
      </p:sp>
      <p:sp>
        <p:nvSpPr>
          <p:cNvPr id="12" name="Rectangle 32"/>
          <p:cNvSpPr>
            <a:spLocks noGrp="1" noChangeArrowheads="1"/>
          </p:cNvSpPr>
          <p:nvPr>
            <p:ph type="dt" sz="half" idx="10"/>
          </p:nvPr>
        </p:nvSpPr>
        <p:spPr>
          <a:xfrm>
            <a:off x="1043353" y="7148194"/>
            <a:ext cx="1706118" cy="262544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13" name="Rectangle 33"/>
          <p:cNvSpPr>
            <a:spLocks noGrp="1" noChangeArrowheads="1"/>
          </p:cNvSpPr>
          <p:nvPr>
            <p:ph type="ftr" sz="quarter" idx="11"/>
          </p:nvPr>
        </p:nvSpPr>
        <p:spPr>
          <a:xfrm>
            <a:off x="4151143" y="7148194"/>
            <a:ext cx="1503759" cy="262544"/>
          </a:xfrm>
          <a:ln algn="ctr"/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US" altLang="ko-KR"/>
          </a:p>
        </p:txBody>
      </p:sp>
      <p:sp>
        <p:nvSpPr>
          <p:cNvPr id="14" name="Rectangle 34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122529" y="7148194"/>
            <a:ext cx="865126" cy="262544"/>
          </a:xfrm>
        </p:spPr>
        <p:txBody>
          <a:bodyPr/>
          <a:lstStyle>
            <a:lvl1pPr algn="l"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F8712DF5-045B-4E04-B586-E6F37F567611}" type="slidenum">
              <a:rPr lang="en-US" altLang="ko-KR"/>
              <a:pPr>
                <a:defRPr/>
              </a:pPr>
              <a:t>‹#›</a:t>
            </a:fld>
            <a:endParaRPr lang="en-US" altLang="ko-KR"/>
          </a:p>
        </p:txBody>
      </p:sp>
    </p:spTree>
    <p:extLst>
      <p:ext uri="{BB962C8B-B14F-4D97-AF65-F5344CB8AC3E}">
        <p14:creationId xmlns:p14="http://schemas.microsoft.com/office/powerpoint/2010/main" val="228153205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맑은 고딕" pitchFamily="50" charset="-127"/>
                <a:ea typeface="맑은 고딕" pitchFamily="50" charset="-127"/>
              </a:defRPr>
            </a:lvl1pPr>
            <a:lvl2pPr>
              <a:defRPr>
                <a:latin typeface="맑은 고딕" pitchFamily="50" charset="-127"/>
                <a:ea typeface="맑은 고딕" pitchFamily="50" charset="-127"/>
              </a:defRPr>
            </a:lvl2pPr>
            <a:lvl3pPr>
              <a:defRPr>
                <a:latin typeface="맑은 고딕" pitchFamily="50" charset="-127"/>
                <a:ea typeface="맑은 고딕" pitchFamily="50" charset="-127"/>
              </a:defRPr>
            </a:lvl3pPr>
            <a:lvl4pPr>
              <a:defRPr>
                <a:latin typeface="맑은 고딕" pitchFamily="50" charset="-127"/>
                <a:ea typeface="맑은 고딕" pitchFamily="50" charset="-127"/>
              </a:defRPr>
            </a:lvl4pPr>
            <a:lvl5pPr>
              <a:defRPr>
                <a:latin typeface="맑은 고딕" pitchFamily="50" charset="-127"/>
                <a:ea typeface="맑은 고딕" pitchFamily="50" charset="-127"/>
              </a:defRPr>
            </a:lvl5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5" name="슬라이드 번호 개체 틀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5FE0E8-92AC-4CB8-A989-361912488710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8711496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구역 머리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44705" y="4858834"/>
            <a:ext cx="9089390" cy="1501751"/>
          </a:xfrm>
        </p:spPr>
        <p:txBody>
          <a:bodyPr anchor="t"/>
          <a:lstStyle>
            <a:lvl1pPr algn="l">
              <a:defRPr sz="4600" b="1" cap="all"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844705" y="3204786"/>
            <a:ext cx="9089390" cy="1654026"/>
          </a:xfrm>
        </p:spPr>
        <p:txBody>
          <a:bodyPr anchor="b"/>
          <a:lstStyle>
            <a:lvl1pPr marL="0" indent="0">
              <a:buNone/>
              <a:defRPr sz="2300">
                <a:latin typeface="맑은 고딕" pitchFamily="50" charset="-127"/>
                <a:ea typeface="맑은 고딕" pitchFamily="50" charset="-127"/>
              </a:defRPr>
            </a:lvl1pPr>
            <a:lvl2pPr marL="519692" indent="0">
              <a:buNone/>
              <a:defRPr sz="2100"/>
            </a:lvl2pPr>
            <a:lvl3pPr marL="1039381" indent="0">
              <a:buNone/>
              <a:defRPr sz="1800"/>
            </a:lvl3pPr>
            <a:lvl4pPr marL="1559073" indent="0">
              <a:buNone/>
              <a:defRPr sz="1600"/>
            </a:lvl4pPr>
            <a:lvl5pPr marL="2078764" indent="0">
              <a:buNone/>
              <a:defRPr sz="1600"/>
            </a:lvl5pPr>
            <a:lvl6pPr marL="2598452" indent="0">
              <a:buNone/>
              <a:defRPr sz="1600"/>
            </a:lvl6pPr>
            <a:lvl7pPr marL="3118143" indent="0">
              <a:buNone/>
              <a:defRPr sz="1600"/>
            </a:lvl7pPr>
            <a:lvl8pPr marL="3637835" indent="0">
              <a:buNone/>
              <a:defRPr sz="1600"/>
            </a:lvl8pPr>
            <a:lvl9pPr marL="4157524" indent="0">
              <a:buNone/>
              <a:defRPr sz="16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325DF7F-3308-4B84-98ED-56B3F9E9CFCF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7406235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콘텐츠 2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내용 개체 틀 2"/>
          <p:cNvSpPr>
            <a:spLocks noGrp="1"/>
          </p:cNvSpPr>
          <p:nvPr>
            <p:ph sz="half" idx="1"/>
          </p:nvPr>
        </p:nvSpPr>
        <p:spPr>
          <a:xfrm>
            <a:off x="534670" y="1764295"/>
            <a:ext cx="4722918" cy="4990084"/>
          </a:xfrm>
        </p:spPr>
        <p:txBody>
          <a:bodyPr/>
          <a:lstStyle>
            <a:lvl1pPr>
              <a:defRPr sz="3200">
                <a:latin typeface="맑은 고딕" pitchFamily="50" charset="-127"/>
                <a:ea typeface="맑은 고딕" pitchFamily="50" charset="-127"/>
              </a:defRPr>
            </a:lvl1pPr>
            <a:lvl2pPr>
              <a:defRPr sz="2700">
                <a:latin typeface="맑은 고딕" pitchFamily="50" charset="-127"/>
                <a:ea typeface="맑은 고딕" pitchFamily="50" charset="-127"/>
              </a:defRPr>
            </a:lvl2pPr>
            <a:lvl3pPr>
              <a:defRPr sz="2300">
                <a:latin typeface="맑은 고딕" pitchFamily="50" charset="-127"/>
                <a:ea typeface="맑은 고딕" pitchFamily="50" charset="-127"/>
              </a:defRPr>
            </a:lvl3pPr>
            <a:lvl4pPr>
              <a:defRPr sz="2100">
                <a:latin typeface="맑은 고딕" pitchFamily="50" charset="-127"/>
                <a:ea typeface="맑은 고딕" pitchFamily="50" charset="-127"/>
              </a:defRPr>
            </a:lvl4pPr>
            <a:lvl5pPr>
              <a:defRPr sz="2100">
                <a:latin typeface="맑은 고딕" pitchFamily="50" charset="-127"/>
                <a:ea typeface="맑은 고딕" pitchFamily="50" charset="-127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435812" y="1764295"/>
            <a:ext cx="4722918" cy="4990084"/>
          </a:xfrm>
        </p:spPr>
        <p:txBody>
          <a:bodyPr/>
          <a:lstStyle>
            <a:lvl1pPr>
              <a:defRPr sz="3200">
                <a:latin typeface="맑은 고딕" pitchFamily="50" charset="-127"/>
                <a:ea typeface="맑은 고딕" pitchFamily="50" charset="-127"/>
              </a:defRPr>
            </a:lvl1pPr>
            <a:lvl2pPr>
              <a:defRPr sz="2700">
                <a:latin typeface="맑은 고딕" pitchFamily="50" charset="-127"/>
                <a:ea typeface="맑은 고딕" pitchFamily="50" charset="-127"/>
              </a:defRPr>
            </a:lvl2pPr>
            <a:lvl3pPr>
              <a:defRPr sz="2300">
                <a:latin typeface="맑은 고딕" pitchFamily="50" charset="-127"/>
                <a:ea typeface="맑은 고딕" pitchFamily="50" charset="-127"/>
              </a:defRPr>
            </a:lvl3pPr>
            <a:lvl4pPr>
              <a:defRPr sz="2100">
                <a:latin typeface="맑은 고딕" pitchFamily="50" charset="-127"/>
                <a:ea typeface="맑은 고딕" pitchFamily="50" charset="-127"/>
              </a:defRPr>
            </a:lvl4pPr>
            <a:lvl5pPr>
              <a:defRPr sz="2100">
                <a:latin typeface="맑은 고딕" pitchFamily="50" charset="-127"/>
                <a:ea typeface="맑은 고딕" pitchFamily="50" charset="-127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927FDE0-6FF6-4329-9646-95664CDBE6F8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610147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비교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534670" y="302802"/>
            <a:ext cx="9624060" cy="1260211"/>
          </a:xfrm>
        </p:spPr>
        <p:txBody>
          <a:bodyPr/>
          <a:lstStyle>
            <a:lvl1pPr>
              <a:defRPr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534670" y="1692533"/>
            <a:ext cx="4724775" cy="705367"/>
          </a:xfrm>
        </p:spPr>
        <p:txBody>
          <a:bodyPr anchor="b"/>
          <a:lstStyle>
            <a:lvl1pPr marL="0" indent="0">
              <a:buNone/>
              <a:defRPr sz="2700" b="1">
                <a:latin typeface="맑은 고딕" pitchFamily="50" charset="-127"/>
                <a:ea typeface="맑은 고딕" pitchFamily="50" charset="-127"/>
              </a:defRPr>
            </a:lvl1pPr>
            <a:lvl2pPr marL="519692" indent="0">
              <a:buNone/>
              <a:defRPr sz="2300" b="1"/>
            </a:lvl2pPr>
            <a:lvl3pPr marL="1039381" indent="0">
              <a:buNone/>
              <a:defRPr sz="2100" b="1"/>
            </a:lvl3pPr>
            <a:lvl4pPr marL="1559073" indent="0">
              <a:buNone/>
              <a:defRPr sz="1800" b="1"/>
            </a:lvl4pPr>
            <a:lvl5pPr marL="2078764" indent="0">
              <a:buNone/>
              <a:defRPr sz="1800" b="1"/>
            </a:lvl5pPr>
            <a:lvl6pPr marL="2598452" indent="0">
              <a:buNone/>
              <a:defRPr sz="1800" b="1"/>
            </a:lvl6pPr>
            <a:lvl7pPr marL="3118143" indent="0">
              <a:buNone/>
              <a:defRPr sz="1800" b="1"/>
            </a:lvl7pPr>
            <a:lvl8pPr marL="3637835" indent="0">
              <a:buNone/>
              <a:defRPr sz="1800" b="1"/>
            </a:lvl8pPr>
            <a:lvl9pPr marL="4157524" indent="0">
              <a:buNone/>
              <a:defRPr sz="18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4" name="내용 개체 틀 3"/>
          <p:cNvSpPr>
            <a:spLocks noGrp="1"/>
          </p:cNvSpPr>
          <p:nvPr>
            <p:ph sz="half" idx="2"/>
          </p:nvPr>
        </p:nvSpPr>
        <p:spPr>
          <a:xfrm>
            <a:off x="534670" y="2397901"/>
            <a:ext cx="4724775" cy="4356478"/>
          </a:xfrm>
        </p:spPr>
        <p:txBody>
          <a:bodyPr/>
          <a:lstStyle>
            <a:lvl1pPr>
              <a:defRPr sz="2700">
                <a:latin typeface="맑은 고딕" pitchFamily="50" charset="-127"/>
                <a:ea typeface="맑은 고딕" pitchFamily="50" charset="-127"/>
              </a:defRPr>
            </a:lvl1pPr>
            <a:lvl2pPr>
              <a:defRPr sz="2300">
                <a:latin typeface="맑은 고딕" pitchFamily="50" charset="-127"/>
                <a:ea typeface="맑은 고딕" pitchFamily="50" charset="-127"/>
              </a:defRPr>
            </a:lvl2pPr>
            <a:lvl3pPr>
              <a:defRPr sz="2100">
                <a:latin typeface="맑은 고딕" pitchFamily="50" charset="-127"/>
                <a:ea typeface="맑은 고딕" pitchFamily="50" charset="-127"/>
              </a:defRPr>
            </a:lvl3pPr>
            <a:lvl4pPr>
              <a:defRPr sz="1800">
                <a:latin typeface="맑은 고딕" pitchFamily="50" charset="-127"/>
                <a:ea typeface="맑은 고딕" pitchFamily="50" charset="-127"/>
              </a:defRPr>
            </a:lvl4pPr>
            <a:lvl5pPr>
              <a:defRPr sz="1800">
                <a:latin typeface="맑은 고딕" pitchFamily="50" charset="-127"/>
                <a:ea typeface="맑은 고딕" pitchFamily="50" charset="-127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텍스트 개체 틀 4"/>
          <p:cNvSpPr>
            <a:spLocks noGrp="1"/>
          </p:cNvSpPr>
          <p:nvPr>
            <p:ph type="body" sz="quarter" idx="3"/>
          </p:nvPr>
        </p:nvSpPr>
        <p:spPr>
          <a:xfrm>
            <a:off x="5432123" y="1692533"/>
            <a:ext cx="4726631" cy="705367"/>
          </a:xfrm>
        </p:spPr>
        <p:txBody>
          <a:bodyPr anchor="b"/>
          <a:lstStyle>
            <a:lvl1pPr marL="0" indent="0">
              <a:buNone/>
              <a:defRPr sz="2700" b="1">
                <a:latin typeface="맑은 고딕" pitchFamily="50" charset="-127"/>
                <a:ea typeface="맑은 고딕" pitchFamily="50" charset="-127"/>
              </a:defRPr>
            </a:lvl1pPr>
            <a:lvl2pPr marL="519692" indent="0">
              <a:buNone/>
              <a:defRPr sz="2300" b="1"/>
            </a:lvl2pPr>
            <a:lvl3pPr marL="1039381" indent="0">
              <a:buNone/>
              <a:defRPr sz="2100" b="1"/>
            </a:lvl3pPr>
            <a:lvl4pPr marL="1559073" indent="0">
              <a:buNone/>
              <a:defRPr sz="1800" b="1"/>
            </a:lvl4pPr>
            <a:lvl5pPr marL="2078764" indent="0">
              <a:buNone/>
              <a:defRPr sz="1800" b="1"/>
            </a:lvl5pPr>
            <a:lvl6pPr marL="2598452" indent="0">
              <a:buNone/>
              <a:defRPr sz="1800" b="1"/>
            </a:lvl6pPr>
            <a:lvl7pPr marL="3118143" indent="0">
              <a:buNone/>
              <a:defRPr sz="1800" b="1"/>
            </a:lvl7pPr>
            <a:lvl8pPr marL="3637835" indent="0">
              <a:buNone/>
              <a:defRPr sz="1800" b="1"/>
            </a:lvl8pPr>
            <a:lvl9pPr marL="4157524" indent="0">
              <a:buNone/>
              <a:defRPr sz="1800" b="1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432123" y="2397901"/>
            <a:ext cx="4726631" cy="4356478"/>
          </a:xfrm>
        </p:spPr>
        <p:txBody>
          <a:bodyPr/>
          <a:lstStyle>
            <a:lvl1pPr>
              <a:defRPr sz="2700">
                <a:latin typeface="맑은 고딕" pitchFamily="50" charset="-127"/>
                <a:ea typeface="맑은 고딕" pitchFamily="50" charset="-127"/>
              </a:defRPr>
            </a:lvl1pPr>
            <a:lvl2pPr>
              <a:defRPr sz="2300">
                <a:latin typeface="맑은 고딕" pitchFamily="50" charset="-127"/>
                <a:ea typeface="맑은 고딕" pitchFamily="50" charset="-127"/>
              </a:defRPr>
            </a:lvl2pPr>
            <a:lvl3pPr>
              <a:defRPr sz="2100">
                <a:latin typeface="맑은 고딕" pitchFamily="50" charset="-127"/>
                <a:ea typeface="맑은 고딕" pitchFamily="50" charset="-127"/>
              </a:defRPr>
            </a:lvl3pPr>
            <a:lvl4pPr>
              <a:defRPr sz="1800">
                <a:latin typeface="맑은 고딕" pitchFamily="50" charset="-127"/>
                <a:ea typeface="맑은 고딕" pitchFamily="50" charset="-127"/>
              </a:defRPr>
            </a:lvl4pPr>
            <a:lvl5pPr>
              <a:defRPr sz="1800">
                <a:latin typeface="맑은 고딕" pitchFamily="50" charset="-127"/>
                <a:ea typeface="맑은 고딕" pitchFamily="50" charset="-127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EBB22DE-D420-4820-AD9E-E705A0CD8991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006704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제목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맑은 고딕" pitchFamily="50" charset="-127"/>
                <a:ea typeface="맑은 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2F8985D-000B-4676-87BF-4CA7FE690AE3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165569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47C6E7E-40CE-403C-B708-4B5E04022571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123586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534694" y="301050"/>
            <a:ext cx="3518055" cy="1281214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180822" y="301051"/>
            <a:ext cx="5977908" cy="6453328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300"/>
            </a:lvl4pPr>
            <a:lvl5pPr>
              <a:defRPr sz="2300"/>
            </a:lvl5pPr>
            <a:lvl6pPr>
              <a:defRPr sz="2300"/>
            </a:lvl6pPr>
            <a:lvl7pPr>
              <a:defRPr sz="2300"/>
            </a:lvl7pPr>
            <a:lvl8pPr>
              <a:defRPr sz="2300"/>
            </a:lvl8pPr>
            <a:lvl9pPr>
              <a:defRPr sz="23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534694" y="1582265"/>
            <a:ext cx="3518055" cy="5172114"/>
          </a:xfrm>
        </p:spPr>
        <p:txBody>
          <a:bodyPr/>
          <a:lstStyle>
            <a:lvl1pPr marL="0" indent="0">
              <a:buNone/>
              <a:defRPr sz="1600"/>
            </a:lvl1pPr>
            <a:lvl2pPr marL="519692" indent="0">
              <a:buNone/>
              <a:defRPr sz="1400"/>
            </a:lvl2pPr>
            <a:lvl3pPr marL="1039381" indent="0">
              <a:buNone/>
              <a:defRPr sz="1100"/>
            </a:lvl3pPr>
            <a:lvl4pPr marL="1559073" indent="0">
              <a:buNone/>
              <a:defRPr sz="1000"/>
            </a:lvl4pPr>
            <a:lvl5pPr marL="2078764" indent="0">
              <a:buNone/>
              <a:defRPr sz="1000"/>
            </a:lvl5pPr>
            <a:lvl6pPr marL="2598452" indent="0">
              <a:buNone/>
              <a:defRPr sz="1000"/>
            </a:lvl6pPr>
            <a:lvl7pPr marL="3118143" indent="0">
              <a:buNone/>
              <a:defRPr sz="1000"/>
            </a:lvl7pPr>
            <a:lvl8pPr marL="3637835" indent="0">
              <a:buNone/>
              <a:defRPr sz="1000"/>
            </a:lvl8pPr>
            <a:lvl9pPr marL="4157524" indent="0">
              <a:buNone/>
              <a:defRPr sz="1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DA7FB17-2EA4-4566-A325-4B98898B389B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62649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095981" y="5292884"/>
            <a:ext cx="6416040" cy="624855"/>
          </a:xfrm>
        </p:spPr>
        <p:txBody>
          <a:bodyPr anchor="b"/>
          <a:lstStyle>
            <a:lvl1pPr algn="l">
              <a:defRPr sz="23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2095981" y="675613"/>
            <a:ext cx="6416040" cy="4536758"/>
          </a:xfrm>
        </p:spPr>
        <p:txBody>
          <a:bodyPr/>
          <a:lstStyle>
            <a:lvl1pPr marL="0" indent="0">
              <a:buNone/>
              <a:defRPr sz="3700"/>
            </a:lvl1pPr>
            <a:lvl2pPr marL="519692" indent="0">
              <a:buNone/>
              <a:defRPr sz="3200"/>
            </a:lvl2pPr>
            <a:lvl3pPr marL="1039381" indent="0">
              <a:buNone/>
              <a:defRPr sz="2700"/>
            </a:lvl3pPr>
            <a:lvl4pPr marL="1559073" indent="0">
              <a:buNone/>
              <a:defRPr sz="2300"/>
            </a:lvl4pPr>
            <a:lvl5pPr marL="2078764" indent="0">
              <a:buNone/>
              <a:defRPr sz="2300"/>
            </a:lvl5pPr>
            <a:lvl6pPr marL="2598452" indent="0">
              <a:buNone/>
              <a:defRPr sz="2300"/>
            </a:lvl6pPr>
            <a:lvl7pPr marL="3118143" indent="0">
              <a:buNone/>
              <a:defRPr sz="2300"/>
            </a:lvl7pPr>
            <a:lvl8pPr marL="3637835" indent="0">
              <a:buNone/>
              <a:defRPr sz="2300"/>
            </a:lvl8pPr>
            <a:lvl9pPr marL="4157524" indent="0">
              <a:buNone/>
              <a:defRPr sz="2300"/>
            </a:lvl9pPr>
          </a:lstStyle>
          <a:p>
            <a:pPr lvl="0"/>
            <a:r>
              <a:rPr lang="ko-KR" altLang="en-US" noProof="0" smtClean="0"/>
              <a:t>그림을 추가하려면 아이콘을 클릭하십시오</a:t>
            </a:r>
            <a:endParaRPr lang="ko-KR" altLang="en-US" noProof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2095981" y="5917739"/>
            <a:ext cx="6416040" cy="887398"/>
          </a:xfrm>
        </p:spPr>
        <p:txBody>
          <a:bodyPr/>
          <a:lstStyle>
            <a:lvl1pPr marL="0" indent="0">
              <a:buNone/>
              <a:defRPr sz="1600"/>
            </a:lvl1pPr>
            <a:lvl2pPr marL="519692" indent="0">
              <a:buNone/>
              <a:defRPr sz="1400"/>
            </a:lvl2pPr>
            <a:lvl3pPr marL="1039381" indent="0">
              <a:buNone/>
              <a:defRPr sz="1100"/>
            </a:lvl3pPr>
            <a:lvl4pPr marL="1559073" indent="0">
              <a:buNone/>
              <a:defRPr sz="1000"/>
            </a:lvl4pPr>
            <a:lvl5pPr marL="2078764" indent="0">
              <a:buNone/>
              <a:defRPr sz="1000"/>
            </a:lvl5pPr>
            <a:lvl6pPr marL="2598452" indent="0">
              <a:buNone/>
              <a:defRPr sz="1000"/>
            </a:lvl6pPr>
            <a:lvl7pPr marL="3118143" indent="0">
              <a:buNone/>
              <a:defRPr sz="1000"/>
            </a:lvl7pPr>
            <a:lvl8pPr marL="3637835" indent="0">
              <a:buNone/>
              <a:defRPr sz="1000"/>
            </a:lvl8pPr>
            <a:lvl9pPr marL="4157524" indent="0">
              <a:buNone/>
              <a:defRPr sz="1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75DB83-DE6F-4AAB-8B68-DEFBD1ACCBB5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606739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제목 및 세로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727EC38-FE90-4E78-89DB-4B96477B74E1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904060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세로 제목 및 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세로 제목 1"/>
          <p:cNvSpPr>
            <a:spLocks noGrp="1"/>
          </p:cNvSpPr>
          <p:nvPr>
            <p:ph type="title" orient="vert"/>
          </p:nvPr>
        </p:nvSpPr>
        <p:spPr>
          <a:xfrm>
            <a:off x="7769424" y="302807"/>
            <a:ext cx="2411584" cy="6451578"/>
          </a:xfrm>
        </p:spPr>
        <p:txBody>
          <a:bodyPr vert="eaVert"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세로 텍스트 개체 틀 2"/>
          <p:cNvSpPr>
            <a:spLocks noGrp="1"/>
          </p:cNvSpPr>
          <p:nvPr>
            <p:ph type="body" orient="vert" idx="1"/>
          </p:nvPr>
        </p:nvSpPr>
        <p:spPr>
          <a:xfrm>
            <a:off x="534671" y="302807"/>
            <a:ext cx="7056531" cy="6451578"/>
          </a:xfrm>
        </p:spPr>
        <p:txBody>
          <a:bodyPr vert="eaVert"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991ED6-36C9-4220-B0B2-017D649B2C19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679142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내용 개체 틀 1"/>
          <p:cNvSpPr>
            <a:spLocks noGrp="1"/>
          </p:cNvSpPr>
          <p:nvPr>
            <p:ph/>
          </p:nvPr>
        </p:nvSpPr>
        <p:spPr>
          <a:xfrm>
            <a:off x="802005" y="672112"/>
            <a:ext cx="9089390" cy="6049010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590951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제목 및 차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02005" y="672112"/>
            <a:ext cx="9089390" cy="1260211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차트 개체 틀 2"/>
          <p:cNvSpPr>
            <a:spLocks noGrp="1"/>
          </p:cNvSpPr>
          <p:nvPr>
            <p:ph type="chart" idx="1"/>
          </p:nvPr>
        </p:nvSpPr>
        <p:spPr>
          <a:xfrm>
            <a:off x="802005" y="2184365"/>
            <a:ext cx="9089390" cy="4536758"/>
          </a:xfrm>
        </p:spPr>
        <p:txBody>
          <a:bodyPr/>
          <a:lstStyle/>
          <a:p>
            <a:pPr lvl="0"/>
            <a:endParaRPr lang="ko-KR" altLang="en-US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>
                <a:solidFill>
                  <a:srgbClr val="000000"/>
                </a:solidFill>
              </a:rPr>
              <a:t>(</a:t>
            </a:r>
            <a:r>
              <a:rPr lang="ko-KR" altLang="en-US">
                <a:solidFill>
                  <a:srgbClr val="000000"/>
                </a:solidFill>
              </a:rPr>
              <a:t>社</a:t>
            </a:r>
            <a:r>
              <a:rPr lang="en-US" altLang="ko-KR">
                <a:solidFill>
                  <a:srgbClr val="000000"/>
                </a:solidFill>
              </a:rPr>
              <a:t>)</a:t>
            </a:r>
            <a:r>
              <a:rPr lang="ko-KR" altLang="en-US">
                <a:solidFill>
                  <a:srgbClr val="000000"/>
                </a:solidFill>
              </a:rPr>
              <a:t>韓國種畜改良協會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078454-E95A-4589-B067-F145BDDD0B10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097685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제목 및 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802005" y="672112"/>
            <a:ext cx="9089390" cy="1260211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표 개체 틀 2"/>
          <p:cNvSpPr>
            <a:spLocks noGrp="1"/>
          </p:cNvSpPr>
          <p:nvPr>
            <p:ph type="tbl" idx="1"/>
          </p:nvPr>
        </p:nvSpPr>
        <p:spPr>
          <a:xfrm>
            <a:off x="802005" y="2184365"/>
            <a:ext cx="9089390" cy="4536758"/>
          </a:xfrm>
        </p:spPr>
        <p:txBody>
          <a:bodyPr/>
          <a:lstStyle/>
          <a:p>
            <a:pPr lvl="0"/>
            <a:endParaRPr lang="ko-KR" altLang="en-US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>
                <a:solidFill>
                  <a:srgbClr val="000000"/>
                </a:solidFill>
              </a:rPr>
              <a:t>(</a:t>
            </a:r>
            <a:r>
              <a:rPr lang="ko-KR" altLang="en-US">
                <a:solidFill>
                  <a:srgbClr val="000000"/>
                </a:solidFill>
              </a:rPr>
              <a:t>社</a:t>
            </a:r>
            <a:r>
              <a:rPr lang="en-US" altLang="ko-KR">
                <a:solidFill>
                  <a:srgbClr val="000000"/>
                </a:solidFill>
              </a:rPr>
              <a:t>)</a:t>
            </a:r>
            <a:r>
              <a:rPr lang="ko-KR" altLang="en-US">
                <a:solidFill>
                  <a:srgbClr val="000000"/>
                </a:solidFill>
              </a:rPr>
              <a:t>韓國種畜改良協會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9836E2-C35C-48CE-8D92-78902578C192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522745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>
  <p:cSld name="제목 및 내용 4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 sz="quarter"/>
          </p:nvPr>
        </p:nvSpPr>
        <p:spPr>
          <a:xfrm>
            <a:off x="802005" y="672112"/>
            <a:ext cx="9089390" cy="1260211"/>
          </a:xfrm>
        </p:spPr>
        <p:txBody>
          <a:bodyPr/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sz="quarter" idx="1"/>
          </p:nvPr>
        </p:nvSpPr>
        <p:spPr>
          <a:xfrm>
            <a:off x="802005" y="2184367"/>
            <a:ext cx="4455583" cy="218436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내용 개체 틀 3"/>
          <p:cNvSpPr>
            <a:spLocks noGrp="1"/>
          </p:cNvSpPr>
          <p:nvPr>
            <p:ph sz="quarter" idx="2"/>
          </p:nvPr>
        </p:nvSpPr>
        <p:spPr>
          <a:xfrm>
            <a:off x="5435813" y="2184367"/>
            <a:ext cx="4455583" cy="218436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5" name="내용 개체 틀 4"/>
          <p:cNvSpPr>
            <a:spLocks noGrp="1"/>
          </p:cNvSpPr>
          <p:nvPr>
            <p:ph sz="quarter" idx="3"/>
          </p:nvPr>
        </p:nvSpPr>
        <p:spPr>
          <a:xfrm>
            <a:off x="802005" y="4536761"/>
            <a:ext cx="4455583" cy="218436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6" name="내용 개체 틀 5"/>
          <p:cNvSpPr>
            <a:spLocks noGrp="1"/>
          </p:cNvSpPr>
          <p:nvPr>
            <p:ph sz="quarter" idx="4"/>
          </p:nvPr>
        </p:nvSpPr>
        <p:spPr>
          <a:xfrm>
            <a:off x="5435813" y="4536761"/>
            <a:ext cx="4455583" cy="2184365"/>
          </a:xfrm>
        </p:spPr>
        <p:txBody>
          <a:bodyPr/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ko-KR">
                <a:solidFill>
                  <a:srgbClr val="000000"/>
                </a:solidFill>
              </a:rPr>
              <a:t>(</a:t>
            </a:r>
            <a:r>
              <a:rPr lang="ko-KR" altLang="en-US">
                <a:solidFill>
                  <a:srgbClr val="000000"/>
                </a:solidFill>
              </a:rPr>
              <a:t>社</a:t>
            </a:r>
            <a:r>
              <a:rPr lang="en-US" altLang="ko-KR">
                <a:solidFill>
                  <a:srgbClr val="000000"/>
                </a:solidFill>
              </a:rPr>
              <a:t>)</a:t>
            </a:r>
            <a:r>
              <a:rPr lang="ko-KR" altLang="en-US">
                <a:solidFill>
                  <a:srgbClr val="000000"/>
                </a:solidFill>
              </a:rPr>
              <a:t>韓國種畜改良協會</a:t>
            </a:r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3D68932-F0F9-4A0B-B2FC-6B3F7B9A4EFB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774980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직선 연결선 5"/>
          <p:cNvCxnSpPr/>
          <p:nvPr userDrawn="1"/>
        </p:nvCxnSpPr>
        <p:spPr>
          <a:xfrm>
            <a:off x="426617" y="3786901"/>
            <a:ext cx="9830350" cy="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부제목 2"/>
          <p:cNvSpPr txBox="1">
            <a:spLocks/>
          </p:cNvSpPr>
          <p:nvPr userDrawn="1"/>
        </p:nvSpPr>
        <p:spPr>
          <a:xfrm>
            <a:off x="309277" y="7042284"/>
            <a:ext cx="3747927" cy="503264"/>
          </a:xfrm>
          <a:prstGeom prst="rect">
            <a:avLst/>
          </a:prstGeom>
        </p:spPr>
        <p:txBody>
          <a:bodyPr vert="horz" lIns="103941" tIns="51970" rIns="103941" bIns="51970" rtlCol="0">
            <a:noAutofit/>
          </a:bodyPr>
          <a:lstStyle>
            <a:lvl1pPr marL="0" indent="0" algn="l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50000"/>
              </a:lnSpc>
              <a:spcAft>
                <a:spcPts val="0"/>
              </a:spcAft>
            </a:pPr>
            <a:r>
              <a:rPr kumimoji="0" lang="ko-KR" altLang="en-US" sz="900" spc="-23" dirty="0" smtClean="0">
                <a:solidFill>
                  <a:prstClr val="white">
                    <a:lumMod val="50000"/>
                  </a:prstClr>
                </a:solidFill>
                <a:latin typeface="나눔고딕" pitchFamily="50" charset="-127"/>
                <a:ea typeface="나눔고딕" pitchFamily="50" charset="-127"/>
              </a:rPr>
              <a:t>이 문서는 나눔글꼴로 작성되었습니다</a:t>
            </a:r>
            <a:r>
              <a:rPr kumimoji="0" lang="en-US" altLang="ko-KR" sz="900" spc="-23" dirty="0" smtClean="0">
                <a:solidFill>
                  <a:prstClr val="white">
                    <a:lumMod val="50000"/>
                  </a:prstClr>
                </a:solidFill>
                <a:latin typeface="나눔고딕" pitchFamily="50" charset="-127"/>
                <a:ea typeface="나눔고딕" pitchFamily="50" charset="-127"/>
              </a:rPr>
              <a:t>. </a:t>
            </a:r>
            <a:r>
              <a:rPr kumimoji="0" lang="ko-KR" altLang="en-US" sz="900" u="sng" spc="-23" dirty="0" smtClean="0">
                <a:solidFill>
                  <a:srgbClr val="4495D2"/>
                </a:solidFill>
                <a:latin typeface="나눔고딕" pitchFamily="50" charset="-127"/>
                <a:ea typeface="나눔고딕" pitchFamily="50" charset="-127"/>
                <a:hlinkClick r:id="rId2"/>
              </a:rPr>
              <a:t>설치하기</a:t>
            </a:r>
            <a:endParaRPr kumimoji="0" lang="ko-KR" altLang="en-US" sz="900" u="sng" spc="-23" dirty="0">
              <a:solidFill>
                <a:srgbClr val="4495D2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cxnSp>
        <p:nvCxnSpPr>
          <p:cNvPr id="8" name="직선 연결선 7"/>
          <p:cNvCxnSpPr/>
          <p:nvPr userDrawn="1"/>
        </p:nvCxnSpPr>
        <p:spPr>
          <a:xfrm>
            <a:off x="426617" y="4398189"/>
            <a:ext cx="186244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연결선 8"/>
          <p:cNvCxnSpPr/>
          <p:nvPr userDrawn="1"/>
        </p:nvCxnSpPr>
        <p:spPr>
          <a:xfrm>
            <a:off x="426617" y="4739974"/>
            <a:ext cx="186244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직선 연결선 9"/>
          <p:cNvCxnSpPr/>
          <p:nvPr userDrawn="1"/>
        </p:nvCxnSpPr>
        <p:spPr>
          <a:xfrm>
            <a:off x="426617" y="5084646"/>
            <a:ext cx="186244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 userDrawn="1"/>
        </p:nvCxnSpPr>
        <p:spPr>
          <a:xfrm>
            <a:off x="426617" y="5428406"/>
            <a:ext cx="186244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4506828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내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61FD00-3F21-42CF-9EF5-8F6D81CE3AF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3-29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D217C8-C1B9-4E84-BCEB-D9195FCD88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6" name="직선 연결선 5"/>
          <p:cNvCxnSpPr/>
          <p:nvPr userDrawn="1"/>
        </p:nvCxnSpPr>
        <p:spPr>
          <a:xfrm>
            <a:off x="426617" y="604040"/>
            <a:ext cx="9830350" cy="0"/>
          </a:xfrm>
          <a:prstGeom prst="line">
            <a:avLst/>
          </a:prstGeom>
          <a:ln w="3175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그림 8" descr="jg_a4_02_ci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022578" y="7084281"/>
            <a:ext cx="1367793" cy="277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094258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표지_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직선 연결선 7"/>
          <p:cNvCxnSpPr/>
          <p:nvPr userDrawn="1"/>
        </p:nvCxnSpPr>
        <p:spPr>
          <a:xfrm>
            <a:off x="426617" y="3786901"/>
            <a:ext cx="9830350" cy="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연결선 8"/>
          <p:cNvCxnSpPr/>
          <p:nvPr userDrawn="1"/>
        </p:nvCxnSpPr>
        <p:spPr>
          <a:xfrm>
            <a:off x="426617" y="4398189"/>
            <a:ext cx="186244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직선 연결선 9"/>
          <p:cNvCxnSpPr/>
          <p:nvPr userDrawn="1"/>
        </p:nvCxnSpPr>
        <p:spPr>
          <a:xfrm>
            <a:off x="426617" y="4739974"/>
            <a:ext cx="186244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 userDrawn="1"/>
        </p:nvCxnSpPr>
        <p:spPr>
          <a:xfrm>
            <a:off x="426617" y="5084646"/>
            <a:ext cx="186244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직선 연결선 11"/>
          <p:cNvCxnSpPr/>
          <p:nvPr userDrawn="1"/>
        </p:nvCxnSpPr>
        <p:spPr>
          <a:xfrm>
            <a:off x="426617" y="5428406"/>
            <a:ext cx="186244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텍스트 개체 틀 3"/>
          <p:cNvSpPr>
            <a:spLocks noGrp="1"/>
          </p:cNvSpPr>
          <p:nvPr>
            <p:ph type="body" sz="half" idx="2" hasCustomPrompt="1"/>
          </p:nvPr>
        </p:nvSpPr>
        <p:spPr>
          <a:xfrm>
            <a:off x="364936" y="272046"/>
            <a:ext cx="9751362" cy="204134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6200" b="1" spc="-285" baseline="0">
                <a:solidFill>
                  <a:schemeClr val="accent4">
                    <a:lumMod val="50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  <a:lvl2pPr marL="519692" indent="0">
              <a:buNone/>
              <a:defRPr sz="1400"/>
            </a:lvl2pPr>
            <a:lvl3pPr marL="1039381" indent="0">
              <a:buNone/>
              <a:defRPr sz="1100"/>
            </a:lvl3pPr>
            <a:lvl4pPr marL="1559073" indent="0">
              <a:buNone/>
              <a:defRPr sz="1000"/>
            </a:lvl4pPr>
            <a:lvl5pPr marL="2078764" indent="0">
              <a:buNone/>
              <a:defRPr sz="1000"/>
            </a:lvl5pPr>
            <a:lvl6pPr marL="2598452" indent="0">
              <a:buNone/>
              <a:defRPr sz="1000"/>
            </a:lvl6pPr>
            <a:lvl7pPr marL="3118143" indent="0">
              <a:buNone/>
              <a:defRPr sz="1000"/>
            </a:lvl7pPr>
            <a:lvl8pPr marL="3637835" indent="0">
              <a:buNone/>
              <a:defRPr sz="1000"/>
            </a:lvl8pPr>
            <a:lvl9pPr marL="4157524" indent="0">
              <a:buNone/>
              <a:defRPr sz="1000"/>
            </a:lvl9pPr>
          </a:lstStyle>
          <a:p>
            <a:pPr lvl="0"/>
            <a:r>
              <a:rPr lang="ko-KR" altLang="en-US" dirty="0" smtClean="0"/>
              <a:t>제목을 입력하세요</a:t>
            </a:r>
            <a:endParaRPr lang="en-US" altLang="ko-KR" dirty="0" smtClean="0"/>
          </a:p>
          <a:p>
            <a:pPr lvl="0"/>
            <a:endParaRPr lang="ko-KR" altLang="en-US" dirty="0" smtClean="0"/>
          </a:p>
        </p:txBody>
      </p:sp>
      <p:sp>
        <p:nvSpPr>
          <p:cNvPr id="21" name="제목 1"/>
          <p:cNvSpPr>
            <a:spLocks noGrp="1"/>
          </p:cNvSpPr>
          <p:nvPr>
            <p:ph type="title"/>
          </p:nvPr>
        </p:nvSpPr>
        <p:spPr>
          <a:xfrm>
            <a:off x="314022" y="4415772"/>
            <a:ext cx="9844712" cy="336085"/>
          </a:xfrm>
        </p:spPr>
        <p:txBody>
          <a:bodyPr anchor="t">
            <a:normAutofit/>
          </a:bodyPr>
          <a:lstStyle>
            <a:lvl1pPr algn="l">
              <a:buFont typeface="Wingdings" pitchFamily="2" charset="2"/>
              <a:buNone/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14" name="부제목 2"/>
          <p:cNvSpPr txBox="1">
            <a:spLocks/>
          </p:cNvSpPr>
          <p:nvPr userDrawn="1"/>
        </p:nvSpPr>
        <p:spPr>
          <a:xfrm>
            <a:off x="309277" y="7042284"/>
            <a:ext cx="3747927" cy="503264"/>
          </a:xfrm>
          <a:prstGeom prst="rect">
            <a:avLst/>
          </a:prstGeom>
        </p:spPr>
        <p:txBody>
          <a:bodyPr vert="horz" lIns="103941" tIns="51970" rIns="103941" bIns="51970" rtlCol="0">
            <a:noAutofit/>
          </a:bodyPr>
          <a:lstStyle>
            <a:lvl1pPr marL="0" indent="0" algn="l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50000"/>
              </a:lnSpc>
              <a:spcAft>
                <a:spcPts val="0"/>
              </a:spcAft>
            </a:pPr>
            <a:r>
              <a:rPr kumimoji="0" lang="ko-KR" altLang="en-US" sz="900" spc="-23" dirty="0" smtClean="0">
                <a:solidFill>
                  <a:prstClr val="white">
                    <a:lumMod val="50000"/>
                  </a:prstClr>
                </a:solidFill>
                <a:latin typeface="나눔고딕" pitchFamily="50" charset="-127"/>
                <a:ea typeface="나눔고딕" pitchFamily="50" charset="-127"/>
              </a:rPr>
              <a:t>이 문서는 나눔글꼴로 작성되었습니다</a:t>
            </a:r>
            <a:r>
              <a:rPr kumimoji="0" lang="en-US" altLang="ko-KR" sz="900" spc="-23" dirty="0" smtClean="0">
                <a:solidFill>
                  <a:prstClr val="white">
                    <a:lumMod val="50000"/>
                  </a:prstClr>
                </a:solidFill>
                <a:latin typeface="나눔고딕" pitchFamily="50" charset="-127"/>
                <a:ea typeface="나눔고딕" pitchFamily="50" charset="-127"/>
              </a:rPr>
              <a:t>. </a:t>
            </a:r>
            <a:r>
              <a:rPr kumimoji="0" lang="ko-KR" altLang="en-US" sz="900" u="sng" spc="-23" dirty="0" smtClean="0">
                <a:solidFill>
                  <a:srgbClr val="4495D2"/>
                </a:solidFill>
                <a:latin typeface="나눔고딕" pitchFamily="50" charset="-127"/>
                <a:ea typeface="나눔고딕" pitchFamily="50" charset="-127"/>
                <a:hlinkClick r:id="rId2"/>
              </a:rPr>
              <a:t>설치하기</a:t>
            </a:r>
            <a:endParaRPr kumimoji="0" lang="ko-KR" altLang="en-US" sz="900" u="sng" spc="-23" dirty="0">
              <a:solidFill>
                <a:srgbClr val="4495D2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3101692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캡션 있는 콘텐츠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534670" y="301050"/>
            <a:ext cx="3518198" cy="1281214"/>
          </a:xfrm>
          <a:prstGeom prst="rect">
            <a:avLst/>
          </a:prstGeom>
        </p:spPr>
        <p:txBody>
          <a:bodyPr lIns="99133" tIns="49583" rIns="99133" bIns="49583" anchor="b"/>
          <a:lstStyle>
            <a:lvl1pPr algn="l">
              <a:defRPr sz="22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>
          <a:xfrm>
            <a:off x="4181397" y="301051"/>
            <a:ext cx="5977336" cy="6453328"/>
          </a:xfrm>
        </p:spPr>
        <p:txBody>
          <a:bodyPr/>
          <a:lstStyle>
            <a:lvl1pPr>
              <a:defRPr sz="3500"/>
            </a:lvl1pPr>
            <a:lvl2pPr>
              <a:defRPr sz="3000"/>
            </a:lvl2pPr>
            <a:lvl3pPr>
              <a:defRPr sz="260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534670" y="1582265"/>
            <a:ext cx="3518198" cy="5172114"/>
          </a:xfrm>
        </p:spPr>
        <p:txBody>
          <a:bodyPr/>
          <a:lstStyle>
            <a:lvl1pPr marL="0" indent="0">
              <a:buNone/>
              <a:defRPr sz="1500"/>
            </a:lvl1pPr>
            <a:lvl2pPr marL="495651" indent="0">
              <a:buNone/>
              <a:defRPr sz="1300"/>
            </a:lvl2pPr>
            <a:lvl3pPr marL="991305" indent="0">
              <a:buNone/>
              <a:defRPr sz="1100"/>
            </a:lvl3pPr>
            <a:lvl4pPr marL="1486957" indent="0">
              <a:buNone/>
              <a:defRPr sz="1000"/>
            </a:lvl4pPr>
            <a:lvl5pPr marL="1982616" indent="0">
              <a:buNone/>
              <a:defRPr sz="1000"/>
            </a:lvl5pPr>
            <a:lvl6pPr marL="2478271" indent="0">
              <a:buNone/>
              <a:defRPr sz="1000"/>
            </a:lvl6pPr>
            <a:lvl7pPr marL="2973917" indent="0">
              <a:buNone/>
              <a:defRPr sz="1000"/>
            </a:lvl7pPr>
            <a:lvl8pPr marL="3469575" indent="0">
              <a:buNone/>
              <a:defRPr sz="1000"/>
            </a:lvl8pPr>
            <a:lvl9pPr marL="3965228" indent="0">
              <a:buNone/>
              <a:defRPr sz="1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내지_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61FD00-3F21-42CF-9EF5-8F6D81CE3AF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3-29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D217C8-C1B9-4E84-BCEB-D9195FCD88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7" name="직선 연결선 6"/>
          <p:cNvCxnSpPr/>
          <p:nvPr userDrawn="1"/>
        </p:nvCxnSpPr>
        <p:spPr>
          <a:xfrm>
            <a:off x="426617" y="604040"/>
            <a:ext cx="9830350" cy="0"/>
          </a:xfrm>
          <a:prstGeom prst="line">
            <a:avLst/>
          </a:prstGeom>
          <a:ln w="3175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제목 1"/>
          <p:cNvSpPr>
            <a:spLocks noGrp="1"/>
          </p:cNvSpPr>
          <p:nvPr>
            <p:ph type="title"/>
          </p:nvPr>
        </p:nvSpPr>
        <p:spPr>
          <a:xfrm>
            <a:off x="430710" y="630105"/>
            <a:ext cx="9817135" cy="932906"/>
          </a:xfrm>
        </p:spPr>
        <p:txBody>
          <a:bodyPr>
            <a:normAutofit/>
          </a:bodyPr>
          <a:lstStyle>
            <a:lvl1pPr algn="l">
              <a:defRPr sz="4600" b="1">
                <a:solidFill>
                  <a:schemeClr val="accent4">
                    <a:lumMod val="50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14" name="내용 개체 틀 2"/>
          <p:cNvSpPr>
            <a:spLocks noGrp="1"/>
          </p:cNvSpPr>
          <p:nvPr>
            <p:ph idx="1" hasCustomPrompt="1"/>
          </p:nvPr>
        </p:nvSpPr>
        <p:spPr>
          <a:xfrm>
            <a:off x="430706" y="1736314"/>
            <a:ext cx="2227792" cy="350057"/>
          </a:xfrm>
        </p:spPr>
        <p:txBody>
          <a:bodyPr>
            <a:normAutofit/>
          </a:bodyPr>
          <a:lstStyle>
            <a:lvl1pPr>
              <a:buFontTx/>
              <a:buNone/>
              <a:defRPr sz="1400" b="1">
                <a:solidFill>
                  <a:srgbClr val="3D3C3E"/>
                </a:solidFill>
              </a:defRPr>
            </a:lvl1pPr>
            <a:lvl2pPr>
              <a:buFontTx/>
              <a:buNone/>
              <a:defRPr sz="1400"/>
            </a:lvl2pPr>
            <a:lvl3pPr>
              <a:buFontTx/>
              <a:buNone/>
              <a:defRPr sz="1400"/>
            </a:lvl3pPr>
            <a:lvl4pPr>
              <a:buFontTx/>
              <a:buNone/>
              <a:defRPr sz="1400"/>
            </a:lvl4pPr>
            <a:lvl5pPr>
              <a:buFontTx/>
              <a:buNone/>
              <a:defRPr sz="1400"/>
            </a:lvl5pPr>
          </a:lstStyle>
          <a:p>
            <a:pPr lvl="0"/>
            <a:r>
              <a:rPr lang="ko-KR" altLang="en-US" smtClean="0"/>
              <a:t>내용제목</a:t>
            </a:r>
          </a:p>
        </p:txBody>
      </p:sp>
      <p:sp>
        <p:nvSpPr>
          <p:cNvPr id="15" name="내용 개체 틀 2"/>
          <p:cNvSpPr>
            <a:spLocks noGrp="1"/>
          </p:cNvSpPr>
          <p:nvPr>
            <p:ph idx="13" hasCustomPrompt="1"/>
          </p:nvPr>
        </p:nvSpPr>
        <p:spPr>
          <a:xfrm>
            <a:off x="2732758" y="1736297"/>
            <a:ext cx="7515084" cy="364060"/>
          </a:xfrm>
        </p:spPr>
        <p:txBody>
          <a:bodyPr>
            <a:normAutofit/>
          </a:bodyPr>
          <a:lstStyle>
            <a:lvl1pPr>
              <a:buNone/>
              <a:defRPr sz="1400" b="1" baseline="0">
                <a:solidFill>
                  <a:srgbClr val="3D3C3E"/>
                </a:solidFill>
                <a:latin typeface="나눔고딕" pitchFamily="50" charset="-127"/>
                <a:ea typeface="나눔고딕" pitchFamily="50" charset="-127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ko-KR" altLang="en-US" smtClean="0"/>
              <a:t>내용을 입력하십시오</a:t>
            </a:r>
            <a:r>
              <a:rPr lang="en-US" altLang="ko-KR" smtClean="0"/>
              <a:t>.</a:t>
            </a:r>
            <a:endParaRPr lang="ko-KR" altLang="en-US" smtClean="0"/>
          </a:p>
        </p:txBody>
      </p:sp>
      <p:pic>
        <p:nvPicPr>
          <p:cNvPr id="16" name="그림 15" descr="jg_a4_02_ci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022578" y="7084281"/>
            <a:ext cx="1367793" cy="277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643389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빈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61FD00-3F21-42CF-9EF5-8F6D81CE3AF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3-29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D217C8-C1B9-4E84-BCEB-D9195FCD88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그림 6" descr="jg_a4_02_ci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022578" y="7084281"/>
            <a:ext cx="1367793" cy="277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54511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802005" y="2348915"/>
            <a:ext cx="9089390" cy="1620771"/>
          </a:xfrm>
        </p:spPr>
        <p:txBody>
          <a:bodyPr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604010" y="4284720"/>
            <a:ext cx="7485380" cy="1932323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  <a:lvl2pPr marL="5196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393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590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787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984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181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37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575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fld id="{8761FD00-3F21-42CF-9EF5-8F6D81CE3AF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3-29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fld id="{97D217C8-C1B9-4E84-BCEB-D9195FCD88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029097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  <a:lvl2pPr>
              <a:defRPr>
                <a:latin typeface="나눔고딕" pitchFamily="50" charset="-127"/>
                <a:ea typeface="나눔고딕" pitchFamily="50" charset="-127"/>
              </a:defRPr>
            </a:lvl2pPr>
            <a:lvl3pPr>
              <a:defRPr>
                <a:latin typeface="나눔고딕" pitchFamily="50" charset="-127"/>
                <a:ea typeface="나눔고딕" pitchFamily="50" charset="-127"/>
              </a:defRPr>
            </a:lvl3pPr>
            <a:lvl4pPr>
              <a:defRPr>
                <a:latin typeface="나눔고딕" pitchFamily="50" charset="-127"/>
                <a:ea typeface="나눔고딕" pitchFamily="50" charset="-127"/>
              </a:defRPr>
            </a:lvl4pPr>
            <a:lvl5pPr>
              <a:defRPr>
                <a:latin typeface="나눔고딕" pitchFamily="50" charset="-127"/>
                <a:ea typeface="나눔고딕" pitchFamily="50" charset="-127"/>
              </a:defRPr>
            </a:lvl5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fld id="{8761FD00-3F21-42CF-9EF5-8F6D81CE3AF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3-29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fld id="{97D217C8-C1B9-4E84-BCEB-D9195FCD88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그림 7" descr="jg_a4_02_ci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022578" y="7084281"/>
            <a:ext cx="1367793" cy="277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64935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2962230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직선 연결선 5"/>
          <p:cNvCxnSpPr/>
          <p:nvPr userDrawn="1"/>
        </p:nvCxnSpPr>
        <p:spPr>
          <a:xfrm>
            <a:off x="426617" y="3786901"/>
            <a:ext cx="9830350" cy="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부제목 2"/>
          <p:cNvSpPr txBox="1">
            <a:spLocks/>
          </p:cNvSpPr>
          <p:nvPr userDrawn="1"/>
        </p:nvSpPr>
        <p:spPr>
          <a:xfrm>
            <a:off x="309277" y="7042284"/>
            <a:ext cx="3747927" cy="503264"/>
          </a:xfrm>
          <a:prstGeom prst="rect">
            <a:avLst/>
          </a:prstGeom>
        </p:spPr>
        <p:txBody>
          <a:bodyPr vert="horz" lIns="103959" tIns="51979" rIns="103959" bIns="51979" rtlCol="0">
            <a:noAutofit/>
          </a:bodyPr>
          <a:lstStyle>
            <a:lvl1pPr marL="0" indent="0" algn="l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50000"/>
              </a:lnSpc>
              <a:spcAft>
                <a:spcPts val="0"/>
              </a:spcAft>
            </a:pPr>
            <a:r>
              <a:rPr kumimoji="0" lang="ko-KR" altLang="en-US" sz="900" spc="-23" dirty="0" smtClean="0">
                <a:solidFill>
                  <a:prstClr val="white">
                    <a:lumMod val="50000"/>
                  </a:prstClr>
                </a:solidFill>
                <a:latin typeface="나눔고딕" pitchFamily="50" charset="-127"/>
                <a:ea typeface="나눔고딕" pitchFamily="50" charset="-127"/>
              </a:rPr>
              <a:t>이 문서는 나눔글꼴로 작성되었습니다</a:t>
            </a:r>
            <a:r>
              <a:rPr kumimoji="0" lang="en-US" altLang="ko-KR" sz="900" spc="-23" dirty="0" smtClean="0">
                <a:solidFill>
                  <a:prstClr val="white">
                    <a:lumMod val="50000"/>
                  </a:prstClr>
                </a:solidFill>
                <a:latin typeface="나눔고딕" pitchFamily="50" charset="-127"/>
                <a:ea typeface="나눔고딕" pitchFamily="50" charset="-127"/>
              </a:rPr>
              <a:t>. </a:t>
            </a:r>
            <a:r>
              <a:rPr kumimoji="0" lang="ko-KR" altLang="en-US" sz="900" u="sng" spc="-23" dirty="0" smtClean="0">
                <a:solidFill>
                  <a:srgbClr val="4495D2"/>
                </a:solidFill>
                <a:latin typeface="나눔고딕" pitchFamily="50" charset="-127"/>
                <a:ea typeface="나눔고딕" pitchFamily="50" charset="-127"/>
                <a:hlinkClick r:id="rId2"/>
              </a:rPr>
              <a:t>설치하기</a:t>
            </a:r>
            <a:endParaRPr kumimoji="0" lang="ko-KR" altLang="en-US" sz="900" u="sng" spc="-23" dirty="0">
              <a:solidFill>
                <a:srgbClr val="4495D2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cxnSp>
        <p:nvCxnSpPr>
          <p:cNvPr id="8" name="직선 연결선 7"/>
          <p:cNvCxnSpPr/>
          <p:nvPr userDrawn="1"/>
        </p:nvCxnSpPr>
        <p:spPr>
          <a:xfrm>
            <a:off x="426617" y="4398189"/>
            <a:ext cx="186244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연결선 8"/>
          <p:cNvCxnSpPr/>
          <p:nvPr userDrawn="1"/>
        </p:nvCxnSpPr>
        <p:spPr>
          <a:xfrm>
            <a:off x="426617" y="4739974"/>
            <a:ext cx="186244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직선 연결선 9"/>
          <p:cNvCxnSpPr/>
          <p:nvPr userDrawn="1"/>
        </p:nvCxnSpPr>
        <p:spPr>
          <a:xfrm>
            <a:off x="426617" y="5084646"/>
            <a:ext cx="186244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 userDrawn="1"/>
        </p:nvCxnSpPr>
        <p:spPr>
          <a:xfrm>
            <a:off x="426617" y="5428406"/>
            <a:ext cx="186244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234035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내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61FD00-3F21-42CF-9EF5-8F6D81CE3AF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3-29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D217C8-C1B9-4E84-BCEB-D9195FCD88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6" name="직선 연결선 5"/>
          <p:cNvCxnSpPr/>
          <p:nvPr userDrawn="1"/>
        </p:nvCxnSpPr>
        <p:spPr>
          <a:xfrm>
            <a:off x="426617" y="604040"/>
            <a:ext cx="9830350" cy="0"/>
          </a:xfrm>
          <a:prstGeom prst="line">
            <a:avLst/>
          </a:prstGeom>
          <a:ln w="3175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그림 8" descr="jg_a4_02_ci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022577" y="7084281"/>
            <a:ext cx="1367793" cy="277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835235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표지_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직선 연결선 7"/>
          <p:cNvCxnSpPr/>
          <p:nvPr userDrawn="1"/>
        </p:nvCxnSpPr>
        <p:spPr>
          <a:xfrm>
            <a:off x="426617" y="3786901"/>
            <a:ext cx="9830350" cy="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연결선 8"/>
          <p:cNvCxnSpPr/>
          <p:nvPr userDrawn="1"/>
        </p:nvCxnSpPr>
        <p:spPr>
          <a:xfrm>
            <a:off x="426617" y="4398189"/>
            <a:ext cx="186244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직선 연결선 9"/>
          <p:cNvCxnSpPr/>
          <p:nvPr userDrawn="1"/>
        </p:nvCxnSpPr>
        <p:spPr>
          <a:xfrm>
            <a:off x="426617" y="4739974"/>
            <a:ext cx="186244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 userDrawn="1"/>
        </p:nvCxnSpPr>
        <p:spPr>
          <a:xfrm>
            <a:off x="426617" y="5084646"/>
            <a:ext cx="186244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직선 연결선 11"/>
          <p:cNvCxnSpPr/>
          <p:nvPr userDrawn="1"/>
        </p:nvCxnSpPr>
        <p:spPr>
          <a:xfrm>
            <a:off x="426617" y="5428406"/>
            <a:ext cx="186244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텍스트 개체 틀 3"/>
          <p:cNvSpPr>
            <a:spLocks noGrp="1"/>
          </p:cNvSpPr>
          <p:nvPr>
            <p:ph type="body" sz="half" idx="2" hasCustomPrompt="1"/>
          </p:nvPr>
        </p:nvSpPr>
        <p:spPr>
          <a:xfrm>
            <a:off x="364936" y="272046"/>
            <a:ext cx="9751362" cy="204134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6200" b="1" spc="-285" baseline="0">
                <a:solidFill>
                  <a:schemeClr val="accent4">
                    <a:lumMod val="50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  <a:lvl2pPr marL="519783" indent="0">
              <a:buNone/>
              <a:defRPr sz="1400"/>
            </a:lvl2pPr>
            <a:lvl3pPr marL="1039564" indent="0">
              <a:buNone/>
              <a:defRPr sz="1100"/>
            </a:lvl3pPr>
            <a:lvl4pPr marL="1559348" indent="0">
              <a:buNone/>
              <a:defRPr sz="1000"/>
            </a:lvl4pPr>
            <a:lvl5pPr marL="2079131" indent="0">
              <a:buNone/>
              <a:defRPr sz="1000"/>
            </a:lvl5pPr>
            <a:lvl6pPr marL="2598910" indent="0">
              <a:buNone/>
              <a:defRPr sz="1000"/>
            </a:lvl6pPr>
            <a:lvl7pPr marL="3118694" indent="0">
              <a:buNone/>
              <a:defRPr sz="1000"/>
            </a:lvl7pPr>
            <a:lvl8pPr marL="3638477" indent="0">
              <a:buNone/>
              <a:defRPr sz="1000"/>
            </a:lvl8pPr>
            <a:lvl9pPr marL="4158258" indent="0">
              <a:buNone/>
              <a:defRPr sz="1000"/>
            </a:lvl9pPr>
          </a:lstStyle>
          <a:p>
            <a:pPr lvl="0"/>
            <a:r>
              <a:rPr lang="ko-KR" altLang="en-US" dirty="0" smtClean="0"/>
              <a:t>제목을 입력하세요</a:t>
            </a:r>
            <a:endParaRPr lang="en-US" altLang="ko-KR" dirty="0" smtClean="0"/>
          </a:p>
          <a:p>
            <a:pPr lvl="0"/>
            <a:endParaRPr lang="ko-KR" altLang="en-US" dirty="0" smtClean="0"/>
          </a:p>
        </p:txBody>
      </p:sp>
      <p:sp>
        <p:nvSpPr>
          <p:cNvPr id="21" name="제목 1"/>
          <p:cNvSpPr>
            <a:spLocks noGrp="1"/>
          </p:cNvSpPr>
          <p:nvPr>
            <p:ph type="title"/>
          </p:nvPr>
        </p:nvSpPr>
        <p:spPr>
          <a:xfrm>
            <a:off x="314022" y="4415772"/>
            <a:ext cx="9844712" cy="336085"/>
          </a:xfrm>
        </p:spPr>
        <p:txBody>
          <a:bodyPr anchor="t">
            <a:normAutofit/>
          </a:bodyPr>
          <a:lstStyle>
            <a:lvl1pPr algn="l">
              <a:buFont typeface="Wingdings" pitchFamily="2" charset="2"/>
              <a:buNone/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14" name="부제목 2"/>
          <p:cNvSpPr txBox="1">
            <a:spLocks/>
          </p:cNvSpPr>
          <p:nvPr userDrawn="1"/>
        </p:nvSpPr>
        <p:spPr>
          <a:xfrm>
            <a:off x="309277" y="7042284"/>
            <a:ext cx="3747927" cy="503264"/>
          </a:xfrm>
          <a:prstGeom prst="rect">
            <a:avLst/>
          </a:prstGeom>
        </p:spPr>
        <p:txBody>
          <a:bodyPr vert="horz" lIns="103959" tIns="51979" rIns="103959" bIns="51979" rtlCol="0">
            <a:noAutofit/>
          </a:bodyPr>
          <a:lstStyle>
            <a:lvl1pPr marL="0" indent="0" algn="l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50000"/>
              </a:lnSpc>
              <a:spcAft>
                <a:spcPts val="0"/>
              </a:spcAft>
            </a:pPr>
            <a:r>
              <a:rPr kumimoji="0" lang="ko-KR" altLang="en-US" sz="900" spc="-23" dirty="0" smtClean="0">
                <a:solidFill>
                  <a:prstClr val="white">
                    <a:lumMod val="50000"/>
                  </a:prstClr>
                </a:solidFill>
                <a:latin typeface="나눔고딕" pitchFamily="50" charset="-127"/>
                <a:ea typeface="나눔고딕" pitchFamily="50" charset="-127"/>
              </a:rPr>
              <a:t>이 문서는 나눔글꼴로 작성되었습니다</a:t>
            </a:r>
            <a:r>
              <a:rPr kumimoji="0" lang="en-US" altLang="ko-KR" sz="900" spc="-23" dirty="0" smtClean="0">
                <a:solidFill>
                  <a:prstClr val="white">
                    <a:lumMod val="50000"/>
                  </a:prstClr>
                </a:solidFill>
                <a:latin typeface="나눔고딕" pitchFamily="50" charset="-127"/>
                <a:ea typeface="나눔고딕" pitchFamily="50" charset="-127"/>
              </a:rPr>
              <a:t>. </a:t>
            </a:r>
            <a:r>
              <a:rPr kumimoji="0" lang="ko-KR" altLang="en-US" sz="900" u="sng" spc="-23" dirty="0" smtClean="0">
                <a:solidFill>
                  <a:srgbClr val="4495D2"/>
                </a:solidFill>
                <a:latin typeface="나눔고딕" pitchFamily="50" charset="-127"/>
                <a:ea typeface="나눔고딕" pitchFamily="50" charset="-127"/>
                <a:hlinkClick r:id="rId2"/>
              </a:rPr>
              <a:t>설치하기</a:t>
            </a:r>
            <a:endParaRPr kumimoji="0" lang="ko-KR" altLang="en-US" sz="900" u="sng" spc="-23" dirty="0">
              <a:solidFill>
                <a:srgbClr val="4495D2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7084327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내지_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61FD00-3F21-42CF-9EF5-8F6D81CE3AF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3-29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D217C8-C1B9-4E84-BCEB-D9195FCD88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7" name="직선 연결선 6"/>
          <p:cNvCxnSpPr/>
          <p:nvPr userDrawn="1"/>
        </p:nvCxnSpPr>
        <p:spPr>
          <a:xfrm>
            <a:off x="426617" y="604040"/>
            <a:ext cx="9830350" cy="0"/>
          </a:xfrm>
          <a:prstGeom prst="line">
            <a:avLst/>
          </a:prstGeom>
          <a:ln w="3175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제목 1"/>
          <p:cNvSpPr>
            <a:spLocks noGrp="1"/>
          </p:cNvSpPr>
          <p:nvPr>
            <p:ph type="title"/>
          </p:nvPr>
        </p:nvSpPr>
        <p:spPr>
          <a:xfrm>
            <a:off x="430710" y="630105"/>
            <a:ext cx="9817135" cy="932906"/>
          </a:xfrm>
        </p:spPr>
        <p:txBody>
          <a:bodyPr>
            <a:normAutofit/>
          </a:bodyPr>
          <a:lstStyle>
            <a:lvl1pPr algn="l">
              <a:defRPr sz="4600" b="1">
                <a:solidFill>
                  <a:schemeClr val="accent4">
                    <a:lumMod val="50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14" name="내용 개체 틀 2"/>
          <p:cNvSpPr>
            <a:spLocks noGrp="1"/>
          </p:cNvSpPr>
          <p:nvPr>
            <p:ph idx="1" hasCustomPrompt="1"/>
          </p:nvPr>
        </p:nvSpPr>
        <p:spPr>
          <a:xfrm>
            <a:off x="430706" y="1736313"/>
            <a:ext cx="2227792" cy="350057"/>
          </a:xfrm>
        </p:spPr>
        <p:txBody>
          <a:bodyPr>
            <a:normAutofit/>
          </a:bodyPr>
          <a:lstStyle>
            <a:lvl1pPr>
              <a:buFontTx/>
              <a:buNone/>
              <a:defRPr sz="1400" b="1">
                <a:solidFill>
                  <a:srgbClr val="3D3C3E"/>
                </a:solidFill>
              </a:defRPr>
            </a:lvl1pPr>
            <a:lvl2pPr>
              <a:buFontTx/>
              <a:buNone/>
              <a:defRPr sz="1400"/>
            </a:lvl2pPr>
            <a:lvl3pPr>
              <a:buFontTx/>
              <a:buNone/>
              <a:defRPr sz="1400"/>
            </a:lvl3pPr>
            <a:lvl4pPr>
              <a:buFontTx/>
              <a:buNone/>
              <a:defRPr sz="1400"/>
            </a:lvl4pPr>
            <a:lvl5pPr>
              <a:buFontTx/>
              <a:buNone/>
              <a:defRPr sz="1400"/>
            </a:lvl5pPr>
          </a:lstStyle>
          <a:p>
            <a:pPr lvl="0"/>
            <a:r>
              <a:rPr lang="ko-KR" altLang="en-US" smtClean="0"/>
              <a:t>내용제목</a:t>
            </a:r>
          </a:p>
        </p:txBody>
      </p:sp>
      <p:sp>
        <p:nvSpPr>
          <p:cNvPr id="15" name="내용 개체 틀 2"/>
          <p:cNvSpPr>
            <a:spLocks noGrp="1"/>
          </p:cNvSpPr>
          <p:nvPr>
            <p:ph idx="13" hasCustomPrompt="1"/>
          </p:nvPr>
        </p:nvSpPr>
        <p:spPr>
          <a:xfrm>
            <a:off x="2732758" y="1736297"/>
            <a:ext cx="7515084" cy="364060"/>
          </a:xfrm>
        </p:spPr>
        <p:txBody>
          <a:bodyPr>
            <a:normAutofit/>
          </a:bodyPr>
          <a:lstStyle>
            <a:lvl1pPr>
              <a:buNone/>
              <a:defRPr sz="1400" b="1" baseline="0">
                <a:solidFill>
                  <a:srgbClr val="3D3C3E"/>
                </a:solidFill>
                <a:latin typeface="나눔고딕" pitchFamily="50" charset="-127"/>
                <a:ea typeface="나눔고딕" pitchFamily="50" charset="-127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ko-KR" altLang="en-US" smtClean="0"/>
              <a:t>내용을 입력하십시오</a:t>
            </a:r>
            <a:r>
              <a:rPr lang="en-US" altLang="ko-KR" smtClean="0"/>
              <a:t>.</a:t>
            </a:r>
            <a:endParaRPr lang="ko-KR" altLang="en-US" smtClean="0"/>
          </a:p>
        </p:txBody>
      </p:sp>
      <p:pic>
        <p:nvPicPr>
          <p:cNvPr id="16" name="그림 15" descr="jg_a4_02_ci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022577" y="7084281"/>
            <a:ext cx="1367793" cy="277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0366060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빈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61FD00-3F21-42CF-9EF5-8F6D81CE3AF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3-29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D217C8-C1B9-4E84-BCEB-D9195FCD88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그림 6" descr="jg_a4_02_ci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022577" y="7084281"/>
            <a:ext cx="1367793" cy="277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07075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캡션 있는 그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>
          <a:xfrm>
            <a:off x="2095839" y="5292884"/>
            <a:ext cx="6416040" cy="624855"/>
          </a:xfrm>
          <a:prstGeom prst="rect">
            <a:avLst/>
          </a:prstGeom>
        </p:spPr>
        <p:txBody>
          <a:bodyPr lIns="99133" tIns="49583" rIns="99133" bIns="49583" anchor="b"/>
          <a:lstStyle>
            <a:lvl1pPr algn="l">
              <a:defRPr sz="2200" b="1"/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그림 개체 틀 2"/>
          <p:cNvSpPr>
            <a:spLocks noGrp="1"/>
          </p:cNvSpPr>
          <p:nvPr>
            <p:ph type="pic" idx="1"/>
          </p:nvPr>
        </p:nvSpPr>
        <p:spPr>
          <a:xfrm>
            <a:off x="2095839" y="675613"/>
            <a:ext cx="6416040" cy="4536758"/>
          </a:xfrm>
        </p:spPr>
        <p:txBody>
          <a:bodyPr/>
          <a:lstStyle>
            <a:lvl1pPr marL="0" indent="0">
              <a:buNone/>
              <a:defRPr sz="3500"/>
            </a:lvl1pPr>
            <a:lvl2pPr marL="495651" indent="0">
              <a:buNone/>
              <a:defRPr sz="3000"/>
            </a:lvl2pPr>
            <a:lvl3pPr marL="991305" indent="0">
              <a:buNone/>
              <a:defRPr sz="2600"/>
            </a:lvl3pPr>
            <a:lvl4pPr marL="1486957" indent="0">
              <a:buNone/>
              <a:defRPr sz="2200"/>
            </a:lvl4pPr>
            <a:lvl5pPr marL="1982616" indent="0">
              <a:buNone/>
              <a:defRPr sz="2200"/>
            </a:lvl5pPr>
            <a:lvl6pPr marL="2478271" indent="0">
              <a:buNone/>
              <a:defRPr sz="2200"/>
            </a:lvl6pPr>
            <a:lvl7pPr marL="2973917" indent="0">
              <a:buNone/>
              <a:defRPr sz="2200"/>
            </a:lvl7pPr>
            <a:lvl8pPr marL="3469575" indent="0">
              <a:buNone/>
              <a:defRPr sz="2200"/>
            </a:lvl8pPr>
            <a:lvl9pPr marL="3965228" indent="0">
              <a:buNone/>
              <a:defRPr sz="2200"/>
            </a:lvl9pPr>
          </a:lstStyle>
          <a:p>
            <a:pPr lvl="0"/>
            <a:endParaRPr lang="ko-KR" altLang="en-US" noProof="0" smtClean="0"/>
          </a:p>
        </p:txBody>
      </p:sp>
      <p:sp>
        <p:nvSpPr>
          <p:cNvPr id="4" name="텍스트 개체 틀 3"/>
          <p:cNvSpPr>
            <a:spLocks noGrp="1"/>
          </p:cNvSpPr>
          <p:nvPr>
            <p:ph type="body" sz="half" idx="2"/>
          </p:nvPr>
        </p:nvSpPr>
        <p:spPr>
          <a:xfrm>
            <a:off x="2095839" y="5917739"/>
            <a:ext cx="6416040" cy="887398"/>
          </a:xfrm>
        </p:spPr>
        <p:txBody>
          <a:bodyPr/>
          <a:lstStyle>
            <a:lvl1pPr marL="0" indent="0">
              <a:buNone/>
              <a:defRPr sz="1500"/>
            </a:lvl1pPr>
            <a:lvl2pPr marL="495651" indent="0">
              <a:buNone/>
              <a:defRPr sz="1300"/>
            </a:lvl2pPr>
            <a:lvl3pPr marL="991305" indent="0">
              <a:buNone/>
              <a:defRPr sz="1100"/>
            </a:lvl3pPr>
            <a:lvl4pPr marL="1486957" indent="0">
              <a:buNone/>
              <a:defRPr sz="1000"/>
            </a:lvl4pPr>
            <a:lvl5pPr marL="1982616" indent="0">
              <a:buNone/>
              <a:defRPr sz="1000"/>
            </a:lvl5pPr>
            <a:lvl6pPr marL="2478271" indent="0">
              <a:buNone/>
              <a:defRPr sz="1000"/>
            </a:lvl6pPr>
            <a:lvl7pPr marL="2973917" indent="0">
              <a:buNone/>
              <a:defRPr sz="1000"/>
            </a:lvl7pPr>
            <a:lvl8pPr marL="3469575" indent="0">
              <a:buNone/>
              <a:defRPr sz="1000"/>
            </a:lvl8pPr>
            <a:lvl9pPr marL="3965228" indent="0">
              <a:buNone/>
              <a:defRPr sz="1000"/>
            </a:lvl9pPr>
          </a:lstStyle>
          <a:p>
            <a:pPr lvl="0"/>
            <a:r>
              <a:rPr lang="ko-KR" altLang="en-US" smtClean="0"/>
              <a:t>마스터 텍스트 스타일을 편집합니다</a:t>
            </a:r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802005" y="2348914"/>
            <a:ext cx="9089390" cy="1620771"/>
          </a:xfrm>
        </p:spPr>
        <p:txBody>
          <a:bodyPr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604010" y="4284720"/>
            <a:ext cx="7485380" cy="1932323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  <a:lvl2pPr marL="519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395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593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79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989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186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384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582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fld id="{8761FD00-3F21-42CF-9EF5-8F6D81CE3AF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3-29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fld id="{97D217C8-C1B9-4E84-BCEB-D9195FCD88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103317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  <a:lvl2pPr>
              <a:defRPr>
                <a:latin typeface="나눔고딕" pitchFamily="50" charset="-127"/>
                <a:ea typeface="나눔고딕" pitchFamily="50" charset="-127"/>
              </a:defRPr>
            </a:lvl2pPr>
            <a:lvl3pPr>
              <a:defRPr>
                <a:latin typeface="나눔고딕" pitchFamily="50" charset="-127"/>
                <a:ea typeface="나눔고딕" pitchFamily="50" charset="-127"/>
              </a:defRPr>
            </a:lvl3pPr>
            <a:lvl4pPr>
              <a:defRPr>
                <a:latin typeface="나눔고딕" pitchFamily="50" charset="-127"/>
                <a:ea typeface="나눔고딕" pitchFamily="50" charset="-127"/>
              </a:defRPr>
            </a:lvl4pPr>
            <a:lvl5pPr>
              <a:defRPr>
                <a:latin typeface="나눔고딕" pitchFamily="50" charset="-127"/>
                <a:ea typeface="나눔고딕" pitchFamily="50" charset="-127"/>
              </a:defRPr>
            </a:lvl5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fld id="{8761FD00-3F21-42CF-9EF5-8F6D81CE3AF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3-29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fld id="{97D217C8-C1B9-4E84-BCEB-D9195FCD88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그림 7" descr="jg_a4_02_ci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022577" y="7084281"/>
            <a:ext cx="1367793" cy="277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866314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빈 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8671673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표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직선 연결선 5"/>
          <p:cNvCxnSpPr/>
          <p:nvPr userDrawn="1"/>
        </p:nvCxnSpPr>
        <p:spPr>
          <a:xfrm>
            <a:off x="426617" y="3786901"/>
            <a:ext cx="9830350" cy="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부제목 2"/>
          <p:cNvSpPr txBox="1">
            <a:spLocks/>
          </p:cNvSpPr>
          <p:nvPr userDrawn="1"/>
        </p:nvSpPr>
        <p:spPr>
          <a:xfrm>
            <a:off x="309277" y="7042284"/>
            <a:ext cx="3747927" cy="503264"/>
          </a:xfrm>
          <a:prstGeom prst="rect">
            <a:avLst/>
          </a:prstGeom>
        </p:spPr>
        <p:txBody>
          <a:bodyPr vert="horz" lIns="104141" tIns="52071" rIns="104141" bIns="52071" rtlCol="0">
            <a:noAutofit/>
          </a:bodyPr>
          <a:lstStyle>
            <a:lvl1pPr marL="0" indent="0" algn="l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50000"/>
              </a:lnSpc>
              <a:spcAft>
                <a:spcPts val="0"/>
              </a:spcAft>
            </a:pPr>
            <a:r>
              <a:rPr kumimoji="0" lang="ko-KR" altLang="en-US" sz="900" spc="-23" dirty="0" smtClean="0">
                <a:solidFill>
                  <a:prstClr val="white">
                    <a:lumMod val="50000"/>
                  </a:prstClr>
                </a:solidFill>
                <a:latin typeface="나눔고딕" pitchFamily="50" charset="-127"/>
                <a:ea typeface="나눔고딕" pitchFamily="50" charset="-127"/>
              </a:rPr>
              <a:t>이 문서는 나눔글꼴로 작성되었습니다</a:t>
            </a:r>
            <a:r>
              <a:rPr kumimoji="0" lang="en-US" altLang="ko-KR" sz="900" spc="-23" dirty="0" smtClean="0">
                <a:solidFill>
                  <a:prstClr val="white">
                    <a:lumMod val="50000"/>
                  </a:prstClr>
                </a:solidFill>
                <a:latin typeface="나눔고딕" pitchFamily="50" charset="-127"/>
                <a:ea typeface="나눔고딕" pitchFamily="50" charset="-127"/>
              </a:rPr>
              <a:t>. </a:t>
            </a:r>
            <a:r>
              <a:rPr kumimoji="0" lang="ko-KR" altLang="en-US" sz="900" u="sng" spc="-23" dirty="0" smtClean="0">
                <a:solidFill>
                  <a:srgbClr val="4495D2"/>
                </a:solidFill>
                <a:latin typeface="나눔고딕" pitchFamily="50" charset="-127"/>
                <a:ea typeface="나눔고딕" pitchFamily="50" charset="-127"/>
                <a:hlinkClick r:id="rId2"/>
              </a:rPr>
              <a:t>설치하기</a:t>
            </a:r>
            <a:endParaRPr kumimoji="0" lang="ko-KR" altLang="en-US" sz="900" u="sng" spc="-23" dirty="0">
              <a:solidFill>
                <a:srgbClr val="4495D2"/>
              </a:solidFill>
              <a:latin typeface="나눔고딕" pitchFamily="50" charset="-127"/>
              <a:ea typeface="나눔고딕" pitchFamily="50" charset="-127"/>
            </a:endParaRPr>
          </a:p>
        </p:txBody>
      </p:sp>
      <p:cxnSp>
        <p:nvCxnSpPr>
          <p:cNvPr id="8" name="직선 연결선 7"/>
          <p:cNvCxnSpPr/>
          <p:nvPr userDrawn="1"/>
        </p:nvCxnSpPr>
        <p:spPr>
          <a:xfrm>
            <a:off x="426617" y="4398189"/>
            <a:ext cx="186244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연결선 8"/>
          <p:cNvCxnSpPr/>
          <p:nvPr userDrawn="1"/>
        </p:nvCxnSpPr>
        <p:spPr>
          <a:xfrm>
            <a:off x="426617" y="4739974"/>
            <a:ext cx="186244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직선 연결선 9"/>
          <p:cNvCxnSpPr/>
          <p:nvPr userDrawn="1"/>
        </p:nvCxnSpPr>
        <p:spPr>
          <a:xfrm>
            <a:off x="426617" y="5084646"/>
            <a:ext cx="186244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 userDrawn="1"/>
        </p:nvCxnSpPr>
        <p:spPr>
          <a:xfrm>
            <a:off x="426617" y="5428406"/>
            <a:ext cx="186244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29319278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내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61FD00-3F21-42CF-9EF5-8F6D81CE3AF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3-29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D217C8-C1B9-4E84-BCEB-D9195FCD88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6" name="직선 연결선 5"/>
          <p:cNvCxnSpPr/>
          <p:nvPr userDrawn="1"/>
        </p:nvCxnSpPr>
        <p:spPr>
          <a:xfrm>
            <a:off x="426617" y="604040"/>
            <a:ext cx="9830350" cy="0"/>
          </a:xfrm>
          <a:prstGeom prst="line">
            <a:avLst/>
          </a:prstGeom>
          <a:ln w="3175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그림 8" descr="jg_a4_02_ci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022565" y="7084281"/>
            <a:ext cx="1367793" cy="277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666484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표지_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" name="직선 연결선 7"/>
          <p:cNvCxnSpPr/>
          <p:nvPr userDrawn="1"/>
        </p:nvCxnSpPr>
        <p:spPr>
          <a:xfrm>
            <a:off x="426617" y="3786901"/>
            <a:ext cx="9830350" cy="0"/>
          </a:xfrm>
          <a:prstGeom prst="line">
            <a:avLst/>
          </a:prstGeom>
          <a:ln w="12700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직선 연결선 8"/>
          <p:cNvCxnSpPr/>
          <p:nvPr userDrawn="1"/>
        </p:nvCxnSpPr>
        <p:spPr>
          <a:xfrm>
            <a:off x="426617" y="4398189"/>
            <a:ext cx="186244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직선 연결선 9"/>
          <p:cNvCxnSpPr/>
          <p:nvPr userDrawn="1"/>
        </p:nvCxnSpPr>
        <p:spPr>
          <a:xfrm>
            <a:off x="426617" y="4739974"/>
            <a:ext cx="186244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직선 연결선 10"/>
          <p:cNvCxnSpPr/>
          <p:nvPr userDrawn="1"/>
        </p:nvCxnSpPr>
        <p:spPr>
          <a:xfrm>
            <a:off x="426617" y="5084646"/>
            <a:ext cx="186244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직선 연결선 11"/>
          <p:cNvCxnSpPr/>
          <p:nvPr userDrawn="1"/>
        </p:nvCxnSpPr>
        <p:spPr>
          <a:xfrm>
            <a:off x="426617" y="5428406"/>
            <a:ext cx="1862440" cy="0"/>
          </a:xfrm>
          <a:prstGeom prst="line">
            <a:avLst/>
          </a:prstGeom>
          <a:ln w="3175">
            <a:solidFill>
              <a:schemeClr val="tx1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텍스트 개체 틀 3"/>
          <p:cNvSpPr>
            <a:spLocks noGrp="1"/>
          </p:cNvSpPr>
          <p:nvPr>
            <p:ph type="body" sz="half" idx="2" hasCustomPrompt="1"/>
          </p:nvPr>
        </p:nvSpPr>
        <p:spPr>
          <a:xfrm>
            <a:off x="364936" y="272046"/>
            <a:ext cx="9751362" cy="2041340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6200" b="1" spc="-285" baseline="0">
                <a:solidFill>
                  <a:schemeClr val="accent4">
                    <a:lumMod val="50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  <a:lvl2pPr marL="520700" indent="0">
              <a:buNone/>
              <a:defRPr sz="1400"/>
            </a:lvl2pPr>
            <a:lvl3pPr marL="1041401" indent="0">
              <a:buNone/>
              <a:defRPr sz="1100"/>
            </a:lvl3pPr>
            <a:lvl4pPr marL="1562101" indent="0">
              <a:buNone/>
              <a:defRPr sz="1000"/>
            </a:lvl4pPr>
            <a:lvl5pPr marL="2082803" indent="0">
              <a:buNone/>
              <a:defRPr sz="1000"/>
            </a:lvl5pPr>
            <a:lvl6pPr marL="2603501" indent="0">
              <a:buNone/>
              <a:defRPr sz="1000"/>
            </a:lvl6pPr>
            <a:lvl7pPr marL="3124204" indent="0">
              <a:buNone/>
              <a:defRPr sz="1000"/>
            </a:lvl7pPr>
            <a:lvl8pPr marL="3644904" indent="0">
              <a:buNone/>
              <a:defRPr sz="1000"/>
            </a:lvl8pPr>
            <a:lvl9pPr marL="4165601" indent="0">
              <a:buNone/>
              <a:defRPr sz="1000"/>
            </a:lvl9pPr>
          </a:lstStyle>
          <a:p>
            <a:pPr lvl="0"/>
            <a:r>
              <a:rPr lang="ko-KR" altLang="en-US" dirty="0" smtClean="0"/>
              <a:t>제목을 입력하세요</a:t>
            </a:r>
            <a:endParaRPr lang="en-US" altLang="ko-KR" dirty="0" smtClean="0"/>
          </a:p>
          <a:p>
            <a:pPr lvl="0"/>
            <a:endParaRPr lang="ko-KR" altLang="en-US" dirty="0" smtClean="0"/>
          </a:p>
        </p:txBody>
      </p:sp>
      <p:sp>
        <p:nvSpPr>
          <p:cNvPr id="21" name="제목 1"/>
          <p:cNvSpPr>
            <a:spLocks noGrp="1"/>
          </p:cNvSpPr>
          <p:nvPr>
            <p:ph type="title"/>
          </p:nvPr>
        </p:nvSpPr>
        <p:spPr>
          <a:xfrm>
            <a:off x="314022" y="4415772"/>
            <a:ext cx="9844712" cy="336085"/>
          </a:xfrm>
        </p:spPr>
        <p:txBody>
          <a:bodyPr anchor="t">
            <a:normAutofit/>
          </a:bodyPr>
          <a:lstStyle>
            <a:lvl1pPr algn="l">
              <a:buFont typeface="Wingdings" pitchFamily="2" charset="2"/>
              <a:buNone/>
              <a:defRPr sz="1400" b="1">
                <a:solidFill>
                  <a:schemeClr val="tx1">
                    <a:lumMod val="75000"/>
                    <a:lumOff val="25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14" name="부제목 2"/>
          <p:cNvSpPr txBox="1">
            <a:spLocks/>
          </p:cNvSpPr>
          <p:nvPr userDrawn="1"/>
        </p:nvSpPr>
        <p:spPr>
          <a:xfrm>
            <a:off x="309277" y="7042284"/>
            <a:ext cx="3747927" cy="503264"/>
          </a:xfrm>
          <a:prstGeom prst="rect">
            <a:avLst/>
          </a:prstGeom>
        </p:spPr>
        <p:txBody>
          <a:bodyPr vert="horz" lIns="104141" tIns="52071" rIns="104141" bIns="52071" rtlCol="0">
            <a:noAutofit/>
          </a:bodyPr>
          <a:lstStyle>
            <a:lvl1pPr marL="0" indent="0" algn="l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1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lnSpc>
                <a:spcPct val="150000"/>
              </a:lnSpc>
              <a:spcAft>
                <a:spcPts val="0"/>
              </a:spcAft>
            </a:pPr>
            <a:r>
              <a:rPr kumimoji="0" lang="ko-KR" altLang="en-US" sz="900" spc="-23" dirty="0" smtClean="0">
                <a:solidFill>
                  <a:prstClr val="white">
                    <a:lumMod val="50000"/>
                  </a:prstClr>
                </a:solidFill>
                <a:latin typeface="나눔고딕" pitchFamily="50" charset="-127"/>
                <a:ea typeface="나눔고딕" pitchFamily="50" charset="-127"/>
              </a:rPr>
              <a:t>이 문서는 나눔글꼴로 작성되었습니다</a:t>
            </a:r>
            <a:r>
              <a:rPr kumimoji="0" lang="en-US" altLang="ko-KR" sz="900" spc="-23" dirty="0" smtClean="0">
                <a:solidFill>
                  <a:prstClr val="white">
                    <a:lumMod val="50000"/>
                  </a:prstClr>
                </a:solidFill>
                <a:latin typeface="나눔고딕" pitchFamily="50" charset="-127"/>
                <a:ea typeface="나눔고딕" pitchFamily="50" charset="-127"/>
              </a:rPr>
              <a:t>. </a:t>
            </a:r>
            <a:r>
              <a:rPr kumimoji="0" lang="ko-KR" altLang="en-US" sz="900" u="sng" spc="-23" dirty="0" smtClean="0">
                <a:solidFill>
                  <a:srgbClr val="4495D2"/>
                </a:solidFill>
                <a:latin typeface="나눔고딕" pitchFamily="50" charset="-127"/>
                <a:ea typeface="나눔고딕" pitchFamily="50" charset="-127"/>
                <a:hlinkClick r:id="rId2"/>
              </a:rPr>
              <a:t>설치하기</a:t>
            </a:r>
            <a:endParaRPr kumimoji="0" lang="ko-KR" altLang="en-US" sz="900" u="sng" spc="-23" dirty="0">
              <a:solidFill>
                <a:srgbClr val="4495D2"/>
              </a:solidFill>
              <a:latin typeface="나눔고딕" pitchFamily="50" charset="-127"/>
              <a:ea typeface="나눔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3914810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내지_텍스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61FD00-3F21-42CF-9EF5-8F6D81CE3AF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3-29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D217C8-C1B9-4E84-BCEB-D9195FCD88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7" name="직선 연결선 6"/>
          <p:cNvCxnSpPr/>
          <p:nvPr userDrawn="1"/>
        </p:nvCxnSpPr>
        <p:spPr>
          <a:xfrm>
            <a:off x="426617" y="604040"/>
            <a:ext cx="9830350" cy="0"/>
          </a:xfrm>
          <a:prstGeom prst="line">
            <a:avLst/>
          </a:prstGeom>
          <a:ln w="3175">
            <a:solidFill>
              <a:schemeClr val="accent4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제목 1"/>
          <p:cNvSpPr>
            <a:spLocks noGrp="1"/>
          </p:cNvSpPr>
          <p:nvPr>
            <p:ph type="title"/>
          </p:nvPr>
        </p:nvSpPr>
        <p:spPr>
          <a:xfrm>
            <a:off x="430710" y="630105"/>
            <a:ext cx="9817135" cy="932906"/>
          </a:xfrm>
        </p:spPr>
        <p:txBody>
          <a:bodyPr>
            <a:normAutofit/>
          </a:bodyPr>
          <a:lstStyle>
            <a:lvl1pPr algn="l">
              <a:defRPr sz="4600" b="1">
                <a:solidFill>
                  <a:schemeClr val="accent4">
                    <a:lumMod val="50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dirty="0" smtClean="0"/>
              <a:t>마스터 제목 스타일 편집</a:t>
            </a:r>
            <a:endParaRPr lang="ko-KR" altLang="en-US" dirty="0"/>
          </a:p>
        </p:txBody>
      </p:sp>
      <p:sp>
        <p:nvSpPr>
          <p:cNvPr id="14" name="내용 개체 틀 2"/>
          <p:cNvSpPr>
            <a:spLocks noGrp="1"/>
          </p:cNvSpPr>
          <p:nvPr>
            <p:ph idx="1" hasCustomPrompt="1"/>
          </p:nvPr>
        </p:nvSpPr>
        <p:spPr>
          <a:xfrm>
            <a:off x="430706" y="1736302"/>
            <a:ext cx="2227792" cy="350057"/>
          </a:xfrm>
        </p:spPr>
        <p:txBody>
          <a:bodyPr>
            <a:normAutofit/>
          </a:bodyPr>
          <a:lstStyle>
            <a:lvl1pPr>
              <a:buFontTx/>
              <a:buNone/>
              <a:defRPr sz="1400" b="1">
                <a:solidFill>
                  <a:srgbClr val="3D3C3E"/>
                </a:solidFill>
              </a:defRPr>
            </a:lvl1pPr>
            <a:lvl2pPr>
              <a:buFontTx/>
              <a:buNone/>
              <a:defRPr sz="1400"/>
            </a:lvl2pPr>
            <a:lvl3pPr>
              <a:buFontTx/>
              <a:buNone/>
              <a:defRPr sz="1400"/>
            </a:lvl3pPr>
            <a:lvl4pPr>
              <a:buFontTx/>
              <a:buNone/>
              <a:defRPr sz="1400"/>
            </a:lvl4pPr>
            <a:lvl5pPr>
              <a:buFontTx/>
              <a:buNone/>
              <a:defRPr sz="1400"/>
            </a:lvl5pPr>
          </a:lstStyle>
          <a:p>
            <a:pPr lvl="0"/>
            <a:r>
              <a:rPr lang="ko-KR" altLang="en-US" smtClean="0"/>
              <a:t>내용제목</a:t>
            </a:r>
          </a:p>
        </p:txBody>
      </p:sp>
      <p:sp>
        <p:nvSpPr>
          <p:cNvPr id="15" name="내용 개체 틀 2"/>
          <p:cNvSpPr>
            <a:spLocks noGrp="1"/>
          </p:cNvSpPr>
          <p:nvPr>
            <p:ph idx="13" hasCustomPrompt="1"/>
          </p:nvPr>
        </p:nvSpPr>
        <p:spPr>
          <a:xfrm>
            <a:off x="2732758" y="1736297"/>
            <a:ext cx="7515084" cy="364060"/>
          </a:xfrm>
        </p:spPr>
        <p:txBody>
          <a:bodyPr>
            <a:normAutofit/>
          </a:bodyPr>
          <a:lstStyle>
            <a:lvl1pPr>
              <a:buNone/>
              <a:defRPr sz="1400" b="1" baseline="0">
                <a:solidFill>
                  <a:srgbClr val="3D3C3E"/>
                </a:solidFill>
                <a:latin typeface="나눔고딕" pitchFamily="50" charset="-127"/>
                <a:ea typeface="나눔고딕" pitchFamily="50" charset="-127"/>
              </a:defRPr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ko-KR" altLang="en-US" smtClean="0"/>
              <a:t>내용을 입력하십시오</a:t>
            </a:r>
            <a:r>
              <a:rPr lang="en-US" altLang="ko-KR" smtClean="0"/>
              <a:t>.</a:t>
            </a:r>
            <a:endParaRPr lang="ko-KR" altLang="en-US" smtClean="0"/>
          </a:p>
        </p:txBody>
      </p:sp>
      <p:pic>
        <p:nvPicPr>
          <p:cNvPr id="16" name="그림 15" descr="jg_a4_02_ci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022565" y="7084281"/>
            <a:ext cx="1367793" cy="277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240197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빈화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61FD00-3F21-42CF-9EF5-8F6D81CE3AF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3-29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7D217C8-C1B9-4E84-BCEB-D9195FCD88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7" name="그림 6" descr="jg_a4_02_ci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022565" y="7084281"/>
            <a:ext cx="1367793" cy="277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307530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802005" y="2348903"/>
            <a:ext cx="9089390" cy="1620771"/>
          </a:xfrm>
        </p:spPr>
        <p:txBody>
          <a:bodyPr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604010" y="4284720"/>
            <a:ext cx="7485380" cy="1932323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  <a:lvl2pPr marL="520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14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21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28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35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42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44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656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 smtClean="0"/>
              <a:t>마스터 부제목 스타일 편집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fld id="{8761FD00-3F21-42CF-9EF5-8F6D81CE3AF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3-29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fld id="{97D217C8-C1B9-4E84-BCEB-D9195FCD88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671374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제목 및 내용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내용 개체 틀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  <a:lvl2pPr>
              <a:defRPr>
                <a:latin typeface="나눔고딕" pitchFamily="50" charset="-127"/>
                <a:ea typeface="나눔고딕" pitchFamily="50" charset="-127"/>
              </a:defRPr>
            </a:lvl2pPr>
            <a:lvl3pPr>
              <a:defRPr>
                <a:latin typeface="나눔고딕" pitchFamily="50" charset="-127"/>
                <a:ea typeface="나눔고딕" pitchFamily="50" charset="-127"/>
              </a:defRPr>
            </a:lvl3pPr>
            <a:lvl4pPr>
              <a:defRPr>
                <a:latin typeface="나눔고딕" pitchFamily="50" charset="-127"/>
                <a:ea typeface="나눔고딕" pitchFamily="50" charset="-127"/>
              </a:defRPr>
            </a:lvl4pPr>
            <a:lvl5pPr>
              <a:defRPr>
                <a:latin typeface="나눔고딕" pitchFamily="50" charset="-127"/>
                <a:ea typeface="나눔고딕" pitchFamily="50" charset="-127"/>
              </a:defRPr>
            </a:lvl5pPr>
          </a:lstStyle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fld id="{8761FD00-3F21-42CF-9EF5-8F6D81CE3AFD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18-03-29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나눔고딕" pitchFamily="50" charset="-127"/>
                <a:ea typeface="나눔고딕" pitchFamily="50" charset="-127"/>
              </a:defRPr>
            </a:lvl1pPr>
          </a:lstStyle>
          <a:p>
            <a:fld id="{97D217C8-C1B9-4E84-BCEB-D9195FCD889E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8" name="그림 7" descr="jg_a4_02_ci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9022565" y="7084281"/>
            <a:ext cx="1367793" cy="277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46507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3" Type="http://schemas.openxmlformats.org/officeDocument/2006/relationships/slideLayout" Target="../slideLayouts/slideLayout103.xml"/><Relationship Id="rId7" Type="http://schemas.openxmlformats.org/officeDocument/2006/relationships/slideLayout" Target="../slideLayouts/slideLayout107.xml"/><Relationship Id="rId2" Type="http://schemas.openxmlformats.org/officeDocument/2006/relationships/slideLayout" Target="../slideLayouts/slideLayout102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5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104.xml"/><Relationship Id="rId9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6.xml"/><Relationship Id="rId3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115.xml"/><Relationship Id="rId2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109.xml"/><Relationship Id="rId6" Type="http://schemas.openxmlformats.org/officeDocument/2006/relationships/slideLayout" Target="../slideLayouts/slideLayout114.xml"/><Relationship Id="rId5" Type="http://schemas.openxmlformats.org/officeDocument/2006/relationships/slideLayout" Target="../slideLayouts/slideLayout113.xml"/><Relationship Id="rId4" Type="http://schemas.openxmlformats.org/officeDocument/2006/relationships/slideLayout" Target="../slideLayouts/slideLayout112.xml"/><Relationship Id="rId9" Type="http://schemas.openxmlformats.org/officeDocument/2006/relationships/theme" Target="../theme/theme1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6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7.xml"/><Relationship Id="rId3" Type="http://schemas.openxmlformats.org/officeDocument/2006/relationships/slideLayout" Target="../slideLayouts/slideLayout42.xml"/><Relationship Id="rId7" Type="http://schemas.openxmlformats.org/officeDocument/2006/relationships/slideLayout" Target="../slideLayouts/slideLayout46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1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5" Type="http://schemas.openxmlformats.org/officeDocument/2006/relationships/slideLayout" Target="../slideLayouts/slideLayout44.xml"/><Relationship Id="rId10" Type="http://schemas.openxmlformats.org/officeDocument/2006/relationships/slideLayout" Target="../slideLayouts/slideLayout49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53.xml"/><Relationship Id="rId7" Type="http://schemas.openxmlformats.org/officeDocument/2006/relationships/slideLayout" Target="../slideLayouts/slideLayout57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5" Type="http://schemas.openxmlformats.org/officeDocument/2006/relationships/slideLayout" Target="../slideLayouts/slideLayout55.xml"/><Relationship Id="rId10" Type="http://schemas.openxmlformats.org/officeDocument/2006/relationships/slideLayout" Target="../slideLayouts/slideLayout60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63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3" Type="http://schemas.openxmlformats.org/officeDocument/2006/relationships/slideLayout" Target="../slideLayouts/slideLayout79.xml"/><Relationship Id="rId7" Type="http://schemas.openxmlformats.org/officeDocument/2006/relationships/slideLayout" Target="../slideLayouts/slideLayout83.xml"/><Relationship Id="rId2" Type="http://schemas.openxmlformats.org/officeDocument/2006/relationships/slideLayout" Target="../slideLayouts/slideLayout78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5" Type="http://schemas.openxmlformats.org/officeDocument/2006/relationships/slideLayout" Target="../slideLayouts/slideLayout81.xml"/><Relationship Id="rId4" Type="http://schemas.openxmlformats.org/officeDocument/2006/relationships/slideLayout" Target="../slideLayouts/slideLayout80.xml"/><Relationship Id="rId9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2.xml"/><Relationship Id="rId3" Type="http://schemas.openxmlformats.org/officeDocument/2006/relationships/slideLayout" Target="../slideLayouts/slideLayout87.xml"/><Relationship Id="rId7" Type="http://schemas.openxmlformats.org/officeDocument/2006/relationships/slideLayout" Target="../slideLayouts/slideLayout91.xml"/><Relationship Id="rId2" Type="http://schemas.openxmlformats.org/officeDocument/2006/relationships/slideLayout" Target="../slideLayouts/slideLayout86.xml"/><Relationship Id="rId1" Type="http://schemas.openxmlformats.org/officeDocument/2006/relationships/slideLayout" Target="../slideLayouts/slideLayout85.xml"/><Relationship Id="rId6" Type="http://schemas.openxmlformats.org/officeDocument/2006/relationships/slideLayout" Target="../slideLayouts/slideLayout90.xml"/><Relationship Id="rId5" Type="http://schemas.openxmlformats.org/officeDocument/2006/relationships/slideLayout" Target="../slideLayouts/slideLayout89.xml"/><Relationship Id="rId4" Type="http://schemas.openxmlformats.org/officeDocument/2006/relationships/slideLayout" Target="../slideLayouts/slideLayout88.xml"/><Relationship Id="rId9" Type="http://schemas.openxmlformats.org/officeDocument/2006/relationships/theme" Target="../theme/theme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7.xml"/><Relationship Id="rId4" Type="http://schemas.openxmlformats.org/officeDocument/2006/relationships/slideLayout" Target="../slideLayouts/slideLayout96.xml"/><Relationship Id="rId9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101600" y="166688"/>
            <a:ext cx="6315075" cy="3286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9133" tIns="49583" rIns="99133" bIns="49583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12810245" name="Rectangle 5"/>
          <p:cNvSpPr>
            <a:spLocks noChangeArrowheads="1"/>
          </p:cNvSpPr>
          <p:nvPr/>
        </p:nvSpPr>
        <p:spPr bwMode="auto">
          <a:xfrm>
            <a:off x="10033001" y="225451"/>
            <a:ext cx="425450" cy="5032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9133" tIns="49583" rIns="99133" bIns="49583"/>
          <a:lstStyle/>
          <a:p>
            <a:pPr eaLnBrk="0" latinLnBrk="0" hangingPunct="0">
              <a:defRPr/>
            </a:pPr>
            <a:fld id="{01FBA289-EBC9-4055-B372-E93BBFE82FD4}" type="slidenum">
              <a:rPr kumimoji="0" lang="ko-KR" altLang="en-US" b="1">
                <a:solidFill>
                  <a:srgbClr val="FFFFFF"/>
                </a:solidFill>
                <a:latin typeface="Tahoma" pitchFamily="34" charset="0"/>
              </a:rPr>
              <a:pPr eaLnBrk="0" latinLnBrk="0" hangingPunct="0">
                <a:defRPr/>
              </a:pPr>
              <a:t>‹#›</a:t>
            </a:fld>
            <a:endParaRPr kumimoji="0" lang="en-US" altLang="ko-KR" b="1" dirty="0">
              <a:solidFill>
                <a:srgbClr val="FFFFFF"/>
              </a:solidFill>
              <a:latin typeface="Tahoma" pitchFamily="34" charset="0"/>
            </a:endParaRPr>
          </a:p>
        </p:txBody>
      </p:sp>
      <p:sp>
        <p:nvSpPr>
          <p:cNvPr id="12810246" name="Rectangle 6"/>
          <p:cNvSpPr>
            <a:spLocks noChangeArrowheads="1"/>
          </p:cNvSpPr>
          <p:nvPr/>
        </p:nvSpPr>
        <p:spPr bwMode="auto">
          <a:xfrm>
            <a:off x="9621841" y="233363"/>
            <a:ext cx="836612" cy="239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9133" tIns="49583" rIns="99133" bIns="49583"/>
          <a:lstStyle/>
          <a:p>
            <a:pPr eaLnBrk="0" latinLnBrk="0" hangingPunct="0">
              <a:defRPr/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</a:rPr>
              <a:t>PAGE - </a:t>
            </a:r>
            <a:endParaRPr kumimoji="0" lang="en-US" altLang="ko-KR" b="1" dirty="0">
              <a:solidFill>
                <a:srgbClr val="FFFFFF"/>
              </a:solidFill>
              <a:latin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52" r:id="rId1"/>
    <p:sldLayoutId id="2147483942" r:id="rId2"/>
    <p:sldLayoutId id="2147483943" r:id="rId3"/>
    <p:sldLayoutId id="2147483944" r:id="rId4"/>
    <p:sldLayoutId id="2147483945" r:id="rId5"/>
    <p:sldLayoutId id="2147483946" r:id="rId6"/>
    <p:sldLayoutId id="2147483947" r:id="rId7"/>
    <p:sldLayoutId id="2147483948" r:id="rId8"/>
    <p:sldLayoutId id="2147483949" r:id="rId9"/>
    <p:sldLayoutId id="2147483950" r:id="rId10"/>
    <p:sldLayoutId id="2147483951" r:id="rId11"/>
    <p:sldLayoutId id="2147484018" r:id="rId12"/>
  </p:sldLayoutIdLst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48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4800" b="1">
          <a:solidFill>
            <a:schemeClr val="tx1"/>
          </a:solidFill>
          <a:latin typeface="굴림" pitchFamily="50" charset="-127"/>
          <a:ea typeface="굴림" pitchFamily="50" charset="-127"/>
          <a:cs typeface="Arial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4800" b="1">
          <a:solidFill>
            <a:schemeClr val="tx1"/>
          </a:solidFill>
          <a:latin typeface="굴림" pitchFamily="50" charset="-127"/>
          <a:ea typeface="굴림" pitchFamily="50" charset="-127"/>
          <a:cs typeface="Arial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4800" b="1">
          <a:solidFill>
            <a:schemeClr val="tx1"/>
          </a:solidFill>
          <a:latin typeface="굴림" pitchFamily="50" charset="-127"/>
          <a:ea typeface="굴림" pitchFamily="50" charset="-127"/>
          <a:cs typeface="Arial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4800" b="1">
          <a:solidFill>
            <a:schemeClr val="tx1"/>
          </a:solidFill>
          <a:latin typeface="굴림" pitchFamily="50" charset="-127"/>
          <a:ea typeface="굴림" pitchFamily="50" charset="-127"/>
          <a:cs typeface="Arial" charset="0"/>
        </a:defRPr>
      </a:lvl5pPr>
      <a:lvl6pPr marL="495651" algn="l" rtl="0" fontAlgn="base" latinLnBrk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굴림" pitchFamily="50" charset="-127"/>
          <a:ea typeface="굴림" pitchFamily="50" charset="-127"/>
          <a:cs typeface="Arial" charset="0"/>
        </a:defRPr>
      </a:lvl6pPr>
      <a:lvl7pPr marL="991305" algn="l" rtl="0" fontAlgn="base" latinLnBrk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굴림" pitchFamily="50" charset="-127"/>
          <a:ea typeface="굴림" pitchFamily="50" charset="-127"/>
          <a:cs typeface="Arial" charset="0"/>
        </a:defRPr>
      </a:lvl7pPr>
      <a:lvl8pPr marL="1486957" algn="l" rtl="0" fontAlgn="base" latinLnBrk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굴림" pitchFamily="50" charset="-127"/>
          <a:ea typeface="굴림" pitchFamily="50" charset="-127"/>
          <a:cs typeface="Arial" charset="0"/>
        </a:defRPr>
      </a:lvl8pPr>
      <a:lvl9pPr marL="1982616" algn="l" rtl="0" fontAlgn="base" latinLnBrk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굴림" pitchFamily="50" charset="-127"/>
          <a:ea typeface="굴림" pitchFamily="50" charset="-127"/>
          <a:cs typeface="Arial" charset="0"/>
        </a:defRPr>
      </a:lvl9pPr>
    </p:titleStyle>
    <p:bodyStyle>
      <a:lvl1pPr marL="371427" indent="-371427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1700">
          <a:solidFill>
            <a:schemeClr val="bg1"/>
          </a:solidFill>
          <a:latin typeface="+mn-lt"/>
          <a:ea typeface="+mn-ea"/>
          <a:cs typeface="+mn-cs"/>
        </a:defRPr>
      </a:lvl1pPr>
      <a:lvl2pPr marL="804482" indent="-309781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3000">
          <a:solidFill>
            <a:schemeClr val="tx1"/>
          </a:solidFill>
          <a:latin typeface="+mn-lt"/>
          <a:ea typeface="+mn-ea"/>
          <a:cs typeface="+mn-cs"/>
        </a:defRPr>
      </a:lvl2pPr>
      <a:lvl3pPr marL="1239122" indent="-246562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600">
          <a:solidFill>
            <a:schemeClr val="tx1"/>
          </a:solidFill>
          <a:latin typeface="+mn-lt"/>
          <a:ea typeface="+mn-ea"/>
          <a:cs typeface="+mn-cs"/>
        </a:defRPr>
      </a:lvl3pPr>
      <a:lvl4pPr marL="1733816" indent="-246562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200">
          <a:solidFill>
            <a:schemeClr val="tx1"/>
          </a:solidFill>
          <a:latin typeface="+mn-lt"/>
          <a:ea typeface="+mn-ea"/>
          <a:cs typeface="+mn-cs"/>
        </a:defRPr>
      </a:lvl4pPr>
      <a:lvl5pPr marL="2230102" indent="-246562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200">
          <a:solidFill>
            <a:schemeClr val="tx1"/>
          </a:solidFill>
          <a:latin typeface="+mn-lt"/>
          <a:ea typeface="+mn-ea"/>
          <a:cs typeface="+mn-cs"/>
        </a:defRPr>
      </a:lvl5pPr>
      <a:lvl6pPr marL="2726095" indent="-247827" algn="l" rtl="0" fontAlgn="base" latinLnBrk="1">
        <a:spcBef>
          <a:spcPct val="20000"/>
        </a:spcBef>
        <a:spcAft>
          <a:spcPct val="0"/>
        </a:spcAft>
        <a:defRPr kumimoji="1" sz="2200">
          <a:solidFill>
            <a:schemeClr val="tx1"/>
          </a:solidFill>
          <a:latin typeface="+mn-lt"/>
          <a:ea typeface="+mn-ea"/>
          <a:cs typeface="+mn-cs"/>
        </a:defRPr>
      </a:lvl6pPr>
      <a:lvl7pPr marL="3221747" indent="-247827" algn="l" rtl="0" fontAlgn="base" latinLnBrk="1">
        <a:spcBef>
          <a:spcPct val="20000"/>
        </a:spcBef>
        <a:spcAft>
          <a:spcPct val="0"/>
        </a:spcAft>
        <a:defRPr kumimoji="1" sz="2200">
          <a:solidFill>
            <a:schemeClr val="tx1"/>
          </a:solidFill>
          <a:latin typeface="+mn-lt"/>
          <a:ea typeface="+mn-ea"/>
          <a:cs typeface="+mn-cs"/>
        </a:defRPr>
      </a:lvl7pPr>
      <a:lvl8pPr marL="3717404" indent="-247827" algn="l" rtl="0" fontAlgn="base" latinLnBrk="1">
        <a:spcBef>
          <a:spcPct val="20000"/>
        </a:spcBef>
        <a:spcAft>
          <a:spcPct val="0"/>
        </a:spcAft>
        <a:defRPr kumimoji="1" sz="2200">
          <a:solidFill>
            <a:schemeClr val="tx1"/>
          </a:solidFill>
          <a:latin typeface="+mn-lt"/>
          <a:ea typeface="+mn-ea"/>
          <a:cs typeface="+mn-cs"/>
        </a:defRPr>
      </a:lvl8pPr>
      <a:lvl9pPr marL="4213053" indent="-247827" algn="l" rtl="0" fontAlgn="base" latinLnBrk="1">
        <a:spcBef>
          <a:spcPct val="20000"/>
        </a:spcBef>
        <a:spcAft>
          <a:spcPct val="0"/>
        </a:spcAft>
        <a:defRPr kumimoji="1" sz="2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91305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495651" algn="l" defTabSz="991305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991305" algn="l" defTabSz="991305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486957" algn="l" defTabSz="991305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1982616" algn="l" defTabSz="991305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478271" algn="l" defTabSz="991305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2973917" algn="l" defTabSz="991305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469575" algn="l" defTabSz="991305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3965228" algn="l" defTabSz="991305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534670" y="302802"/>
            <a:ext cx="9624060" cy="1260211"/>
          </a:xfrm>
          <a:prstGeom prst="rect">
            <a:avLst/>
          </a:prstGeom>
        </p:spPr>
        <p:txBody>
          <a:bodyPr vert="horz" lIns="104214" tIns="52107" rIns="104214" bIns="52107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534670" y="1764295"/>
            <a:ext cx="9624060" cy="4990084"/>
          </a:xfrm>
          <a:prstGeom prst="rect">
            <a:avLst/>
          </a:prstGeom>
        </p:spPr>
        <p:txBody>
          <a:bodyPr vert="horz" lIns="104214" tIns="52107" rIns="104214" bIns="52107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534671" y="7008177"/>
            <a:ext cx="2495127" cy="402567"/>
          </a:xfrm>
          <a:prstGeom prst="rect">
            <a:avLst/>
          </a:prstGeom>
        </p:spPr>
        <p:txBody>
          <a:bodyPr vert="horz" lIns="104214" tIns="52107" rIns="104214" bIns="52107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1042136" fontAlgn="auto">
              <a:spcBef>
                <a:spcPts val="0"/>
              </a:spcBef>
              <a:spcAft>
                <a:spcPts val="0"/>
              </a:spcAft>
            </a:pPr>
            <a:fld id="{8761FD00-3F21-42CF-9EF5-8F6D81CE3AFD}" type="datetimeFigureOut">
              <a:rPr kumimoji="0" lang="ko-KR" altLang="en-US" smtClean="0">
                <a:solidFill>
                  <a:prstClr val="black">
                    <a:tint val="75000"/>
                  </a:prstClr>
                </a:solidFill>
              </a:rPr>
              <a:pPr defTabSz="1042136" fontAlgn="auto">
                <a:spcBef>
                  <a:spcPts val="0"/>
                </a:spcBef>
                <a:spcAft>
                  <a:spcPts val="0"/>
                </a:spcAft>
              </a:pPr>
              <a:t>2018-03-29</a:t>
            </a:fld>
            <a:endParaRPr kumimoji="0"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653582" y="7008177"/>
            <a:ext cx="3386243" cy="402567"/>
          </a:xfrm>
          <a:prstGeom prst="rect">
            <a:avLst/>
          </a:prstGeom>
        </p:spPr>
        <p:txBody>
          <a:bodyPr vert="horz" lIns="104214" tIns="52107" rIns="104214" bIns="52107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1042136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7663603" y="7008177"/>
            <a:ext cx="2495127" cy="402567"/>
          </a:xfrm>
          <a:prstGeom prst="rect">
            <a:avLst/>
          </a:prstGeom>
        </p:spPr>
        <p:txBody>
          <a:bodyPr vert="horz" lIns="104214" tIns="52107" rIns="104214" bIns="52107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1042136" fontAlgn="auto">
              <a:spcBef>
                <a:spcPts val="0"/>
              </a:spcBef>
              <a:spcAft>
                <a:spcPts val="0"/>
              </a:spcAft>
            </a:pPr>
            <a:fld id="{97D217C8-C1B9-4E84-BCEB-D9195FCD889E}" type="slidenum">
              <a:rPr kumimoji="0" lang="ko-KR" altLang="en-US" smtClean="0">
                <a:solidFill>
                  <a:prstClr val="black">
                    <a:tint val="75000"/>
                  </a:prstClr>
                </a:solidFill>
              </a:rPr>
              <a:pPr defTabSz="1042136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72264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8" r:id="rId1"/>
    <p:sldLayoutId id="2147484089" r:id="rId2"/>
    <p:sldLayoutId id="2147484090" r:id="rId3"/>
    <p:sldLayoutId id="2147484091" r:id="rId4"/>
    <p:sldLayoutId id="2147484092" r:id="rId5"/>
    <p:sldLayoutId id="2147484093" r:id="rId6"/>
    <p:sldLayoutId id="2147484094" r:id="rId7"/>
    <p:sldLayoutId id="2147484095" r:id="rId8"/>
  </p:sldLayoutIdLst>
  <p:txStyles>
    <p:titleStyle>
      <a:lvl1pPr algn="ctr" defTabSz="1042136" rtl="0" eaLnBrk="1" latinLnBrk="1" hangingPunct="1">
        <a:spcBef>
          <a:spcPct val="0"/>
        </a:spcBef>
        <a:buNone/>
        <a:defRPr sz="5000" kern="1200">
          <a:solidFill>
            <a:schemeClr val="tx1"/>
          </a:solidFill>
          <a:latin typeface="나눔고딕" pitchFamily="50" charset="-127"/>
          <a:ea typeface="나눔고딕" pitchFamily="50" charset="-127"/>
          <a:cs typeface="+mj-cs"/>
        </a:defRPr>
      </a:lvl1pPr>
    </p:titleStyle>
    <p:bodyStyle>
      <a:lvl1pPr marL="390800" indent="-390800" algn="l" defTabSz="1042136" rtl="0" eaLnBrk="1" latinLnBrk="1" hangingPunct="1">
        <a:spcBef>
          <a:spcPct val="20000"/>
        </a:spcBef>
        <a:buFont typeface="Arial" pitchFamily="34" charset="0"/>
        <a:buChar char="•"/>
        <a:defRPr sz="3700" kern="1200">
          <a:solidFill>
            <a:schemeClr val="tx1"/>
          </a:solidFill>
          <a:latin typeface="나눔고딕" pitchFamily="50" charset="-127"/>
          <a:ea typeface="나눔고딕" pitchFamily="50" charset="-127"/>
          <a:cs typeface="+mn-cs"/>
        </a:defRPr>
      </a:lvl1pPr>
      <a:lvl2pPr marL="846736" indent="-325670" algn="l" defTabSz="1042136" rtl="0" eaLnBrk="1" latinLnBrk="1" hangingPunct="1">
        <a:spcBef>
          <a:spcPct val="20000"/>
        </a:spcBef>
        <a:buFont typeface="Arial" pitchFamily="34" charset="0"/>
        <a:buChar char="–"/>
        <a:defRPr sz="3200" kern="1200">
          <a:solidFill>
            <a:schemeClr val="tx1"/>
          </a:solidFill>
          <a:latin typeface="나눔고딕" pitchFamily="50" charset="-127"/>
          <a:ea typeface="나눔고딕" pitchFamily="50" charset="-127"/>
          <a:cs typeface="+mn-cs"/>
        </a:defRPr>
      </a:lvl2pPr>
      <a:lvl3pPr marL="1302670" indent="-260534" algn="l" defTabSz="1042136" rtl="0" eaLnBrk="1" latinLnBrk="1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나눔고딕" pitchFamily="50" charset="-127"/>
          <a:ea typeface="나눔고딕" pitchFamily="50" charset="-127"/>
          <a:cs typeface="+mn-cs"/>
        </a:defRPr>
      </a:lvl3pPr>
      <a:lvl4pPr marL="1823739" indent="-260534" algn="l" defTabSz="1042136" rtl="0" eaLnBrk="1" latinLnBrk="1" hangingPunct="1">
        <a:spcBef>
          <a:spcPct val="20000"/>
        </a:spcBef>
        <a:buFont typeface="Arial" pitchFamily="34" charset="0"/>
        <a:buChar char="–"/>
        <a:defRPr sz="2300" kern="1200">
          <a:solidFill>
            <a:schemeClr val="tx1"/>
          </a:solidFill>
          <a:latin typeface="나눔고딕" pitchFamily="50" charset="-127"/>
          <a:ea typeface="나눔고딕" pitchFamily="50" charset="-127"/>
          <a:cs typeface="+mn-cs"/>
        </a:defRPr>
      </a:lvl4pPr>
      <a:lvl5pPr marL="2344806" indent="-260534" algn="l" defTabSz="1042136" rtl="0" eaLnBrk="1" latinLnBrk="1" hangingPunct="1">
        <a:spcBef>
          <a:spcPct val="20000"/>
        </a:spcBef>
        <a:buFont typeface="Arial" pitchFamily="34" charset="0"/>
        <a:buChar char="»"/>
        <a:defRPr sz="2300" kern="1200">
          <a:solidFill>
            <a:schemeClr val="tx1"/>
          </a:solidFill>
          <a:latin typeface="나눔고딕" pitchFamily="50" charset="-127"/>
          <a:ea typeface="나눔고딕" pitchFamily="50" charset="-127"/>
          <a:cs typeface="+mn-cs"/>
        </a:defRPr>
      </a:lvl5pPr>
      <a:lvl6pPr marL="2865875" indent="-260534" algn="l" defTabSz="1042136" rtl="0" eaLnBrk="1" latinLnBrk="1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6941" indent="-260534" algn="l" defTabSz="1042136" rtl="0" eaLnBrk="1" latinLnBrk="1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08011" indent="-260534" algn="l" defTabSz="1042136" rtl="0" eaLnBrk="1" latinLnBrk="1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29079" indent="-260534" algn="l" defTabSz="1042136" rtl="0" eaLnBrk="1" latinLnBrk="1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1042136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068" algn="l" defTabSz="1042136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2136" algn="l" defTabSz="1042136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3204" algn="l" defTabSz="1042136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4273" algn="l" defTabSz="1042136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5339" algn="l" defTabSz="1042136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6408" algn="l" defTabSz="1042136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7477" algn="l" defTabSz="1042136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8543" algn="l" defTabSz="1042136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534670" y="302801"/>
            <a:ext cx="9624060" cy="1260211"/>
          </a:xfrm>
          <a:prstGeom prst="rect">
            <a:avLst/>
          </a:prstGeom>
        </p:spPr>
        <p:txBody>
          <a:bodyPr vert="horz" lIns="104306" tIns="52153" rIns="104306" bIns="52153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534670" y="1764295"/>
            <a:ext cx="9624060" cy="4990084"/>
          </a:xfrm>
          <a:prstGeom prst="rect">
            <a:avLst/>
          </a:prstGeom>
        </p:spPr>
        <p:txBody>
          <a:bodyPr vert="horz" lIns="104306" tIns="52153" rIns="104306" bIns="52153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534670" y="7008171"/>
            <a:ext cx="2495127" cy="402567"/>
          </a:xfrm>
          <a:prstGeom prst="rect">
            <a:avLst/>
          </a:prstGeom>
        </p:spPr>
        <p:txBody>
          <a:bodyPr vert="horz" lIns="104306" tIns="52153" rIns="104306" bIns="52153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1043056" fontAlgn="auto">
              <a:spcBef>
                <a:spcPts val="0"/>
              </a:spcBef>
              <a:spcAft>
                <a:spcPts val="0"/>
              </a:spcAft>
            </a:pPr>
            <a:fld id="{8761FD00-3F21-42CF-9EF5-8F6D81CE3AFD}" type="datetimeFigureOut">
              <a:rPr kumimoji="0" lang="ko-KR" altLang="en-US" smtClean="0">
                <a:solidFill>
                  <a:prstClr val="black">
                    <a:tint val="75000"/>
                  </a:prstClr>
                </a:solidFill>
              </a:rPr>
              <a:pPr defTabSz="1043056" fontAlgn="auto">
                <a:spcBef>
                  <a:spcPts val="0"/>
                </a:spcBef>
                <a:spcAft>
                  <a:spcPts val="0"/>
                </a:spcAft>
              </a:pPr>
              <a:t>2018-03-29</a:t>
            </a:fld>
            <a:endParaRPr kumimoji="0"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653579" y="7008171"/>
            <a:ext cx="3386243" cy="402567"/>
          </a:xfrm>
          <a:prstGeom prst="rect">
            <a:avLst/>
          </a:prstGeom>
        </p:spPr>
        <p:txBody>
          <a:bodyPr vert="horz" lIns="104306" tIns="52153" rIns="104306" bIns="52153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1043056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7663603" y="7008171"/>
            <a:ext cx="2495127" cy="402567"/>
          </a:xfrm>
          <a:prstGeom prst="rect">
            <a:avLst/>
          </a:prstGeom>
        </p:spPr>
        <p:txBody>
          <a:bodyPr vert="horz" lIns="104306" tIns="52153" rIns="104306" bIns="52153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1043056" fontAlgn="auto">
              <a:spcBef>
                <a:spcPts val="0"/>
              </a:spcBef>
              <a:spcAft>
                <a:spcPts val="0"/>
              </a:spcAft>
            </a:pPr>
            <a:fld id="{97D217C8-C1B9-4E84-BCEB-D9195FCD889E}" type="slidenum">
              <a:rPr kumimoji="0" lang="ko-KR" altLang="en-US" smtClean="0">
                <a:solidFill>
                  <a:prstClr val="black">
                    <a:tint val="75000"/>
                  </a:prstClr>
                </a:solidFill>
              </a:rPr>
              <a:pPr defTabSz="1043056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537807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7" r:id="rId1"/>
    <p:sldLayoutId id="2147484098" r:id="rId2"/>
    <p:sldLayoutId id="2147484099" r:id="rId3"/>
    <p:sldLayoutId id="2147484100" r:id="rId4"/>
    <p:sldLayoutId id="2147484101" r:id="rId5"/>
    <p:sldLayoutId id="2147484102" r:id="rId6"/>
    <p:sldLayoutId id="2147484103" r:id="rId7"/>
    <p:sldLayoutId id="2147484104" r:id="rId8"/>
  </p:sldLayoutIdLst>
  <p:txStyles>
    <p:titleStyle>
      <a:lvl1pPr algn="ctr" defTabSz="1043056" rtl="0" eaLnBrk="1" latinLnBrk="1" hangingPunct="1">
        <a:spcBef>
          <a:spcPct val="0"/>
        </a:spcBef>
        <a:buNone/>
        <a:defRPr sz="5000" kern="1200">
          <a:solidFill>
            <a:schemeClr val="tx1"/>
          </a:solidFill>
          <a:latin typeface="나눔고딕" pitchFamily="50" charset="-127"/>
          <a:ea typeface="나눔고딕" pitchFamily="50" charset="-127"/>
          <a:cs typeface="+mj-cs"/>
        </a:defRPr>
      </a:lvl1pPr>
    </p:titleStyle>
    <p:bodyStyle>
      <a:lvl1pPr marL="391146" indent="-391146" algn="l" defTabSz="1043056" rtl="0" eaLnBrk="1" latinLnBrk="1" hangingPunct="1">
        <a:spcBef>
          <a:spcPct val="20000"/>
        </a:spcBef>
        <a:buFont typeface="Arial" pitchFamily="34" charset="0"/>
        <a:buChar char="•"/>
        <a:defRPr sz="3700" kern="1200">
          <a:solidFill>
            <a:schemeClr val="tx1"/>
          </a:solidFill>
          <a:latin typeface="나눔고딕" pitchFamily="50" charset="-127"/>
          <a:ea typeface="나눔고딕" pitchFamily="50" charset="-127"/>
          <a:cs typeface="+mn-cs"/>
        </a:defRPr>
      </a:lvl1pPr>
      <a:lvl2pPr marL="847483" indent="-325955" algn="l" defTabSz="1043056" rtl="0" eaLnBrk="1" latinLnBrk="1" hangingPunct="1">
        <a:spcBef>
          <a:spcPct val="20000"/>
        </a:spcBef>
        <a:buFont typeface="Arial" pitchFamily="34" charset="0"/>
        <a:buChar char="–"/>
        <a:defRPr sz="3200" kern="1200">
          <a:solidFill>
            <a:schemeClr val="tx1"/>
          </a:solidFill>
          <a:latin typeface="나눔고딕" pitchFamily="50" charset="-127"/>
          <a:ea typeface="나눔고딕" pitchFamily="50" charset="-127"/>
          <a:cs typeface="+mn-cs"/>
        </a:defRPr>
      </a:lvl2pPr>
      <a:lvl3pPr marL="1303820" indent="-260764" algn="l" defTabSz="1043056" rtl="0" eaLnBrk="1" latinLnBrk="1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나눔고딕" pitchFamily="50" charset="-127"/>
          <a:ea typeface="나눔고딕" pitchFamily="50" charset="-127"/>
          <a:cs typeface="+mn-cs"/>
        </a:defRPr>
      </a:lvl3pPr>
      <a:lvl4pPr marL="1825348" indent="-260764" algn="l" defTabSz="1043056" rtl="0" eaLnBrk="1" latinLnBrk="1" hangingPunct="1">
        <a:spcBef>
          <a:spcPct val="20000"/>
        </a:spcBef>
        <a:buFont typeface="Arial" pitchFamily="34" charset="0"/>
        <a:buChar char="–"/>
        <a:defRPr sz="2300" kern="1200">
          <a:solidFill>
            <a:schemeClr val="tx1"/>
          </a:solidFill>
          <a:latin typeface="나눔고딕" pitchFamily="50" charset="-127"/>
          <a:ea typeface="나눔고딕" pitchFamily="50" charset="-127"/>
          <a:cs typeface="+mn-cs"/>
        </a:defRPr>
      </a:lvl4pPr>
      <a:lvl5pPr marL="2346876" indent="-260764" algn="l" defTabSz="1043056" rtl="0" eaLnBrk="1" latinLnBrk="1" hangingPunct="1">
        <a:spcBef>
          <a:spcPct val="20000"/>
        </a:spcBef>
        <a:buFont typeface="Arial" pitchFamily="34" charset="0"/>
        <a:buChar char="»"/>
        <a:defRPr sz="2300" kern="1200">
          <a:solidFill>
            <a:schemeClr val="tx1"/>
          </a:solidFill>
          <a:latin typeface="나눔고딕" pitchFamily="50" charset="-127"/>
          <a:ea typeface="나눔고딕" pitchFamily="50" charset="-127"/>
          <a:cs typeface="+mn-cs"/>
        </a:defRPr>
      </a:lvl5pPr>
      <a:lvl6pPr marL="2868404" indent="-260764" algn="l" defTabSz="1043056" rtl="0" eaLnBrk="1" latinLnBrk="1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1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1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8" indent="-260764" algn="l" defTabSz="1043056" rtl="0" eaLnBrk="1" latinLnBrk="1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1043056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40" algn="l" defTabSz="1043056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직선 연결선 15"/>
          <p:cNvSpPr>
            <a:spLocks noChangeShapeType="1"/>
          </p:cNvSpPr>
          <p:nvPr/>
        </p:nvSpPr>
        <p:spPr bwMode="auto">
          <a:xfrm>
            <a:off x="10247842" y="0"/>
            <a:ext cx="0" cy="7561263"/>
          </a:xfrm>
          <a:prstGeom prst="line">
            <a:avLst/>
          </a:prstGeom>
          <a:noFill/>
          <a:ln w="38100" cap="flat" cmpd="sng" algn="ctr">
            <a:solidFill>
              <a:schemeClr val="accent1">
                <a:tint val="60000"/>
                <a:alpha val="93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685" tIns="51843" rIns="103685" bIns="51843" anchor="t" compatLnSpc="1"/>
          <a:lstStyle/>
          <a:p>
            <a:pPr defTabSz="1036814" fontAlgn="auto">
              <a:spcBef>
                <a:spcPts val="0"/>
              </a:spcBef>
              <a:spcAft>
                <a:spcPts val="0"/>
              </a:spcAft>
            </a:pPr>
            <a:endParaRPr kumimoji="0" lang="en-US" sz="2100" dirty="0">
              <a:solidFill>
                <a:prstClr val="black"/>
              </a:solidFill>
              <a:latin typeface="Century Schoolbook"/>
            </a:endParaRPr>
          </a:p>
        </p:txBody>
      </p:sp>
      <p:sp>
        <p:nvSpPr>
          <p:cNvPr id="22" name="제목 개체 틀 21"/>
          <p:cNvSpPr>
            <a:spLocks noGrp="1"/>
          </p:cNvSpPr>
          <p:nvPr>
            <p:ph type="title"/>
          </p:nvPr>
        </p:nvSpPr>
        <p:spPr>
          <a:xfrm>
            <a:off x="534670" y="302802"/>
            <a:ext cx="8732943" cy="1260211"/>
          </a:xfrm>
          <a:prstGeom prst="rect">
            <a:avLst/>
          </a:prstGeom>
        </p:spPr>
        <p:txBody>
          <a:bodyPr vert="horz" lIns="103685" tIns="51843" rIns="103685" bIns="51843" anchor="b">
            <a:normAutofit/>
          </a:bodyPr>
          <a:lstStyle/>
          <a:p>
            <a:r>
              <a:rPr kumimoji="0" lang="ko-KR" altLang="en-US" smtClean="0"/>
              <a:t>마스터 제목 스타일 편집</a:t>
            </a:r>
            <a:endParaRPr kumimoji="0" lang="en-US"/>
          </a:p>
        </p:txBody>
      </p:sp>
      <p:sp>
        <p:nvSpPr>
          <p:cNvPr id="13" name="텍스트 개체 틀 12"/>
          <p:cNvSpPr>
            <a:spLocks noGrp="1"/>
          </p:cNvSpPr>
          <p:nvPr>
            <p:ph type="body" idx="1"/>
          </p:nvPr>
        </p:nvSpPr>
        <p:spPr>
          <a:xfrm>
            <a:off x="534670" y="1764294"/>
            <a:ext cx="8732943" cy="5373538"/>
          </a:xfrm>
          <a:prstGeom prst="rect">
            <a:avLst/>
          </a:prstGeom>
        </p:spPr>
        <p:txBody>
          <a:bodyPr vert="horz" lIns="103685" tIns="51843" rIns="103685" bIns="51843">
            <a:normAutofit/>
          </a:bodyPr>
          <a:lstStyle/>
          <a:p>
            <a:pPr lvl="0" eaLnBrk="1" latinLnBrk="0" hangingPunct="1"/>
            <a:r>
              <a:rPr kumimoji="0" lang="ko-KR" altLang="en-US" smtClean="0"/>
              <a:t>마스터 텍스트 스타일을 편집합니다</a:t>
            </a:r>
          </a:p>
          <a:p>
            <a:pPr lvl="1" eaLnBrk="1" latinLnBrk="0" hangingPunct="1"/>
            <a:r>
              <a:rPr kumimoji="0" lang="ko-KR" altLang="en-US" smtClean="0"/>
              <a:t>둘째 수준</a:t>
            </a:r>
          </a:p>
          <a:p>
            <a:pPr lvl="2" eaLnBrk="1" latinLnBrk="0" hangingPunct="1"/>
            <a:r>
              <a:rPr kumimoji="0" lang="ko-KR" altLang="en-US" smtClean="0"/>
              <a:t>셋째 수준</a:t>
            </a:r>
          </a:p>
          <a:p>
            <a:pPr lvl="3" eaLnBrk="1" latinLnBrk="0" hangingPunct="1"/>
            <a:r>
              <a:rPr kumimoji="0" lang="ko-KR" altLang="en-US" smtClean="0"/>
              <a:t>넷째 수준</a:t>
            </a:r>
          </a:p>
          <a:p>
            <a:pPr lvl="4" eaLnBrk="1" latinLnBrk="0" hangingPunct="1"/>
            <a:r>
              <a:rPr kumimoji="0" lang="ko-KR" altLang="en-US" smtClean="0"/>
              <a:t>다섯째 수준</a:t>
            </a:r>
            <a:endParaRPr kumimoji="0" lang="en-US"/>
          </a:p>
        </p:txBody>
      </p:sp>
      <p:sp>
        <p:nvSpPr>
          <p:cNvPr id="14" name="날짜 개체 틀 13"/>
          <p:cNvSpPr>
            <a:spLocks noGrp="1"/>
          </p:cNvSpPr>
          <p:nvPr>
            <p:ph type="dt" sz="half" idx="2"/>
          </p:nvPr>
        </p:nvSpPr>
        <p:spPr>
          <a:xfrm rot="5400000">
            <a:off x="8942811" y="1179947"/>
            <a:ext cx="2217970" cy="449123"/>
          </a:xfrm>
          <a:prstGeom prst="rect">
            <a:avLst/>
          </a:prstGeom>
        </p:spPr>
        <p:txBody>
          <a:bodyPr vert="horz" lIns="103685" tIns="51843" rIns="103685" bIns="51843" anchor="ctr" anchorCtr="0"/>
          <a:lstStyle>
            <a:lvl1pPr algn="r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pPr defTabSz="1036814" fontAlgn="auto">
              <a:spcBef>
                <a:spcPts val="0"/>
              </a:spcBef>
              <a:spcAft>
                <a:spcPts val="0"/>
              </a:spcAft>
            </a:pPr>
            <a:fld id="{582EF422-6799-4543-9129-69758A77C2D3}" type="datetimeFigureOut">
              <a:rPr lang="ko-KR" altLang="en-US" smtClean="0">
                <a:solidFill>
                  <a:srgbClr val="575F6D"/>
                </a:solidFill>
                <a:latin typeface="Century Schoolbook"/>
                <a:ea typeface="휴먼매직체"/>
              </a:rPr>
              <a:pPr defTabSz="1036814" fontAlgn="auto">
                <a:spcBef>
                  <a:spcPts val="0"/>
                </a:spcBef>
                <a:spcAft>
                  <a:spcPts val="0"/>
                </a:spcAft>
              </a:pPr>
              <a:t>2018-03-29</a:t>
            </a:fld>
            <a:endParaRPr lang="ko-KR" altLang="en-US">
              <a:solidFill>
                <a:srgbClr val="575F6D"/>
              </a:solidFill>
              <a:latin typeface="Century Schoolbook"/>
              <a:ea typeface="휴먼매직체"/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3"/>
          </p:nvPr>
        </p:nvSpPr>
        <p:spPr>
          <a:xfrm rot="5400000">
            <a:off x="8281687" y="4108246"/>
            <a:ext cx="3528589" cy="427736"/>
          </a:xfrm>
          <a:prstGeom prst="rect">
            <a:avLst/>
          </a:prstGeom>
        </p:spPr>
        <p:txBody>
          <a:bodyPr vert="horz" lIns="103685" tIns="51843" rIns="103685" bIns="51843" anchor="ctr" anchorCtr="0"/>
          <a:lstStyle>
            <a:lvl1pPr algn="l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pPr defTabSz="1036814" fontAlgn="auto">
              <a:spcBef>
                <a:spcPts val="0"/>
              </a:spcBef>
              <a:spcAft>
                <a:spcPts val="0"/>
              </a:spcAft>
            </a:pPr>
            <a:endParaRPr lang="ko-KR" altLang="en-US">
              <a:solidFill>
                <a:srgbClr val="575F6D"/>
              </a:solidFill>
              <a:latin typeface="Century Schoolbook"/>
              <a:ea typeface="휴먼매직체"/>
            </a:endParaRPr>
          </a:p>
        </p:txBody>
      </p:sp>
      <p:sp>
        <p:nvSpPr>
          <p:cNvPr id="7" name="직선 연결선 6"/>
          <p:cNvSpPr>
            <a:spLocks noChangeShapeType="1"/>
          </p:cNvSpPr>
          <p:nvPr/>
        </p:nvSpPr>
        <p:spPr bwMode="auto">
          <a:xfrm>
            <a:off x="89112" y="0"/>
            <a:ext cx="0" cy="7561263"/>
          </a:xfrm>
          <a:prstGeom prst="line">
            <a:avLst/>
          </a:prstGeom>
          <a:noFill/>
          <a:ln w="57150" cap="flat" cmpd="thickThin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685" tIns="51843" rIns="103685" bIns="51843" anchor="t" compatLnSpc="1"/>
          <a:lstStyle/>
          <a:p>
            <a:pPr defTabSz="1036814" fontAlgn="auto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black"/>
              </a:solidFill>
              <a:latin typeface="Century Schoolbook"/>
            </a:endParaRPr>
          </a:p>
        </p:txBody>
      </p:sp>
      <p:sp>
        <p:nvSpPr>
          <p:cNvPr id="9" name="직선 연결선 8"/>
          <p:cNvSpPr>
            <a:spLocks noChangeShapeType="1"/>
          </p:cNvSpPr>
          <p:nvPr/>
        </p:nvSpPr>
        <p:spPr bwMode="auto">
          <a:xfrm>
            <a:off x="10515177" y="0"/>
            <a:ext cx="0" cy="7561263"/>
          </a:xfrm>
          <a:prstGeom prst="line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685" tIns="51843" rIns="103685" bIns="51843" anchor="t" compatLnSpc="1"/>
          <a:lstStyle/>
          <a:p>
            <a:pPr defTabSz="1036814" fontAlgn="auto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black"/>
              </a:solidFill>
              <a:latin typeface="Century Schoolbook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10336953" y="0"/>
            <a:ext cx="356447" cy="7561263"/>
          </a:xfrm>
          <a:prstGeom prst="rect">
            <a:avLst/>
          </a:prstGeom>
          <a:solidFill>
            <a:schemeClr val="accent1">
              <a:tint val="60000"/>
              <a:alpha val="87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685" tIns="51843" rIns="103685" bIns="51843" anchor="ctr"/>
          <a:lstStyle/>
          <a:p>
            <a:pPr algn="ctr" defTabSz="1036814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white"/>
              </a:solidFill>
            </a:endParaRPr>
          </a:p>
        </p:txBody>
      </p:sp>
      <p:sp>
        <p:nvSpPr>
          <p:cNvPr id="11" name="직선 연결선 10"/>
          <p:cNvSpPr>
            <a:spLocks noChangeShapeType="1"/>
          </p:cNvSpPr>
          <p:nvPr/>
        </p:nvSpPr>
        <p:spPr bwMode="auto">
          <a:xfrm>
            <a:off x="10426065" y="0"/>
            <a:ext cx="0" cy="7561263"/>
          </a:xfrm>
          <a:prstGeom prst="lin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685" tIns="51843" rIns="103685" bIns="51843" anchor="t" compatLnSpc="1"/>
          <a:lstStyle/>
          <a:p>
            <a:pPr defTabSz="1036814" fontAlgn="auto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black"/>
              </a:solidFill>
              <a:latin typeface="Century Schoolbook"/>
            </a:endParaRPr>
          </a:p>
        </p:txBody>
      </p:sp>
      <p:sp>
        <p:nvSpPr>
          <p:cNvPr id="12" name="타원 11"/>
          <p:cNvSpPr/>
          <p:nvPr/>
        </p:nvSpPr>
        <p:spPr>
          <a:xfrm>
            <a:off x="9538513" y="6301058"/>
            <a:ext cx="641604" cy="604901"/>
          </a:xfrm>
          <a:prstGeom prst="ellipse">
            <a:avLst/>
          </a:prstGeom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685" tIns="51843" rIns="103685" bIns="51843" anchor="ctr"/>
          <a:lstStyle/>
          <a:p>
            <a:pPr algn="ctr" defTabSz="1036814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 dirty="0">
              <a:solidFill>
                <a:prstClr val="white"/>
              </a:solidFill>
            </a:endParaRPr>
          </a:p>
        </p:txBody>
      </p:sp>
      <p:sp>
        <p:nvSpPr>
          <p:cNvPr id="23" name="슬라이드 번호 개체 틀 22"/>
          <p:cNvSpPr>
            <a:spLocks noGrp="1"/>
          </p:cNvSpPr>
          <p:nvPr>
            <p:ph type="sldNum" sz="quarter" idx="4"/>
          </p:nvPr>
        </p:nvSpPr>
        <p:spPr>
          <a:xfrm>
            <a:off x="9506434" y="6322056"/>
            <a:ext cx="712893" cy="574656"/>
          </a:xfrm>
          <a:prstGeom prst="rect">
            <a:avLst/>
          </a:prstGeom>
        </p:spPr>
        <p:txBody>
          <a:bodyPr vert="horz" lIns="103685" tIns="51843" rIns="103685" bIns="51843" anchor="ctr"/>
          <a:lstStyle>
            <a:lvl1pPr algn="ctr" eaLnBrk="1" latinLnBrk="0" hangingPunct="1">
              <a:defRPr kumimoji="0" sz="1600" b="1">
                <a:solidFill>
                  <a:srgbClr val="FFFFFF"/>
                </a:solidFill>
              </a:defRPr>
            </a:lvl1pPr>
          </a:lstStyle>
          <a:p>
            <a:pPr defTabSz="1036814" fontAlgn="auto">
              <a:spcBef>
                <a:spcPts val="0"/>
              </a:spcBef>
              <a:spcAft>
                <a:spcPts val="0"/>
              </a:spcAft>
            </a:pPr>
            <a:fld id="{0FFC04F2-410B-478E-B5E8-05AEE79BCA15}" type="slidenum">
              <a:rPr lang="ko-KR" altLang="en-US" smtClean="0">
                <a:latin typeface="Century Schoolbook"/>
                <a:ea typeface="휴먼매직체"/>
              </a:rPr>
              <a:pPr defTabSz="103681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ko-KR" altLang="en-US">
              <a:latin typeface="Century Schoolbook"/>
              <a:ea typeface="휴먼매직체"/>
            </a:endParaRPr>
          </a:p>
        </p:txBody>
      </p:sp>
    </p:spTree>
    <p:extLst>
      <p:ext uri="{BB962C8B-B14F-4D97-AF65-F5344CB8AC3E}">
        <p14:creationId xmlns:p14="http://schemas.microsoft.com/office/powerpoint/2010/main" val="28627611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4" r:id="rId1"/>
    <p:sldLayoutId id="2147483955" r:id="rId2"/>
    <p:sldLayoutId id="2147483956" r:id="rId3"/>
    <p:sldLayoutId id="2147483957" r:id="rId4"/>
    <p:sldLayoutId id="2147483958" r:id="rId5"/>
    <p:sldLayoutId id="2147483959" r:id="rId6"/>
    <p:sldLayoutId id="2147483960" r:id="rId7"/>
    <p:sldLayoutId id="2147483961" r:id="rId8"/>
    <p:sldLayoutId id="2147483962" r:id="rId9"/>
    <p:sldLayoutId id="2147483963" r:id="rId10"/>
    <p:sldLayoutId id="2147483964" r:id="rId11"/>
    <p:sldLayoutId id="2147483965" r:id="rId12"/>
  </p:sldLayoutIdLst>
  <p:txStyles>
    <p:titleStyle>
      <a:lvl1pPr algn="l" rtl="0" eaLnBrk="1" latinLnBrk="1" hangingPunct="1">
        <a:spcBef>
          <a:spcPct val="0"/>
        </a:spcBef>
        <a:buNone/>
        <a:defRPr kumimoji="0" sz="3400" b="0" kern="1200" cap="sm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11046" indent="-311046" algn="l" rtl="0" eaLnBrk="1" latinLnBrk="1" hangingPunct="1">
        <a:spcBef>
          <a:spcPts val="684"/>
        </a:spcBef>
        <a:buClr>
          <a:schemeClr val="accent1"/>
        </a:buClr>
        <a:buSzPct val="70000"/>
        <a:buFont typeface="Wingdings"/>
        <a:buChar char=""/>
        <a:defRPr kumimoji="0"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725769" indent="-311046" algn="l" rtl="0" eaLnBrk="1" latinLnBrk="1" hangingPunct="1">
        <a:spcBef>
          <a:spcPct val="20000"/>
        </a:spcBef>
        <a:buClr>
          <a:schemeClr val="accent1"/>
        </a:buClr>
        <a:buSzPct val="80000"/>
        <a:buFont typeface="Wingdings 2"/>
        <a:buChar char="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36814" indent="-207370" algn="l" rtl="0" eaLnBrk="1" latinLnBrk="1" hangingPunct="1">
        <a:spcBef>
          <a:spcPct val="20000"/>
        </a:spcBef>
        <a:buClr>
          <a:schemeClr val="accent1">
            <a:shade val="75000"/>
          </a:schemeClr>
        </a:buClr>
        <a:buSzPct val="60000"/>
        <a:buFont typeface="Wingdings"/>
        <a:buChar char="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347861" indent="-207370" algn="l" rtl="0" eaLnBrk="1" latinLnBrk="1" hangingPunct="1">
        <a:spcBef>
          <a:spcPct val="20000"/>
        </a:spcBef>
        <a:buClr>
          <a:schemeClr val="accent1">
            <a:tint val="60000"/>
          </a:schemeClr>
        </a:buClr>
        <a:buSzPct val="60000"/>
        <a:buFont typeface="Wingdings"/>
        <a:buChar char="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1658909" indent="-207370" algn="l" rtl="0" eaLnBrk="1" latinLnBrk="1" hangingPunct="1">
        <a:spcBef>
          <a:spcPct val="20000"/>
        </a:spcBef>
        <a:buClr>
          <a:schemeClr val="accent2">
            <a:tint val="60000"/>
          </a:schemeClr>
        </a:buClr>
        <a:buSzPct val="68000"/>
        <a:buFont typeface="Wingdings 2"/>
        <a:buChar char="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969957" indent="-207370" algn="l" rtl="0" eaLnBrk="1" latinLnBrk="1" hangingPunct="1">
        <a:spcBef>
          <a:spcPct val="20000"/>
        </a:spcBef>
        <a:buClr>
          <a:schemeClr val="accent1"/>
        </a:buClr>
        <a:buChar char="•"/>
        <a:defRPr kumimoji="0" sz="1800" kern="1200">
          <a:solidFill>
            <a:schemeClr val="tx2"/>
          </a:solidFill>
          <a:latin typeface="+mn-lt"/>
          <a:ea typeface="+mn-ea"/>
          <a:cs typeface="+mn-cs"/>
        </a:defRPr>
      </a:lvl6pPr>
      <a:lvl7pPr marL="2280992" indent="-207370" algn="l" rtl="0" eaLnBrk="1" latinLnBrk="1" hangingPunct="1">
        <a:spcBef>
          <a:spcPct val="20000"/>
        </a:spcBef>
        <a:buClr>
          <a:schemeClr val="accent1">
            <a:tint val="60000"/>
          </a:schemeClr>
        </a:buClr>
        <a:buSzPct val="60000"/>
        <a:buFont typeface="Wingdings"/>
        <a:buChar char=""/>
        <a:defRPr kumimoji="0" sz="16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2592040" indent="-207370" algn="l" rtl="0" eaLnBrk="1" latinLnBrk="1" hangingPunct="1">
        <a:spcBef>
          <a:spcPct val="20000"/>
        </a:spcBef>
        <a:buClr>
          <a:schemeClr val="accent2"/>
        </a:buClr>
        <a:buChar char="•"/>
        <a:defRPr kumimoji="0" sz="1600" kern="1200" cap="small" baseline="0">
          <a:solidFill>
            <a:schemeClr val="tx2"/>
          </a:solidFill>
          <a:latin typeface="+mn-lt"/>
          <a:ea typeface="+mn-ea"/>
          <a:cs typeface="+mn-cs"/>
        </a:defRPr>
      </a:lvl8pPr>
      <a:lvl9pPr marL="2903088" indent="-207370" algn="l" rtl="0" eaLnBrk="1" latinLnBrk="1" hangingPunct="1">
        <a:spcBef>
          <a:spcPct val="20000"/>
        </a:spcBef>
        <a:buClr>
          <a:schemeClr val="accent1">
            <a:shade val="75000"/>
          </a:schemeClr>
        </a:buClr>
        <a:buChar char="•"/>
        <a:defRPr kumimoji="0" sz="16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1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518411" algn="l" rtl="0" eaLnBrk="1" latinLnBrk="1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1036814" algn="l" rtl="0" eaLnBrk="1" latinLnBrk="1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555224" algn="l" rtl="0" eaLnBrk="1" latinLnBrk="1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2073636" algn="l" rtl="0" eaLnBrk="1" latinLnBrk="1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592040" algn="l" rtl="0" eaLnBrk="1" latinLnBrk="1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3110446" algn="l" rtl="0" eaLnBrk="1" latinLnBrk="1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628861" algn="l" rtl="0" eaLnBrk="1" latinLnBrk="1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4147265" algn="l" rtl="0" eaLnBrk="1" latinLnBrk="1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gradFill rotWithShape="0">
          <a:gsLst>
            <a:gs pos="0">
              <a:schemeClr val="bg1"/>
            </a:gs>
            <a:gs pos="50000">
              <a:srgbClr val="FFFFFF"/>
            </a:gs>
            <a:gs pos="100000">
              <a:schemeClr val="bg1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74" descr="03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84" r="-2553" b="14572"/>
          <a:stretch>
            <a:fillRect/>
          </a:stretch>
        </p:blipFill>
        <p:spPr bwMode="gray">
          <a:xfrm>
            <a:off x="3" y="2604435"/>
            <a:ext cx="5008818" cy="4956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171" name="Group 66"/>
          <p:cNvGrpSpPr>
            <a:grpSpLocks/>
          </p:cNvGrpSpPr>
          <p:nvPr/>
        </p:nvGrpSpPr>
        <p:grpSpPr bwMode="auto">
          <a:xfrm>
            <a:off x="6000185" y="204785"/>
            <a:ext cx="4427737" cy="3843642"/>
            <a:chOff x="3232" y="117"/>
            <a:chExt cx="2385" cy="2196"/>
          </a:xfrm>
        </p:grpSpPr>
        <p:sp>
          <p:nvSpPr>
            <p:cNvPr id="1091" name="AutoShape 67"/>
            <p:cNvSpPr>
              <a:spLocks noChangeArrowheads="1"/>
            </p:cNvSpPr>
            <p:nvPr userDrawn="1"/>
          </p:nvSpPr>
          <p:spPr bwMode="gray">
            <a:xfrm>
              <a:off x="4440" y="117"/>
              <a:ext cx="571" cy="539"/>
            </a:xfrm>
            <a:prstGeom prst="roundRect">
              <a:avLst>
                <a:gd name="adj" fmla="val 16667"/>
              </a:avLst>
            </a:prstGeom>
            <a:solidFill>
              <a:srgbClr val="FFFFFF">
                <a:alpha val="20000"/>
              </a:srgbClr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r" latinLnBrk="0">
                <a:defRPr/>
              </a:pPr>
              <a:endParaRPr kumimoji="0" lang="ko-KR" altLang="en-US" sz="18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092" name="AutoShape 68"/>
            <p:cNvSpPr>
              <a:spLocks noChangeArrowheads="1"/>
            </p:cNvSpPr>
            <p:nvPr userDrawn="1"/>
          </p:nvSpPr>
          <p:spPr bwMode="gray">
            <a:xfrm>
              <a:off x="5045" y="117"/>
              <a:ext cx="572" cy="539"/>
            </a:xfrm>
            <a:prstGeom prst="roundRect">
              <a:avLst>
                <a:gd name="adj" fmla="val 16667"/>
              </a:avLst>
            </a:prstGeom>
            <a:solidFill>
              <a:srgbClr val="FFFFFF">
                <a:alpha val="39999"/>
              </a:srgbClr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r" latinLnBrk="0">
                <a:defRPr/>
              </a:pPr>
              <a:endParaRPr kumimoji="0" lang="ko-KR" altLang="en-US" sz="18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093" name="AutoShape 69"/>
            <p:cNvSpPr>
              <a:spLocks noChangeArrowheads="1"/>
            </p:cNvSpPr>
            <p:nvPr userDrawn="1"/>
          </p:nvSpPr>
          <p:spPr bwMode="gray">
            <a:xfrm>
              <a:off x="4440" y="683"/>
              <a:ext cx="571" cy="539"/>
            </a:xfrm>
            <a:prstGeom prst="roundRect">
              <a:avLst>
                <a:gd name="adj" fmla="val 16667"/>
              </a:avLst>
            </a:prstGeom>
            <a:solidFill>
              <a:srgbClr val="FFFFFF">
                <a:alpha val="39999"/>
              </a:srgbClr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r" latinLnBrk="0">
                <a:defRPr/>
              </a:pPr>
              <a:endParaRPr kumimoji="0" lang="ko-KR" altLang="en-US" sz="18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094" name="AutoShape 70"/>
            <p:cNvSpPr>
              <a:spLocks noChangeArrowheads="1"/>
            </p:cNvSpPr>
            <p:nvPr userDrawn="1"/>
          </p:nvSpPr>
          <p:spPr bwMode="gray">
            <a:xfrm>
              <a:off x="3232" y="117"/>
              <a:ext cx="572" cy="539"/>
            </a:xfrm>
            <a:prstGeom prst="roundRect">
              <a:avLst>
                <a:gd name="adj" fmla="val 16667"/>
              </a:avLst>
            </a:prstGeom>
            <a:solidFill>
              <a:srgbClr val="FFFFFF">
                <a:alpha val="20000"/>
              </a:srgbClr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r" latinLnBrk="0">
                <a:defRPr/>
              </a:pPr>
              <a:endParaRPr kumimoji="0" lang="ko-KR" altLang="en-US" sz="18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095" name="AutoShape 71"/>
            <p:cNvSpPr>
              <a:spLocks noChangeArrowheads="1"/>
            </p:cNvSpPr>
            <p:nvPr userDrawn="1"/>
          </p:nvSpPr>
          <p:spPr bwMode="gray">
            <a:xfrm>
              <a:off x="3839" y="683"/>
              <a:ext cx="571" cy="538"/>
            </a:xfrm>
            <a:prstGeom prst="roundRect">
              <a:avLst>
                <a:gd name="adj" fmla="val 16667"/>
              </a:avLst>
            </a:prstGeom>
            <a:solidFill>
              <a:srgbClr val="FFFFFF">
                <a:alpha val="20000"/>
              </a:srgbClr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r" latinLnBrk="0">
                <a:defRPr/>
              </a:pPr>
              <a:endParaRPr kumimoji="0" lang="ko-KR" altLang="en-US" sz="18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096" name="AutoShape 72"/>
            <p:cNvSpPr>
              <a:spLocks noChangeArrowheads="1"/>
            </p:cNvSpPr>
            <p:nvPr userDrawn="1"/>
          </p:nvSpPr>
          <p:spPr bwMode="gray">
            <a:xfrm>
              <a:off x="5045" y="1201"/>
              <a:ext cx="572" cy="538"/>
            </a:xfrm>
            <a:prstGeom prst="roundRect">
              <a:avLst>
                <a:gd name="adj" fmla="val 16667"/>
              </a:avLst>
            </a:prstGeom>
            <a:solidFill>
              <a:srgbClr val="FFFFFF">
                <a:alpha val="20000"/>
              </a:srgbClr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r" latinLnBrk="0">
                <a:defRPr/>
              </a:pPr>
              <a:endParaRPr kumimoji="0" lang="ko-KR" altLang="en-US" sz="18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097" name="AutoShape 73"/>
            <p:cNvSpPr>
              <a:spLocks noChangeArrowheads="1"/>
            </p:cNvSpPr>
            <p:nvPr userDrawn="1"/>
          </p:nvSpPr>
          <p:spPr bwMode="gray">
            <a:xfrm>
              <a:off x="5045" y="1774"/>
              <a:ext cx="572" cy="539"/>
            </a:xfrm>
            <a:prstGeom prst="roundRect">
              <a:avLst>
                <a:gd name="adj" fmla="val 16667"/>
              </a:avLst>
            </a:prstGeom>
            <a:solidFill>
              <a:srgbClr val="FFFFFF">
                <a:alpha val="20000"/>
              </a:srgbClr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r" latinLnBrk="0">
                <a:defRPr/>
              </a:pPr>
              <a:endParaRPr kumimoji="0" lang="ko-KR" altLang="en-US" sz="1800">
                <a:solidFill>
                  <a:srgbClr val="000000"/>
                </a:solidFill>
                <a:latin typeface="Arial" pitchFamily="34" charset="0"/>
              </a:endParaRPr>
            </a:p>
          </p:txBody>
        </p:sp>
      </p:grpSp>
      <p:sp>
        <p:nvSpPr>
          <p:cNvPr id="717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371988" y="302802"/>
            <a:ext cx="8809059" cy="12602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3703" tIns="51852" rIns="103703" bIns="5185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제목 스타일 편집</a:t>
            </a:r>
            <a:endParaRPr lang="en-US" altLang="ko-KR" smtClean="0"/>
          </a:p>
        </p:txBody>
      </p:sp>
      <p:sp>
        <p:nvSpPr>
          <p:cNvPr id="7173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534670" y="1764295"/>
            <a:ext cx="9624060" cy="4990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3703" tIns="51852" rIns="103703" bIns="5185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en-US" altLang="ko-KR" smtClean="0"/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534671" y="7148194"/>
            <a:ext cx="2495127" cy="262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3703" tIns="51852" rIns="103703" bIns="51852" numCol="1" anchor="t" anchorCtr="0" compatLnSpc="1">
            <a:prstTxWarp prst="textNoShape">
              <a:avLst/>
            </a:prstTxWarp>
          </a:bodyPr>
          <a:lstStyle>
            <a:lvl1pPr algn="l" latinLnBrk="0">
              <a:defRPr kumimoji="0" sz="1100">
                <a:latin typeface="Arial" charset="0"/>
                <a:ea typeface="굴림" charset="-127"/>
                <a:cs typeface="Arial" charset="0"/>
              </a:defRPr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3653582" y="7148194"/>
            <a:ext cx="3386243" cy="262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3703" tIns="51852" rIns="103703" bIns="51852" numCol="1" anchor="t" anchorCtr="0" compatLnSpc="1">
            <a:prstTxWarp prst="textNoShape">
              <a:avLst/>
            </a:prstTxWarp>
          </a:bodyPr>
          <a:lstStyle>
            <a:lvl1pPr algn="ctr" latinLnBrk="0">
              <a:defRPr kumimoji="0" sz="1100">
                <a:latin typeface="Arial" charset="0"/>
                <a:ea typeface="굴림" charset="-127"/>
                <a:cs typeface="Arial" charset="0"/>
              </a:defRPr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7663603" y="7148194"/>
            <a:ext cx="2495127" cy="262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3703" tIns="51852" rIns="103703" bIns="51852" numCol="1" anchor="t" anchorCtr="0" compatLnSpc="1">
            <a:prstTxWarp prst="textNoShape">
              <a:avLst/>
            </a:prstTxWarp>
          </a:bodyPr>
          <a:lstStyle>
            <a:lvl1pPr algn="r" latinLnBrk="0">
              <a:defRPr kumimoji="0" sz="1100">
                <a:latin typeface="Arial" charset="0"/>
                <a:ea typeface="굴림" charset="-127"/>
                <a:cs typeface="Arial" charset="0"/>
              </a:defRPr>
            </a:lvl1pPr>
          </a:lstStyle>
          <a:p>
            <a:pPr>
              <a:defRPr/>
            </a:pPr>
            <a:fld id="{C35E4155-C6CB-4FB9-AA92-48B5F9362794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48965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3969" r:id="rId3"/>
    <p:sldLayoutId id="2147483970" r:id="rId4"/>
    <p:sldLayoutId id="2147483971" r:id="rId5"/>
    <p:sldLayoutId id="2147483972" r:id="rId6"/>
    <p:sldLayoutId id="2147483973" r:id="rId7"/>
    <p:sldLayoutId id="2147483974" r:id="rId8"/>
    <p:sldLayoutId id="2147483975" r:id="rId9"/>
    <p:sldLayoutId id="2147483976" r:id="rId10"/>
    <p:sldLayoutId id="2147483977" r:id="rId11"/>
    <p:sldLayoutId id="2147483978" r:id="rId12"/>
    <p:sldLayoutId id="2147483979" r:id="rId13"/>
    <p:sldLayoutId id="2147483980" r:id="rId14"/>
    <p:sldLayoutId id="2147483981" r:id="rId15"/>
  </p:sldLayoutIdLst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sz="46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sz="46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sz="46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sz="46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sz="4600" b="1">
          <a:solidFill>
            <a:schemeClr val="tx2"/>
          </a:solidFill>
          <a:latin typeface="Arial" charset="0"/>
          <a:cs typeface="Arial" charset="0"/>
        </a:defRPr>
      </a:lvl5pPr>
      <a:lvl6pPr marL="518502" algn="l" rtl="0" eaLnBrk="1" fontAlgn="base" latinLnBrk="1" hangingPunct="1">
        <a:spcBef>
          <a:spcPct val="0"/>
        </a:spcBef>
        <a:spcAft>
          <a:spcPct val="0"/>
        </a:spcAft>
        <a:defRPr sz="4600" b="1">
          <a:solidFill>
            <a:schemeClr val="tx2"/>
          </a:solidFill>
          <a:latin typeface="Arial" charset="0"/>
          <a:cs typeface="Arial" charset="0"/>
        </a:defRPr>
      </a:lvl6pPr>
      <a:lvl7pPr marL="1036997" algn="l" rtl="0" eaLnBrk="1" fontAlgn="base" latinLnBrk="1" hangingPunct="1">
        <a:spcBef>
          <a:spcPct val="0"/>
        </a:spcBef>
        <a:spcAft>
          <a:spcPct val="0"/>
        </a:spcAft>
        <a:defRPr sz="4600" b="1">
          <a:solidFill>
            <a:schemeClr val="tx2"/>
          </a:solidFill>
          <a:latin typeface="Arial" charset="0"/>
          <a:cs typeface="Arial" charset="0"/>
        </a:defRPr>
      </a:lvl7pPr>
      <a:lvl8pPr marL="1555498" algn="l" rtl="0" eaLnBrk="1" fontAlgn="base" latinLnBrk="1" hangingPunct="1">
        <a:spcBef>
          <a:spcPct val="0"/>
        </a:spcBef>
        <a:spcAft>
          <a:spcPct val="0"/>
        </a:spcAft>
        <a:defRPr sz="4600" b="1">
          <a:solidFill>
            <a:schemeClr val="tx2"/>
          </a:solidFill>
          <a:latin typeface="Arial" charset="0"/>
          <a:cs typeface="Arial" charset="0"/>
        </a:defRPr>
      </a:lvl8pPr>
      <a:lvl9pPr marL="2074002" algn="l" rtl="0" eaLnBrk="1" fontAlgn="base" latinLnBrk="1" hangingPunct="1">
        <a:spcBef>
          <a:spcPct val="0"/>
        </a:spcBef>
        <a:spcAft>
          <a:spcPct val="0"/>
        </a:spcAft>
        <a:defRPr sz="46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88871" indent="-388871" algn="l" rtl="0" eaLnBrk="0" fontAlgn="base" latinLnBrk="1" hangingPunct="0">
        <a:spcBef>
          <a:spcPct val="20000"/>
        </a:spcBef>
        <a:spcAft>
          <a:spcPct val="0"/>
        </a:spcAft>
        <a:buChar char="•"/>
        <a:defRPr sz="3700">
          <a:solidFill>
            <a:schemeClr val="tx1"/>
          </a:solidFill>
          <a:latin typeface="+mn-lt"/>
          <a:ea typeface="+mn-ea"/>
          <a:cs typeface="+mn-cs"/>
        </a:defRPr>
      </a:lvl1pPr>
      <a:lvl2pPr marL="842563" indent="-324071" algn="l" rtl="0" eaLnBrk="0" fontAlgn="base" latinLnBrk="1" hangingPunct="0">
        <a:spcBef>
          <a:spcPct val="20000"/>
        </a:spcBef>
        <a:spcAft>
          <a:spcPct val="0"/>
        </a:spcAft>
        <a:buChar char="–"/>
        <a:defRPr sz="3200">
          <a:solidFill>
            <a:schemeClr val="tx1"/>
          </a:solidFill>
          <a:latin typeface="+mn-lt"/>
          <a:cs typeface="+mn-cs"/>
        </a:defRPr>
      </a:lvl2pPr>
      <a:lvl3pPr marL="1296250" indent="-259249" algn="l" rtl="0" eaLnBrk="0" fontAlgn="base" latinLnBrk="1" hangingPunct="0">
        <a:spcBef>
          <a:spcPct val="20000"/>
        </a:spcBef>
        <a:spcAft>
          <a:spcPct val="0"/>
        </a:spcAft>
        <a:buChar char="•"/>
        <a:defRPr sz="2700">
          <a:solidFill>
            <a:schemeClr val="tx1"/>
          </a:solidFill>
          <a:latin typeface="+mn-lt"/>
          <a:cs typeface="+mn-cs"/>
        </a:defRPr>
      </a:lvl3pPr>
      <a:lvl4pPr marL="1814752" indent="-259249" algn="l" rtl="0" eaLnBrk="0" fontAlgn="base" latinLnBrk="1" hangingPunct="0">
        <a:spcBef>
          <a:spcPct val="20000"/>
        </a:spcBef>
        <a:spcAft>
          <a:spcPct val="0"/>
        </a:spcAft>
        <a:buChar char="–"/>
        <a:defRPr sz="2300">
          <a:solidFill>
            <a:schemeClr val="tx1"/>
          </a:solidFill>
          <a:latin typeface="+mn-lt"/>
          <a:cs typeface="+mn-cs"/>
        </a:defRPr>
      </a:lvl4pPr>
      <a:lvl5pPr marL="2333246" indent="-259249" algn="l" rtl="0" eaLnBrk="0" fontAlgn="base" latinLnBrk="1" hangingPunct="0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  <a:cs typeface="+mn-cs"/>
        </a:defRPr>
      </a:lvl5pPr>
      <a:lvl6pPr marL="2851750" indent="-259249" algn="l" rtl="0" eaLnBrk="1" fontAlgn="base" latinLnBrk="1" hangingPunct="1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  <a:cs typeface="+mn-cs"/>
        </a:defRPr>
      </a:lvl6pPr>
      <a:lvl7pPr marL="3370249" indent="-259249" algn="l" rtl="0" eaLnBrk="1" fontAlgn="base" latinLnBrk="1" hangingPunct="1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  <a:cs typeface="+mn-cs"/>
        </a:defRPr>
      </a:lvl7pPr>
      <a:lvl8pPr marL="3888747" indent="-259249" algn="l" rtl="0" eaLnBrk="1" fontAlgn="base" latinLnBrk="1" hangingPunct="1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  <a:cs typeface="+mn-cs"/>
        </a:defRPr>
      </a:lvl8pPr>
      <a:lvl9pPr marL="4407253" indent="-259249" algn="l" rtl="0" eaLnBrk="1" fontAlgn="base" latinLnBrk="1" hangingPunct="1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ko-KR"/>
      </a:defPPr>
      <a:lvl1pPr marL="0" algn="l" defTabSz="1036997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8502" algn="l" defTabSz="1036997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36997" algn="l" defTabSz="1036997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55498" algn="l" defTabSz="1036997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74002" algn="l" defTabSz="1036997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592497" algn="l" defTabSz="1036997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0995" algn="l" defTabSz="1036997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29501" algn="l" defTabSz="1036997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47997" algn="l" defTabSz="1036997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101600" y="166688"/>
            <a:ext cx="6315075" cy="32861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8977" tIns="49510" rIns="98977" bIns="4951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</p:txBody>
      </p:sp>
      <p:sp>
        <p:nvSpPr>
          <p:cNvPr id="12810245" name="Rectangle 5"/>
          <p:cNvSpPr>
            <a:spLocks noChangeArrowheads="1"/>
          </p:cNvSpPr>
          <p:nvPr/>
        </p:nvSpPr>
        <p:spPr bwMode="auto">
          <a:xfrm>
            <a:off x="10033001" y="225461"/>
            <a:ext cx="425450" cy="5032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977" tIns="49510" rIns="98977" bIns="49510"/>
          <a:lstStyle/>
          <a:p>
            <a:pPr eaLnBrk="0" latinLnBrk="0" hangingPunct="0">
              <a:defRPr/>
            </a:pPr>
            <a:fld id="{01FBA289-EBC9-4055-B372-E93BBFE82FD4}" type="slidenum">
              <a:rPr kumimoji="0" lang="ko-KR" altLang="en-US" b="1">
                <a:solidFill>
                  <a:srgbClr val="FFFFFF"/>
                </a:solidFill>
                <a:latin typeface="Tahoma" pitchFamily="34" charset="0"/>
              </a:rPr>
              <a:pPr eaLnBrk="0" latinLnBrk="0" hangingPunct="0">
                <a:defRPr/>
              </a:pPr>
              <a:t>‹#›</a:t>
            </a:fld>
            <a:endParaRPr kumimoji="0" lang="en-US" altLang="ko-KR" b="1" dirty="0">
              <a:solidFill>
                <a:srgbClr val="FFFFFF"/>
              </a:solidFill>
              <a:latin typeface="Tahoma" pitchFamily="34" charset="0"/>
            </a:endParaRPr>
          </a:p>
        </p:txBody>
      </p:sp>
      <p:sp>
        <p:nvSpPr>
          <p:cNvPr id="12810246" name="Rectangle 6"/>
          <p:cNvSpPr>
            <a:spLocks noChangeArrowheads="1"/>
          </p:cNvSpPr>
          <p:nvPr/>
        </p:nvSpPr>
        <p:spPr bwMode="auto">
          <a:xfrm>
            <a:off x="9621841" y="233363"/>
            <a:ext cx="836612" cy="239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8977" tIns="49510" rIns="98977" bIns="49510"/>
          <a:lstStyle/>
          <a:p>
            <a:pPr eaLnBrk="0" latinLnBrk="0" hangingPunct="0">
              <a:defRPr/>
            </a:pPr>
            <a:r>
              <a:rPr kumimoji="0" lang="en-US" altLang="ko-KR" b="1" smtClean="0">
                <a:solidFill>
                  <a:srgbClr val="FFFFFF"/>
                </a:solidFill>
                <a:latin typeface="Arial" charset="0"/>
              </a:rPr>
              <a:t>PAGE - </a:t>
            </a:r>
            <a:endParaRPr kumimoji="0" lang="en-US" altLang="ko-KR" b="1" dirty="0">
              <a:solidFill>
                <a:srgbClr val="FFFFFF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80210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5" r:id="rId1"/>
    <p:sldLayoutId id="2147483996" r:id="rId2"/>
    <p:sldLayoutId id="2147483997" r:id="rId3"/>
    <p:sldLayoutId id="2147483998" r:id="rId4"/>
    <p:sldLayoutId id="2147483999" r:id="rId5"/>
    <p:sldLayoutId id="2147484000" r:id="rId6"/>
    <p:sldLayoutId id="2147484001" r:id="rId7"/>
    <p:sldLayoutId id="2147484002" r:id="rId8"/>
    <p:sldLayoutId id="2147484003" r:id="rId9"/>
    <p:sldLayoutId id="2147484004" r:id="rId10"/>
    <p:sldLayoutId id="2147484005" r:id="rId11"/>
  </p:sldLayoutIdLst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kumimoji="1" sz="48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kumimoji="1" sz="4800" b="1">
          <a:solidFill>
            <a:schemeClr val="tx1"/>
          </a:solidFill>
          <a:latin typeface="굴림" pitchFamily="50" charset="-127"/>
          <a:ea typeface="굴림" pitchFamily="50" charset="-127"/>
          <a:cs typeface="Arial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kumimoji="1" sz="4800" b="1">
          <a:solidFill>
            <a:schemeClr val="tx1"/>
          </a:solidFill>
          <a:latin typeface="굴림" pitchFamily="50" charset="-127"/>
          <a:ea typeface="굴림" pitchFamily="50" charset="-127"/>
          <a:cs typeface="Arial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kumimoji="1" sz="4800" b="1">
          <a:solidFill>
            <a:schemeClr val="tx1"/>
          </a:solidFill>
          <a:latin typeface="굴림" pitchFamily="50" charset="-127"/>
          <a:ea typeface="굴림" pitchFamily="50" charset="-127"/>
          <a:cs typeface="Arial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kumimoji="1" sz="4800" b="1">
          <a:solidFill>
            <a:schemeClr val="tx1"/>
          </a:solidFill>
          <a:latin typeface="굴림" pitchFamily="50" charset="-127"/>
          <a:ea typeface="굴림" pitchFamily="50" charset="-127"/>
          <a:cs typeface="Arial" charset="0"/>
        </a:defRPr>
      </a:lvl5pPr>
      <a:lvl6pPr marL="494864" algn="l" rtl="0" fontAlgn="base" latinLnBrk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굴림" pitchFamily="50" charset="-127"/>
          <a:ea typeface="굴림" pitchFamily="50" charset="-127"/>
          <a:cs typeface="Arial" charset="0"/>
        </a:defRPr>
      </a:lvl6pPr>
      <a:lvl7pPr marL="989732" algn="l" rtl="0" fontAlgn="base" latinLnBrk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굴림" pitchFamily="50" charset="-127"/>
          <a:ea typeface="굴림" pitchFamily="50" charset="-127"/>
          <a:cs typeface="Arial" charset="0"/>
        </a:defRPr>
      </a:lvl7pPr>
      <a:lvl8pPr marL="1484597" algn="l" rtl="0" fontAlgn="base" latinLnBrk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굴림" pitchFamily="50" charset="-127"/>
          <a:ea typeface="굴림" pitchFamily="50" charset="-127"/>
          <a:cs typeface="Arial" charset="0"/>
        </a:defRPr>
      </a:lvl8pPr>
      <a:lvl9pPr marL="1979472" algn="l" rtl="0" fontAlgn="base" latinLnBrk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굴림" pitchFamily="50" charset="-127"/>
          <a:ea typeface="굴림" pitchFamily="50" charset="-127"/>
          <a:cs typeface="Arial" charset="0"/>
        </a:defRPr>
      </a:lvl9pPr>
    </p:titleStyle>
    <p:bodyStyle>
      <a:lvl1pPr marL="370842" indent="-370842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1700">
          <a:solidFill>
            <a:schemeClr val="bg1"/>
          </a:solidFill>
          <a:latin typeface="+mn-lt"/>
          <a:ea typeface="+mn-ea"/>
          <a:cs typeface="+mn-cs"/>
        </a:defRPr>
      </a:lvl1pPr>
      <a:lvl2pPr marL="803207" indent="-309289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3000">
          <a:solidFill>
            <a:schemeClr val="tx1"/>
          </a:solidFill>
          <a:latin typeface="+mn-lt"/>
          <a:ea typeface="+mn-ea"/>
          <a:cs typeface="+mn-cs"/>
        </a:defRPr>
      </a:lvl2pPr>
      <a:lvl3pPr marL="1237154" indent="-246172" algn="l" rtl="0" eaLnBrk="0" fontAlgn="base" latinLnBrk="1" hangingPunct="0">
        <a:spcBef>
          <a:spcPct val="20000"/>
        </a:spcBef>
        <a:spcAft>
          <a:spcPct val="0"/>
        </a:spcAft>
        <a:buChar char="•"/>
        <a:defRPr kumimoji="1" sz="2600">
          <a:solidFill>
            <a:schemeClr val="tx1"/>
          </a:solidFill>
          <a:latin typeface="+mn-lt"/>
          <a:ea typeface="+mn-ea"/>
          <a:cs typeface="+mn-cs"/>
        </a:defRPr>
      </a:lvl3pPr>
      <a:lvl4pPr marL="1731065" indent="-246172" algn="l" rtl="0" eaLnBrk="0" fontAlgn="base" latinLnBrk="1" hangingPunct="0">
        <a:spcBef>
          <a:spcPct val="20000"/>
        </a:spcBef>
        <a:spcAft>
          <a:spcPct val="0"/>
        </a:spcAft>
        <a:buChar char="–"/>
        <a:defRPr kumimoji="1" sz="2200">
          <a:solidFill>
            <a:schemeClr val="tx1"/>
          </a:solidFill>
          <a:latin typeface="+mn-lt"/>
          <a:ea typeface="+mn-ea"/>
          <a:cs typeface="+mn-cs"/>
        </a:defRPr>
      </a:lvl4pPr>
      <a:lvl5pPr marL="2226561" indent="-246172" algn="l" rtl="0" eaLnBrk="0" fontAlgn="base" latinLnBrk="1" hangingPunct="0">
        <a:spcBef>
          <a:spcPct val="20000"/>
        </a:spcBef>
        <a:spcAft>
          <a:spcPct val="0"/>
        </a:spcAft>
        <a:buChar char="»"/>
        <a:defRPr kumimoji="1" sz="2200">
          <a:solidFill>
            <a:schemeClr val="tx1"/>
          </a:solidFill>
          <a:latin typeface="+mn-lt"/>
          <a:ea typeface="+mn-ea"/>
          <a:cs typeface="+mn-cs"/>
        </a:defRPr>
      </a:lvl5pPr>
      <a:lvl6pPr marL="2721768" indent="-247434" algn="l" rtl="0" fontAlgn="base" latinLnBrk="1">
        <a:spcBef>
          <a:spcPct val="20000"/>
        </a:spcBef>
        <a:spcAft>
          <a:spcPct val="0"/>
        </a:spcAft>
        <a:defRPr kumimoji="1" sz="2200">
          <a:solidFill>
            <a:schemeClr val="tx1"/>
          </a:solidFill>
          <a:latin typeface="+mn-lt"/>
          <a:ea typeface="+mn-ea"/>
          <a:cs typeface="+mn-cs"/>
        </a:defRPr>
      </a:lvl6pPr>
      <a:lvl7pPr marL="3216635" indent="-247434" algn="l" rtl="0" fontAlgn="base" latinLnBrk="1">
        <a:spcBef>
          <a:spcPct val="20000"/>
        </a:spcBef>
        <a:spcAft>
          <a:spcPct val="0"/>
        </a:spcAft>
        <a:defRPr kumimoji="1" sz="2200">
          <a:solidFill>
            <a:schemeClr val="tx1"/>
          </a:solidFill>
          <a:latin typeface="+mn-lt"/>
          <a:ea typeface="+mn-ea"/>
          <a:cs typeface="+mn-cs"/>
        </a:defRPr>
      </a:lvl7pPr>
      <a:lvl8pPr marL="3711502" indent="-247434" algn="l" rtl="0" fontAlgn="base" latinLnBrk="1">
        <a:spcBef>
          <a:spcPct val="20000"/>
        </a:spcBef>
        <a:spcAft>
          <a:spcPct val="0"/>
        </a:spcAft>
        <a:defRPr kumimoji="1" sz="2200">
          <a:solidFill>
            <a:schemeClr val="tx1"/>
          </a:solidFill>
          <a:latin typeface="+mn-lt"/>
          <a:ea typeface="+mn-ea"/>
          <a:cs typeface="+mn-cs"/>
        </a:defRPr>
      </a:lvl8pPr>
      <a:lvl9pPr marL="4206367" indent="-247434" algn="l" rtl="0" fontAlgn="base" latinLnBrk="1">
        <a:spcBef>
          <a:spcPct val="20000"/>
        </a:spcBef>
        <a:spcAft>
          <a:spcPct val="0"/>
        </a:spcAft>
        <a:defRPr kumimoji="1" sz="2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89732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494864" algn="l" defTabSz="989732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989732" algn="l" defTabSz="989732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484597" algn="l" defTabSz="989732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1979472" algn="l" defTabSz="989732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474338" algn="l" defTabSz="989732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2969196" algn="l" defTabSz="989732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464069" algn="l" defTabSz="989732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3958936" algn="l" defTabSz="989732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직선 연결선 15"/>
          <p:cNvSpPr>
            <a:spLocks noChangeShapeType="1"/>
          </p:cNvSpPr>
          <p:nvPr/>
        </p:nvSpPr>
        <p:spPr bwMode="auto">
          <a:xfrm>
            <a:off x="10247842" y="0"/>
            <a:ext cx="0" cy="7561263"/>
          </a:xfrm>
          <a:prstGeom prst="line">
            <a:avLst/>
          </a:prstGeom>
          <a:noFill/>
          <a:ln w="38100" cap="flat" cmpd="sng" algn="ctr">
            <a:solidFill>
              <a:schemeClr val="accent1">
                <a:tint val="60000"/>
                <a:alpha val="93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849" tIns="51925" rIns="103849" bIns="51925" anchor="t" compatLnSpc="1"/>
          <a:lstStyle/>
          <a:p>
            <a:pPr defTabSz="1038462" fontAlgn="auto">
              <a:spcBef>
                <a:spcPts val="0"/>
              </a:spcBef>
              <a:spcAft>
                <a:spcPts val="0"/>
              </a:spcAft>
            </a:pPr>
            <a:endParaRPr kumimoji="0" lang="en-US" sz="2100" dirty="0">
              <a:solidFill>
                <a:prstClr val="black"/>
              </a:solidFill>
              <a:latin typeface="Century Schoolbook"/>
            </a:endParaRPr>
          </a:p>
        </p:txBody>
      </p:sp>
      <p:sp>
        <p:nvSpPr>
          <p:cNvPr id="22" name="제목 개체 틀 21"/>
          <p:cNvSpPr>
            <a:spLocks noGrp="1"/>
          </p:cNvSpPr>
          <p:nvPr>
            <p:ph type="title"/>
          </p:nvPr>
        </p:nvSpPr>
        <p:spPr>
          <a:xfrm>
            <a:off x="534670" y="302802"/>
            <a:ext cx="8732943" cy="1260211"/>
          </a:xfrm>
          <a:prstGeom prst="rect">
            <a:avLst/>
          </a:prstGeom>
        </p:spPr>
        <p:txBody>
          <a:bodyPr vert="horz" lIns="103849" tIns="51925" rIns="103849" bIns="51925" anchor="b">
            <a:normAutofit/>
          </a:bodyPr>
          <a:lstStyle/>
          <a:p>
            <a:r>
              <a:rPr kumimoji="0" lang="ko-KR" altLang="en-US" smtClean="0"/>
              <a:t>마스터 제목 스타일 편집</a:t>
            </a:r>
            <a:endParaRPr kumimoji="0" lang="en-US"/>
          </a:p>
        </p:txBody>
      </p:sp>
      <p:sp>
        <p:nvSpPr>
          <p:cNvPr id="13" name="텍스트 개체 틀 12"/>
          <p:cNvSpPr>
            <a:spLocks noGrp="1"/>
          </p:cNvSpPr>
          <p:nvPr>
            <p:ph type="body" idx="1"/>
          </p:nvPr>
        </p:nvSpPr>
        <p:spPr>
          <a:xfrm>
            <a:off x="534670" y="1764294"/>
            <a:ext cx="8732943" cy="5373538"/>
          </a:xfrm>
          <a:prstGeom prst="rect">
            <a:avLst/>
          </a:prstGeom>
        </p:spPr>
        <p:txBody>
          <a:bodyPr vert="horz" lIns="103849" tIns="51925" rIns="103849" bIns="51925">
            <a:normAutofit/>
          </a:bodyPr>
          <a:lstStyle/>
          <a:p>
            <a:pPr lvl="0" eaLnBrk="1" latinLnBrk="0" hangingPunct="1"/>
            <a:r>
              <a:rPr kumimoji="0" lang="ko-KR" altLang="en-US" smtClean="0"/>
              <a:t>마스터 텍스트 스타일을 편집합니다</a:t>
            </a:r>
          </a:p>
          <a:p>
            <a:pPr lvl="1" eaLnBrk="1" latinLnBrk="0" hangingPunct="1"/>
            <a:r>
              <a:rPr kumimoji="0" lang="ko-KR" altLang="en-US" smtClean="0"/>
              <a:t>둘째 수준</a:t>
            </a:r>
          </a:p>
          <a:p>
            <a:pPr lvl="2" eaLnBrk="1" latinLnBrk="0" hangingPunct="1"/>
            <a:r>
              <a:rPr kumimoji="0" lang="ko-KR" altLang="en-US" smtClean="0"/>
              <a:t>셋째 수준</a:t>
            </a:r>
          </a:p>
          <a:p>
            <a:pPr lvl="3" eaLnBrk="1" latinLnBrk="0" hangingPunct="1"/>
            <a:r>
              <a:rPr kumimoji="0" lang="ko-KR" altLang="en-US" smtClean="0"/>
              <a:t>넷째 수준</a:t>
            </a:r>
          </a:p>
          <a:p>
            <a:pPr lvl="4" eaLnBrk="1" latinLnBrk="0" hangingPunct="1"/>
            <a:r>
              <a:rPr kumimoji="0" lang="ko-KR" altLang="en-US" smtClean="0"/>
              <a:t>다섯째 수준</a:t>
            </a:r>
            <a:endParaRPr kumimoji="0" lang="en-US"/>
          </a:p>
        </p:txBody>
      </p:sp>
      <p:sp>
        <p:nvSpPr>
          <p:cNvPr id="14" name="날짜 개체 틀 13"/>
          <p:cNvSpPr>
            <a:spLocks noGrp="1"/>
          </p:cNvSpPr>
          <p:nvPr>
            <p:ph type="dt" sz="half" idx="2"/>
          </p:nvPr>
        </p:nvSpPr>
        <p:spPr>
          <a:xfrm rot="5400000">
            <a:off x="8942811" y="1179947"/>
            <a:ext cx="2217970" cy="449123"/>
          </a:xfrm>
          <a:prstGeom prst="rect">
            <a:avLst/>
          </a:prstGeom>
        </p:spPr>
        <p:txBody>
          <a:bodyPr vert="horz" lIns="103849" tIns="51925" rIns="103849" bIns="51925" anchor="ctr" anchorCtr="0"/>
          <a:lstStyle>
            <a:lvl1pPr algn="r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pPr defTabSz="1038462" fontAlgn="auto">
              <a:spcBef>
                <a:spcPts val="0"/>
              </a:spcBef>
              <a:spcAft>
                <a:spcPts val="0"/>
              </a:spcAft>
            </a:pPr>
            <a:fld id="{582EF422-6799-4543-9129-69758A77C2D3}" type="datetimeFigureOut">
              <a:rPr lang="ko-KR" altLang="en-US" smtClean="0">
                <a:solidFill>
                  <a:srgbClr val="575F6D"/>
                </a:solidFill>
                <a:latin typeface="Century Schoolbook"/>
                <a:ea typeface="휴먼매직체"/>
              </a:rPr>
              <a:pPr defTabSz="1038462" fontAlgn="auto">
                <a:spcBef>
                  <a:spcPts val="0"/>
                </a:spcBef>
                <a:spcAft>
                  <a:spcPts val="0"/>
                </a:spcAft>
              </a:pPr>
              <a:t>2018-03-29</a:t>
            </a:fld>
            <a:endParaRPr lang="ko-KR" altLang="en-US">
              <a:solidFill>
                <a:srgbClr val="575F6D"/>
              </a:solidFill>
              <a:latin typeface="Century Schoolbook"/>
              <a:ea typeface="휴먼매직체"/>
            </a:endParaRPr>
          </a:p>
        </p:txBody>
      </p:sp>
      <p:sp>
        <p:nvSpPr>
          <p:cNvPr id="3" name="바닥글 개체 틀 2"/>
          <p:cNvSpPr>
            <a:spLocks noGrp="1"/>
          </p:cNvSpPr>
          <p:nvPr>
            <p:ph type="ftr" sz="quarter" idx="3"/>
          </p:nvPr>
        </p:nvSpPr>
        <p:spPr>
          <a:xfrm rot="5400000">
            <a:off x="8281687" y="4108246"/>
            <a:ext cx="3528589" cy="427736"/>
          </a:xfrm>
          <a:prstGeom prst="rect">
            <a:avLst/>
          </a:prstGeom>
        </p:spPr>
        <p:txBody>
          <a:bodyPr vert="horz" lIns="103849" tIns="51925" rIns="103849" bIns="51925" anchor="ctr" anchorCtr="0"/>
          <a:lstStyle>
            <a:lvl1pPr algn="l" eaLnBrk="1" latinLnBrk="0" hangingPunct="1">
              <a:defRPr kumimoji="0" sz="1400">
                <a:solidFill>
                  <a:schemeClr val="tx2"/>
                </a:solidFill>
              </a:defRPr>
            </a:lvl1pPr>
          </a:lstStyle>
          <a:p>
            <a:pPr defTabSz="1038462" fontAlgn="auto">
              <a:spcBef>
                <a:spcPts val="0"/>
              </a:spcBef>
              <a:spcAft>
                <a:spcPts val="0"/>
              </a:spcAft>
            </a:pPr>
            <a:endParaRPr lang="ko-KR" altLang="en-US">
              <a:solidFill>
                <a:srgbClr val="575F6D"/>
              </a:solidFill>
              <a:latin typeface="Century Schoolbook"/>
              <a:ea typeface="휴먼매직체"/>
            </a:endParaRPr>
          </a:p>
        </p:txBody>
      </p:sp>
      <p:sp>
        <p:nvSpPr>
          <p:cNvPr id="7" name="직선 연결선 6"/>
          <p:cNvSpPr>
            <a:spLocks noChangeShapeType="1"/>
          </p:cNvSpPr>
          <p:nvPr/>
        </p:nvSpPr>
        <p:spPr bwMode="auto">
          <a:xfrm>
            <a:off x="89112" y="0"/>
            <a:ext cx="0" cy="7561263"/>
          </a:xfrm>
          <a:prstGeom prst="line">
            <a:avLst/>
          </a:prstGeom>
          <a:noFill/>
          <a:ln w="57150" cap="flat" cmpd="thickThin" algn="ctr">
            <a:solidFill>
              <a:schemeClr val="accent1">
                <a:tint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849" tIns="51925" rIns="103849" bIns="51925" anchor="t" compatLnSpc="1"/>
          <a:lstStyle/>
          <a:p>
            <a:pPr defTabSz="1038462" fontAlgn="auto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black"/>
              </a:solidFill>
              <a:latin typeface="Century Schoolbook"/>
            </a:endParaRPr>
          </a:p>
        </p:txBody>
      </p:sp>
      <p:sp>
        <p:nvSpPr>
          <p:cNvPr id="9" name="직선 연결선 8"/>
          <p:cNvSpPr>
            <a:spLocks noChangeShapeType="1"/>
          </p:cNvSpPr>
          <p:nvPr/>
        </p:nvSpPr>
        <p:spPr bwMode="auto">
          <a:xfrm>
            <a:off x="10515177" y="0"/>
            <a:ext cx="0" cy="7561263"/>
          </a:xfrm>
          <a:prstGeom prst="line">
            <a:avLst/>
          </a:prstGeom>
          <a:noFill/>
          <a:ln w="190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849" tIns="51925" rIns="103849" bIns="51925" anchor="t" compatLnSpc="1"/>
          <a:lstStyle/>
          <a:p>
            <a:pPr defTabSz="1038462" fontAlgn="auto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black"/>
              </a:solidFill>
              <a:latin typeface="Century Schoolbook"/>
            </a:endParaRPr>
          </a:p>
        </p:txBody>
      </p:sp>
      <p:sp>
        <p:nvSpPr>
          <p:cNvPr id="10" name="직사각형 9"/>
          <p:cNvSpPr/>
          <p:nvPr/>
        </p:nvSpPr>
        <p:spPr bwMode="auto">
          <a:xfrm>
            <a:off x="10336953" y="0"/>
            <a:ext cx="356447" cy="7561263"/>
          </a:xfrm>
          <a:prstGeom prst="rect">
            <a:avLst/>
          </a:prstGeom>
          <a:solidFill>
            <a:schemeClr val="accent1">
              <a:tint val="60000"/>
              <a:alpha val="87000"/>
            </a:schemeClr>
          </a:solidFill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849" tIns="51925" rIns="103849" bIns="51925" anchor="ctr"/>
          <a:lstStyle/>
          <a:p>
            <a:pPr algn="ctr" defTabSz="1038462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white"/>
              </a:solidFill>
            </a:endParaRPr>
          </a:p>
        </p:txBody>
      </p:sp>
      <p:sp>
        <p:nvSpPr>
          <p:cNvPr id="11" name="직선 연결선 10"/>
          <p:cNvSpPr>
            <a:spLocks noChangeShapeType="1"/>
          </p:cNvSpPr>
          <p:nvPr/>
        </p:nvSpPr>
        <p:spPr bwMode="auto">
          <a:xfrm>
            <a:off x="10426065" y="0"/>
            <a:ext cx="0" cy="7561263"/>
          </a:xfrm>
          <a:prstGeom prst="line">
            <a:avLst/>
          </a:prstGeom>
          <a:noFill/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3849" tIns="51925" rIns="103849" bIns="51925" anchor="t" compatLnSpc="1"/>
          <a:lstStyle/>
          <a:p>
            <a:pPr defTabSz="1038462" fontAlgn="auto">
              <a:spcBef>
                <a:spcPts val="0"/>
              </a:spcBef>
              <a:spcAft>
                <a:spcPts val="0"/>
              </a:spcAft>
            </a:pPr>
            <a:endParaRPr kumimoji="0" lang="en-US" sz="2100">
              <a:solidFill>
                <a:prstClr val="black"/>
              </a:solidFill>
              <a:latin typeface="Century Schoolbook"/>
            </a:endParaRPr>
          </a:p>
        </p:txBody>
      </p:sp>
      <p:sp>
        <p:nvSpPr>
          <p:cNvPr id="12" name="타원 11"/>
          <p:cNvSpPr/>
          <p:nvPr/>
        </p:nvSpPr>
        <p:spPr>
          <a:xfrm>
            <a:off x="9538513" y="6301058"/>
            <a:ext cx="641604" cy="604901"/>
          </a:xfrm>
          <a:prstGeom prst="ellipse">
            <a:avLst/>
          </a:prstGeom>
          <a:ln w="38100" cap="rnd" cmpd="sng" algn="ctr">
            <a:noFill/>
            <a:prstDash val="solid"/>
          </a:ln>
          <a:effectLst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lIns="103849" tIns="51925" rIns="103849" bIns="51925" anchor="ctr"/>
          <a:lstStyle/>
          <a:p>
            <a:pPr algn="ctr" defTabSz="1038462" fontAlgn="auto" latinLnBrk="0">
              <a:spcBef>
                <a:spcPts val="0"/>
              </a:spcBef>
              <a:spcAft>
                <a:spcPts val="0"/>
              </a:spcAft>
            </a:pPr>
            <a:endParaRPr kumimoji="0" lang="en-US" sz="2100" dirty="0">
              <a:solidFill>
                <a:prstClr val="white"/>
              </a:solidFill>
            </a:endParaRPr>
          </a:p>
        </p:txBody>
      </p:sp>
      <p:sp>
        <p:nvSpPr>
          <p:cNvPr id="23" name="슬라이드 번호 개체 틀 22"/>
          <p:cNvSpPr>
            <a:spLocks noGrp="1"/>
          </p:cNvSpPr>
          <p:nvPr>
            <p:ph type="sldNum" sz="quarter" idx="4"/>
          </p:nvPr>
        </p:nvSpPr>
        <p:spPr>
          <a:xfrm>
            <a:off x="9506434" y="6322056"/>
            <a:ext cx="712893" cy="574656"/>
          </a:xfrm>
          <a:prstGeom prst="rect">
            <a:avLst/>
          </a:prstGeom>
        </p:spPr>
        <p:txBody>
          <a:bodyPr vert="horz" lIns="103849" tIns="51925" rIns="103849" bIns="51925" anchor="ctr"/>
          <a:lstStyle>
            <a:lvl1pPr algn="ctr" eaLnBrk="1" latinLnBrk="0" hangingPunct="1">
              <a:defRPr kumimoji="0" sz="1600" b="1">
                <a:solidFill>
                  <a:srgbClr val="FFFFFF"/>
                </a:solidFill>
              </a:defRPr>
            </a:lvl1pPr>
          </a:lstStyle>
          <a:p>
            <a:pPr defTabSz="1038462" fontAlgn="auto">
              <a:spcBef>
                <a:spcPts val="0"/>
              </a:spcBef>
              <a:spcAft>
                <a:spcPts val="0"/>
              </a:spcAft>
            </a:pPr>
            <a:fld id="{0FFC04F2-410B-478E-B5E8-05AEE79BCA15}" type="slidenum">
              <a:rPr lang="ko-KR" altLang="en-US" smtClean="0">
                <a:latin typeface="Century Schoolbook"/>
                <a:ea typeface="휴먼매직체"/>
              </a:rPr>
              <a:pPr defTabSz="1038462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ko-KR" altLang="en-US">
              <a:latin typeface="Century Schoolbook"/>
              <a:ea typeface="휴먼매직체"/>
            </a:endParaRPr>
          </a:p>
        </p:txBody>
      </p:sp>
    </p:spTree>
    <p:extLst>
      <p:ext uri="{BB962C8B-B14F-4D97-AF65-F5344CB8AC3E}">
        <p14:creationId xmlns:p14="http://schemas.microsoft.com/office/powerpoint/2010/main" val="38154607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7" r:id="rId1"/>
    <p:sldLayoutId id="2147484008" r:id="rId2"/>
    <p:sldLayoutId id="2147484009" r:id="rId3"/>
    <p:sldLayoutId id="2147484010" r:id="rId4"/>
    <p:sldLayoutId id="2147484011" r:id="rId5"/>
    <p:sldLayoutId id="2147484012" r:id="rId6"/>
    <p:sldLayoutId id="2147484013" r:id="rId7"/>
    <p:sldLayoutId id="2147484014" r:id="rId8"/>
    <p:sldLayoutId id="2147484015" r:id="rId9"/>
    <p:sldLayoutId id="2147484016" r:id="rId10"/>
    <p:sldLayoutId id="2147484017" r:id="rId11"/>
  </p:sldLayoutIdLst>
  <p:txStyles>
    <p:titleStyle>
      <a:lvl1pPr algn="l" rtl="0" eaLnBrk="1" latinLnBrk="1" hangingPunct="1">
        <a:spcBef>
          <a:spcPct val="0"/>
        </a:spcBef>
        <a:buNone/>
        <a:defRPr kumimoji="0" sz="3400" b="0" kern="1200" cap="sm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11540" indent="-311540" algn="l" rtl="0" eaLnBrk="1" latinLnBrk="1" hangingPunct="1">
        <a:spcBef>
          <a:spcPts val="684"/>
        </a:spcBef>
        <a:buClr>
          <a:schemeClr val="accent1"/>
        </a:buClr>
        <a:buSzPct val="70000"/>
        <a:buFont typeface="Wingdings"/>
        <a:buChar char=""/>
        <a:defRPr kumimoji="0" sz="2700" kern="1200">
          <a:solidFill>
            <a:schemeClr val="tx1"/>
          </a:solidFill>
          <a:latin typeface="+mn-lt"/>
          <a:ea typeface="+mn-ea"/>
          <a:cs typeface="+mn-cs"/>
        </a:defRPr>
      </a:lvl1pPr>
      <a:lvl2pPr marL="726922" indent="-311540" algn="l" rtl="0" eaLnBrk="1" latinLnBrk="1" hangingPunct="1">
        <a:spcBef>
          <a:spcPct val="20000"/>
        </a:spcBef>
        <a:buClr>
          <a:schemeClr val="accent1"/>
        </a:buClr>
        <a:buSzPct val="80000"/>
        <a:buFont typeface="Wingdings 2"/>
        <a:buChar char="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038462" indent="-207699" algn="l" rtl="0" eaLnBrk="1" latinLnBrk="1" hangingPunct="1">
        <a:spcBef>
          <a:spcPct val="20000"/>
        </a:spcBef>
        <a:buClr>
          <a:schemeClr val="accent1">
            <a:shade val="75000"/>
          </a:schemeClr>
        </a:buClr>
        <a:buSzPct val="60000"/>
        <a:buFont typeface="Wingdings"/>
        <a:buChar char="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350002" indent="-207699" algn="l" rtl="0" eaLnBrk="1" latinLnBrk="1" hangingPunct="1">
        <a:spcBef>
          <a:spcPct val="20000"/>
        </a:spcBef>
        <a:buClr>
          <a:schemeClr val="accent1">
            <a:tint val="60000"/>
          </a:schemeClr>
        </a:buClr>
        <a:buSzPct val="60000"/>
        <a:buFont typeface="Wingdings"/>
        <a:buChar char="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1661544" indent="-207699" algn="l" rtl="0" eaLnBrk="1" latinLnBrk="1" hangingPunct="1">
        <a:spcBef>
          <a:spcPct val="20000"/>
        </a:spcBef>
        <a:buClr>
          <a:schemeClr val="accent2">
            <a:tint val="60000"/>
          </a:schemeClr>
        </a:buClr>
        <a:buSzPct val="68000"/>
        <a:buFont typeface="Wingdings 2"/>
        <a:buChar char="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1973089" indent="-207699" algn="l" rtl="0" eaLnBrk="1" latinLnBrk="1" hangingPunct="1">
        <a:spcBef>
          <a:spcPct val="20000"/>
        </a:spcBef>
        <a:buClr>
          <a:schemeClr val="accent1"/>
        </a:buClr>
        <a:buChar char="•"/>
        <a:defRPr kumimoji="0" sz="1800" kern="1200">
          <a:solidFill>
            <a:schemeClr val="tx2"/>
          </a:solidFill>
          <a:latin typeface="+mn-lt"/>
          <a:ea typeface="+mn-ea"/>
          <a:cs typeface="+mn-cs"/>
        </a:defRPr>
      </a:lvl6pPr>
      <a:lvl7pPr marL="2284618" indent="-207699" algn="l" rtl="0" eaLnBrk="1" latinLnBrk="1" hangingPunct="1">
        <a:spcBef>
          <a:spcPct val="20000"/>
        </a:spcBef>
        <a:buClr>
          <a:schemeClr val="accent1">
            <a:tint val="60000"/>
          </a:schemeClr>
        </a:buClr>
        <a:buSzPct val="60000"/>
        <a:buFont typeface="Wingdings"/>
        <a:buChar char=""/>
        <a:defRPr kumimoji="0" sz="1600" kern="1200" baseline="0">
          <a:solidFill>
            <a:schemeClr val="tx2"/>
          </a:solidFill>
          <a:latin typeface="+mn-lt"/>
          <a:ea typeface="+mn-ea"/>
          <a:cs typeface="+mn-cs"/>
        </a:defRPr>
      </a:lvl7pPr>
      <a:lvl8pPr marL="2596160" indent="-207699" algn="l" rtl="0" eaLnBrk="1" latinLnBrk="1" hangingPunct="1">
        <a:spcBef>
          <a:spcPct val="20000"/>
        </a:spcBef>
        <a:buClr>
          <a:schemeClr val="accent2"/>
        </a:buClr>
        <a:buChar char="•"/>
        <a:defRPr kumimoji="0" sz="1600" kern="1200" cap="small" baseline="0">
          <a:solidFill>
            <a:schemeClr val="tx2"/>
          </a:solidFill>
          <a:latin typeface="+mn-lt"/>
          <a:ea typeface="+mn-ea"/>
          <a:cs typeface="+mn-cs"/>
        </a:defRPr>
      </a:lvl8pPr>
      <a:lvl9pPr marL="2907701" indent="-207699" algn="l" rtl="0" eaLnBrk="1" latinLnBrk="1" hangingPunct="1">
        <a:spcBef>
          <a:spcPct val="20000"/>
        </a:spcBef>
        <a:buClr>
          <a:schemeClr val="accent1">
            <a:shade val="75000"/>
          </a:schemeClr>
        </a:buClr>
        <a:buChar char="•"/>
        <a:defRPr kumimoji="0" sz="16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1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519233" algn="l" rtl="0" eaLnBrk="1" latinLnBrk="1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1038462" algn="l" rtl="0" eaLnBrk="1" latinLnBrk="1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557698" algn="l" rtl="0" eaLnBrk="1" latinLnBrk="1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2076931" algn="l" rtl="0" eaLnBrk="1" latinLnBrk="1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596160" algn="l" rtl="0" eaLnBrk="1" latinLnBrk="1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3115391" algn="l" rtl="0" eaLnBrk="1" latinLnBrk="1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634627" algn="l" rtl="0" eaLnBrk="1" latinLnBrk="1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4153857" algn="l" rtl="0" eaLnBrk="1" latinLnBrk="1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Pr>
        <a:gradFill rotWithShape="0">
          <a:gsLst>
            <a:gs pos="0">
              <a:schemeClr val="bg1"/>
            </a:gs>
            <a:gs pos="50000">
              <a:srgbClr val="FFFFFF"/>
            </a:gs>
            <a:gs pos="100000">
              <a:schemeClr val="bg1"/>
            </a:gs>
          </a:gsLst>
          <a:lin ang="189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74" descr="03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184" r="-2553" b="14572"/>
          <a:stretch>
            <a:fillRect/>
          </a:stretch>
        </p:blipFill>
        <p:spPr bwMode="gray">
          <a:xfrm>
            <a:off x="3" y="2604435"/>
            <a:ext cx="5008818" cy="49568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171" name="Group 66"/>
          <p:cNvGrpSpPr>
            <a:grpSpLocks/>
          </p:cNvGrpSpPr>
          <p:nvPr/>
        </p:nvGrpSpPr>
        <p:grpSpPr bwMode="auto">
          <a:xfrm>
            <a:off x="6000185" y="204785"/>
            <a:ext cx="4427737" cy="3843642"/>
            <a:chOff x="3232" y="117"/>
            <a:chExt cx="2385" cy="2196"/>
          </a:xfrm>
        </p:grpSpPr>
        <p:sp>
          <p:nvSpPr>
            <p:cNvPr id="1091" name="AutoShape 67"/>
            <p:cNvSpPr>
              <a:spLocks noChangeArrowheads="1"/>
            </p:cNvSpPr>
            <p:nvPr userDrawn="1"/>
          </p:nvSpPr>
          <p:spPr bwMode="gray">
            <a:xfrm>
              <a:off x="4440" y="117"/>
              <a:ext cx="571" cy="539"/>
            </a:xfrm>
            <a:prstGeom prst="roundRect">
              <a:avLst>
                <a:gd name="adj" fmla="val 16667"/>
              </a:avLst>
            </a:prstGeom>
            <a:solidFill>
              <a:srgbClr val="FFFFFF">
                <a:alpha val="20000"/>
              </a:srgbClr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r" latinLnBrk="0">
                <a:defRPr/>
              </a:pPr>
              <a:endParaRPr kumimoji="0" lang="ko-KR" altLang="en-US" sz="18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092" name="AutoShape 68"/>
            <p:cNvSpPr>
              <a:spLocks noChangeArrowheads="1"/>
            </p:cNvSpPr>
            <p:nvPr userDrawn="1"/>
          </p:nvSpPr>
          <p:spPr bwMode="gray">
            <a:xfrm>
              <a:off x="5045" y="117"/>
              <a:ext cx="572" cy="539"/>
            </a:xfrm>
            <a:prstGeom prst="roundRect">
              <a:avLst>
                <a:gd name="adj" fmla="val 16667"/>
              </a:avLst>
            </a:prstGeom>
            <a:solidFill>
              <a:srgbClr val="FFFFFF">
                <a:alpha val="39999"/>
              </a:srgbClr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r" latinLnBrk="0">
                <a:defRPr/>
              </a:pPr>
              <a:endParaRPr kumimoji="0" lang="ko-KR" altLang="en-US" sz="18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093" name="AutoShape 69"/>
            <p:cNvSpPr>
              <a:spLocks noChangeArrowheads="1"/>
            </p:cNvSpPr>
            <p:nvPr userDrawn="1"/>
          </p:nvSpPr>
          <p:spPr bwMode="gray">
            <a:xfrm>
              <a:off x="4440" y="683"/>
              <a:ext cx="571" cy="539"/>
            </a:xfrm>
            <a:prstGeom prst="roundRect">
              <a:avLst>
                <a:gd name="adj" fmla="val 16667"/>
              </a:avLst>
            </a:prstGeom>
            <a:solidFill>
              <a:srgbClr val="FFFFFF">
                <a:alpha val="39999"/>
              </a:srgbClr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r" latinLnBrk="0">
                <a:defRPr/>
              </a:pPr>
              <a:endParaRPr kumimoji="0" lang="ko-KR" altLang="en-US" sz="18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094" name="AutoShape 70"/>
            <p:cNvSpPr>
              <a:spLocks noChangeArrowheads="1"/>
            </p:cNvSpPr>
            <p:nvPr userDrawn="1"/>
          </p:nvSpPr>
          <p:spPr bwMode="gray">
            <a:xfrm>
              <a:off x="3232" y="117"/>
              <a:ext cx="572" cy="539"/>
            </a:xfrm>
            <a:prstGeom prst="roundRect">
              <a:avLst>
                <a:gd name="adj" fmla="val 16667"/>
              </a:avLst>
            </a:prstGeom>
            <a:solidFill>
              <a:srgbClr val="FFFFFF">
                <a:alpha val="20000"/>
              </a:srgbClr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r" latinLnBrk="0">
                <a:defRPr/>
              </a:pPr>
              <a:endParaRPr kumimoji="0" lang="ko-KR" altLang="en-US" sz="18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095" name="AutoShape 71"/>
            <p:cNvSpPr>
              <a:spLocks noChangeArrowheads="1"/>
            </p:cNvSpPr>
            <p:nvPr userDrawn="1"/>
          </p:nvSpPr>
          <p:spPr bwMode="gray">
            <a:xfrm>
              <a:off x="3839" y="683"/>
              <a:ext cx="571" cy="538"/>
            </a:xfrm>
            <a:prstGeom prst="roundRect">
              <a:avLst>
                <a:gd name="adj" fmla="val 16667"/>
              </a:avLst>
            </a:prstGeom>
            <a:solidFill>
              <a:srgbClr val="FFFFFF">
                <a:alpha val="20000"/>
              </a:srgbClr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r" latinLnBrk="0">
                <a:defRPr/>
              </a:pPr>
              <a:endParaRPr kumimoji="0" lang="ko-KR" altLang="en-US" sz="18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096" name="AutoShape 72"/>
            <p:cNvSpPr>
              <a:spLocks noChangeArrowheads="1"/>
            </p:cNvSpPr>
            <p:nvPr userDrawn="1"/>
          </p:nvSpPr>
          <p:spPr bwMode="gray">
            <a:xfrm>
              <a:off x="5045" y="1201"/>
              <a:ext cx="572" cy="538"/>
            </a:xfrm>
            <a:prstGeom prst="roundRect">
              <a:avLst>
                <a:gd name="adj" fmla="val 16667"/>
              </a:avLst>
            </a:prstGeom>
            <a:solidFill>
              <a:srgbClr val="FFFFFF">
                <a:alpha val="20000"/>
              </a:srgbClr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r" latinLnBrk="0">
                <a:defRPr/>
              </a:pPr>
              <a:endParaRPr kumimoji="0" lang="ko-KR" altLang="en-US" sz="1800">
                <a:solidFill>
                  <a:srgbClr val="000000"/>
                </a:solidFill>
                <a:latin typeface="Arial" pitchFamily="34" charset="0"/>
              </a:endParaRPr>
            </a:p>
          </p:txBody>
        </p:sp>
        <p:sp>
          <p:nvSpPr>
            <p:cNvPr id="1097" name="AutoShape 73"/>
            <p:cNvSpPr>
              <a:spLocks noChangeArrowheads="1"/>
            </p:cNvSpPr>
            <p:nvPr userDrawn="1"/>
          </p:nvSpPr>
          <p:spPr bwMode="gray">
            <a:xfrm>
              <a:off x="5045" y="1774"/>
              <a:ext cx="572" cy="539"/>
            </a:xfrm>
            <a:prstGeom prst="roundRect">
              <a:avLst>
                <a:gd name="adj" fmla="val 16667"/>
              </a:avLst>
            </a:prstGeom>
            <a:solidFill>
              <a:srgbClr val="FFFFFF">
                <a:alpha val="20000"/>
              </a:srgbClr>
            </a:solidFill>
            <a:ln w="9525" algn="ctr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 algn="r" latinLnBrk="0">
                <a:defRPr/>
              </a:pPr>
              <a:endParaRPr kumimoji="0" lang="ko-KR" altLang="en-US" sz="1800">
                <a:solidFill>
                  <a:srgbClr val="000000"/>
                </a:solidFill>
                <a:latin typeface="Arial" pitchFamily="34" charset="0"/>
              </a:endParaRPr>
            </a:p>
          </p:txBody>
        </p:sp>
      </p:grpSp>
      <p:sp>
        <p:nvSpPr>
          <p:cNvPr id="717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371973" y="302802"/>
            <a:ext cx="8809059" cy="12602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3941" tIns="51970" rIns="103941" bIns="5197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제목 스타일 편집</a:t>
            </a:r>
            <a:endParaRPr lang="en-US" altLang="ko-KR" smtClean="0"/>
          </a:p>
        </p:txBody>
      </p:sp>
      <p:sp>
        <p:nvSpPr>
          <p:cNvPr id="7173" name="Rectangle 3"/>
          <p:cNvSpPr>
            <a:spLocks noGrp="1" noChangeArrowheads="1"/>
          </p:cNvSpPr>
          <p:nvPr>
            <p:ph type="body" idx="1"/>
          </p:nvPr>
        </p:nvSpPr>
        <p:spPr bwMode="gray">
          <a:xfrm>
            <a:off x="534670" y="1764295"/>
            <a:ext cx="9624060" cy="49900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3941" tIns="51970" rIns="103941" bIns="5197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en-US" altLang="ko-KR" smtClean="0"/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gray">
          <a:xfrm>
            <a:off x="534671" y="7148194"/>
            <a:ext cx="2495127" cy="262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3941" tIns="51970" rIns="103941" bIns="51970" numCol="1" anchor="t" anchorCtr="0" compatLnSpc="1">
            <a:prstTxWarp prst="textNoShape">
              <a:avLst/>
            </a:prstTxWarp>
          </a:bodyPr>
          <a:lstStyle>
            <a:lvl1pPr algn="l" latinLnBrk="0">
              <a:defRPr kumimoji="0" sz="1100">
                <a:latin typeface="Arial" charset="0"/>
                <a:ea typeface="굴림" charset="-127"/>
                <a:cs typeface="Arial" charset="0"/>
              </a:defRPr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3"/>
          </p:nvPr>
        </p:nvSpPr>
        <p:spPr bwMode="gray">
          <a:xfrm>
            <a:off x="3653582" y="7148194"/>
            <a:ext cx="3386243" cy="262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3941" tIns="51970" rIns="103941" bIns="51970" numCol="1" anchor="t" anchorCtr="0" compatLnSpc="1">
            <a:prstTxWarp prst="textNoShape">
              <a:avLst/>
            </a:prstTxWarp>
          </a:bodyPr>
          <a:lstStyle>
            <a:lvl1pPr algn="ctr" latinLnBrk="0">
              <a:defRPr kumimoji="0" sz="1100">
                <a:latin typeface="Arial" charset="0"/>
                <a:ea typeface="굴림" charset="-127"/>
                <a:cs typeface="Arial" charset="0"/>
              </a:defRPr>
            </a:lvl1pPr>
          </a:lstStyle>
          <a:p>
            <a:pPr>
              <a:defRPr/>
            </a:pPr>
            <a:endParaRPr lang="en-US" altLang="ko-KR">
              <a:solidFill>
                <a:srgbClr val="000000"/>
              </a:solidFill>
            </a:endParaRPr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gray">
          <a:xfrm>
            <a:off x="7663603" y="7148194"/>
            <a:ext cx="2495127" cy="2625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103941" tIns="51970" rIns="103941" bIns="51970" numCol="1" anchor="t" anchorCtr="0" compatLnSpc="1">
            <a:prstTxWarp prst="textNoShape">
              <a:avLst/>
            </a:prstTxWarp>
          </a:bodyPr>
          <a:lstStyle>
            <a:lvl1pPr algn="r" latinLnBrk="0">
              <a:defRPr kumimoji="0" sz="1100">
                <a:latin typeface="Arial" charset="0"/>
                <a:ea typeface="굴림" charset="-127"/>
                <a:cs typeface="Arial" charset="0"/>
              </a:defRPr>
            </a:lvl1pPr>
          </a:lstStyle>
          <a:p>
            <a:pPr>
              <a:defRPr/>
            </a:pPr>
            <a:fld id="{05D6FA2F-4B6B-49A4-BA24-5AD1A1EE84C2}" type="slidenum">
              <a:rPr lang="en-US" altLang="ko-KR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altLang="ko-KR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42445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6" r:id="rId1"/>
    <p:sldLayoutId id="2147484037" r:id="rId2"/>
    <p:sldLayoutId id="2147484038" r:id="rId3"/>
    <p:sldLayoutId id="2147484039" r:id="rId4"/>
    <p:sldLayoutId id="2147484040" r:id="rId5"/>
    <p:sldLayoutId id="2147484041" r:id="rId6"/>
    <p:sldLayoutId id="2147484042" r:id="rId7"/>
    <p:sldLayoutId id="2147484043" r:id="rId8"/>
    <p:sldLayoutId id="2147484044" r:id="rId9"/>
    <p:sldLayoutId id="2147484045" r:id="rId10"/>
    <p:sldLayoutId id="2147484046" r:id="rId11"/>
    <p:sldLayoutId id="2147484047" r:id="rId12"/>
    <p:sldLayoutId id="2147484048" r:id="rId13"/>
    <p:sldLayoutId id="2147484049" r:id="rId14"/>
    <p:sldLayoutId id="2147484050" r:id="rId15"/>
  </p:sldLayoutIdLst>
  <p:txStyles>
    <p:titleStyle>
      <a:lvl1pPr algn="l" rtl="0" eaLnBrk="0" fontAlgn="base" latinLnBrk="1" hangingPunct="0">
        <a:spcBef>
          <a:spcPct val="0"/>
        </a:spcBef>
        <a:spcAft>
          <a:spcPct val="0"/>
        </a:spcAft>
        <a:defRPr sz="46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latinLnBrk="1" hangingPunct="0">
        <a:spcBef>
          <a:spcPct val="0"/>
        </a:spcBef>
        <a:spcAft>
          <a:spcPct val="0"/>
        </a:spcAft>
        <a:defRPr sz="4600" b="1">
          <a:solidFill>
            <a:schemeClr val="tx2"/>
          </a:solidFill>
          <a:latin typeface="Arial" charset="0"/>
          <a:cs typeface="Arial" charset="0"/>
        </a:defRPr>
      </a:lvl2pPr>
      <a:lvl3pPr algn="l" rtl="0" eaLnBrk="0" fontAlgn="base" latinLnBrk="1" hangingPunct="0">
        <a:spcBef>
          <a:spcPct val="0"/>
        </a:spcBef>
        <a:spcAft>
          <a:spcPct val="0"/>
        </a:spcAft>
        <a:defRPr sz="4600" b="1">
          <a:solidFill>
            <a:schemeClr val="tx2"/>
          </a:solidFill>
          <a:latin typeface="Arial" charset="0"/>
          <a:cs typeface="Arial" charset="0"/>
        </a:defRPr>
      </a:lvl3pPr>
      <a:lvl4pPr algn="l" rtl="0" eaLnBrk="0" fontAlgn="base" latinLnBrk="1" hangingPunct="0">
        <a:spcBef>
          <a:spcPct val="0"/>
        </a:spcBef>
        <a:spcAft>
          <a:spcPct val="0"/>
        </a:spcAft>
        <a:defRPr sz="4600" b="1">
          <a:solidFill>
            <a:schemeClr val="tx2"/>
          </a:solidFill>
          <a:latin typeface="Arial" charset="0"/>
          <a:cs typeface="Arial" charset="0"/>
        </a:defRPr>
      </a:lvl4pPr>
      <a:lvl5pPr algn="l" rtl="0" eaLnBrk="0" fontAlgn="base" latinLnBrk="1" hangingPunct="0">
        <a:spcBef>
          <a:spcPct val="0"/>
        </a:spcBef>
        <a:spcAft>
          <a:spcPct val="0"/>
        </a:spcAft>
        <a:defRPr sz="4600" b="1">
          <a:solidFill>
            <a:schemeClr val="tx2"/>
          </a:solidFill>
          <a:latin typeface="Arial" charset="0"/>
          <a:cs typeface="Arial" charset="0"/>
        </a:defRPr>
      </a:lvl5pPr>
      <a:lvl6pPr marL="519692" algn="l" rtl="0" eaLnBrk="1" fontAlgn="base" latinLnBrk="1" hangingPunct="1">
        <a:spcBef>
          <a:spcPct val="0"/>
        </a:spcBef>
        <a:spcAft>
          <a:spcPct val="0"/>
        </a:spcAft>
        <a:defRPr sz="4600" b="1">
          <a:solidFill>
            <a:schemeClr val="tx2"/>
          </a:solidFill>
          <a:latin typeface="Arial" charset="0"/>
          <a:cs typeface="Arial" charset="0"/>
        </a:defRPr>
      </a:lvl6pPr>
      <a:lvl7pPr marL="1039381" algn="l" rtl="0" eaLnBrk="1" fontAlgn="base" latinLnBrk="1" hangingPunct="1">
        <a:spcBef>
          <a:spcPct val="0"/>
        </a:spcBef>
        <a:spcAft>
          <a:spcPct val="0"/>
        </a:spcAft>
        <a:defRPr sz="4600" b="1">
          <a:solidFill>
            <a:schemeClr val="tx2"/>
          </a:solidFill>
          <a:latin typeface="Arial" charset="0"/>
          <a:cs typeface="Arial" charset="0"/>
        </a:defRPr>
      </a:lvl7pPr>
      <a:lvl8pPr marL="1559073" algn="l" rtl="0" eaLnBrk="1" fontAlgn="base" latinLnBrk="1" hangingPunct="1">
        <a:spcBef>
          <a:spcPct val="0"/>
        </a:spcBef>
        <a:spcAft>
          <a:spcPct val="0"/>
        </a:spcAft>
        <a:defRPr sz="4600" b="1">
          <a:solidFill>
            <a:schemeClr val="tx2"/>
          </a:solidFill>
          <a:latin typeface="Arial" charset="0"/>
          <a:cs typeface="Arial" charset="0"/>
        </a:defRPr>
      </a:lvl8pPr>
      <a:lvl9pPr marL="2078764" algn="l" rtl="0" eaLnBrk="1" fontAlgn="base" latinLnBrk="1" hangingPunct="1">
        <a:spcBef>
          <a:spcPct val="0"/>
        </a:spcBef>
        <a:spcAft>
          <a:spcPct val="0"/>
        </a:spcAft>
        <a:defRPr sz="4600" b="1">
          <a:solidFill>
            <a:schemeClr val="tx2"/>
          </a:solidFill>
          <a:latin typeface="Arial" charset="0"/>
          <a:cs typeface="Arial" charset="0"/>
        </a:defRPr>
      </a:lvl9pPr>
    </p:titleStyle>
    <p:bodyStyle>
      <a:lvl1pPr marL="389766" indent="-389766" algn="l" rtl="0" eaLnBrk="0" fontAlgn="base" latinLnBrk="1" hangingPunct="0">
        <a:spcBef>
          <a:spcPct val="20000"/>
        </a:spcBef>
        <a:spcAft>
          <a:spcPct val="0"/>
        </a:spcAft>
        <a:buChar char="•"/>
        <a:defRPr sz="3700">
          <a:solidFill>
            <a:schemeClr val="tx1"/>
          </a:solidFill>
          <a:latin typeface="+mn-lt"/>
          <a:ea typeface="+mn-ea"/>
          <a:cs typeface="+mn-cs"/>
        </a:defRPr>
      </a:lvl1pPr>
      <a:lvl2pPr marL="844496" indent="-324812" algn="l" rtl="0" eaLnBrk="0" fontAlgn="base" latinLnBrk="1" hangingPunct="0">
        <a:spcBef>
          <a:spcPct val="20000"/>
        </a:spcBef>
        <a:spcAft>
          <a:spcPct val="0"/>
        </a:spcAft>
        <a:buChar char="–"/>
        <a:defRPr sz="3200">
          <a:solidFill>
            <a:schemeClr val="tx1"/>
          </a:solidFill>
          <a:latin typeface="+mn-lt"/>
          <a:cs typeface="+mn-cs"/>
        </a:defRPr>
      </a:lvl2pPr>
      <a:lvl3pPr marL="1299227" indent="-259845" algn="l" rtl="0" eaLnBrk="0" fontAlgn="base" latinLnBrk="1" hangingPunct="0">
        <a:spcBef>
          <a:spcPct val="20000"/>
        </a:spcBef>
        <a:spcAft>
          <a:spcPct val="0"/>
        </a:spcAft>
        <a:buChar char="•"/>
        <a:defRPr sz="2700">
          <a:solidFill>
            <a:schemeClr val="tx1"/>
          </a:solidFill>
          <a:latin typeface="+mn-lt"/>
          <a:cs typeface="+mn-cs"/>
        </a:defRPr>
      </a:lvl3pPr>
      <a:lvl4pPr marL="1818918" indent="-259845" algn="l" rtl="0" eaLnBrk="0" fontAlgn="base" latinLnBrk="1" hangingPunct="0">
        <a:spcBef>
          <a:spcPct val="20000"/>
        </a:spcBef>
        <a:spcAft>
          <a:spcPct val="0"/>
        </a:spcAft>
        <a:buChar char="–"/>
        <a:defRPr sz="2300">
          <a:solidFill>
            <a:schemeClr val="tx1"/>
          </a:solidFill>
          <a:latin typeface="+mn-lt"/>
          <a:cs typeface="+mn-cs"/>
        </a:defRPr>
      </a:lvl4pPr>
      <a:lvl5pPr marL="2338612" indent="-259845" algn="l" rtl="0" eaLnBrk="0" fontAlgn="base" latinLnBrk="1" hangingPunct="0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  <a:cs typeface="+mn-cs"/>
        </a:defRPr>
      </a:lvl5pPr>
      <a:lvl6pPr marL="2858299" indent="-259845" algn="l" rtl="0" eaLnBrk="1" fontAlgn="base" latinLnBrk="1" hangingPunct="1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  <a:cs typeface="+mn-cs"/>
        </a:defRPr>
      </a:lvl6pPr>
      <a:lvl7pPr marL="3377989" indent="-259845" algn="l" rtl="0" eaLnBrk="1" fontAlgn="base" latinLnBrk="1" hangingPunct="1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  <a:cs typeface="+mn-cs"/>
        </a:defRPr>
      </a:lvl7pPr>
      <a:lvl8pPr marL="3897681" indent="-259845" algn="l" rtl="0" eaLnBrk="1" fontAlgn="base" latinLnBrk="1" hangingPunct="1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  <a:cs typeface="+mn-cs"/>
        </a:defRPr>
      </a:lvl8pPr>
      <a:lvl9pPr marL="4417371" indent="-259845" algn="l" rtl="0" eaLnBrk="1" fontAlgn="base" latinLnBrk="1" hangingPunct="1">
        <a:spcBef>
          <a:spcPct val="20000"/>
        </a:spcBef>
        <a:spcAft>
          <a:spcPct val="0"/>
        </a:spcAft>
        <a:buChar char="»"/>
        <a:defRPr sz="23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ko-KR"/>
      </a:defPPr>
      <a:lvl1pPr marL="0" algn="l" defTabSz="1039381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9692" algn="l" defTabSz="1039381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39381" algn="l" defTabSz="1039381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59073" algn="l" defTabSz="1039381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78764" algn="l" defTabSz="1039381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598452" algn="l" defTabSz="1039381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8143" algn="l" defTabSz="1039381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37835" algn="l" defTabSz="1039381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57524" algn="l" defTabSz="1039381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534670" y="302802"/>
            <a:ext cx="9624060" cy="1260211"/>
          </a:xfrm>
          <a:prstGeom prst="rect">
            <a:avLst/>
          </a:prstGeom>
        </p:spPr>
        <p:txBody>
          <a:bodyPr vert="horz" lIns="103941" tIns="51970" rIns="103941" bIns="51970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534670" y="1764295"/>
            <a:ext cx="9624060" cy="4990084"/>
          </a:xfrm>
          <a:prstGeom prst="rect">
            <a:avLst/>
          </a:prstGeom>
        </p:spPr>
        <p:txBody>
          <a:bodyPr vert="horz" lIns="103941" tIns="51970" rIns="103941" bIns="51970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534671" y="7008193"/>
            <a:ext cx="2495127" cy="402567"/>
          </a:xfrm>
          <a:prstGeom prst="rect">
            <a:avLst/>
          </a:prstGeom>
        </p:spPr>
        <p:txBody>
          <a:bodyPr vert="horz" lIns="103941" tIns="51970" rIns="103941" bIns="51970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1039381" fontAlgn="auto">
              <a:spcBef>
                <a:spcPts val="0"/>
              </a:spcBef>
              <a:spcAft>
                <a:spcPts val="0"/>
              </a:spcAft>
            </a:pPr>
            <a:fld id="{8761FD00-3F21-42CF-9EF5-8F6D81CE3AFD}" type="datetimeFigureOut">
              <a:rPr kumimoji="0" lang="ko-KR" altLang="en-US" smtClean="0">
                <a:solidFill>
                  <a:prstClr val="black">
                    <a:tint val="75000"/>
                  </a:prstClr>
                </a:solidFill>
              </a:rPr>
              <a:pPr defTabSz="1039381" fontAlgn="auto">
                <a:spcBef>
                  <a:spcPts val="0"/>
                </a:spcBef>
                <a:spcAft>
                  <a:spcPts val="0"/>
                </a:spcAft>
              </a:pPr>
              <a:t>2018-03-29</a:t>
            </a:fld>
            <a:endParaRPr kumimoji="0"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653582" y="7008193"/>
            <a:ext cx="3386243" cy="402567"/>
          </a:xfrm>
          <a:prstGeom prst="rect">
            <a:avLst/>
          </a:prstGeom>
        </p:spPr>
        <p:txBody>
          <a:bodyPr vert="horz" lIns="103941" tIns="51970" rIns="103941" bIns="51970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1039381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7663603" y="7008193"/>
            <a:ext cx="2495127" cy="402567"/>
          </a:xfrm>
          <a:prstGeom prst="rect">
            <a:avLst/>
          </a:prstGeom>
        </p:spPr>
        <p:txBody>
          <a:bodyPr vert="horz" lIns="103941" tIns="51970" rIns="103941" bIns="51970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1039381" fontAlgn="auto">
              <a:spcBef>
                <a:spcPts val="0"/>
              </a:spcBef>
              <a:spcAft>
                <a:spcPts val="0"/>
              </a:spcAft>
            </a:pPr>
            <a:fld id="{97D217C8-C1B9-4E84-BCEB-D9195FCD889E}" type="slidenum">
              <a:rPr kumimoji="0" lang="ko-KR" altLang="en-US" smtClean="0">
                <a:solidFill>
                  <a:prstClr val="black">
                    <a:tint val="75000"/>
                  </a:prstClr>
                </a:solidFill>
              </a:rPr>
              <a:pPr defTabSz="1039381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31485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2" r:id="rId1"/>
    <p:sldLayoutId id="2147484053" r:id="rId2"/>
    <p:sldLayoutId id="2147484054" r:id="rId3"/>
    <p:sldLayoutId id="2147484055" r:id="rId4"/>
    <p:sldLayoutId id="2147484056" r:id="rId5"/>
    <p:sldLayoutId id="2147484057" r:id="rId6"/>
    <p:sldLayoutId id="2147484058" r:id="rId7"/>
    <p:sldLayoutId id="2147484059" r:id="rId8"/>
  </p:sldLayoutIdLst>
  <p:txStyles>
    <p:titleStyle>
      <a:lvl1pPr algn="ctr" defTabSz="1039381" rtl="0" eaLnBrk="1" latinLnBrk="1" hangingPunct="1">
        <a:spcBef>
          <a:spcPct val="0"/>
        </a:spcBef>
        <a:buNone/>
        <a:defRPr sz="5000" kern="1200">
          <a:solidFill>
            <a:schemeClr val="tx1"/>
          </a:solidFill>
          <a:latin typeface="나눔고딕" pitchFamily="50" charset="-127"/>
          <a:ea typeface="나눔고딕" pitchFamily="50" charset="-127"/>
          <a:cs typeface="+mj-cs"/>
        </a:defRPr>
      </a:lvl1pPr>
    </p:titleStyle>
    <p:bodyStyle>
      <a:lvl1pPr marL="389766" indent="-389766" algn="l" defTabSz="1039381" rtl="0" eaLnBrk="1" latinLnBrk="1" hangingPunct="1">
        <a:spcBef>
          <a:spcPct val="20000"/>
        </a:spcBef>
        <a:buFont typeface="Arial" pitchFamily="34" charset="0"/>
        <a:buChar char="•"/>
        <a:defRPr sz="3700" kern="1200">
          <a:solidFill>
            <a:schemeClr val="tx1"/>
          </a:solidFill>
          <a:latin typeface="나눔고딕" pitchFamily="50" charset="-127"/>
          <a:ea typeface="나눔고딕" pitchFamily="50" charset="-127"/>
          <a:cs typeface="+mn-cs"/>
        </a:defRPr>
      </a:lvl1pPr>
      <a:lvl2pPr marL="844496" indent="-324812" algn="l" defTabSz="1039381" rtl="0" eaLnBrk="1" latinLnBrk="1" hangingPunct="1">
        <a:spcBef>
          <a:spcPct val="20000"/>
        </a:spcBef>
        <a:buFont typeface="Arial" pitchFamily="34" charset="0"/>
        <a:buChar char="–"/>
        <a:defRPr sz="3200" kern="1200">
          <a:solidFill>
            <a:schemeClr val="tx1"/>
          </a:solidFill>
          <a:latin typeface="나눔고딕" pitchFamily="50" charset="-127"/>
          <a:ea typeface="나눔고딕" pitchFamily="50" charset="-127"/>
          <a:cs typeface="+mn-cs"/>
        </a:defRPr>
      </a:lvl2pPr>
      <a:lvl3pPr marL="1299227" indent="-259845" algn="l" defTabSz="1039381" rtl="0" eaLnBrk="1" latinLnBrk="1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나눔고딕" pitchFamily="50" charset="-127"/>
          <a:ea typeface="나눔고딕" pitchFamily="50" charset="-127"/>
          <a:cs typeface="+mn-cs"/>
        </a:defRPr>
      </a:lvl3pPr>
      <a:lvl4pPr marL="1818918" indent="-259845" algn="l" defTabSz="1039381" rtl="0" eaLnBrk="1" latinLnBrk="1" hangingPunct="1">
        <a:spcBef>
          <a:spcPct val="20000"/>
        </a:spcBef>
        <a:buFont typeface="Arial" pitchFamily="34" charset="0"/>
        <a:buChar char="–"/>
        <a:defRPr sz="2300" kern="1200">
          <a:solidFill>
            <a:schemeClr val="tx1"/>
          </a:solidFill>
          <a:latin typeface="나눔고딕" pitchFamily="50" charset="-127"/>
          <a:ea typeface="나눔고딕" pitchFamily="50" charset="-127"/>
          <a:cs typeface="+mn-cs"/>
        </a:defRPr>
      </a:lvl4pPr>
      <a:lvl5pPr marL="2338612" indent="-259845" algn="l" defTabSz="1039381" rtl="0" eaLnBrk="1" latinLnBrk="1" hangingPunct="1">
        <a:spcBef>
          <a:spcPct val="20000"/>
        </a:spcBef>
        <a:buFont typeface="Arial" pitchFamily="34" charset="0"/>
        <a:buChar char="»"/>
        <a:defRPr sz="2300" kern="1200">
          <a:solidFill>
            <a:schemeClr val="tx1"/>
          </a:solidFill>
          <a:latin typeface="나눔고딕" pitchFamily="50" charset="-127"/>
          <a:ea typeface="나눔고딕" pitchFamily="50" charset="-127"/>
          <a:cs typeface="+mn-cs"/>
        </a:defRPr>
      </a:lvl5pPr>
      <a:lvl6pPr marL="2858299" indent="-259845" algn="l" defTabSz="1039381" rtl="0" eaLnBrk="1" latinLnBrk="1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77989" indent="-259845" algn="l" defTabSz="1039381" rtl="0" eaLnBrk="1" latinLnBrk="1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97681" indent="-259845" algn="l" defTabSz="1039381" rtl="0" eaLnBrk="1" latinLnBrk="1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17371" indent="-259845" algn="l" defTabSz="1039381" rtl="0" eaLnBrk="1" latinLnBrk="1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1039381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9692" algn="l" defTabSz="1039381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39381" algn="l" defTabSz="1039381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59073" algn="l" defTabSz="1039381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78764" algn="l" defTabSz="1039381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598452" algn="l" defTabSz="1039381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8143" algn="l" defTabSz="1039381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37835" algn="l" defTabSz="1039381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57524" algn="l" defTabSz="1039381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534670" y="302802"/>
            <a:ext cx="9624060" cy="1260211"/>
          </a:xfrm>
          <a:prstGeom prst="rect">
            <a:avLst/>
          </a:prstGeom>
        </p:spPr>
        <p:txBody>
          <a:bodyPr vert="horz" lIns="103959" tIns="51979" rIns="103959" bIns="51979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534670" y="1764295"/>
            <a:ext cx="9624060" cy="4990084"/>
          </a:xfrm>
          <a:prstGeom prst="rect">
            <a:avLst/>
          </a:prstGeom>
        </p:spPr>
        <p:txBody>
          <a:bodyPr vert="horz" lIns="103959" tIns="51979" rIns="103959" bIns="51979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534671" y="7008192"/>
            <a:ext cx="2495127" cy="402567"/>
          </a:xfrm>
          <a:prstGeom prst="rect">
            <a:avLst/>
          </a:prstGeom>
        </p:spPr>
        <p:txBody>
          <a:bodyPr vert="horz" lIns="103959" tIns="51979" rIns="103959" bIns="51979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1039564" fontAlgn="auto">
              <a:spcBef>
                <a:spcPts val="0"/>
              </a:spcBef>
              <a:spcAft>
                <a:spcPts val="0"/>
              </a:spcAft>
            </a:pPr>
            <a:fld id="{8761FD00-3F21-42CF-9EF5-8F6D81CE3AFD}" type="datetimeFigureOut">
              <a:rPr kumimoji="0" lang="ko-KR" altLang="en-US" smtClean="0">
                <a:solidFill>
                  <a:prstClr val="black">
                    <a:tint val="75000"/>
                  </a:prstClr>
                </a:solidFill>
              </a:rPr>
              <a:pPr defTabSz="1039564" fontAlgn="auto">
                <a:spcBef>
                  <a:spcPts val="0"/>
                </a:spcBef>
                <a:spcAft>
                  <a:spcPts val="0"/>
                </a:spcAft>
              </a:pPr>
              <a:t>2018-03-29</a:t>
            </a:fld>
            <a:endParaRPr kumimoji="0"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653582" y="7008192"/>
            <a:ext cx="3386243" cy="402567"/>
          </a:xfrm>
          <a:prstGeom prst="rect">
            <a:avLst/>
          </a:prstGeom>
        </p:spPr>
        <p:txBody>
          <a:bodyPr vert="horz" lIns="103959" tIns="51979" rIns="103959" bIns="51979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1039564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7663603" y="7008192"/>
            <a:ext cx="2495127" cy="402567"/>
          </a:xfrm>
          <a:prstGeom prst="rect">
            <a:avLst/>
          </a:prstGeom>
        </p:spPr>
        <p:txBody>
          <a:bodyPr vert="horz" lIns="103959" tIns="51979" rIns="103959" bIns="51979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1039564" fontAlgn="auto">
              <a:spcBef>
                <a:spcPts val="0"/>
              </a:spcBef>
              <a:spcAft>
                <a:spcPts val="0"/>
              </a:spcAft>
            </a:pPr>
            <a:fld id="{97D217C8-C1B9-4E84-BCEB-D9195FCD889E}" type="slidenum">
              <a:rPr kumimoji="0" lang="ko-KR" altLang="en-US" smtClean="0">
                <a:solidFill>
                  <a:prstClr val="black">
                    <a:tint val="75000"/>
                  </a:prstClr>
                </a:solidFill>
              </a:rPr>
              <a:pPr defTabSz="1039564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8790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1" r:id="rId1"/>
    <p:sldLayoutId id="2147484062" r:id="rId2"/>
    <p:sldLayoutId id="2147484063" r:id="rId3"/>
    <p:sldLayoutId id="2147484064" r:id="rId4"/>
    <p:sldLayoutId id="2147484065" r:id="rId5"/>
    <p:sldLayoutId id="2147484066" r:id="rId6"/>
    <p:sldLayoutId id="2147484067" r:id="rId7"/>
    <p:sldLayoutId id="2147484068" r:id="rId8"/>
  </p:sldLayoutIdLst>
  <p:txStyles>
    <p:titleStyle>
      <a:lvl1pPr algn="ctr" defTabSz="1039564" rtl="0" eaLnBrk="1" latinLnBrk="1" hangingPunct="1">
        <a:spcBef>
          <a:spcPct val="0"/>
        </a:spcBef>
        <a:buNone/>
        <a:defRPr sz="5000" kern="1200">
          <a:solidFill>
            <a:schemeClr val="tx1"/>
          </a:solidFill>
          <a:latin typeface="나눔고딕" pitchFamily="50" charset="-127"/>
          <a:ea typeface="나눔고딕" pitchFamily="50" charset="-127"/>
          <a:cs typeface="+mj-cs"/>
        </a:defRPr>
      </a:lvl1pPr>
    </p:titleStyle>
    <p:bodyStyle>
      <a:lvl1pPr marL="389834" indent="-389834" algn="l" defTabSz="1039564" rtl="0" eaLnBrk="1" latinLnBrk="1" hangingPunct="1">
        <a:spcBef>
          <a:spcPct val="20000"/>
        </a:spcBef>
        <a:buFont typeface="Arial" pitchFamily="34" charset="0"/>
        <a:buChar char="•"/>
        <a:defRPr sz="3700" kern="1200">
          <a:solidFill>
            <a:schemeClr val="tx1"/>
          </a:solidFill>
          <a:latin typeface="나눔고딕" pitchFamily="50" charset="-127"/>
          <a:ea typeface="나눔고딕" pitchFamily="50" charset="-127"/>
          <a:cs typeface="+mn-cs"/>
        </a:defRPr>
      </a:lvl1pPr>
      <a:lvl2pPr marL="844645" indent="-324869" algn="l" defTabSz="1039564" rtl="0" eaLnBrk="1" latinLnBrk="1" hangingPunct="1">
        <a:spcBef>
          <a:spcPct val="20000"/>
        </a:spcBef>
        <a:buFont typeface="Arial" pitchFamily="34" charset="0"/>
        <a:buChar char="–"/>
        <a:defRPr sz="3200" kern="1200">
          <a:solidFill>
            <a:schemeClr val="tx1"/>
          </a:solidFill>
          <a:latin typeface="나눔고딕" pitchFamily="50" charset="-127"/>
          <a:ea typeface="나눔고딕" pitchFamily="50" charset="-127"/>
          <a:cs typeface="+mn-cs"/>
        </a:defRPr>
      </a:lvl2pPr>
      <a:lvl3pPr marL="1299456" indent="-259891" algn="l" defTabSz="1039564" rtl="0" eaLnBrk="1" latinLnBrk="1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나눔고딕" pitchFamily="50" charset="-127"/>
          <a:ea typeface="나눔고딕" pitchFamily="50" charset="-127"/>
          <a:cs typeface="+mn-cs"/>
        </a:defRPr>
      </a:lvl3pPr>
      <a:lvl4pPr marL="1819239" indent="-259891" algn="l" defTabSz="1039564" rtl="0" eaLnBrk="1" latinLnBrk="1" hangingPunct="1">
        <a:spcBef>
          <a:spcPct val="20000"/>
        </a:spcBef>
        <a:buFont typeface="Arial" pitchFamily="34" charset="0"/>
        <a:buChar char="–"/>
        <a:defRPr sz="2300" kern="1200">
          <a:solidFill>
            <a:schemeClr val="tx1"/>
          </a:solidFill>
          <a:latin typeface="나눔고딕" pitchFamily="50" charset="-127"/>
          <a:ea typeface="나눔고딕" pitchFamily="50" charset="-127"/>
          <a:cs typeface="+mn-cs"/>
        </a:defRPr>
      </a:lvl4pPr>
      <a:lvl5pPr marL="2339025" indent="-259891" algn="l" defTabSz="1039564" rtl="0" eaLnBrk="1" latinLnBrk="1" hangingPunct="1">
        <a:spcBef>
          <a:spcPct val="20000"/>
        </a:spcBef>
        <a:buFont typeface="Arial" pitchFamily="34" charset="0"/>
        <a:buChar char="»"/>
        <a:defRPr sz="2300" kern="1200">
          <a:solidFill>
            <a:schemeClr val="tx1"/>
          </a:solidFill>
          <a:latin typeface="나눔고딕" pitchFamily="50" charset="-127"/>
          <a:ea typeface="나눔고딕" pitchFamily="50" charset="-127"/>
          <a:cs typeface="+mn-cs"/>
        </a:defRPr>
      </a:lvl5pPr>
      <a:lvl6pPr marL="2858803" indent="-259891" algn="l" defTabSz="1039564" rtl="0" eaLnBrk="1" latinLnBrk="1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78585" indent="-259891" algn="l" defTabSz="1039564" rtl="0" eaLnBrk="1" latinLnBrk="1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98368" indent="-259891" algn="l" defTabSz="1039564" rtl="0" eaLnBrk="1" latinLnBrk="1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18151" indent="-259891" algn="l" defTabSz="1039564" rtl="0" eaLnBrk="1" latinLnBrk="1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1039564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9783" algn="l" defTabSz="1039564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39564" algn="l" defTabSz="1039564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59348" algn="l" defTabSz="1039564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79131" algn="l" defTabSz="1039564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598910" algn="l" defTabSz="1039564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18694" algn="l" defTabSz="1039564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38477" algn="l" defTabSz="1039564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58258" algn="l" defTabSz="1039564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개체 틀 1"/>
          <p:cNvSpPr>
            <a:spLocks noGrp="1"/>
          </p:cNvSpPr>
          <p:nvPr>
            <p:ph type="title"/>
          </p:nvPr>
        </p:nvSpPr>
        <p:spPr>
          <a:xfrm>
            <a:off x="534670" y="302802"/>
            <a:ext cx="9624060" cy="1260211"/>
          </a:xfrm>
          <a:prstGeom prst="rect">
            <a:avLst/>
          </a:prstGeom>
        </p:spPr>
        <p:txBody>
          <a:bodyPr vert="horz" lIns="104141" tIns="52071" rIns="104141" bIns="52071" rtlCol="0" anchor="ctr">
            <a:normAutofit/>
          </a:bodyPr>
          <a:lstStyle/>
          <a:p>
            <a:r>
              <a:rPr lang="ko-KR" altLang="en-US" smtClean="0"/>
              <a:t>마스터 제목 스타일 편집</a:t>
            </a:r>
            <a:endParaRPr lang="ko-KR" altLang="en-US"/>
          </a:p>
        </p:txBody>
      </p:sp>
      <p:sp>
        <p:nvSpPr>
          <p:cNvPr id="3" name="텍스트 개체 틀 2"/>
          <p:cNvSpPr>
            <a:spLocks noGrp="1"/>
          </p:cNvSpPr>
          <p:nvPr>
            <p:ph type="body" idx="1"/>
          </p:nvPr>
        </p:nvSpPr>
        <p:spPr>
          <a:xfrm>
            <a:off x="534670" y="1764295"/>
            <a:ext cx="9624060" cy="4990084"/>
          </a:xfrm>
          <a:prstGeom prst="rect">
            <a:avLst/>
          </a:prstGeom>
        </p:spPr>
        <p:txBody>
          <a:bodyPr vert="horz" lIns="104141" tIns="52071" rIns="104141" bIns="52071" rtlCol="0">
            <a:normAutofit/>
          </a:bodyPr>
          <a:lstStyle/>
          <a:p>
            <a:pPr lvl="0"/>
            <a:r>
              <a:rPr lang="ko-KR" altLang="en-US" smtClean="0"/>
              <a:t>마스터 텍스트 스타일을 편집합니다</a:t>
            </a:r>
          </a:p>
          <a:p>
            <a:pPr lvl="1"/>
            <a:r>
              <a:rPr lang="ko-KR" altLang="en-US" smtClean="0"/>
              <a:t>둘째 수준</a:t>
            </a:r>
          </a:p>
          <a:p>
            <a:pPr lvl="2"/>
            <a:r>
              <a:rPr lang="ko-KR" altLang="en-US" smtClean="0"/>
              <a:t>셋째 수준</a:t>
            </a:r>
          </a:p>
          <a:p>
            <a:pPr lvl="3"/>
            <a:r>
              <a:rPr lang="ko-KR" altLang="en-US" smtClean="0"/>
              <a:t>넷째 수준</a:t>
            </a:r>
          </a:p>
          <a:p>
            <a:pPr lvl="4"/>
            <a:r>
              <a:rPr lang="ko-KR" altLang="en-US" smtClean="0"/>
              <a:t>다섯째 수준</a:t>
            </a:r>
            <a:endParaRPr lang="ko-KR" altLang="en-US"/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2"/>
          </p:nvPr>
        </p:nvSpPr>
        <p:spPr>
          <a:xfrm>
            <a:off x="534671" y="7008181"/>
            <a:ext cx="2495127" cy="402567"/>
          </a:xfrm>
          <a:prstGeom prst="rect">
            <a:avLst/>
          </a:prstGeom>
        </p:spPr>
        <p:txBody>
          <a:bodyPr vert="horz" lIns="104141" tIns="52071" rIns="104141" bIns="52071" rtlCol="0" anchor="ctr"/>
          <a:lstStyle>
            <a:lvl1pPr algn="l">
              <a:defRPr sz="1400">
                <a:solidFill>
                  <a:schemeClr val="tx1">
                    <a:tint val="75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1041401" fontAlgn="auto">
              <a:spcBef>
                <a:spcPts val="0"/>
              </a:spcBef>
              <a:spcAft>
                <a:spcPts val="0"/>
              </a:spcAft>
            </a:pPr>
            <a:fld id="{8761FD00-3F21-42CF-9EF5-8F6D81CE3AFD}" type="datetimeFigureOut">
              <a:rPr kumimoji="0" lang="ko-KR" altLang="en-US" smtClean="0">
                <a:solidFill>
                  <a:prstClr val="black">
                    <a:tint val="75000"/>
                  </a:prstClr>
                </a:solidFill>
              </a:rPr>
              <a:pPr defTabSz="1041401" fontAlgn="auto">
                <a:spcBef>
                  <a:spcPts val="0"/>
                </a:spcBef>
                <a:spcAft>
                  <a:spcPts val="0"/>
                </a:spcAft>
              </a:pPr>
              <a:t>2018-03-29</a:t>
            </a:fld>
            <a:endParaRPr kumimoji="0"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3"/>
          </p:nvPr>
        </p:nvSpPr>
        <p:spPr>
          <a:xfrm>
            <a:off x="3653582" y="7008181"/>
            <a:ext cx="3386243" cy="402567"/>
          </a:xfrm>
          <a:prstGeom prst="rect">
            <a:avLst/>
          </a:prstGeom>
        </p:spPr>
        <p:txBody>
          <a:bodyPr vert="horz" lIns="104141" tIns="52071" rIns="104141" bIns="52071" rtlCol="0" anchor="ctr"/>
          <a:lstStyle>
            <a:lvl1pPr algn="ctr">
              <a:defRPr sz="1400">
                <a:solidFill>
                  <a:schemeClr val="tx1">
                    <a:tint val="75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1041401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4"/>
          </p:nvPr>
        </p:nvSpPr>
        <p:spPr>
          <a:xfrm>
            <a:off x="7663603" y="7008181"/>
            <a:ext cx="2495127" cy="402567"/>
          </a:xfrm>
          <a:prstGeom prst="rect">
            <a:avLst/>
          </a:prstGeom>
        </p:spPr>
        <p:txBody>
          <a:bodyPr vert="horz" lIns="104141" tIns="52071" rIns="104141" bIns="52071" rtlCol="0" anchor="ctr"/>
          <a:lstStyle>
            <a:lvl1pPr algn="r">
              <a:defRPr sz="1400">
                <a:solidFill>
                  <a:schemeClr val="tx1">
                    <a:tint val="75000"/>
                  </a:schemeClr>
                </a:solidFill>
                <a:latin typeface="나눔고딕" pitchFamily="50" charset="-127"/>
                <a:ea typeface="나눔고딕" pitchFamily="50" charset="-127"/>
              </a:defRPr>
            </a:lvl1pPr>
          </a:lstStyle>
          <a:p>
            <a:pPr defTabSz="1041401" fontAlgn="auto">
              <a:spcBef>
                <a:spcPts val="0"/>
              </a:spcBef>
              <a:spcAft>
                <a:spcPts val="0"/>
              </a:spcAft>
            </a:pPr>
            <a:fld id="{97D217C8-C1B9-4E84-BCEB-D9195FCD889E}" type="slidenum">
              <a:rPr kumimoji="0" lang="ko-KR" altLang="en-US" smtClean="0">
                <a:solidFill>
                  <a:prstClr val="black">
                    <a:tint val="75000"/>
                  </a:prstClr>
                </a:solidFill>
              </a:rPr>
              <a:pPr defTabSz="1041401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kumimoji="0"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11040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9" r:id="rId1"/>
    <p:sldLayoutId id="2147484080" r:id="rId2"/>
    <p:sldLayoutId id="2147484081" r:id="rId3"/>
    <p:sldLayoutId id="2147484082" r:id="rId4"/>
    <p:sldLayoutId id="2147484083" r:id="rId5"/>
    <p:sldLayoutId id="2147484084" r:id="rId6"/>
    <p:sldLayoutId id="2147484085" r:id="rId7"/>
    <p:sldLayoutId id="2147484086" r:id="rId8"/>
  </p:sldLayoutIdLst>
  <p:txStyles>
    <p:titleStyle>
      <a:lvl1pPr algn="ctr" defTabSz="1041401" rtl="0" eaLnBrk="1" latinLnBrk="1" hangingPunct="1">
        <a:spcBef>
          <a:spcPct val="0"/>
        </a:spcBef>
        <a:buNone/>
        <a:defRPr sz="5000" kern="1200">
          <a:solidFill>
            <a:schemeClr val="tx1"/>
          </a:solidFill>
          <a:latin typeface="나눔고딕" pitchFamily="50" charset="-127"/>
          <a:ea typeface="나눔고딕" pitchFamily="50" charset="-127"/>
          <a:cs typeface="+mj-cs"/>
        </a:defRPr>
      </a:lvl1pPr>
    </p:titleStyle>
    <p:bodyStyle>
      <a:lvl1pPr marL="390524" indent="-390524" algn="l" defTabSz="1041401" rtl="0" eaLnBrk="1" latinLnBrk="1" hangingPunct="1">
        <a:spcBef>
          <a:spcPct val="20000"/>
        </a:spcBef>
        <a:buFont typeface="Arial" pitchFamily="34" charset="0"/>
        <a:buChar char="•"/>
        <a:defRPr sz="3700" kern="1200">
          <a:solidFill>
            <a:schemeClr val="tx1"/>
          </a:solidFill>
          <a:latin typeface="나눔고딕" pitchFamily="50" charset="-127"/>
          <a:ea typeface="나눔고딕" pitchFamily="50" charset="-127"/>
          <a:cs typeface="+mn-cs"/>
        </a:defRPr>
      </a:lvl1pPr>
      <a:lvl2pPr marL="846138" indent="-325442" algn="l" defTabSz="1041401" rtl="0" eaLnBrk="1" latinLnBrk="1" hangingPunct="1">
        <a:spcBef>
          <a:spcPct val="20000"/>
        </a:spcBef>
        <a:buFont typeface="Arial" pitchFamily="34" charset="0"/>
        <a:buChar char="–"/>
        <a:defRPr sz="3200" kern="1200">
          <a:solidFill>
            <a:schemeClr val="tx1"/>
          </a:solidFill>
          <a:latin typeface="나눔고딕" pitchFamily="50" charset="-127"/>
          <a:ea typeface="나눔고딕" pitchFamily="50" charset="-127"/>
          <a:cs typeface="+mn-cs"/>
        </a:defRPr>
      </a:lvl2pPr>
      <a:lvl3pPr marL="1301751" indent="-260350" algn="l" defTabSz="1041401" rtl="0" eaLnBrk="1" latinLnBrk="1" hangingPunct="1">
        <a:spcBef>
          <a:spcPct val="20000"/>
        </a:spcBef>
        <a:buFont typeface="Arial" pitchFamily="34" charset="0"/>
        <a:buChar char="•"/>
        <a:defRPr sz="2700" kern="1200">
          <a:solidFill>
            <a:schemeClr val="tx1"/>
          </a:solidFill>
          <a:latin typeface="나눔고딕" pitchFamily="50" charset="-127"/>
          <a:ea typeface="나눔고딕" pitchFamily="50" charset="-127"/>
          <a:cs typeface="+mn-cs"/>
        </a:defRPr>
      </a:lvl3pPr>
      <a:lvl4pPr marL="1822452" indent="-260350" algn="l" defTabSz="1041401" rtl="0" eaLnBrk="1" latinLnBrk="1" hangingPunct="1">
        <a:spcBef>
          <a:spcPct val="20000"/>
        </a:spcBef>
        <a:buFont typeface="Arial" pitchFamily="34" charset="0"/>
        <a:buChar char="–"/>
        <a:defRPr sz="2300" kern="1200">
          <a:solidFill>
            <a:schemeClr val="tx1"/>
          </a:solidFill>
          <a:latin typeface="나눔고딕" pitchFamily="50" charset="-127"/>
          <a:ea typeface="나눔고딕" pitchFamily="50" charset="-127"/>
          <a:cs typeface="+mn-cs"/>
        </a:defRPr>
      </a:lvl4pPr>
      <a:lvl5pPr marL="2343153" indent="-260350" algn="l" defTabSz="1041401" rtl="0" eaLnBrk="1" latinLnBrk="1" hangingPunct="1">
        <a:spcBef>
          <a:spcPct val="20000"/>
        </a:spcBef>
        <a:buFont typeface="Arial" pitchFamily="34" charset="0"/>
        <a:buChar char="»"/>
        <a:defRPr sz="2300" kern="1200">
          <a:solidFill>
            <a:schemeClr val="tx1"/>
          </a:solidFill>
          <a:latin typeface="나눔고딕" pitchFamily="50" charset="-127"/>
          <a:ea typeface="나눔고딕" pitchFamily="50" charset="-127"/>
          <a:cs typeface="+mn-cs"/>
        </a:defRPr>
      </a:lvl5pPr>
      <a:lvl6pPr marL="2863852" indent="-260350" algn="l" defTabSz="1041401" rtl="0" eaLnBrk="1" latinLnBrk="1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4552" indent="-260350" algn="l" defTabSz="1041401" rtl="0" eaLnBrk="1" latinLnBrk="1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05255" indent="-260350" algn="l" defTabSz="1041401" rtl="0" eaLnBrk="1" latinLnBrk="1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25954" indent="-260350" algn="l" defTabSz="1041401" rtl="0" eaLnBrk="1" latinLnBrk="1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1041401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0700" algn="l" defTabSz="1041401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1401" algn="l" defTabSz="1041401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2101" algn="l" defTabSz="1041401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2803" algn="l" defTabSz="1041401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3501" algn="l" defTabSz="1041401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4204" algn="l" defTabSz="1041401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44904" algn="l" defTabSz="1041401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65601" algn="l" defTabSz="1041401" rtl="0" eaLnBrk="1" latinLnBrk="1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8.jpeg"/><Relationship Id="rId5" Type="http://schemas.openxmlformats.org/officeDocument/2006/relationships/image" Target="../media/image7.jpeg"/><Relationship Id="rId4" Type="http://schemas.openxmlformats.org/officeDocument/2006/relationships/image" Target="../media/image6.jpe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3.xml"/><Relationship Id="rId7" Type="http://schemas.openxmlformats.org/officeDocument/2006/relationships/image" Target="../media/image15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19.png"/><Relationship Id="rId5" Type="http://schemas.openxmlformats.org/officeDocument/2006/relationships/notesSlide" Target="../notesSlides/notesSlide2.xml"/><Relationship Id="rId10" Type="http://schemas.openxmlformats.org/officeDocument/2006/relationships/image" Target="../media/image18.png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5.xml"/><Relationship Id="rId7" Type="http://schemas.openxmlformats.org/officeDocument/2006/relationships/image" Target="../media/image15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6.xml"/><Relationship Id="rId9" Type="http://schemas.openxmlformats.org/officeDocument/2006/relationships/image" Target="../media/image2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99.xml"/><Relationship Id="rId1" Type="http://schemas.openxmlformats.org/officeDocument/2006/relationships/tags" Target="../tags/tag6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7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image" Target="../media/image16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wmf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w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3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1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37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40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1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jpeg"/><Relationship Id="rId1" Type="http://schemas.openxmlformats.org/officeDocument/2006/relationships/slideLayout" Target="../slideLayouts/slideLayout24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gif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jpeg"/><Relationship Id="rId1" Type="http://schemas.openxmlformats.org/officeDocument/2006/relationships/slideLayout" Target="../slideLayouts/slideLayout68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45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7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image" Target="../media/image52.jpe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w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5.xml"/><Relationship Id="rId4" Type="http://schemas.openxmlformats.org/officeDocument/2006/relationships/image" Target="../media/image56.wmf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2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5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9.emf"/><Relationship Id="rId4" Type="http://schemas.openxmlformats.org/officeDocument/2006/relationships/oleObject" Target="../embeddings/Microsoft_Excel_97-2003_____11.xls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0.png"/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wmf"/><Relationship Id="rId2" Type="http://schemas.openxmlformats.org/officeDocument/2006/relationships/image" Target="../media/image56.wmf"/><Relationship Id="rId1" Type="http://schemas.openxmlformats.org/officeDocument/2006/relationships/slideLayout" Target="../slideLayouts/slideLayout7.xml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7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3.jpeg"/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7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7.png"/><Relationship Id="rId1" Type="http://schemas.openxmlformats.org/officeDocument/2006/relationships/slideLayout" Target="../slideLayouts/slideLayout7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7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7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7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1.png"/><Relationship Id="rId1" Type="http://schemas.openxmlformats.org/officeDocument/2006/relationships/slideLayout" Target="../slideLayouts/slideLayout7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2.png"/><Relationship Id="rId1" Type="http://schemas.openxmlformats.org/officeDocument/2006/relationships/slideLayout" Target="../slideLayouts/slideLayout7.xml"/></Relationships>
</file>

<file path=ppt/slides/_rels/slide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3.png"/><Relationship Id="rId1" Type="http://schemas.openxmlformats.org/officeDocument/2006/relationships/slideLayout" Target="../slideLayouts/slideLayout7.xml"/></Relationships>
</file>

<file path=ppt/slides/_rels/slide6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4.png"/><Relationship Id="rId4" Type="http://schemas.openxmlformats.org/officeDocument/2006/relationships/image" Target="../media/image13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5" name="Text Box 27"/>
          <p:cNvSpPr txBox="1">
            <a:spLocks noChangeArrowheads="1"/>
          </p:cNvSpPr>
          <p:nvPr/>
        </p:nvSpPr>
        <p:spPr bwMode="auto">
          <a:xfrm>
            <a:off x="0" y="3780628"/>
            <a:ext cx="10693400" cy="1469456"/>
          </a:xfrm>
          <a:prstGeom prst="rect">
            <a:avLst/>
          </a:prstGeom>
          <a:solidFill>
            <a:srgbClr val="CCCC00"/>
          </a:solidFill>
          <a:ln w="9525">
            <a:noFill/>
            <a:miter lim="800000"/>
            <a:headEnd/>
            <a:tailEnd/>
          </a:ln>
          <a:effectLst>
            <a:outerShdw dist="38100" dir="2700000" algn="tl" rotWithShape="0">
              <a:prstClr val="black">
                <a:alpha val="40000"/>
              </a:prstClr>
            </a:outerShdw>
          </a:effectLst>
        </p:spPr>
        <p:txBody>
          <a:bodyPr lIns="103849" tIns="51925" rIns="103849" bIns="134916" anchor="ctr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latinLnBrk="0">
              <a:lnSpc>
                <a:spcPct val="110000"/>
              </a:lnSpc>
              <a:defRPr/>
            </a:pPr>
            <a:r>
              <a:rPr kumimoji="0" lang="ko-KR" altLang="en-US" sz="2700" b="1" spc="57" dirty="0">
                <a:ln w="11430"/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맑은 고딕" pitchFamily="50" charset="-127"/>
                <a:ea typeface="맑은 고딕" pitchFamily="50" charset="-127"/>
              </a:rPr>
              <a:t>     </a:t>
            </a:r>
            <a:r>
              <a:rPr kumimoji="0" lang="ko-KR" altLang="en-US" sz="3600" b="1" spc="57" dirty="0" smtClean="0">
                <a:ln w="11430"/>
                <a:latin typeface="HY견고딕" pitchFamily="18" charset="-127"/>
                <a:ea typeface="HY견고딕" pitchFamily="18" charset="-127"/>
              </a:rPr>
              <a:t>암소개량 및 컨설팅 자료 활용법</a:t>
            </a:r>
            <a:endParaRPr kumimoji="0" lang="ko-KR" altLang="en-US" sz="3600" b="1" spc="57" dirty="0">
              <a:ln w="11430"/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14339" name="Rectangle 66"/>
          <p:cNvSpPr>
            <a:spLocks noChangeArrowheads="1"/>
          </p:cNvSpPr>
          <p:nvPr/>
        </p:nvSpPr>
        <p:spPr bwMode="ltGray">
          <a:xfrm>
            <a:off x="0" y="0"/>
            <a:ext cx="10693400" cy="756126"/>
          </a:xfrm>
          <a:prstGeom prst="rect">
            <a:avLst/>
          </a:prstGeom>
          <a:gradFill rotWithShape="1">
            <a:gsLst>
              <a:gs pos="0">
                <a:schemeClr val="tx1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3849" tIns="51925" rIns="103849" bIns="51925" anchor="ctr"/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9pPr>
          </a:lstStyle>
          <a:p>
            <a:pPr algn="r" eaLnBrk="1" latinLnBrk="0" hangingPunct="1"/>
            <a:endParaRPr kumimoji="0" lang="ko-KR" altLang="en-US"/>
          </a:p>
        </p:txBody>
      </p:sp>
      <p:pic>
        <p:nvPicPr>
          <p:cNvPr id="14340" name="Picture 2" descr="D:\┃2010 국립축산과학원 백업┃\┃사진 및 로고┃\┃한국종축개량협회┃\종축개량협회로고와_마크.gi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30578" y="6453329"/>
            <a:ext cx="4505709" cy="782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Box 9"/>
          <p:cNvSpPr txBox="1">
            <a:spLocks noChangeArrowheads="1"/>
          </p:cNvSpPr>
          <p:nvPr/>
        </p:nvSpPr>
        <p:spPr bwMode="auto">
          <a:xfrm>
            <a:off x="3408521" y="5250084"/>
            <a:ext cx="4689501" cy="110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03849" tIns="51925" rIns="103849" bIns="51925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algn="ctr" latinLnBrk="0">
              <a:defRPr/>
            </a:pPr>
            <a:r>
              <a:rPr kumimoji="0" lang="ko-KR" altLang="en-US" sz="3600" b="1" spc="57" dirty="0" smtClean="0">
                <a:ln w="11430"/>
                <a:latin typeface="HY견고딕" pitchFamily="18" charset="-127"/>
                <a:ea typeface="HY견고딕" pitchFamily="18" charset="-127"/>
              </a:rPr>
              <a:t>전북지역본부</a:t>
            </a:r>
            <a:endParaRPr kumimoji="0" lang="en-US" altLang="ko-KR" sz="3600" b="1" spc="57" dirty="0" smtClean="0">
              <a:ln w="11430"/>
              <a:latin typeface="HY견고딕" pitchFamily="18" charset="-127"/>
              <a:ea typeface="HY견고딕" pitchFamily="18" charset="-127"/>
            </a:endParaRPr>
          </a:p>
          <a:p>
            <a:pPr algn="ctr" latinLnBrk="0">
              <a:defRPr/>
            </a:pPr>
            <a:r>
              <a:rPr kumimoji="0" lang="ko-KR" altLang="en-US" sz="2800" b="1" spc="57" dirty="0" smtClean="0">
                <a:ln w="11430"/>
                <a:latin typeface="HY견고딕" pitchFamily="18" charset="-127"/>
                <a:ea typeface="HY견고딕" pitchFamily="18" charset="-127"/>
              </a:rPr>
              <a:t>팀 장  김  용  균</a:t>
            </a:r>
            <a:endParaRPr kumimoji="0" lang="ko-KR" altLang="en-US" sz="2800" b="1" spc="57" dirty="0">
              <a:ln w="11430"/>
              <a:latin typeface="HY견고딕" pitchFamily="18" charset="-127"/>
              <a:ea typeface="HY견고딕" pitchFamily="18" charset="-127"/>
            </a:endParaRPr>
          </a:p>
        </p:txBody>
      </p:sp>
      <p:pic>
        <p:nvPicPr>
          <p:cNvPr id="14342" name="Picture 3" descr="D:\┃2010 국립축산과학원 백업┃\┃사진 및 로고┃\품종별 사진\한우\한우\12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49129"/>
            <a:ext cx="3408521" cy="30420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3" name="Picture 7" descr="D:\┃2010 국립축산과학원 백업┃\┃사진 및 로고┃\품종별 사진\한우\hanwoo\SD-08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97663" y="740374"/>
            <a:ext cx="3731551" cy="30507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4" name="Picture 8" descr="D:\┃2010 국립축산과학원 백업┃\┃사진 및 로고┃\품종별 사진\한우\hanwoo\한우\cow4.bmp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8296" y="756130"/>
            <a:ext cx="3375104" cy="30280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5021175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634" name="Rectangle 1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28"/>
          <a:ext cx="185738" cy="174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29" r:id="rId6" imgW="0" imgH="0" progId="">
                  <p:embed/>
                </p:oleObj>
              </mc:Choice>
              <mc:Fallback>
                <p:oleObj r:id="rId6" imgW="0" imgH="0" progId="">
                  <p:embed/>
                  <p:pic>
                    <p:nvPicPr>
                      <p:cNvPr id="0" name="AutoShape 160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8"/>
                        <a:ext cx="185738" cy="1746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9682" name="그룹 10"/>
          <p:cNvGrpSpPr>
            <a:grpSpLocks/>
          </p:cNvGrpSpPr>
          <p:nvPr/>
        </p:nvGrpSpPr>
        <p:grpSpPr bwMode="auto">
          <a:xfrm>
            <a:off x="-138111" y="757238"/>
            <a:ext cx="11114088" cy="850900"/>
            <a:chOff x="-9763" y="645259"/>
            <a:chExt cx="9503569" cy="771525"/>
          </a:xfrm>
        </p:grpSpPr>
        <p:pic>
          <p:nvPicPr>
            <p:cNvPr id="69686" name="Picture 3" descr="1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9763" y="645259"/>
              <a:ext cx="9503569" cy="771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9687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741231" y="802804"/>
              <a:ext cx="6318515" cy="431800"/>
            </a:xfrm>
            <a:prstGeom prst="rect">
              <a:avLst/>
            </a:prstGeom>
            <a:noFill/>
            <a:ln>
              <a:noFill/>
            </a:ln>
            <a:effectLst>
              <a:outerShdw dist="17961" dir="2700000" algn="ctr" rotWithShape="0">
                <a:schemeClr val="tx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/>
            <a:lstStyle/>
            <a:p>
              <a:pPr latinLnBrk="0">
                <a:spcBef>
                  <a:spcPct val="50000"/>
                </a:spcBef>
              </a:pPr>
              <a:r>
                <a:rPr kumimoji="0" lang="ko-KR" altLang="en-US" sz="2200" b="1">
                  <a:solidFill>
                    <a:srgbClr val="FFFF99"/>
                  </a:solidFill>
                  <a:latin typeface="HY견고딕" pitchFamily="18" charset="-127"/>
                  <a:ea typeface="HY견고딕" pitchFamily="18" charset="-127"/>
                </a:rPr>
                <a:t>동일 </a:t>
              </a:r>
              <a:r>
                <a:rPr kumimoji="0" lang="en-US" altLang="ko-KR" sz="2200" b="1">
                  <a:solidFill>
                    <a:srgbClr val="FFFF99"/>
                  </a:solidFill>
                  <a:latin typeface="HY견고딕" pitchFamily="18" charset="-127"/>
                  <a:ea typeface="HY견고딕" pitchFamily="18" charset="-127"/>
                </a:rPr>
                <a:t>KPN </a:t>
              </a:r>
              <a:r>
                <a:rPr kumimoji="0" lang="ko-KR" altLang="en-US" sz="2200" b="1">
                  <a:solidFill>
                    <a:srgbClr val="FFFF99"/>
                  </a:solidFill>
                  <a:latin typeface="HY견고딕" pitchFamily="18" charset="-127"/>
                  <a:ea typeface="HY견고딕" pitchFamily="18" charset="-127"/>
                </a:rPr>
                <a:t>사용에 따른 농장별 성적 비교 분석</a:t>
              </a:r>
            </a:p>
          </p:txBody>
        </p:sp>
        <p:pic>
          <p:nvPicPr>
            <p:cNvPr id="69688" name="Picture 81" descr="3"/>
            <p:cNvPicPr>
              <a:picLocks noChangeAspect="1" noChangeArrowheads="1"/>
            </p:cNvPicPr>
            <p:nvPr/>
          </p:nvPicPr>
          <p:blipFill>
            <a:blip r:embed="rId8" cstate="print">
              <a:lum contrast="1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5613" y="764704"/>
              <a:ext cx="595048" cy="50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aphicFrame>
        <p:nvGraphicFramePr>
          <p:cNvPr id="15" name="표 14"/>
          <p:cNvGraphicFramePr>
            <a:graphicFrameLocks noGrp="1"/>
          </p:cNvGraphicFramePr>
          <p:nvPr/>
        </p:nvGraphicFramePr>
        <p:xfrm>
          <a:off x="0" y="0"/>
          <a:ext cx="10693400" cy="757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7238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T="45672" marB="4567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16" name="Text Box 8"/>
          <p:cNvSpPr txBox="1">
            <a:spLocks noChangeArrowheads="1"/>
          </p:cNvSpPr>
          <p:nvPr/>
        </p:nvSpPr>
        <p:spPr bwMode="auto">
          <a:xfrm>
            <a:off x="3" y="217493"/>
            <a:ext cx="6877050" cy="446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86633" tIns="0" rIns="0" bIns="0">
            <a:spAutoFit/>
          </a:bodyPr>
          <a:lstStyle/>
          <a:p>
            <a:pPr>
              <a:defRPr/>
            </a:pPr>
            <a:r>
              <a:rPr lang="en-US" altLang="ko-KR" sz="29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3. </a:t>
            </a:r>
            <a:r>
              <a:rPr lang="ko-KR" altLang="en-US" sz="29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부계</a:t>
            </a:r>
            <a:r>
              <a:rPr lang="en-US" altLang="ko-KR" sz="29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(</a:t>
            </a:r>
            <a:r>
              <a:rPr lang="ko-KR" altLang="en-US" sz="29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정액</a:t>
            </a:r>
            <a:r>
              <a:rPr lang="en-US" altLang="ko-KR" sz="29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) </a:t>
            </a:r>
            <a:r>
              <a:rPr lang="ko-KR" altLang="en-US" sz="29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개량의 한계</a:t>
            </a:r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831" y="1467036"/>
            <a:ext cx="8229600" cy="46867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" name="_x274151888" descr="EMB00001b7c133c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100138" y="6167438"/>
            <a:ext cx="1000125" cy="1092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1" name="_x274150688" descr="EMB00001b7c133d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643563" y="6164263"/>
            <a:ext cx="857250" cy="703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2" name="Rectangle 2"/>
          <p:cNvSpPr>
            <a:spLocks noChangeArrowheads="1"/>
          </p:cNvSpPr>
          <p:nvPr/>
        </p:nvSpPr>
        <p:spPr bwMode="auto">
          <a:xfrm>
            <a:off x="2100263" y="6167438"/>
            <a:ext cx="3286125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l">
              <a:lnSpc>
                <a:spcPct val="150000"/>
              </a:lnSpc>
            </a:pPr>
            <a:r>
              <a:rPr lang="en-US" altLang="ko-KR" sz="1600" b="1" dirty="0" smtClean="0">
                <a:latin typeface="HY헤드라인M" pitchFamily="18" charset="-127"/>
                <a:ea typeface="HY헤드라인M" pitchFamily="18" charset="-127"/>
              </a:rPr>
              <a:t>1</a:t>
            </a:r>
            <a:r>
              <a:rPr lang="ko-KR" altLang="en-US" sz="1600" b="1" dirty="0" smtClean="0">
                <a:latin typeface="HY헤드라인M" pitchFamily="18" charset="-127"/>
                <a:ea typeface="HY헤드라인M" pitchFamily="18" charset="-127"/>
              </a:rPr>
              <a:t>번과 </a:t>
            </a:r>
            <a:r>
              <a:rPr lang="en-US" altLang="ko-KR" sz="1600" b="1" dirty="0" smtClean="0">
                <a:latin typeface="HY헤드라인M" pitchFamily="18" charset="-127"/>
                <a:ea typeface="HY헤드라인M" pitchFamily="18" charset="-127"/>
              </a:rPr>
              <a:t>2</a:t>
            </a:r>
            <a:r>
              <a:rPr lang="ko-KR" altLang="en-US" sz="1600" b="1" dirty="0" smtClean="0">
                <a:latin typeface="HY헤드라인M" pitchFamily="18" charset="-127"/>
                <a:ea typeface="HY헤드라인M" pitchFamily="18" charset="-127"/>
              </a:rPr>
              <a:t>번 </a:t>
            </a:r>
            <a:r>
              <a:rPr lang="ko-KR" altLang="en-US" sz="1600" b="1" dirty="0">
                <a:latin typeface="HY헤드라인M" pitchFamily="18" charset="-127"/>
                <a:ea typeface="HY헤드라인M" pitchFamily="18" charset="-127"/>
              </a:rPr>
              <a:t>두 개체의 </a:t>
            </a:r>
            <a:endParaRPr lang="en-US" altLang="ko-KR" sz="1600" b="1" dirty="0">
              <a:latin typeface="HY헤드라인M" pitchFamily="18" charset="-127"/>
              <a:ea typeface="HY헤드라인M" pitchFamily="18" charset="-127"/>
            </a:endParaRPr>
          </a:p>
          <a:p>
            <a:pPr algn="l">
              <a:lnSpc>
                <a:spcPct val="150000"/>
              </a:lnSpc>
            </a:pPr>
            <a:r>
              <a:rPr lang="ko-KR" altLang="en-US" sz="1600" b="1" dirty="0">
                <a:latin typeface="HY헤드라인M" pitchFamily="18" charset="-127"/>
                <a:ea typeface="HY헤드라인M" pitchFamily="18" charset="-127"/>
              </a:rPr>
              <a:t>아빠 </a:t>
            </a:r>
            <a:r>
              <a:rPr lang="en-US" altLang="ko-KR" sz="1600" b="1" dirty="0">
                <a:latin typeface="HY헤드라인M" pitchFamily="18" charset="-127"/>
                <a:ea typeface="HY헤드라인M" pitchFamily="18" charset="-127"/>
              </a:rPr>
              <a:t>KPN605, </a:t>
            </a:r>
            <a:r>
              <a:rPr lang="ko-KR" altLang="en-US" sz="1600" b="1" dirty="0">
                <a:latin typeface="HY헤드라인M" pitchFamily="18" charset="-127"/>
                <a:ea typeface="HY헤드라인M" pitchFamily="18" charset="-127"/>
              </a:rPr>
              <a:t>할아버지 </a:t>
            </a:r>
            <a:r>
              <a:rPr lang="en-US" altLang="ko-KR" sz="1600" b="1" dirty="0">
                <a:latin typeface="HY헤드라인M" pitchFamily="18" charset="-127"/>
                <a:ea typeface="HY헤드라인M" pitchFamily="18" charset="-127"/>
              </a:rPr>
              <a:t>KPN281</a:t>
            </a:r>
            <a:r>
              <a:rPr lang="ko-KR" altLang="en-US" sz="1600" b="1" dirty="0">
                <a:latin typeface="HY헤드라인M" pitchFamily="18" charset="-127"/>
                <a:ea typeface="HY헤드라인M" pitchFamily="18" charset="-127"/>
              </a:rPr>
              <a:t>가</a:t>
            </a:r>
            <a:endParaRPr lang="en-US" altLang="ko-KR" sz="1600" b="1" dirty="0">
              <a:latin typeface="HY헤드라인M" pitchFamily="18" charset="-127"/>
              <a:ea typeface="HY헤드라인M" pitchFamily="18" charset="-127"/>
            </a:endParaRPr>
          </a:p>
          <a:p>
            <a:pPr algn="l">
              <a:lnSpc>
                <a:spcPct val="150000"/>
              </a:lnSpc>
            </a:pPr>
            <a:r>
              <a:rPr lang="ko-KR" altLang="en-US" sz="1600" b="1" dirty="0">
                <a:solidFill>
                  <a:schemeClr val="tx2"/>
                </a:solidFill>
                <a:latin typeface="HY헤드라인M" pitchFamily="18" charset="-127"/>
                <a:ea typeface="HY헤드라인M" pitchFamily="18" charset="-127"/>
              </a:rPr>
              <a:t>같은데</a:t>
            </a:r>
            <a:r>
              <a:rPr lang="en-US" altLang="ko-KR" sz="1600" b="1" dirty="0">
                <a:solidFill>
                  <a:schemeClr val="tx2"/>
                </a:solidFill>
                <a:latin typeface="HY헤드라인M" pitchFamily="18" charset="-127"/>
                <a:ea typeface="HY헤드라인M" pitchFamily="18" charset="-127"/>
              </a:rPr>
              <a:t>!!! </a:t>
            </a:r>
            <a:r>
              <a:rPr lang="ko-KR" altLang="en-US" sz="1600" b="1" dirty="0">
                <a:solidFill>
                  <a:schemeClr val="tx2"/>
                </a:solidFill>
                <a:latin typeface="HY헤드라인M" pitchFamily="18" charset="-127"/>
                <a:ea typeface="HY헤드라인M" pitchFamily="18" charset="-127"/>
              </a:rPr>
              <a:t>왜 결과는</a:t>
            </a:r>
            <a:r>
              <a:rPr lang="en-US" altLang="ko-KR" sz="1600" b="1" dirty="0">
                <a:solidFill>
                  <a:schemeClr val="tx2"/>
                </a:solidFill>
                <a:latin typeface="HY헤드라인M" pitchFamily="18" charset="-127"/>
                <a:ea typeface="HY헤드라인M" pitchFamily="18" charset="-127"/>
              </a:rPr>
              <a:t>???</a:t>
            </a:r>
            <a:endParaRPr lang="ko-KR" altLang="en-US" sz="1600" b="1" dirty="0">
              <a:solidFill>
                <a:schemeClr val="tx2"/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pic>
        <p:nvPicPr>
          <p:cNvPr id="23" name="_x274150688" descr="EMB00001b7c133d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8582025" y="6586538"/>
            <a:ext cx="1204913" cy="989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4" name="Rectangle 2"/>
          <p:cNvSpPr>
            <a:spLocks noChangeArrowheads="1"/>
          </p:cNvSpPr>
          <p:nvPr/>
        </p:nvSpPr>
        <p:spPr bwMode="auto">
          <a:xfrm>
            <a:off x="6253163" y="6238875"/>
            <a:ext cx="3143250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l">
              <a:lnSpc>
                <a:spcPct val="150000"/>
              </a:lnSpc>
            </a:pPr>
            <a:r>
              <a:rPr lang="en-US" altLang="ko-KR" sz="1600" b="1" dirty="0" smtClean="0">
                <a:latin typeface="HY헤드라인M" pitchFamily="18" charset="-127"/>
                <a:ea typeface="HY헤드라인M" pitchFamily="18" charset="-127"/>
              </a:rPr>
              <a:t>1</a:t>
            </a:r>
            <a:r>
              <a:rPr lang="ko-KR" altLang="en-US" sz="1600" b="1" dirty="0" smtClean="0">
                <a:latin typeface="HY헤드라인M" pitchFamily="18" charset="-127"/>
                <a:ea typeface="HY헤드라인M" pitchFamily="18" charset="-127"/>
              </a:rPr>
              <a:t>번  개체의 </a:t>
            </a:r>
            <a:r>
              <a:rPr lang="ko-KR" altLang="en-US" sz="1600" b="1" dirty="0">
                <a:latin typeface="HY헤드라인M" pitchFamily="18" charset="-127"/>
                <a:ea typeface="HY헤드라인M" pitchFamily="18" charset="-127"/>
              </a:rPr>
              <a:t>엄마는 </a:t>
            </a:r>
            <a:r>
              <a:rPr lang="ko-KR" altLang="en-US" sz="1600" b="1" dirty="0" err="1">
                <a:solidFill>
                  <a:srgbClr val="6600CC"/>
                </a:solidFill>
                <a:latin typeface="HY헤드라인M" pitchFamily="18" charset="-127"/>
                <a:ea typeface="HY헤드라인M" pitchFamily="18" charset="-127"/>
              </a:rPr>
              <a:t>기초등록우</a:t>
            </a:r>
            <a:r>
              <a:rPr lang="ko-KR" altLang="en-US" sz="1600" b="1" dirty="0">
                <a:latin typeface="HY헤드라인M" pitchFamily="18" charset="-127"/>
                <a:ea typeface="HY헤드라인M" pitchFamily="18" charset="-127"/>
              </a:rPr>
              <a:t> </a:t>
            </a:r>
            <a:endParaRPr lang="en-US" altLang="ko-KR" sz="1600" b="1" dirty="0"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25" name="Rectangle 2"/>
          <p:cNvSpPr>
            <a:spLocks noChangeArrowheads="1"/>
          </p:cNvSpPr>
          <p:nvPr/>
        </p:nvSpPr>
        <p:spPr bwMode="auto">
          <a:xfrm>
            <a:off x="5629275" y="6881813"/>
            <a:ext cx="3143250" cy="428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l">
              <a:lnSpc>
                <a:spcPct val="150000"/>
              </a:lnSpc>
            </a:pPr>
            <a:r>
              <a:rPr lang="en-US" altLang="ko-KR" sz="1600" b="1" dirty="0" smtClean="0">
                <a:latin typeface="HY헤드라인M" pitchFamily="18" charset="-127"/>
                <a:ea typeface="HY헤드라인M" pitchFamily="18" charset="-127"/>
              </a:rPr>
              <a:t>2</a:t>
            </a:r>
            <a:r>
              <a:rPr lang="ko-KR" altLang="en-US" sz="1600" b="1" dirty="0" smtClean="0">
                <a:latin typeface="HY헤드라인M" pitchFamily="18" charset="-127"/>
                <a:ea typeface="HY헤드라인M" pitchFamily="18" charset="-127"/>
              </a:rPr>
              <a:t>번 </a:t>
            </a:r>
            <a:r>
              <a:rPr lang="ko-KR" altLang="en-US" sz="1600" b="1" dirty="0">
                <a:latin typeface="HY헤드라인M" pitchFamily="18" charset="-127"/>
                <a:ea typeface="HY헤드라인M" pitchFamily="18" charset="-127"/>
              </a:rPr>
              <a:t>개체의 엄마는 </a:t>
            </a:r>
            <a:r>
              <a:rPr lang="ko-KR" altLang="en-US" sz="1600" b="1" dirty="0" err="1">
                <a:solidFill>
                  <a:srgbClr val="6600CC"/>
                </a:solidFill>
                <a:latin typeface="HY헤드라인M" pitchFamily="18" charset="-127"/>
                <a:ea typeface="HY헤드라인M" pitchFamily="18" charset="-127"/>
              </a:rPr>
              <a:t>고등등록우</a:t>
            </a:r>
            <a:r>
              <a:rPr lang="ko-KR" altLang="en-US" sz="1600" b="1" dirty="0">
                <a:latin typeface="HY헤드라인M" pitchFamily="18" charset="-127"/>
                <a:ea typeface="HY헤드라인M" pitchFamily="18" charset="-127"/>
              </a:rPr>
              <a:t> </a:t>
            </a:r>
            <a:endParaRPr lang="en-US" altLang="ko-KR" sz="1600" b="1" dirty="0">
              <a:latin typeface="HY헤드라인M" pitchFamily="18" charset="-127"/>
              <a:ea typeface="HY헤드라인M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470844946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9634" name="Rectangle 1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28"/>
          <a:ext cx="185738" cy="174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" r:id="rId6" imgW="0" imgH="0" progId="">
                  <p:embed/>
                </p:oleObj>
              </mc:Choice>
              <mc:Fallback>
                <p:oleObj r:id="rId6" imgW="0" imgH="0" progId="">
                  <p:embed/>
                  <p:pic>
                    <p:nvPicPr>
                      <p:cNvPr id="0" name="AutoShape 20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8"/>
                        <a:ext cx="185738" cy="1746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9682" name="그룹 10"/>
          <p:cNvGrpSpPr>
            <a:grpSpLocks/>
          </p:cNvGrpSpPr>
          <p:nvPr/>
        </p:nvGrpSpPr>
        <p:grpSpPr bwMode="auto">
          <a:xfrm>
            <a:off x="-138111" y="757238"/>
            <a:ext cx="11114088" cy="850900"/>
            <a:chOff x="-9763" y="645259"/>
            <a:chExt cx="9503569" cy="771525"/>
          </a:xfrm>
        </p:grpSpPr>
        <p:pic>
          <p:nvPicPr>
            <p:cNvPr id="69686" name="Picture 3" descr="1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9763" y="645259"/>
              <a:ext cx="9503569" cy="771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9687" name="Rectangl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741231" y="802804"/>
              <a:ext cx="6318515" cy="431800"/>
            </a:xfrm>
            <a:prstGeom prst="rect">
              <a:avLst/>
            </a:prstGeom>
            <a:noFill/>
            <a:ln>
              <a:noFill/>
            </a:ln>
            <a:effectLst>
              <a:outerShdw dist="17961" dir="2700000" algn="ctr" rotWithShape="0">
                <a:schemeClr val="tx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/>
            <a:lstStyle/>
            <a:p>
              <a:pPr latinLnBrk="0">
                <a:spcBef>
                  <a:spcPct val="50000"/>
                </a:spcBef>
              </a:pPr>
              <a:r>
                <a:rPr kumimoji="0" lang="ko-KR" altLang="en-US" sz="2200" b="1">
                  <a:solidFill>
                    <a:srgbClr val="FFFF99"/>
                  </a:solidFill>
                  <a:latin typeface="HY견고딕" pitchFamily="18" charset="-127"/>
                  <a:ea typeface="HY견고딕" pitchFamily="18" charset="-127"/>
                </a:rPr>
                <a:t>동일 </a:t>
              </a:r>
              <a:r>
                <a:rPr kumimoji="0" lang="en-US" altLang="ko-KR" sz="2200" b="1">
                  <a:solidFill>
                    <a:srgbClr val="FFFF99"/>
                  </a:solidFill>
                  <a:latin typeface="HY견고딕" pitchFamily="18" charset="-127"/>
                  <a:ea typeface="HY견고딕" pitchFamily="18" charset="-127"/>
                </a:rPr>
                <a:t>KPN </a:t>
              </a:r>
              <a:r>
                <a:rPr kumimoji="0" lang="ko-KR" altLang="en-US" sz="2200" b="1">
                  <a:solidFill>
                    <a:srgbClr val="FFFF99"/>
                  </a:solidFill>
                  <a:latin typeface="HY견고딕" pitchFamily="18" charset="-127"/>
                  <a:ea typeface="HY견고딕" pitchFamily="18" charset="-127"/>
                </a:rPr>
                <a:t>사용에 따른 농장별 성적 비교 분석</a:t>
              </a:r>
            </a:p>
          </p:txBody>
        </p:sp>
        <p:pic>
          <p:nvPicPr>
            <p:cNvPr id="69688" name="Picture 81" descr="3"/>
            <p:cNvPicPr>
              <a:picLocks noChangeAspect="1" noChangeArrowheads="1"/>
            </p:cNvPicPr>
            <p:nvPr/>
          </p:nvPicPr>
          <p:blipFill>
            <a:blip r:embed="rId8" cstate="print">
              <a:lum contrast="1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5613" y="764704"/>
              <a:ext cx="595048" cy="50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aphicFrame>
        <p:nvGraphicFramePr>
          <p:cNvPr id="15" name="표 14"/>
          <p:cNvGraphicFramePr>
            <a:graphicFrameLocks noGrp="1"/>
          </p:cNvGraphicFramePr>
          <p:nvPr/>
        </p:nvGraphicFramePr>
        <p:xfrm>
          <a:off x="0" y="0"/>
          <a:ext cx="10693400" cy="757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7238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T="45672" marB="4567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16" name="Text Box 8"/>
          <p:cNvSpPr txBox="1">
            <a:spLocks noChangeArrowheads="1"/>
          </p:cNvSpPr>
          <p:nvPr/>
        </p:nvSpPr>
        <p:spPr bwMode="auto">
          <a:xfrm>
            <a:off x="3" y="217493"/>
            <a:ext cx="6877050" cy="446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86633" tIns="0" rIns="0" bIns="0">
            <a:spAutoFit/>
          </a:bodyPr>
          <a:lstStyle/>
          <a:p>
            <a:pPr>
              <a:defRPr/>
            </a:pPr>
            <a:r>
              <a:rPr lang="en-US" altLang="ko-KR" sz="29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3. </a:t>
            </a:r>
            <a:r>
              <a:rPr lang="ko-KR" altLang="en-US" sz="29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부계</a:t>
            </a:r>
            <a:r>
              <a:rPr lang="en-US" altLang="ko-KR" sz="29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(</a:t>
            </a:r>
            <a:r>
              <a:rPr lang="ko-KR" altLang="en-US" sz="29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정액</a:t>
            </a:r>
            <a:r>
              <a:rPr lang="en-US" altLang="ko-KR" sz="29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) </a:t>
            </a:r>
            <a:r>
              <a:rPr lang="ko-KR" altLang="en-US" sz="29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개량의 한계</a:t>
            </a:r>
          </a:p>
        </p:txBody>
      </p:sp>
      <p:pic>
        <p:nvPicPr>
          <p:cNvPr id="2093" name="Picture 45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0151" y="1608144"/>
            <a:ext cx="9144000" cy="53832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57692798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표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98994795"/>
              </p:ext>
            </p:extLst>
          </p:nvPr>
        </p:nvGraphicFramePr>
        <p:xfrm>
          <a:off x="137023" y="1675182"/>
          <a:ext cx="10411874" cy="4782556"/>
        </p:xfrm>
        <a:graphic>
          <a:graphicData uri="http://schemas.openxmlformats.org/drawingml/2006/table">
            <a:tbl>
              <a:tblPr/>
              <a:tblGrid>
                <a:gridCol w="1404371"/>
                <a:gridCol w="1416153"/>
                <a:gridCol w="1265225"/>
                <a:gridCol w="1265225"/>
                <a:gridCol w="1265225"/>
                <a:gridCol w="1265225"/>
                <a:gridCol w="1265225"/>
                <a:gridCol w="1265225"/>
              </a:tblGrid>
              <a:tr h="683222">
                <a:tc rowSpan="2"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2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도축년도</a:t>
                      </a:r>
                      <a:endParaRPr kumimoji="0" lang="ko-KR" altLang="en-US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HY헤드라인M" pitchFamily="18" charset="-127"/>
                        <a:ea typeface="HY헤드라인M" pitchFamily="18" charset="-127"/>
                      </a:endParaRPr>
                    </a:p>
                  </a:txBody>
                  <a:tcPr marL="11139" marR="11139" marT="10502" marB="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 rowSpan="2"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도축두수</a:t>
                      </a:r>
                    </a:p>
                  </a:txBody>
                  <a:tcPr marL="11139" marR="11139" marT="1050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 gridSpan="6"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20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등급출현율</a:t>
                      </a:r>
                      <a:r>
                        <a:rPr kumimoji="0" lang="en-US" altLang="ko-KR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(%)</a:t>
                      </a:r>
                      <a:endParaRPr kumimoji="0" lang="ko-KR" altLang="en-US" sz="2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HY헤드라인M" pitchFamily="18" charset="-127"/>
                        <a:ea typeface="HY헤드라인M" pitchFamily="18" charset="-127"/>
                      </a:endParaRPr>
                    </a:p>
                  </a:txBody>
                  <a:tcPr marL="11139" marR="11139" marT="1050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683222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1++</a:t>
                      </a:r>
                    </a:p>
                  </a:txBody>
                  <a:tcPr marL="11139" marR="11139" marT="1050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1+</a:t>
                      </a:r>
                    </a:p>
                  </a:txBody>
                  <a:tcPr marL="11139" marR="11139" marT="1050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1</a:t>
                      </a:r>
                    </a:p>
                  </a:txBody>
                  <a:tcPr marL="11139" marR="11139" marT="1050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2</a:t>
                      </a:r>
                    </a:p>
                  </a:txBody>
                  <a:tcPr marL="11139" marR="11139" marT="1050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3</a:t>
                      </a:r>
                    </a:p>
                  </a:txBody>
                  <a:tcPr marL="11139" marR="11139" marT="1050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1</a:t>
                      </a:r>
                      <a:r>
                        <a:rPr kumimoji="0" lang="ko-KR" altLang="en-US" sz="20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등급이상</a:t>
                      </a:r>
                    </a:p>
                  </a:txBody>
                  <a:tcPr marL="11139" marR="11139" marT="1050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C000"/>
                    </a:solidFill>
                  </a:tcPr>
                </a:tc>
              </a:tr>
              <a:tr h="569352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2011</a:t>
                      </a:r>
                    </a:p>
                  </a:txBody>
                  <a:tcPr marL="11139" marR="11139" marT="10502" marB="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  </a:t>
                      </a:r>
                      <a:r>
                        <a:rPr kumimoji="0" lang="en-US" altLang="ko-KR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300,677 </a:t>
                      </a:r>
                    </a:p>
                  </a:txBody>
                  <a:tcPr marL="11139" marR="126301" marT="1050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9.2</a:t>
                      </a:r>
                    </a:p>
                  </a:txBody>
                  <a:tcPr marL="11139" marR="11139" marT="1050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22.6</a:t>
                      </a:r>
                    </a:p>
                  </a:txBody>
                  <a:tcPr marL="11139" marR="11139" marT="1050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30.6</a:t>
                      </a:r>
                    </a:p>
                  </a:txBody>
                  <a:tcPr marL="11139" marR="11139" marT="1050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25.5</a:t>
                      </a:r>
                    </a:p>
                  </a:txBody>
                  <a:tcPr marL="11139" marR="11139" marT="1050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11.6</a:t>
                      </a:r>
                    </a:p>
                  </a:txBody>
                  <a:tcPr marL="11139" marR="11139" marT="1050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62.4</a:t>
                      </a:r>
                    </a:p>
                  </a:txBody>
                  <a:tcPr marL="11139" marR="11139" marT="1050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69352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2012</a:t>
                      </a:r>
                    </a:p>
                  </a:txBody>
                  <a:tcPr marL="11139" marR="11139" marT="10502" marB="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  </a:t>
                      </a:r>
                      <a:r>
                        <a:rPr kumimoji="0" lang="en-US" altLang="ko-KR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327,030 </a:t>
                      </a:r>
                    </a:p>
                  </a:txBody>
                  <a:tcPr marL="11139" marR="126301" marT="1050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9.3</a:t>
                      </a:r>
                    </a:p>
                  </a:txBody>
                  <a:tcPr marL="11139" marR="11139" marT="1050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20.2</a:t>
                      </a:r>
                    </a:p>
                  </a:txBody>
                  <a:tcPr marL="11139" marR="11139" marT="1050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28.6</a:t>
                      </a:r>
                    </a:p>
                  </a:txBody>
                  <a:tcPr marL="11139" marR="11139" marT="1050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27.3</a:t>
                      </a:r>
                    </a:p>
                  </a:txBody>
                  <a:tcPr marL="11139" marR="11139" marT="1050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14.1</a:t>
                      </a:r>
                    </a:p>
                  </a:txBody>
                  <a:tcPr marL="11139" marR="11139" marT="1050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58.1</a:t>
                      </a:r>
                    </a:p>
                  </a:txBody>
                  <a:tcPr marL="11139" marR="11139" marT="1050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69352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2013</a:t>
                      </a:r>
                    </a:p>
                  </a:txBody>
                  <a:tcPr marL="11139" marR="11139" marT="10502" marB="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  </a:t>
                      </a:r>
                      <a:r>
                        <a:rPr kumimoji="0" lang="en-US" altLang="ko-KR" sz="20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464,815 </a:t>
                      </a:r>
                    </a:p>
                  </a:txBody>
                  <a:tcPr marL="11139" marR="126301" marT="1050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9.2</a:t>
                      </a:r>
                    </a:p>
                  </a:txBody>
                  <a:tcPr marL="11139" marR="11139" marT="1050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21.0</a:t>
                      </a:r>
                    </a:p>
                  </a:txBody>
                  <a:tcPr marL="11139" marR="11139" marT="1050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31.0</a:t>
                      </a:r>
                    </a:p>
                  </a:txBody>
                  <a:tcPr marL="11139" marR="11139" marT="1050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27.1</a:t>
                      </a:r>
                    </a:p>
                  </a:txBody>
                  <a:tcPr marL="11139" marR="11139" marT="1050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11.2</a:t>
                      </a:r>
                    </a:p>
                  </a:txBody>
                  <a:tcPr marL="11139" marR="11139" marT="1050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61.2</a:t>
                      </a:r>
                    </a:p>
                  </a:txBody>
                  <a:tcPr marL="11139" marR="11139" marT="1050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69352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2014</a:t>
                      </a:r>
                    </a:p>
                  </a:txBody>
                  <a:tcPr marL="11139" marR="11139" marT="10502" marB="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ko-KR" altLang="en-US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  </a:t>
                      </a:r>
                      <a:r>
                        <a:rPr kumimoji="0" lang="en-US" altLang="ko-KR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427,625 </a:t>
                      </a:r>
                    </a:p>
                  </a:txBody>
                  <a:tcPr marL="11139" marR="126301" marT="1050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9.3</a:t>
                      </a:r>
                    </a:p>
                  </a:txBody>
                  <a:tcPr marL="11139" marR="11139" marT="1050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22.9</a:t>
                      </a:r>
                    </a:p>
                  </a:txBody>
                  <a:tcPr marL="11139" marR="11139" marT="1050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32.0</a:t>
                      </a:r>
                    </a:p>
                  </a:txBody>
                  <a:tcPr marL="11139" marR="11139" marT="1050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25.7</a:t>
                      </a:r>
                    </a:p>
                  </a:txBody>
                  <a:tcPr marL="11139" marR="11139" marT="1050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9.8</a:t>
                      </a:r>
                    </a:p>
                  </a:txBody>
                  <a:tcPr marL="11139" marR="11139" marT="1050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64.2</a:t>
                      </a:r>
                    </a:p>
                  </a:txBody>
                  <a:tcPr marL="11139" marR="11139" marT="1050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69352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2015</a:t>
                      </a:r>
                    </a:p>
                  </a:txBody>
                  <a:tcPr marL="11139" marR="11139" marT="10502" marB="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469,947</a:t>
                      </a:r>
                    </a:p>
                  </a:txBody>
                  <a:tcPr marL="11139" marR="126301" marT="1050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9.3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26.8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29.8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25.3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8.6 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65.8</a:t>
                      </a:r>
                    </a:p>
                  </a:txBody>
                  <a:tcPr marL="0" marR="0" marT="0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69352"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2016</a:t>
                      </a:r>
                    </a:p>
                  </a:txBody>
                  <a:tcPr marL="11139" marR="11139" marT="10502" marB="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</a:rPr>
                        <a:t>395,335</a:t>
                      </a:r>
                    </a:p>
                  </a:txBody>
                  <a:tcPr marL="11139" marR="126301" marT="10502" marB="0" anchor="ctr" horzOverflow="overflow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  <a:cs typeface="+mn-cs"/>
                        </a:rPr>
                        <a:t>8.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  <a:cs typeface="+mn-cs"/>
                        </a:rPr>
                        <a:t>30.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  <a:cs typeface="+mn-cs"/>
                        </a:rPr>
                        <a:t>27.5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  <a:cs typeface="+mn-cs"/>
                        </a:rPr>
                        <a:t>25.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  <a:cs typeface="+mn-cs"/>
                        </a:rPr>
                        <a:t>8.5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defPPr>
                        <a:defRPr lang="ko-KR"/>
                      </a:defPPr>
                      <a:lvl1pPr marL="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1pPr>
                      <a:lvl2pPr marL="457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2pPr>
                      <a:lvl3pPr marL="914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3pPr>
                      <a:lvl4pPr marL="1371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4pPr>
                      <a:lvl5pPr marL="18288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5pPr>
                      <a:lvl6pPr marL="22860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6pPr>
                      <a:lvl7pPr marL="27432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7pPr>
                      <a:lvl8pPr marL="32004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8pPr>
                      <a:lvl9pPr marL="3657600" algn="l" defTabSz="914400" rtl="0" eaLnBrk="1" latinLnBrk="1" hangingPunct="1">
                        <a:defRPr sz="1800" kern="1200">
                          <a:solidFill>
                            <a:schemeClr val="tx1"/>
                          </a:solidFill>
                          <a:latin typeface="굴림"/>
                          <a:ea typeface="굴림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1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ko-KR" sz="20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HY헤드라인M" pitchFamily="18" charset="-127"/>
                          <a:ea typeface="HY헤드라인M" pitchFamily="18" charset="-127"/>
                          <a:cs typeface="+mn-cs"/>
                        </a:rPr>
                        <a:t>66.2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8" name="Rectangle 7"/>
          <p:cNvSpPr>
            <a:spLocks noChangeArrowheads="1"/>
          </p:cNvSpPr>
          <p:nvPr/>
        </p:nvSpPr>
        <p:spPr bwMode="auto">
          <a:xfrm>
            <a:off x="1" y="6585951"/>
            <a:ext cx="10693400" cy="4899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103977" tIns="51990" rIns="103977" bIns="51990">
            <a:spAutoFit/>
          </a:bodyPr>
          <a:lstStyle/>
          <a:p>
            <a:pPr marL="389904" indent="-389904" defTabSz="1041217" fontAlgn="auto">
              <a:spcBef>
                <a:spcPct val="20000"/>
              </a:spcBef>
              <a:spcAft>
                <a:spcPts val="0"/>
              </a:spcAft>
              <a:buClr>
                <a:srgbClr val="4F81BD"/>
              </a:buClr>
              <a:buSzPct val="70000"/>
              <a:defRPr/>
            </a:pPr>
            <a:r>
              <a:rPr kumimoji="0" lang="en-US" altLang="ko-KR" sz="2500" b="1" dirty="0">
                <a:solidFill>
                  <a:prstClr val="black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맑은 고딕" pitchFamily="50" charset="-127"/>
                <a:ea typeface="맑은 고딕" pitchFamily="50" charset="-127"/>
              </a:rPr>
              <a:t>- </a:t>
            </a:r>
            <a:r>
              <a:rPr kumimoji="0" lang="ko-KR" altLang="en-US" sz="2500" b="1" dirty="0">
                <a:solidFill>
                  <a:prstClr val="black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맑은 고딕" pitchFamily="50" charset="-127"/>
                <a:ea typeface="맑은 고딕" pitchFamily="50" charset="-127"/>
              </a:rPr>
              <a:t>부계</a:t>
            </a:r>
            <a:r>
              <a:rPr kumimoji="0" lang="en-US" altLang="ko-KR" sz="2500" b="1" dirty="0">
                <a:solidFill>
                  <a:prstClr val="black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0" lang="ko-KR" altLang="en-US" sz="2500" b="1" dirty="0">
                <a:solidFill>
                  <a:prstClr val="black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맑은 고딕" pitchFamily="50" charset="-127"/>
                <a:ea typeface="맑은 고딕" pitchFamily="50" charset="-127"/>
              </a:rPr>
              <a:t>정액</a:t>
            </a:r>
            <a:r>
              <a:rPr kumimoji="0" lang="en-US" altLang="ko-KR" sz="2500" b="1" dirty="0">
                <a:solidFill>
                  <a:prstClr val="black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맑은 고딕" pitchFamily="50" charset="-127"/>
                <a:ea typeface="맑은 고딕" pitchFamily="50" charset="-127"/>
              </a:rPr>
              <a:t>)</a:t>
            </a:r>
            <a:r>
              <a:rPr kumimoji="0" lang="ko-KR" altLang="en-US" sz="2500" b="1" dirty="0">
                <a:solidFill>
                  <a:prstClr val="black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맑은 고딕" pitchFamily="50" charset="-127"/>
                <a:ea typeface="맑은 고딕" pitchFamily="50" charset="-127"/>
              </a:rPr>
              <a:t>혈통개량만으로는 </a:t>
            </a:r>
            <a:r>
              <a:rPr kumimoji="0" lang="en-US" altLang="ko-KR" sz="2500" b="1" dirty="0">
                <a:solidFill>
                  <a:prstClr val="black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맑은 고딕" pitchFamily="50" charset="-127"/>
                <a:ea typeface="맑은 고딕" pitchFamily="50" charset="-127"/>
              </a:rPr>
              <a:t>1+</a:t>
            </a:r>
            <a:r>
              <a:rPr kumimoji="0" lang="ko-KR" altLang="en-US" sz="2500" b="1" dirty="0">
                <a:solidFill>
                  <a:prstClr val="black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맑은 고딕" pitchFamily="50" charset="-127"/>
                <a:ea typeface="맑은 고딕" pitchFamily="50" charset="-127"/>
              </a:rPr>
              <a:t>등급이상 출현증가는 한계가 있음</a:t>
            </a:r>
            <a:r>
              <a:rPr kumimoji="0" lang="en-US" altLang="ko-KR" sz="2500" b="1" dirty="0">
                <a:solidFill>
                  <a:prstClr val="black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맑은 고딕" pitchFamily="50" charset="-127"/>
                <a:ea typeface="맑은 고딕" pitchFamily="50" charset="-127"/>
              </a:rPr>
              <a:t>.</a:t>
            </a:r>
            <a:endParaRPr kumimoji="0" lang="ko-KR" altLang="en-US" sz="2500" b="1" dirty="0">
              <a:solidFill>
                <a:prstClr val="black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9" name="표 8"/>
          <p:cNvGraphicFramePr>
            <a:graphicFrameLocks noGrp="1"/>
          </p:cNvGraphicFramePr>
          <p:nvPr/>
        </p:nvGraphicFramePr>
        <p:xfrm>
          <a:off x="0" y="0"/>
          <a:ext cx="10693400" cy="757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7238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T="45672" marB="4567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12" name="Text Box 8"/>
          <p:cNvSpPr txBox="1">
            <a:spLocks noChangeArrowheads="1"/>
          </p:cNvSpPr>
          <p:nvPr/>
        </p:nvSpPr>
        <p:spPr bwMode="auto">
          <a:xfrm>
            <a:off x="3" y="217493"/>
            <a:ext cx="6877050" cy="446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86633" tIns="0" rIns="0" bIns="0">
            <a:spAutoFit/>
          </a:bodyPr>
          <a:lstStyle/>
          <a:p>
            <a:pPr>
              <a:defRPr/>
            </a:pPr>
            <a:r>
              <a:rPr lang="en-US" altLang="ko-KR" sz="29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3. </a:t>
            </a:r>
            <a:r>
              <a:rPr lang="ko-KR" altLang="en-US" sz="29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부계</a:t>
            </a:r>
            <a:r>
              <a:rPr lang="en-US" altLang="ko-KR" sz="29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(</a:t>
            </a:r>
            <a:r>
              <a:rPr lang="ko-KR" altLang="en-US" sz="29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정액</a:t>
            </a:r>
            <a:r>
              <a:rPr lang="en-US" altLang="ko-KR" sz="29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) </a:t>
            </a:r>
            <a:r>
              <a:rPr lang="ko-KR" altLang="en-US" sz="29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개량의 한계</a:t>
            </a:r>
          </a:p>
        </p:txBody>
      </p:sp>
      <p:grpSp>
        <p:nvGrpSpPr>
          <p:cNvPr id="13" name="그룹 10"/>
          <p:cNvGrpSpPr>
            <a:grpSpLocks/>
          </p:cNvGrpSpPr>
          <p:nvPr/>
        </p:nvGrpSpPr>
        <p:grpSpPr bwMode="auto">
          <a:xfrm>
            <a:off x="-138111" y="757238"/>
            <a:ext cx="11114088" cy="850900"/>
            <a:chOff x="-9763" y="645259"/>
            <a:chExt cx="9503569" cy="771525"/>
          </a:xfrm>
        </p:grpSpPr>
        <p:pic>
          <p:nvPicPr>
            <p:cNvPr id="14" name="Picture 3" descr="1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9763" y="645259"/>
              <a:ext cx="9503569" cy="771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5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741231" y="802804"/>
              <a:ext cx="6318515" cy="431800"/>
            </a:xfrm>
            <a:prstGeom prst="rect">
              <a:avLst/>
            </a:prstGeom>
            <a:noFill/>
            <a:ln>
              <a:noFill/>
            </a:ln>
            <a:effectLst>
              <a:outerShdw dist="17961" dir="2700000" algn="ctr" rotWithShape="0">
                <a:schemeClr val="tx1"/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90000" tIns="46800" rIns="90000" bIns="46800" anchor="ctr"/>
            <a:lstStyle/>
            <a:p>
              <a:pPr latinLnBrk="0">
                <a:spcBef>
                  <a:spcPct val="50000"/>
                </a:spcBef>
              </a:pPr>
              <a:r>
                <a:rPr kumimoji="0" lang="ko-KR" altLang="en-US" sz="2200" b="1" dirty="0">
                  <a:solidFill>
                    <a:srgbClr val="FFFF99"/>
                  </a:solidFill>
                  <a:latin typeface="HY견고딕" pitchFamily="18" charset="-127"/>
                  <a:ea typeface="HY견고딕" pitchFamily="18" charset="-127"/>
                </a:rPr>
                <a:t>한우 도체 </a:t>
              </a:r>
              <a:r>
                <a:rPr kumimoji="0" lang="ko-KR" altLang="en-US" sz="2200" b="1" dirty="0" err="1">
                  <a:solidFill>
                    <a:srgbClr val="FFFF99"/>
                  </a:solidFill>
                  <a:latin typeface="HY견고딕" pitchFamily="18" charset="-127"/>
                  <a:ea typeface="HY견고딕" pitchFamily="18" charset="-127"/>
                </a:rPr>
                <a:t>등급출현율</a:t>
              </a:r>
              <a:r>
                <a:rPr kumimoji="0" lang="en-US" altLang="ko-KR" sz="2200" b="1" dirty="0">
                  <a:solidFill>
                    <a:srgbClr val="FFFF99"/>
                  </a:solidFill>
                  <a:latin typeface="HY견고딕" pitchFamily="18" charset="-127"/>
                  <a:ea typeface="HY견고딕" pitchFamily="18" charset="-127"/>
                </a:rPr>
                <a:t>(%)</a:t>
              </a:r>
              <a:endParaRPr kumimoji="0" lang="ko-KR" altLang="en-US" sz="2200" b="1" dirty="0">
                <a:solidFill>
                  <a:srgbClr val="FFFF99"/>
                </a:solidFill>
                <a:latin typeface="HY견고딕" pitchFamily="18" charset="-127"/>
                <a:ea typeface="HY견고딕" pitchFamily="18" charset="-127"/>
              </a:endParaRPr>
            </a:p>
          </p:txBody>
        </p:sp>
        <p:pic>
          <p:nvPicPr>
            <p:cNvPr id="16" name="Picture 81" descr="3"/>
            <p:cNvPicPr>
              <a:picLocks noChangeAspect="1" noChangeArrowheads="1"/>
            </p:cNvPicPr>
            <p:nvPr/>
          </p:nvPicPr>
          <p:blipFill>
            <a:blip r:embed="rId5" cstate="print">
              <a:lum contrast="1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5613" y="764704"/>
              <a:ext cx="595048" cy="50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30704192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658" name="그룹 627"/>
          <p:cNvGrpSpPr>
            <a:grpSpLocks/>
          </p:cNvGrpSpPr>
          <p:nvPr/>
        </p:nvGrpSpPr>
        <p:grpSpPr bwMode="auto">
          <a:xfrm>
            <a:off x="207966" y="1063626"/>
            <a:ext cx="9504362" cy="771524"/>
            <a:chOff x="-9763" y="645259"/>
            <a:chExt cx="9503569" cy="771525"/>
          </a:xfrm>
        </p:grpSpPr>
        <p:pic>
          <p:nvPicPr>
            <p:cNvPr id="70733" name="Picture 3" descr="1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9763" y="645259"/>
              <a:ext cx="9503569" cy="7715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4" name="Rectangle 5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auto">
            <a:xfrm>
              <a:off x="741061" y="802422"/>
              <a:ext cx="6319311" cy="431800"/>
            </a:xfrm>
            <a:prstGeom prst="rect">
              <a:avLst/>
            </a:prstGeom>
            <a:noFill/>
            <a:ln w="12700" algn="ctr">
              <a:noFill/>
              <a:miter lim="800000"/>
              <a:headEnd/>
              <a:tailEnd/>
            </a:ln>
            <a:effectLst>
              <a:outerShdw dist="17961" dir="2700000" algn="ctr" rotWithShape="0">
                <a:srgbClr val="000000"/>
              </a:outerShdw>
            </a:effectLst>
          </p:spPr>
          <p:txBody>
            <a:bodyPr wrap="none" lIns="90000" tIns="46800" rIns="90000" bIns="46800" anchor="ctr"/>
            <a:lstStyle/>
            <a:p>
              <a:pPr fontAlgn="auto" latinLnBrk="0">
                <a:spcBef>
                  <a:spcPct val="50000"/>
                </a:spcBef>
                <a:spcAft>
                  <a:spcPts val="0"/>
                </a:spcAft>
                <a:defRPr/>
              </a:pPr>
              <a:r>
                <a:rPr kumimoji="0" lang="ko-KR" altLang="en-US" sz="2100" b="1" kern="0" dirty="0">
                  <a:solidFill>
                    <a:srgbClr val="FFFF99"/>
                  </a:solidFill>
                  <a:latin typeface="HY견고딕"/>
                  <a:ea typeface="HY견고딕"/>
                </a:rPr>
                <a:t>암소개량의 방법</a:t>
              </a:r>
            </a:p>
          </p:txBody>
        </p:sp>
        <p:pic>
          <p:nvPicPr>
            <p:cNvPr id="70735" name="Picture 81" descr="3"/>
            <p:cNvPicPr>
              <a:picLocks noChangeAspect="1" noChangeArrowheads="1"/>
            </p:cNvPicPr>
            <p:nvPr/>
          </p:nvPicPr>
          <p:blipFill>
            <a:blip r:embed="rId4" cstate="print">
              <a:lum contrast="18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5613" y="764704"/>
              <a:ext cx="595048" cy="50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6" name="모서리가 둥근 직사각형 5"/>
          <p:cNvSpPr/>
          <p:nvPr/>
        </p:nvSpPr>
        <p:spPr>
          <a:xfrm>
            <a:off x="469901" y="1746250"/>
            <a:ext cx="10098088" cy="1135063"/>
          </a:xfrm>
          <a:prstGeom prst="roundRect">
            <a:avLst>
              <a:gd name="adj" fmla="val 9808"/>
            </a:avLst>
          </a:prstGeom>
          <a:gradFill>
            <a:gsLst>
              <a:gs pos="100000">
                <a:srgbClr val="4F81BD">
                  <a:lumMod val="20000"/>
                  <a:lumOff val="80000"/>
                </a:srgbClr>
              </a:gs>
              <a:gs pos="77000">
                <a:sysClr val="window" lastClr="FFFFFF">
                  <a:lumMod val="95000"/>
                </a:sysClr>
              </a:gs>
              <a:gs pos="0">
                <a:sysClr val="window" lastClr="FFFFFF">
                  <a:alpha val="92000"/>
                </a:sysClr>
              </a:gs>
            </a:gsLst>
            <a:lin ang="2700000" scaled="1"/>
          </a:gradFill>
          <a:ln w="12700" cap="flat" cmpd="sng" algn="ctr">
            <a:solidFill>
              <a:srgbClr val="1F497D">
                <a:lumMod val="60000"/>
                <a:lumOff val="40000"/>
              </a:srgbClr>
            </a:solidFill>
            <a:prstDash val="sysDash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91024" tIns="45513" rIns="91024" bIns="45513" anchor="ctr"/>
          <a:lstStyle/>
          <a:p>
            <a:pPr algn="ctr"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400" kern="0">
              <a:solidFill>
                <a:prstClr val="black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grpSp>
        <p:nvGrpSpPr>
          <p:cNvPr id="70660" name="Group 3"/>
          <p:cNvGrpSpPr>
            <a:grpSpLocks/>
          </p:cNvGrpSpPr>
          <p:nvPr/>
        </p:nvGrpSpPr>
        <p:grpSpPr bwMode="auto">
          <a:xfrm>
            <a:off x="2757489" y="3146425"/>
            <a:ext cx="3962401" cy="3730626"/>
            <a:chOff x="184" y="2688"/>
            <a:chExt cx="1268" cy="1194"/>
          </a:xfrm>
        </p:grpSpPr>
        <p:sp>
          <p:nvSpPr>
            <p:cNvPr id="8" name="Freeform 4"/>
            <p:cNvSpPr>
              <a:spLocks/>
            </p:cNvSpPr>
            <p:nvPr/>
          </p:nvSpPr>
          <p:spPr bwMode="ltGray">
            <a:xfrm>
              <a:off x="184" y="2692"/>
              <a:ext cx="770" cy="942"/>
            </a:xfrm>
            <a:custGeom>
              <a:avLst/>
              <a:gdLst>
                <a:gd name="T0" fmla="*/ 636 w 770"/>
                <a:gd name="T1" fmla="*/ 0 h 942"/>
                <a:gd name="T2" fmla="*/ 770 w 770"/>
                <a:gd name="T3" fmla="*/ 602 h 942"/>
                <a:gd name="T4" fmla="*/ 270 w 770"/>
                <a:gd name="T5" fmla="*/ 942 h 942"/>
                <a:gd name="T6" fmla="*/ 0 w 770"/>
                <a:gd name="T7" fmla="*/ 216 h 942"/>
                <a:gd name="T8" fmla="*/ 636 w 770"/>
                <a:gd name="T9" fmla="*/ 0 h 9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0" h="942">
                  <a:moveTo>
                    <a:pt x="636" y="0"/>
                  </a:moveTo>
                  <a:lnTo>
                    <a:pt x="770" y="602"/>
                  </a:lnTo>
                  <a:lnTo>
                    <a:pt x="270" y="942"/>
                  </a:lnTo>
                  <a:lnTo>
                    <a:pt x="0" y="216"/>
                  </a:lnTo>
                  <a:lnTo>
                    <a:pt x="636" y="0"/>
                  </a:lnTo>
                  <a:close/>
                </a:path>
              </a:pathLst>
            </a:custGeom>
            <a:solidFill>
              <a:srgbClr val="4F81BD">
                <a:alpha val="5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292929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Aft>
                  <a:spcPts val="0"/>
                </a:spcAft>
                <a:defRPr/>
              </a:pPr>
              <a:endParaRPr lang="ko-KR" altLang="en-US" sz="1800" kern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endParaRPr>
            </a:p>
          </p:txBody>
        </p:sp>
        <p:sp>
          <p:nvSpPr>
            <p:cNvPr id="9" name="Freeform 5"/>
            <p:cNvSpPr>
              <a:spLocks/>
            </p:cNvSpPr>
            <p:nvPr/>
          </p:nvSpPr>
          <p:spPr bwMode="ltGray">
            <a:xfrm>
              <a:off x="816" y="2688"/>
              <a:ext cx="636" cy="724"/>
            </a:xfrm>
            <a:custGeom>
              <a:avLst/>
              <a:gdLst>
                <a:gd name="T0" fmla="*/ 0 w 636"/>
                <a:gd name="T1" fmla="*/ 2 h 724"/>
                <a:gd name="T2" fmla="*/ 138 w 636"/>
                <a:gd name="T3" fmla="*/ 606 h 724"/>
                <a:gd name="T4" fmla="*/ 636 w 636"/>
                <a:gd name="T5" fmla="*/ 724 h 724"/>
                <a:gd name="T6" fmla="*/ 574 w 636"/>
                <a:gd name="T7" fmla="*/ 0 h 724"/>
                <a:gd name="T8" fmla="*/ 0 w 636"/>
                <a:gd name="T9" fmla="*/ 2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6" h="724">
                  <a:moveTo>
                    <a:pt x="0" y="2"/>
                  </a:moveTo>
                  <a:lnTo>
                    <a:pt x="138" y="606"/>
                  </a:lnTo>
                  <a:lnTo>
                    <a:pt x="636" y="724"/>
                  </a:lnTo>
                  <a:lnTo>
                    <a:pt x="574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rgbClr val="4F81BD">
                <a:alpha val="5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292929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Aft>
                  <a:spcPts val="0"/>
                </a:spcAft>
                <a:defRPr/>
              </a:pPr>
              <a:endParaRPr lang="ko-KR" altLang="en-US" sz="1800" kern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endParaRPr>
            </a:p>
          </p:txBody>
        </p:sp>
        <p:sp>
          <p:nvSpPr>
            <p:cNvPr id="10" name="Freeform 6"/>
            <p:cNvSpPr>
              <a:spLocks/>
            </p:cNvSpPr>
            <p:nvPr/>
          </p:nvSpPr>
          <p:spPr bwMode="ltGray">
            <a:xfrm>
              <a:off x="452" y="3296"/>
              <a:ext cx="998" cy="586"/>
            </a:xfrm>
            <a:custGeom>
              <a:avLst/>
              <a:gdLst>
                <a:gd name="T0" fmla="*/ 0 w 998"/>
                <a:gd name="T1" fmla="*/ 340 h 586"/>
                <a:gd name="T2" fmla="*/ 500 w 998"/>
                <a:gd name="T3" fmla="*/ 0 h 586"/>
                <a:gd name="T4" fmla="*/ 998 w 998"/>
                <a:gd name="T5" fmla="*/ 116 h 586"/>
                <a:gd name="T6" fmla="*/ 540 w 998"/>
                <a:gd name="T7" fmla="*/ 586 h 586"/>
                <a:gd name="T8" fmla="*/ 0 w 998"/>
                <a:gd name="T9" fmla="*/ 340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8" h="586">
                  <a:moveTo>
                    <a:pt x="0" y="340"/>
                  </a:moveTo>
                  <a:lnTo>
                    <a:pt x="500" y="0"/>
                  </a:lnTo>
                  <a:lnTo>
                    <a:pt x="998" y="116"/>
                  </a:lnTo>
                  <a:lnTo>
                    <a:pt x="540" y="586"/>
                  </a:lnTo>
                  <a:lnTo>
                    <a:pt x="0" y="340"/>
                  </a:lnTo>
                  <a:close/>
                </a:path>
              </a:pathLst>
            </a:custGeom>
            <a:solidFill>
              <a:srgbClr val="4F81BD">
                <a:alpha val="8000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292929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Aft>
                  <a:spcPts val="0"/>
                </a:spcAft>
                <a:defRPr/>
              </a:pPr>
              <a:endParaRPr lang="ko-KR" altLang="en-US" sz="1800" kern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endParaRPr>
            </a:p>
          </p:txBody>
        </p:sp>
      </p:grpSp>
      <p:grpSp>
        <p:nvGrpSpPr>
          <p:cNvPr id="70661" name="Group 7"/>
          <p:cNvGrpSpPr>
            <a:grpSpLocks/>
          </p:cNvGrpSpPr>
          <p:nvPr/>
        </p:nvGrpSpPr>
        <p:grpSpPr bwMode="auto">
          <a:xfrm>
            <a:off x="3198842" y="3448050"/>
            <a:ext cx="3203575" cy="3016250"/>
            <a:chOff x="184" y="2688"/>
            <a:chExt cx="1268" cy="1194"/>
          </a:xfrm>
        </p:grpSpPr>
        <p:sp>
          <p:nvSpPr>
            <p:cNvPr id="12" name="Freeform 8"/>
            <p:cNvSpPr>
              <a:spLocks/>
            </p:cNvSpPr>
            <p:nvPr/>
          </p:nvSpPr>
          <p:spPr bwMode="gray">
            <a:xfrm>
              <a:off x="184" y="2692"/>
              <a:ext cx="770" cy="942"/>
            </a:xfrm>
            <a:custGeom>
              <a:avLst/>
              <a:gdLst>
                <a:gd name="T0" fmla="*/ 636 w 770"/>
                <a:gd name="T1" fmla="*/ 0 h 942"/>
                <a:gd name="T2" fmla="*/ 770 w 770"/>
                <a:gd name="T3" fmla="*/ 602 h 942"/>
                <a:gd name="T4" fmla="*/ 270 w 770"/>
                <a:gd name="T5" fmla="*/ 942 h 942"/>
                <a:gd name="T6" fmla="*/ 0 w 770"/>
                <a:gd name="T7" fmla="*/ 216 h 942"/>
                <a:gd name="T8" fmla="*/ 636 w 770"/>
                <a:gd name="T9" fmla="*/ 0 h 9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70" h="942">
                  <a:moveTo>
                    <a:pt x="636" y="0"/>
                  </a:moveTo>
                  <a:lnTo>
                    <a:pt x="770" y="602"/>
                  </a:lnTo>
                  <a:lnTo>
                    <a:pt x="270" y="942"/>
                  </a:lnTo>
                  <a:lnTo>
                    <a:pt x="0" y="216"/>
                  </a:lnTo>
                  <a:lnTo>
                    <a:pt x="636" y="0"/>
                  </a:lnTo>
                  <a:close/>
                </a:path>
              </a:pathLst>
            </a:custGeom>
            <a:gradFill rotWithShape="1">
              <a:gsLst>
                <a:gs pos="0">
                  <a:srgbClr val="C0504D">
                    <a:gamma/>
                    <a:tint val="63529"/>
                    <a:invGamma/>
                  </a:srgbClr>
                </a:gs>
                <a:gs pos="100000">
                  <a:srgbClr val="C0504D"/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292929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Aft>
                  <a:spcPts val="0"/>
                </a:spcAft>
                <a:defRPr/>
              </a:pPr>
              <a:endParaRPr lang="ko-KR" altLang="en-US" sz="1800" kern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endParaRPr>
            </a:p>
          </p:txBody>
        </p:sp>
        <p:sp>
          <p:nvSpPr>
            <p:cNvPr id="13" name="Freeform 9"/>
            <p:cNvSpPr>
              <a:spLocks/>
            </p:cNvSpPr>
            <p:nvPr/>
          </p:nvSpPr>
          <p:spPr bwMode="gray">
            <a:xfrm>
              <a:off x="816" y="2688"/>
              <a:ext cx="636" cy="724"/>
            </a:xfrm>
            <a:custGeom>
              <a:avLst/>
              <a:gdLst>
                <a:gd name="T0" fmla="*/ 0 w 636"/>
                <a:gd name="T1" fmla="*/ 2 h 724"/>
                <a:gd name="T2" fmla="*/ 138 w 636"/>
                <a:gd name="T3" fmla="*/ 606 h 724"/>
                <a:gd name="T4" fmla="*/ 636 w 636"/>
                <a:gd name="T5" fmla="*/ 724 h 724"/>
                <a:gd name="T6" fmla="*/ 574 w 636"/>
                <a:gd name="T7" fmla="*/ 0 h 724"/>
                <a:gd name="T8" fmla="*/ 0 w 636"/>
                <a:gd name="T9" fmla="*/ 2 h 7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6" h="724">
                  <a:moveTo>
                    <a:pt x="0" y="2"/>
                  </a:moveTo>
                  <a:lnTo>
                    <a:pt x="138" y="606"/>
                  </a:lnTo>
                  <a:lnTo>
                    <a:pt x="636" y="724"/>
                  </a:lnTo>
                  <a:lnTo>
                    <a:pt x="574" y="0"/>
                  </a:lnTo>
                  <a:lnTo>
                    <a:pt x="0" y="2"/>
                  </a:lnTo>
                  <a:close/>
                </a:path>
              </a:pathLst>
            </a:custGeom>
            <a:gradFill rotWithShape="1">
              <a:gsLst>
                <a:gs pos="0">
                  <a:srgbClr val="C0504D"/>
                </a:gs>
                <a:gs pos="100000">
                  <a:srgbClr val="C0504D">
                    <a:gamma/>
                    <a:tint val="69804"/>
                    <a:invGamma/>
                  </a:srgbClr>
                </a:gs>
              </a:gsLst>
              <a:lin ang="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292929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Aft>
                  <a:spcPts val="0"/>
                </a:spcAft>
                <a:defRPr/>
              </a:pPr>
              <a:endParaRPr lang="ko-KR" altLang="en-US" sz="1800" kern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endParaRPr>
            </a:p>
          </p:txBody>
        </p:sp>
        <p:sp>
          <p:nvSpPr>
            <p:cNvPr id="14" name="Freeform 10"/>
            <p:cNvSpPr>
              <a:spLocks/>
            </p:cNvSpPr>
            <p:nvPr/>
          </p:nvSpPr>
          <p:spPr bwMode="gray">
            <a:xfrm>
              <a:off x="452" y="3296"/>
              <a:ext cx="998" cy="586"/>
            </a:xfrm>
            <a:custGeom>
              <a:avLst/>
              <a:gdLst>
                <a:gd name="T0" fmla="*/ 0 w 998"/>
                <a:gd name="T1" fmla="*/ 340 h 586"/>
                <a:gd name="T2" fmla="*/ 500 w 998"/>
                <a:gd name="T3" fmla="*/ 0 h 586"/>
                <a:gd name="T4" fmla="*/ 998 w 998"/>
                <a:gd name="T5" fmla="*/ 116 h 586"/>
                <a:gd name="T6" fmla="*/ 540 w 998"/>
                <a:gd name="T7" fmla="*/ 586 h 586"/>
                <a:gd name="T8" fmla="*/ 0 w 998"/>
                <a:gd name="T9" fmla="*/ 340 h 5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98" h="586">
                  <a:moveTo>
                    <a:pt x="0" y="340"/>
                  </a:moveTo>
                  <a:lnTo>
                    <a:pt x="500" y="0"/>
                  </a:lnTo>
                  <a:lnTo>
                    <a:pt x="998" y="116"/>
                  </a:lnTo>
                  <a:lnTo>
                    <a:pt x="540" y="586"/>
                  </a:lnTo>
                  <a:lnTo>
                    <a:pt x="0" y="340"/>
                  </a:lnTo>
                  <a:close/>
                </a:path>
              </a:pathLst>
            </a:custGeom>
            <a:gradFill rotWithShape="1">
              <a:gsLst>
                <a:gs pos="0">
                  <a:srgbClr val="C0504D">
                    <a:gamma/>
                    <a:shade val="75686"/>
                    <a:invGamma/>
                  </a:srgbClr>
                </a:gs>
                <a:gs pos="100000">
                  <a:srgbClr val="C0504D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 cmpd="sng">
                  <a:solidFill>
                    <a:schemeClr val="tx1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292929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auto">
                <a:spcAft>
                  <a:spcPts val="0"/>
                </a:spcAft>
                <a:defRPr/>
              </a:pPr>
              <a:endParaRPr lang="ko-KR" altLang="en-US" sz="1800" kern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endParaRPr>
            </a:p>
          </p:txBody>
        </p:sp>
      </p:grpSp>
      <p:sp>
        <p:nvSpPr>
          <p:cNvPr id="15" name="Rectangle 11"/>
          <p:cNvSpPr>
            <a:spLocks noChangeArrowheads="1"/>
          </p:cNvSpPr>
          <p:nvPr/>
        </p:nvSpPr>
        <p:spPr bwMode="auto">
          <a:xfrm>
            <a:off x="469929" y="1836743"/>
            <a:ext cx="9826625" cy="1006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gradFill rotWithShape="1">
                  <a:gsLst>
                    <a:gs pos="0">
                      <a:schemeClr val="accent1"/>
                    </a:gs>
                    <a:gs pos="50000">
                      <a:schemeClr val="bg1"/>
                    </a:gs>
                    <a:gs pos="100000">
                      <a:schemeClr val="accent1"/>
                    </a:gs>
                  </a:gsLst>
                  <a:lin ang="5400000" scaled="1"/>
                </a:gra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024" tIns="45513" rIns="91024" bIns="45513">
            <a:spAutoFit/>
          </a:bodyPr>
          <a:lstStyle/>
          <a:p>
            <a:pPr marL="284445" indent="-284445" eaLnBrk="0" hangingPunct="0">
              <a:lnSpc>
                <a:spcPct val="110000"/>
              </a:lnSpc>
              <a:buClr>
                <a:srgbClr val="D7181F"/>
              </a:buClr>
              <a:buFont typeface="Wingdings" panose="05000000000000000000" pitchFamily="2" charset="2"/>
              <a:buChar char="l"/>
              <a:defRPr/>
            </a:pPr>
            <a:r>
              <a:rPr lang="ko-KR" altLang="en-US" sz="1800" dirty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암소개량은 혈통등록</a:t>
            </a:r>
            <a:r>
              <a:rPr lang="en-US" altLang="ko-KR" sz="1800" dirty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, </a:t>
            </a:r>
            <a:r>
              <a:rPr lang="ko-KR" altLang="en-US" sz="1800" dirty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유전평가</a:t>
            </a:r>
            <a:r>
              <a:rPr lang="en-US" altLang="ko-KR" sz="1800" dirty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, </a:t>
            </a:r>
            <a:r>
              <a:rPr lang="ko-KR" altLang="en-US" sz="1800" dirty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선발</a:t>
            </a:r>
            <a:r>
              <a:rPr lang="en-US" altLang="ko-KR" sz="1800" dirty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/</a:t>
            </a:r>
            <a:r>
              <a:rPr lang="ko-KR" altLang="en-US" sz="1800" dirty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도태</a:t>
            </a:r>
            <a:r>
              <a:rPr lang="en-US" altLang="ko-KR" sz="1800" dirty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, </a:t>
            </a:r>
            <a:r>
              <a:rPr lang="ko-KR" altLang="en-US" sz="1800" dirty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교배의 작업이 단계별로 </a:t>
            </a:r>
            <a:r>
              <a:rPr lang="ko-KR" altLang="en-US" sz="1800" dirty="0" err="1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실행해야함</a:t>
            </a:r>
            <a:r>
              <a:rPr lang="en-US" altLang="ko-KR" sz="1800" dirty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.</a:t>
            </a:r>
          </a:p>
          <a:p>
            <a:pPr marL="284445" indent="-284445" eaLnBrk="0" hangingPunct="0">
              <a:lnSpc>
                <a:spcPct val="110000"/>
              </a:lnSpc>
              <a:buClr>
                <a:srgbClr val="D7181F"/>
              </a:buClr>
              <a:buFont typeface="Wingdings" panose="05000000000000000000" pitchFamily="2" charset="2"/>
              <a:buChar char="l"/>
              <a:defRPr/>
            </a:pPr>
            <a:r>
              <a:rPr lang="ko-KR" altLang="en-US" sz="1800" dirty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최종 현장 심사</a:t>
            </a:r>
            <a:r>
              <a:rPr lang="en-US" altLang="ko-KR" sz="1800" dirty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(</a:t>
            </a:r>
            <a:r>
              <a:rPr lang="ko-KR" altLang="en-US" sz="1800" dirty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체형</a:t>
            </a:r>
            <a:r>
              <a:rPr lang="en-US" altLang="ko-KR" sz="1800" dirty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, </a:t>
            </a:r>
            <a:r>
              <a:rPr lang="ko-KR" altLang="en-US" sz="1800" dirty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상태</a:t>
            </a:r>
            <a:r>
              <a:rPr lang="en-US" altLang="ko-KR" sz="1800" dirty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, </a:t>
            </a:r>
            <a:r>
              <a:rPr lang="ko-KR" altLang="en-US" sz="1800" dirty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질병유무</a:t>
            </a:r>
            <a:r>
              <a:rPr lang="en-US" altLang="ko-KR" sz="1800" dirty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)</a:t>
            </a:r>
            <a:r>
              <a:rPr lang="ko-KR" altLang="en-US" sz="1800" dirty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를 통해 선발 또는 도태함</a:t>
            </a:r>
            <a:r>
              <a:rPr lang="en-US" altLang="ko-KR" sz="1800" dirty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.</a:t>
            </a:r>
          </a:p>
          <a:p>
            <a:pPr marL="284445" indent="-284445" eaLnBrk="0" hangingPunct="0">
              <a:lnSpc>
                <a:spcPct val="110000"/>
              </a:lnSpc>
              <a:buClr>
                <a:srgbClr val="D7181F"/>
              </a:buClr>
              <a:buFont typeface="Wingdings" panose="05000000000000000000" pitchFamily="2" charset="2"/>
              <a:buChar char="l"/>
              <a:defRPr/>
            </a:pPr>
            <a:r>
              <a:rPr lang="ko-KR" altLang="en-US" sz="1800" dirty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선발된 암소에 대해 계획교배를 실시함</a:t>
            </a:r>
            <a:r>
              <a:rPr lang="en-US" altLang="ko-KR" sz="1800" dirty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.</a:t>
            </a:r>
          </a:p>
        </p:txBody>
      </p:sp>
      <p:sp>
        <p:nvSpPr>
          <p:cNvPr id="16" name="Text Box 12"/>
          <p:cNvSpPr txBox="1">
            <a:spLocks noChangeArrowheads="1"/>
          </p:cNvSpPr>
          <p:nvPr/>
        </p:nvSpPr>
        <p:spPr bwMode="gray">
          <a:xfrm>
            <a:off x="3639197" y="4499872"/>
            <a:ext cx="2601154" cy="830579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rgbClr val="292929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24" tIns="45513" rIns="91024" bIns="45513">
            <a:spAutoFit/>
          </a:bodyPr>
          <a:lstStyle/>
          <a:p>
            <a:pPr algn="ctr">
              <a:defRPr/>
            </a:pPr>
            <a:r>
              <a:rPr lang="ko-KR" altLang="en-US" sz="4800" b="1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HY헤드라인M" panose="02030600000101010101" pitchFamily="18" charset="-127"/>
                <a:ea typeface="HY헤드라인M" panose="02030600000101010101" pitchFamily="18" charset="-127"/>
              </a:rPr>
              <a:t>암소개량</a:t>
            </a:r>
            <a:endParaRPr lang="en-US" altLang="ko-KR" sz="4800" b="1" dirty="0">
              <a:ln w="17780" cmpd="sng">
                <a:solidFill>
                  <a:srgbClr val="FFFFFF"/>
                </a:solidFill>
                <a:prstDash val="solid"/>
                <a:miter lim="800000"/>
              </a:ln>
              <a:gradFill rotWithShape="1">
                <a:gsLst>
                  <a:gs pos="0">
                    <a:srgbClr val="000000">
                      <a:tint val="92000"/>
                      <a:shade val="100000"/>
                      <a:satMod val="150000"/>
                    </a:srgbClr>
                  </a:gs>
                  <a:gs pos="49000">
                    <a:srgbClr val="000000">
                      <a:tint val="89000"/>
                      <a:shade val="90000"/>
                      <a:satMod val="150000"/>
                    </a:srgbClr>
                  </a:gs>
                  <a:gs pos="50000">
                    <a:srgbClr val="000000">
                      <a:tint val="100000"/>
                      <a:shade val="75000"/>
                      <a:satMod val="150000"/>
                    </a:srgbClr>
                  </a:gs>
                  <a:gs pos="95000">
                    <a:srgbClr val="000000">
                      <a:shade val="47000"/>
                      <a:satMod val="150000"/>
                    </a:srgbClr>
                  </a:gs>
                  <a:gs pos="100000">
                    <a:srgbClr val="000000">
                      <a:shade val="39000"/>
                      <a:satMod val="150000"/>
                    </a:srgbClr>
                  </a:gs>
                </a:gsLst>
                <a:lin ang="5400000"/>
              </a:gradFill>
              <a:effectLst>
                <a:outerShdw blurRad="50800" algn="tl" rotWithShape="0">
                  <a:srgbClr val="000000"/>
                </a:outerShdw>
              </a:effectLst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grpSp>
        <p:nvGrpSpPr>
          <p:cNvPr id="70664" name="Group 13"/>
          <p:cNvGrpSpPr>
            <a:grpSpLocks/>
          </p:cNvGrpSpPr>
          <p:nvPr/>
        </p:nvGrpSpPr>
        <p:grpSpPr bwMode="auto">
          <a:xfrm rot="4976862" flipH="1">
            <a:off x="6027742" y="3435376"/>
            <a:ext cx="323850" cy="311151"/>
            <a:chOff x="1944" y="1111"/>
            <a:chExt cx="204" cy="196"/>
          </a:xfrm>
        </p:grpSpPr>
        <p:pic>
          <p:nvPicPr>
            <p:cNvPr id="70710" name="Picture 14" descr="circuler_1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 flipH="1">
              <a:off x="1961" y="1124"/>
              <a:ext cx="174" cy="1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" name="Oval 15"/>
            <p:cNvSpPr>
              <a:spLocks noChangeArrowheads="1"/>
            </p:cNvSpPr>
            <p:nvPr/>
          </p:nvSpPr>
          <p:spPr bwMode="gray">
            <a:xfrm flipH="1">
              <a:off x="1962" y="1124"/>
              <a:ext cx="173" cy="172"/>
            </a:xfrm>
            <a:prstGeom prst="ellipse">
              <a:avLst/>
            </a:prstGeom>
            <a:gradFill rotWithShape="1">
              <a:gsLst>
                <a:gs pos="0">
                  <a:srgbClr val="FFFF00">
                    <a:gamma/>
                    <a:shade val="46275"/>
                    <a:invGamma/>
                  </a:srgbClr>
                </a:gs>
                <a:gs pos="50000">
                  <a:srgbClr val="FFFF00">
                    <a:alpha val="50000"/>
                  </a:srgbClr>
                </a:gs>
                <a:gs pos="100000">
                  <a:srgbClr val="FFFF00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ko-KR" altLang="en-US" sz="180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endParaRPr>
            </a:p>
          </p:txBody>
        </p:sp>
        <p:grpSp>
          <p:nvGrpSpPr>
            <p:cNvPr id="70714" name="Group 16"/>
            <p:cNvGrpSpPr>
              <a:grpSpLocks/>
            </p:cNvGrpSpPr>
            <p:nvPr/>
          </p:nvGrpSpPr>
          <p:grpSpPr bwMode="auto">
            <a:xfrm rot="1297425" flipV="1">
              <a:off x="1971" y="1258"/>
              <a:ext cx="151" cy="37"/>
              <a:chOff x="2532" y="1051"/>
              <a:chExt cx="893" cy="246"/>
            </a:xfrm>
          </p:grpSpPr>
          <p:grpSp>
            <p:nvGrpSpPr>
              <p:cNvPr id="70717" name="Group 17"/>
              <p:cNvGrpSpPr>
                <a:grpSpLocks/>
              </p:cNvGrpSpPr>
              <p:nvPr/>
            </p:nvGrpSpPr>
            <p:grpSpPr bwMode="auto">
              <a:xfrm>
                <a:off x="2532" y="1051"/>
                <a:ext cx="743" cy="185"/>
                <a:chOff x="1565" y="2568"/>
                <a:chExt cx="1118" cy="279"/>
              </a:xfrm>
            </p:grpSpPr>
            <p:sp>
              <p:nvSpPr>
                <p:cNvPr id="70723" name="AutoShape 18"/>
                <p:cNvSpPr>
                  <a:spLocks noChangeArrowheads="1"/>
                </p:cNvSpPr>
                <p:nvPr/>
              </p:nvSpPr>
              <p:spPr bwMode="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sz="1800">
                    <a:solidFill>
                      <a:srgbClr val="000000"/>
                    </a:solidFill>
                    <a:latin typeface="HY헤드라인M" pitchFamily="18" charset="-127"/>
                    <a:ea typeface="HY헤드라인M" pitchFamily="18" charset="-127"/>
                  </a:endParaRPr>
                </a:p>
              </p:txBody>
            </p:sp>
            <p:sp>
              <p:nvSpPr>
                <p:cNvPr id="70724" name="AutoShape 19"/>
                <p:cNvSpPr>
                  <a:spLocks noChangeArrowheads="1"/>
                </p:cNvSpPr>
                <p:nvPr/>
              </p:nvSpPr>
              <p:spPr bwMode="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sz="1800">
                    <a:solidFill>
                      <a:srgbClr val="000000"/>
                    </a:solidFill>
                    <a:latin typeface="HY헤드라인M" pitchFamily="18" charset="-127"/>
                    <a:ea typeface="HY헤드라인M" pitchFamily="18" charset="-127"/>
                  </a:endParaRPr>
                </a:p>
              </p:txBody>
            </p:sp>
            <p:sp>
              <p:nvSpPr>
                <p:cNvPr id="70725" name="AutoShape 20"/>
                <p:cNvSpPr>
                  <a:spLocks noChangeArrowheads="1"/>
                </p:cNvSpPr>
                <p:nvPr/>
              </p:nvSpPr>
              <p:spPr bwMode="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sz="1800">
                    <a:solidFill>
                      <a:srgbClr val="000000"/>
                    </a:solidFill>
                    <a:latin typeface="HY헤드라인M" pitchFamily="18" charset="-127"/>
                    <a:ea typeface="HY헤드라인M" pitchFamily="18" charset="-127"/>
                  </a:endParaRPr>
                </a:p>
              </p:txBody>
            </p:sp>
            <p:sp>
              <p:nvSpPr>
                <p:cNvPr id="70726" name="AutoShape 21"/>
                <p:cNvSpPr>
                  <a:spLocks noChangeArrowheads="1"/>
                </p:cNvSpPr>
                <p:nvPr/>
              </p:nvSpPr>
              <p:spPr bwMode="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sz="1800">
                    <a:solidFill>
                      <a:srgbClr val="000000"/>
                    </a:solidFill>
                    <a:latin typeface="HY헤드라인M" pitchFamily="18" charset="-127"/>
                    <a:ea typeface="HY헤드라인M" pitchFamily="18" charset="-127"/>
                  </a:endParaRPr>
                </a:p>
              </p:txBody>
            </p:sp>
          </p:grpSp>
          <p:grpSp>
            <p:nvGrpSpPr>
              <p:cNvPr id="70718" name="Group 22"/>
              <p:cNvGrpSpPr>
                <a:grpSpLocks/>
              </p:cNvGrpSpPr>
              <p:nvPr/>
            </p:nvGrpSpPr>
            <p:grpSpPr bwMode="auto">
              <a:xfrm rot="1353540">
                <a:off x="2682" y="1111"/>
                <a:ext cx="743" cy="186"/>
                <a:chOff x="1565" y="2568"/>
                <a:chExt cx="1118" cy="279"/>
              </a:xfrm>
            </p:grpSpPr>
            <p:sp>
              <p:nvSpPr>
                <p:cNvPr id="70719" name="AutoShape 23"/>
                <p:cNvSpPr>
                  <a:spLocks noChangeArrowheads="1"/>
                </p:cNvSpPr>
                <p:nvPr/>
              </p:nvSpPr>
              <p:spPr bwMode="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sz="1800">
                    <a:solidFill>
                      <a:srgbClr val="000000"/>
                    </a:solidFill>
                    <a:latin typeface="HY헤드라인M" pitchFamily="18" charset="-127"/>
                    <a:ea typeface="HY헤드라인M" pitchFamily="18" charset="-127"/>
                  </a:endParaRPr>
                </a:p>
              </p:txBody>
            </p:sp>
            <p:sp>
              <p:nvSpPr>
                <p:cNvPr id="70720" name="AutoShape 24"/>
                <p:cNvSpPr>
                  <a:spLocks noChangeArrowheads="1"/>
                </p:cNvSpPr>
                <p:nvPr/>
              </p:nvSpPr>
              <p:spPr bwMode="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sz="1800">
                    <a:solidFill>
                      <a:srgbClr val="000000"/>
                    </a:solidFill>
                    <a:latin typeface="HY헤드라인M" pitchFamily="18" charset="-127"/>
                    <a:ea typeface="HY헤드라인M" pitchFamily="18" charset="-127"/>
                  </a:endParaRPr>
                </a:p>
              </p:txBody>
            </p:sp>
            <p:sp>
              <p:nvSpPr>
                <p:cNvPr id="70721" name="AutoShape 25"/>
                <p:cNvSpPr>
                  <a:spLocks noChangeArrowheads="1"/>
                </p:cNvSpPr>
                <p:nvPr/>
              </p:nvSpPr>
              <p:spPr bwMode="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sz="1800">
                    <a:solidFill>
                      <a:srgbClr val="000000"/>
                    </a:solidFill>
                    <a:latin typeface="HY헤드라인M" pitchFamily="18" charset="-127"/>
                    <a:ea typeface="HY헤드라인M" pitchFamily="18" charset="-127"/>
                  </a:endParaRPr>
                </a:p>
              </p:txBody>
            </p:sp>
            <p:sp>
              <p:nvSpPr>
                <p:cNvPr id="70722" name="AutoShape 26"/>
                <p:cNvSpPr>
                  <a:spLocks noChangeArrowheads="1"/>
                </p:cNvSpPr>
                <p:nvPr/>
              </p:nvSpPr>
              <p:spPr bwMode="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sz="1800">
                    <a:solidFill>
                      <a:srgbClr val="000000"/>
                    </a:solidFill>
                    <a:latin typeface="HY헤드라인M" pitchFamily="18" charset="-127"/>
                    <a:ea typeface="HY헤드라인M" pitchFamily="18" charset="-127"/>
                  </a:endParaRPr>
                </a:p>
              </p:txBody>
            </p:sp>
          </p:grpSp>
        </p:grpSp>
        <p:sp>
          <p:nvSpPr>
            <p:cNvPr id="70715" name="Arc 27"/>
            <p:cNvSpPr>
              <a:spLocks/>
            </p:cNvSpPr>
            <p:nvPr/>
          </p:nvSpPr>
          <p:spPr bwMode="gray">
            <a:xfrm rot="3847716">
              <a:off x="1948" y="1107"/>
              <a:ext cx="196" cy="204"/>
            </a:xfrm>
            <a:custGeom>
              <a:avLst/>
              <a:gdLst>
                <a:gd name="T0" fmla="*/ 0 w 43200"/>
                <a:gd name="T1" fmla="*/ 0 h 43155"/>
                <a:gd name="T2" fmla="*/ 0 w 43200"/>
                <a:gd name="T3" fmla="*/ 0 h 43155"/>
                <a:gd name="T4" fmla="*/ 0 w 43200"/>
                <a:gd name="T5" fmla="*/ 0 h 43155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43200" h="43155" fill="none" extrusionOk="0">
                  <a:moveTo>
                    <a:pt x="3603" y="33544"/>
                  </a:moveTo>
                  <a:cubicBezTo>
                    <a:pt x="1253" y="30004"/>
                    <a:pt x="0" y="25849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2987"/>
                    <a:pt x="34359" y="42418"/>
                    <a:pt x="22995" y="43154"/>
                  </a:cubicBezTo>
                </a:path>
                <a:path w="43200" h="43155" stroke="0" extrusionOk="0">
                  <a:moveTo>
                    <a:pt x="3603" y="33544"/>
                  </a:moveTo>
                  <a:cubicBezTo>
                    <a:pt x="1253" y="30004"/>
                    <a:pt x="0" y="25849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2987"/>
                    <a:pt x="34359" y="42418"/>
                    <a:pt x="22995" y="43154"/>
                  </a:cubicBezTo>
                  <a:lnTo>
                    <a:pt x="21600" y="21600"/>
                  </a:lnTo>
                  <a:lnTo>
                    <a:pt x="3603" y="33544"/>
                  </a:lnTo>
                  <a:close/>
                </a:path>
              </a:pathLst>
            </a:custGeom>
            <a:noFill/>
            <a:ln w="12700">
              <a:solidFill>
                <a:srgbClr val="000000"/>
              </a:solidFill>
              <a:prstDash val="sysDot"/>
              <a:round/>
              <a:headEnd/>
              <a:tailEnd type="triangl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66CC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pic>
          <p:nvPicPr>
            <p:cNvPr id="70716" name="Picture 28" descr="light_shadow1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3740"/>
            <a:stretch>
              <a:fillRect/>
            </a:stretch>
          </p:blipFill>
          <p:spPr bwMode="gray">
            <a:xfrm rot="2569845" flipH="1">
              <a:off x="2015" y="1139"/>
              <a:ext cx="129" cy="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0665" name="Group 29"/>
          <p:cNvGrpSpPr>
            <a:grpSpLocks/>
          </p:cNvGrpSpPr>
          <p:nvPr/>
        </p:nvGrpSpPr>
        <p:grpSpPr bwMode="auto">
          <a:xfrm rot="4976862" flipH="1">
            <a:off x="3059113" y="3938615"/>
            <a:ext cx="323850" cy="311151"/>
            <a:chOff x="1944" y="1111"/>
            <a:chExt cx="204" cy="196"/>
          </a:xfrm>
        </p:grpSpPr>
        <p:pic>
          <p:nvPicPr>
            <p:cNvPr id="70693" name="Picture 30" descr="circuler_1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 flipH="1">
              <a:off x="1961" y="1124"/>
              <a:ext cx="174" cy="1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5" name="Oval 31"/>
            <p:cNvSpPr>
              <a:spLocks noChangeArrowheads="1"/>
            </p:cNvSpPr>
            <p:nvPr/>
          </p:nvSpPr>
          <p:spPr bwMode="gray">
            <a:xfrm flipH="1">
              <a:off x="1962" y="1124"/>
              <a:ext cx="173" cy="172"/>
            </a:xfrm>
            <a:prstGeom prst="ellipse">
              <a:avLst/>
            </a:prstGeom>
            <a:gradFill rotWithShape="1">
              <a:gsLst>
                <a:gs pos="0">
                  <a:srgbClr val="FFFF00">
                    <a:gamma/>
                    <a:shade val="46275"/>
                    <a:invGamma/>
                  </a:srgbClr>
                </a:gs>
                <a:gs pos="50000">
                  <a:srgbClr val="FFFF00">
                    <a:alpha val="50000"/>
                  </a:srgbClr>
                </a:gs>
                <a:gs pos="100000">
                  <a:srgbClr val="FFFF00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ko-KR" altLang="en-US" sz="180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endParaRPr>
            </a:p>
          </p:txBody>
        </p:sp>
        <p:grpSp>
          <p:nvGrpSpPr>
            <p:cNvPr id="70697" name="Group 32"/>
            <p:cNvGrpSpPr>
              <a:grpSpLocks/>
            </p:cNvGrpSpPr>
            <p:nvPr/>
          </p:nvGrpSpPr>
          <p:grpSpPr bwMode="auto">
            <a:xfrm rot="1297425" flipV="1">
              <a:off x="1971" y="1258"/>
              <a:ext cx="151" cy="37"/>
              <a:chOff x="2532" y="1051"/>
              <a:chExt cx="893" cy="246"/>
            </a:xfrm>
          </p:grpSpPr>
          <p:grpSp>
            <p:nvGrpSpPr>
              <p:cNvPr id="70700" name="Group 33"/>
              <p:cNvGrpSpPr>
                <a:grpSpLocks/>
              </p:cNvGrpSpPr>
              <p:nvPr/>
            </p:nvGrpSpPr>
            <p:grpSpPr bwMode="auto">
              <a:xfrm>
                <a:off x="2532" y="1051"/>
                <a:ext cx="743" cy="185"/>
                <a:chOff x="1565" y="2568"/>
                <a:chExt cx="1118" cy="279"/>
              </a:xfrm>
            </p:grpSpPr>
            <p:sp>
              <p:nvSpPr>
                <p:cNvPr id="70706" name="AutoShape 34"/>
                <p:cNvSpPr>
                  <a:spLocks noChangeArrowheads="1"/>
                </p:cNvSpPr>
                <p:nvPr/>
              </p:nvSpPr>
              <p:spPr bwMode="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sz="1800">
                    <a:solidFill>
                      <a:srgbClr val="000000"/>
                    </a:solidFill>
                    <a:latin typeface="HY헤드라인M" pitchFamily="18" charset="-127"/>
                    <a:ea typeface="HY헤드라인M" pitchFamily="18" charset="-127"/>
                  </a:endParaRPr>
                </a:p>
              </p:txBody>
            </p:sp>
            <p:sp>
              <p:nvSpPr>
                <p:cNvPr id="70707" name="AutoShape 35"/>
                <p:cNvSpPr>
                  <a:spLocks noChangeArrowheads="1"/>
                </p:cNvSpPr>
                <p:nvPr/>
              </p:nvSpPr>
              <p:spPr bwMode="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sz="1800">
                    <a:solidFill>
                      <a:srgbClr val="000000"/>
                    </a:solidFill>
                    <a:latin typeface="HY헤드라인M" pitchFamily="18" charset="-127"/>
                    <a:ea typeface="HY헤드라인M" pitchFamily="18" charset="-127"/>
                  </a:endParaRPr>
                </a:p>
              </p:txBody>
            </p:sp>
            <p:sp>
              <p:nvSpPr>
                <p:cNvPr id="70708" name="AutoShape 36"/>
                <p:cNvSpPr>
                  <a:spLocks noChangeArrowheads="1"/>
                </p:cNvSpPr>
                <p:nvPr/>
              </p:nvSpPr>
              <p:spPr bwMode="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sz="1800">
                    <a:solidFill>
                      <a:srgbClr val="000000"/>
                    </a:solidFill>
                    <a:latin typeface="HY헤드라인M" pitchFamily="18" charset="-127"/>
                    <a:ea typeface="HY헤드라인M" pitchFamily="18" charset="-127"/>
                  </a:endParaRPr>
                </a:p>
              </p:txBody>
            </p:sp>
            <p:sp>
              <p:nvSpPr>
                <p:cNvPr id="70709" name="AutoShape 37"/>
                <p:cNvSpPr>
                  <a:spLocks noChangeArrowheads="1"/>
                </p:cNvSpPr>
                <p:nvPr/>
              </p:nvSpPr>
              <p:spPr bwMode="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sz="1800">
                    <a:solidFill>
                      <a:srgbClr val="000000"/>
                    </a:solidFill>
                    <a:latin typeface="HY헤드라인M" pitchFamily="18" charset="-127"/>
                    <a:ea typeface="HY헤드라인M" pitchFamily="18" charset="-127"/>
                  </a:endParaRPr>
                </a:p>
              </p:txBody>
            </p:sp>
          </p:grpSp>
          <p:grpSp>
            <p:nvGrpSpPr>
              <p:cNvPr id="70701" name="Group 38"/>
              <p:cNvGrpSpPr>
                <a:grpSpLocks/>
              </p:cNvGrpSpPr>
              <p:nvPr/>
            </p:nvGrpSpPr>
            <p:grpSpPr bwMode="auto">
              <a:xfrm rot="1353540">
                <a:off x="2682" y="1111"/>
                <a:ext cx="743" cy="186"/>
                <a:chOff x="1565" y="2568"/>
                <a:chExt cx="1118" cy="279"/>
              </a:xfrm>
            </p:grpSpPr>
            <p:sp>
              <p:nvSpPr>
                <p:cNvPr id="70702" name="AutoShape 39"/>
                <p:cNvSpPr>
                  <a:spLocks noChangeArrowheads="1"/>
                </p:cNvSpPr>
                <p:nvPr/>
              </p:nvSpPr>
              <p:spPr bwMode="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sz="1800">
                    <a:solidFill>
                      <a:srgbClr val="000000"/>
                    </a:solidFill>
                    <a:latin typeface="HY헤드라인M" pitchFamily="18" charset="-127"/>
                    <a:ea typeface="HY헤드라인M" pitchFamily="18" charset="-127"/>
                  </a:endParaRPr>
                </a:p>
              </p:txBody>
            </p:sp>
            <p:sp>
              <p:nvSpPr>
                <p:cNvPr id="70703" name="AutoShape 40"/>
                <p:cNvSpPr>
                  <a:spLocks noChangeArrowheads="1"/>
                </p:cNvSpPr>
                <p:nvPr/>
              </p:nvSpPr>
              <p:spPr bwMode="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sz="1800">
                    <a:solidFill>
                      <a:srgbClr val="000000"/>
                    </a:solidFill>
                    <a:latin typeface="HY헤드라인M" pitchFamily="18" charset="-127"/>
                    <a:ea typeface="HY헤드라인M" pitchFamily="18" charset="-127"/>
                  </a:endParaRPr>
                </a:p>
              </p:txBody>
            </p:sp>
            <p:sp>
              <p:nvSpPr>
                <p:cNvPr id="70704" name="AutoShape 41"/>
                <p:cNvSpPr>
                  <a:spLocks noChangeArrowheads="1"/>
                </p:cNvSpPr>
                <p:nvPr/>
              </p:nvSpPr>
              <p:spPr bwMode="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sz="1800">
                    <a:solidFill>
                      <a:srgbClr val="000000"/>
                    </a:solidFill>
                    <a:latin typeface="HY헤드라인M" pitchFamily="18" charset="-127"/>
                    <a:ea typeface="HY헤드라인M" pitchFamily="18" charset="-127"/>
                  </a:endParaRPr>
                </a:p>
              </p:txBody>
            </p:sp>
            <p:sp>
              <p:nvSpPr>
                <p:cNvPr id="70705" name="AutoShape 42"/>
                <p:cNvSpPr>
                  <a:spLocks noChangeArrowheads="1"/>
                </p:cNvSpPr>
                <p:nvPr/>
              </p:nvSpPr>
              <p:spPr bwMode="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sz="1800">
                    <a:solidFill>
                      <a:srgbClr val="000000"/>
                    </a:solidFill>
                    <a:latin typeface="HY헤드라인M" pitchFamily="18" charset="-127"/>
                    <a:ea typeface="HY헤드라인M" pitchFamily="18" charset="-127"/>
                  </a:endParaRPr>
                </a:p>
              </p:txBody>
            </p:sp>
          </p:grpSp>
        </p:grpSp>
        <p:sp>
          <p:nvSpPr>
            <p:cNvPr id="70698" name="Arc 43"/>
            <p:cNvSpPr>
              <a:spLocks/>
            </p:cNvSpPr>
            <p:nvPr/>
          </p:nvSpPr>
          <p:spPr bwMode="gray">
            <a:xfrm rot="3847716">
              <a:off x="1948" y="1107"/>
              <a:ext cx="196" cy="204"/>
            </a:xfrm>
            <a:custGeom>
              <a:avLst/>
              <a:gdLst>
                <a:gd name="T0" fmla="*/ 0 w 43200"/>
                <a:gd name="T1" fmla="*/ 0 h 43155"/>
                <a:gd name="T2" fmla="*/ 0 w 43200"/>
                <a:gd name="T3" fmla="*/ 0 h 43155"/>
                <a:gd name="T4" fmla="*/ 0 w 43200"/>
                <a:gd name="T5" fmla="*/ 0 h 43155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43200" h="43155" fill="none" extrusionOk="0">
                  <a:moveTo>
                    <a:pt x="3603" y="33544"/>
                  </a:moveTo>
                  <a:cubicBezTo>
                    <a:pt x="1253" y="30004"/>
                    <a:pt x="0" y="25849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2987"/>
                    <a:pt x="34359" y="42418"/>
                    <a:pt x="22995" y="43154"/>
                  </a:cubicBezTo>
                </a:path>
                <a:path w="43200" h="43155" stroke="0" extrusionOk="0">
                  <a:moveTo>
                    <a:pt x="3603" y="33544"/>
                  </a:moveTo>
                  <a:cubicBezTo>
                    <a:pt x="1253" y="30004"/>
                    <a:pt x="0" y="25849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2987"/>
                    <a:pt x="34359" y="42418"/>
                    <a:pt x="22995" y="43154"/>
                  </a:cubicBezTo>
                  <a:lnTo>
                    <a:pt x="21600" y="21600"/>
                  </a:lnTo>
                  <a:lnTo>
                    <a:pt x="3603" y="33544"/>
                  </a:lnTo>
                  <a:close/>
                </a:path>
              </a:pathLst>
            </a:custGeom>
            <a:noFill/>
            <a:ln w="12700">
              <a:solidFill>
                <a:srgbClr val="000000"/>
              </a:solidFill>
              <a:prstDash val="sysDot"/>
              <a:round/>
              <a:headEnd/>
              <a:tailEnd type="triangl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66CC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pic>
          <p:nvPicPr>
            <p:cNvPr id="70699" name="Picture 44" descr="light_shadow1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3740"/>
            <a:stretch>
              <a:fillRect/>
            </a:stretch>
          </p:blipFill>
          <p:spPr bwMode="gray">
            <a:xfrm rot="2569845" flipH="1">
              <a:off x="2015" y="1139"/>
              <a:ext cx="129" cy="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0666" name="Group 45"/>
          <p:cNvGrpSpPr>
            <a:grpSpLocks/>
          </p:cNvGrpSpPr>
          <p:nvPr/>
        </p:nvGrpSpPr>
        <p:grpSpPr bwMode="auto">
          <a:xfrm rot="4976862" flipH="1">
            <a:off x="5032375" y="6384951"/>
            <a:ext cx="323850" cy="311151"/>
            <a:chOff x="1944" y="1111"/>
            <a:chExt cx="204" cy="196"/>
          </a:xfrm>
        </p:grpSpPr>
        <p:pic>
          <p:nvPicPr>
            <p:cNvPr id="70676" name="Picture 46" descr="circuler_1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 flipH="1">
              <a:off x="1961" y="1124"/>
              <a:ext cx="174" cy="17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1" name="Oval 47"/>
            <p:cNvSpPr>
              <a:spLocks noChangeArrowheads="1"/>
            </p:cNvSpPr>
            <p:nvPr/>
          </p:nvSpPr>
          <p:spPr bwMode="gray">
            <a:xfrm flipH="1">
              <a:off x="1962" y="1124"/>
              <a:ext cx="173" cy="172"/>
            </a:xfrm>
            <a:prstGeom prst="ellipse">
              <a:avLst/>
            </a:prstGeom>
            <a:gradFill rotWithShape="1">
              <a:gsLst>
                <a:gs pos="0">
                  <a:srgbClr val="FFFF00">
                    <a:gamma/>
                    <a:shade val="46275"/>
                    <a:invGamma/>
                  </a:srgbClr>
                </a:gs>
                <a:gs pos="50000">
                  <a:srgbClr val="FFFF00">
                    <a:alpha val="50000"/>
                  </a:srgbClr>
                </a:gs>
                <a:gs pos="100000">
                  <a:srgbClr val="FFFF00">
                    <a:gamma/>
                    <a:shade val="46275"/>
                    <a:invGamma/>
                  </a:srgbClr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>
                <a:defRPr/>
              </a:pPr>
              <a:endParaRPr lang="ko-KR" altLang="en-US" sz="180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endParaRPr>
            </a:p>
          </p:txBody>
        </p:sp>
        <p:grpSp>
          <p:nvGrpSpPr>
            <p:cNvPr id="70680" name="Group 48"/>
            <p:cNvGrpSpPr>
              <a:grpSpLocks/>
            </p:cNvGrpSpPr>
            <p:nvPr/>
          </p:nvGrpSpPr>
          <p:grpSpPr bwMode="auto">
            <a:xfrm rot="1297425" flipV="1">
              <a:off x="1971" y="1258"/>
              <a:ext cx="151" cy="37"/>
              <a:chOff x="2532" y="1051"/>
              <a:chExt cx="893" cy="246"/>
            </a:xfrm>
          </p:grpSpPr>
          <p:grpSp>
            <p:nvGrpSpPr>
              <p:cNvPr id="70683" name="Group 49"/>
              <p:cNvGrpSpPr>
                <a:grpSpLocks/>
              </p:cNvGrpSpPr>
              <p:nvPr/>
            </p:nvGrpSpPr>
            <p:grpSpPr bwMode="auto">
              <a:xfrm>
                <a:off x="2532" y="1051"/>
                <a:ext cx="743" cy="185"/>
                <a:chOff x="1565" y="2568"/>
                <a:chExt cx="1118" cy="279"/>
              </a:xfrm>
            </p:grpSpPr>
            <p:sp>
              <p:nvSpPr>
                <p:cNvPr id="70689" name="AutoShape 50"/>
                <p:cNvSpPr>
                  <a:spLocks noChangeArrowheads="1"/>
                </p:cNvSpPr>
                <p:nvPr/>
              </p:nvSpPr>
              <p:spPr bwMode="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sz="1800">
                    <a:solidFill>
                      <a:srgbClr val="000000"/>
                    </a:solidFill>
                    <a:latin typeface="HY헤드라인M" pitchFamily="18" charset="-127"/>
                    <a:ea typeface="HY헤드라인M" pitchFamily="18" charset="-127"/>
                  </a:endParaRPr>
                </a:p>
              </p:txBody>
            </p:sp>
            <p:sp>
              <p:nvSpPr>
                <p:cNvPr id="70690" name="AutoShape 51"/>
                <p:cNvSpPr>
                  <a:spLocks noChangeArrowheads="1"/>
                </p:cNvSpPr>
                <p:nvPr/>
              </p:nvSpPr>
              <p:spPr bwMode="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sz="1800">
                    <a:solidFill>
                      <a:srgbClr val="000000"/>
                    </a:solidFill>
                    <a:latin typeface="HY헤드라인M" pitchFamily="18" charset="-127"/>
                    <a:ea typeface="HY헤드라인M" pitchFamily="18" charset="-127"/>
                  </a:endParaRPr>
                </a:p>
              </p:txBody>
            </p:sp>
            <p:sp>
              <p:nvSpPr>
                <p:cNvPr id="70691" name="AutoShape 52"/>
                <p:cNvSpPr>
                  <a:spLocks noChangeArrowheads="1"/>
                </p:cNvSpPr>
                <p:nvPr/>
              </p:nvSpPr>
              <p:spPr bwMode="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sz="1800">
                    <a:solidFill>
                      <a:srgbClr val="000000"/>
                    </a:solidFill>
                    <a:latin typeface="HY헤드라인M" pitchFamily="18" charset="-127"/>
                    <a:ea typeface="HY헤드라인M" pitchFamily="18" charset="-127"/>
                  </a:endParaRPr>
                </a:p>
              </p:txBody>
            </p:sp>
            <p:sp>
              <p:nvSpPr>
                <p:cNvPr id="70692" name="AutoShape 53"/>
                <p:cNvSpPr>
                  <a:spLocks noChangeArrowheads="1"/>
                </p:cNvSpPr>
                <p:nvPr/>
              </p:nvSpPr>
              <p:spPr bwMode="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sz="1800">
                    <a:solidFill>
                      <a:srgbClr val="000000"/>
                    </a:solidFill>
                    <a:latin typeface="HY헤드라인M" pitchFamily="18" charset="-127"/>
                    <a:ea typeface="HY헤드라인M" pitchFamily="18" charset="-127"/>
                  </a:endParaRPr>
                </a:p>
              </p:txBody>
            </p:sp>
          </p:grpSp>
          <p:grpSp>
            <p:nvGrpSpPr>
              <p:cNvPr id="70684" name="Group 54"/>
              <p:cNvGrpSpPr>
                <a:grpSpLocks/>
              </p:cNvGrpSpPr>
              <p:nvPr/>
            </p:nvGrpSpPr>
            <p:grpSpPr bwMode="auto">
              <a:xfrm rot="1353540">
                <a:off x="2682" y="1111"/>
                <a:ext cx="743" cy="186"/>
                <a:chOff x="1565" y="2568"/>
                <a:chExt cx="1118" cy="279"/>
              </a:xfrm>
            </p:grpSpPr>
            <p:sp>
              <p:nvSpPr>
                <p:cNvPr id="70685" name="AutoShape 55"/>
                <p:cNvSpPr>
                  <a:spLocks noChangeArrowheads="1"/>
                </p:cNvSpPr>
                <p:nvPr/>
              </p:nvSpPr>
              <p:spPr bwMode="gray">
                <a:xfrm rot="5263130">
                  <a:off x="1859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sz="1800">
                    <a:solidFill>
                      <a:srgbClr val="000000"/>
                    </a:solidFill>
                    <a:latin typeface="HY헤드라인M" pitchFamily="18" charset="-127"/>
                    <a:ea typeface="HY헤드라인M" pitchFamily="18" charset="-127"/>
                  </a:endParaRPr>
                </a:p>
              </p:txBody>
            </p:sp>
            <p:sp>
              <p:nvSpPr>
                <p:cNvPr id="70686" name="AutoShape 56"/>
                <p:cNvSpPr>
                  <a:spLocks noChangeArrowheads="1"/>
                </p:cNvSpPr>
                <p:nvPr/>
              </p:nvSpPr>
              <p:spPr bwMode="gray">
                <a:xfrm rot="6078281">
                  <a:off x="1995" y="2274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sz="1800">
                    <a:solidFill>
                      <a:srgbClr val="000000"/>
                    </a:solidFill>
                    <a:latin typeface="HY헤드라인M" pitchFamily="18" charset="-127"/>
                    <a:ea typeface="HY헤드라인M" pitchFamily="18" charset="-127"/>
                  </a:endParaRPr>
                </a:p>
              </p:txBody>
            </p:sp>
            <p:sp>
              <p:nvSpPr>
                <p:cNvPr id="70687" name="AutoShape 57"/>
                <p:cNvSpPr>
                  <a:spLocks noChangeArrowheads="1"/>
                </p:cNvSpPr>
                <p:nvPr/>
              </p:nvSpPr>
              <p:spPr bwMode="gray">
                <a:xfrm rot="6373927">
                  <a:off x="2071" y="229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sz="1800">
                    <a:solidFill>
                      <a:srgbClr val="000000"/>
                    </a:solidFill>
                    <a:latin typeface="HY헤드라인M" pitchFamily="18" charset="-127"/>
                    <a:ea typeface="HY헤드라인M" pitchFamily="18" charset="-127"/>
                  </a:endParaRPr>
                </a:p>
              </p:txBody>
            </p:sp>
            <p:sp>
              <p:nvSpPr>
                <p:cNvPr id="70688" name="AutoShape 58"/>
                <p:cNvSpPr>
                  <a:spLocks noChangeArrowheads="1"/>
                </p:cNvSpPr>
                <p:nvPr/>
              </p:nvSpPr>
              <p:spPr bwMode="gray">
                <a:xfrm rot="6906312">
                  <a:off x="2161" y="2326"/>
                  <a:ext cx="227" cy="816"/>
                </a:xfrm>
                <a:prstGeom prst="moon">
                  <a:avLst>
                    <a:gd name="adj" fmla="val 49773"/>
                  </a:avLst>
                </a:prstGeom>
                <a:solidFill>
                  <a:srgbClr val="FFFFFF">
                    <a:alpha val="3922"/>
                  </a:srgbClr>
                </a:solidFill>
                <a:ln>
                  <a:noFill/>
                </a:ln>
                <a:effectLst/>
                <a:extLst>
                  <a:ext uri="{91240B29-F687-4F45-9708-019B960494DF}">
                    <a14:hiddenLine xmlns:a14="http://schemas.microsoft.com/office/drawing/2010/main" w="9525">
                      <a:solidFill>
                        <a:schemeClr val="tx1"/>
                      </a:solidFill>
                      <a:miter lim="800000"/>
                      <a:headEnd/>
                      <a:tailEnd/>
                    </a14:hiddenLine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chemeClr val="bg2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ko-KR" altLang="en-US" sz="1800">
                    <a:solidFill>
                      <a:srgbClr val="000000"/>
                    </a:solidFill>
                    <a:latin typeface="HY헤드라인M" pitchFamily="18" charset="-127"/>
                    <a:ea typeface="HY헤드라인M" pitchFamily="18" charset="-127"/>
                  </a:endParaRPr>
                </a:p>
              </p:txBody>
            </p:sp>
          </p:grpSp>
        </p:grpSp>
        <p:sp>
          <p:nvSpPr>
            <p:cNvPr id="70681" name="Arc 59"/>
            <p:cNvSpPr>
              <a:spLocks/>
            </p:cNvSpPr>
            <p:nvPr/>
          </p:nvSpPr>
          <p:spPr bwMode="gray">
            <a:xfrm rot="3847716">
              <a:off x="1948" y="1107"/>
              <a:ext cx="196" cy="204"/>
            </a:xfrm>
            <a:custGeom>
              <a:avLst/>
              <a:gdLst>
                <a:gd name="T0" fmla="*/ 0 w 43200"/>
                <a:gd name="T1" fmla="*/ 0 h 43155"/>
                <a:gd name="T2" fmla="*/ 0 w 43200"/>
                <a:gd name="T3" fmla="*/ 0 h 43155"/>
                <a:gd name="T4" fmla="*/ 0 w 43200"/>
                <a:gd name="T5" fmla="*/ 0 h 43155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43200" h="43155" fill="none" extrusionOk="0">
                  <a:moveTo>
                    <a:pt x="3603" y="33544"/>
                  </a:moveTo>
                  <a:cubicBezTo>
                    <a:pt x="1253" y="30004"/>
                    <a:pt x="0" y="25849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2987"/>
                    <a:pt x="34359" y="42418"/>
                    <a:pt x="22995" y="43154"/>
                  </a:cubicBezTo>
                </a:path>
                <a:path w="43200" h="43155" stroke="0" extrusionOk="0">
                  <a:moveTo>
                    <a:pt x="3603" y="33544"/>
                  </a:moveTo>
                  <a:cubicBezTo>
                    <a:pt x="1253" y="30004"/>
                    <a:pt x="0" y="25849"/>
                    <a:pt x="0" y="21600"/>
                  </a:cubicBezTo>
                  <a:cubicBezTo>
                    <a:pt x="0" y="9670"/>
                    <a:pt x="9670" y="0"/>
                    <a:pt x="21600" y="0"/>
                  </a:cubicBezTo>
                  <a:cubicBezTo>
                    <a:pt x="33529" y="0"/>
                    <a:pt x="43200" y="9670"/>
                    <a:pt x="43200" y="21600"/>
                  </a:cubicBezTo>
                  <a:cubicBezTo>
                    <a:pt x="43200" y="32987"/>
                    <a:pt x="34359" y="42418"/>
                    <a:pt x="22995" y="43154"/>
                  </a:cubicBezTo>
                  <a:lnTo>
                    <a:pt x="21600" y="21600"/>
                  </a:lnTo>
                  <a:lnTo>
                    <a:pt x="3603" y="33544"/>
                  </a:lnTo>
                  <a:close/>
                </a:path>
              </a:pathLst>
            </a:custGeom>
            <a:noFill/>
            <a:ln w="12700">
              <a:solidFill>
                <a:srgbClr val="000000"/>
              </a:solidFill>
              <a:prstDash val="sysDot"/>
              <a:round/>
              <a:headEnd/>
              <a:tailEnd type="triangle" w="sm" len="sm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0066CC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ko-KR" altLang="en-US"/>
            </a:p>
          </p:txBody>
        </p:sp>
        <p:pic>
          <p:nvPicPr>
            <p:cNvPr id="70682" name="Picture 60" descr="light_shadow1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3740"/>
            <a:stretch>
              <a:fillRect/>
            </a:stretch>
          </p:blipFill>
          <p:spPr bwMode="gray">
            <a:xfrm rot="2569845" flipH="1">
              <a:off x="2015" y="1139"/>
              <a:ext cx="129" cy="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70667" name="Text Box 61"/>
          <p:cNvSpPr txBox="1">
            <a:spLocks noChangeArrowheads="1"/>
          </p:cNvSpPr>
          <p:nvPr/>
        </p:nvSpPr>
        <p:spPr bwMode="gray">
          <a:xfrm>
            <a:off x="3504931" y="4057664"/>
            <a:ext cx="1261044" cy="4150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292929"/>
                  </a:outerShdw>
                </a:effectLst>
              </a14:hiddenEffects>
            </a:ext>
          </a:extLst>
        </p:spPr>
        <p:txBody>
          <a:bodyPr wrap="none" lIns="91024" tIns="45513" rIns="91024" bIns="45513">
            <a:spAutoFit/>
          </a:bodyPr>
          <a:lstStyle/>
          <a:p>
            <a:pPr algn="ctr"/>
            <a:r>
              <a:rPr lang="ko-KR" altLang="en-US" sz="2100">
                <a:solidFill>
                  <a:srgbClr val="EEECE1"/>
                </a:solidFill>
                <a:latin typeface="HY헤드라인M" pitchFamily="18" charset="-127"/>
                <a:ea typeface="HY헤드라인M" pitchFamily="18" charset="-127"/>
              </a:rPr>
              <a:t>혈통관리</a:t>
            </a:r>
            <a:endParaRPr lang="en-US" altLang="ko-KR" sz="2100">
              <a:solidFill>
                <a:srgbClr val="EEECE1"/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70668" name="Text Box 62"/>
          <p:cNvSpPr txBox="1">
            <a:spLocks noChangeArrowheads="1"/>
          </p:cNvSpPr>
          <p:nvPr/>
        </p:nvSpPr>
        <p:spPr bwMode="gray">
          <a:xfrm>
            <a:off x="5074177" y="4057664"/>
            <a:ext cx="1261044" cy="4150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292929"/>
                  </a:outerShdw>
                </a:effectLst>
              </a14:hiddenEffects>
            </a:ext>
          </a:extLst>
        </p:spPr>
        <p:txBody>
          <a:bodyPr wrap="none" lIns="91024" tIns="45513" rIns="91024" bIns="45513">
            <a:spAutoFit/>
          </a:bodyPr>
          <a:lstStyle/>
          <a:p>
            <a:pPr algn="ctr"/>
            <a:r>
              <a:rPr lang="ko-KR" altLang="en-US" sz="2100">
                <a:solidFill>
                  <a:srgbClr val="EEECE1"/>
                </a:solidFill>
                <a:latin typeface="HY헤드라인M" pitchFamily="18" charset="-127"/>
                <a:ea typeface="HY헤드라인M" pitchFamily="18" charset="-127"/>
              </a:rPr>
              <a:t>유전평가</a:t>
            </a:r>
            <a:endParaRPr lang="en-US" altLang="ko-KR" sz="2100">
              <a:solidFill>
                <a:srgbClr val="EEECE1"/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70669" name="Text Box 63"/>
          <p:cNvSpPr txBox="1">
            <a:spLocks noChangeArrowheads="1"/>
          </p:cNvSpPr>
          <p:nvPr/>
        </p:nvSpPr>
        <p:spPr bwMode="gray">
          <a:xfrm>
            <a:off x="4583637" y="5559442"/>
            <a:ext cx="1261044" cy="4150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292929"/>
                  </a:outerShdw>
                </a:effectLst>
              </a14:hiddenEffects>
            </a:ext>
          </a:extLst>
        </p:spPr>
        <p:txBody>
          <a:bodyPr wrap="none" lIns="91024" tIns="45513" rIns="91024" bIns="45513">
            <a:spAutoFit/>
          </a:bodyPr>
          <a:lstStyle/>
          <a:p>
            <a:pPr algn="ctr"/>
            <a:r>
              <a:rPr lang="ko-KR" altLang="en-US" sz="2100">
                <a:solidFill>
                  <a:srgbClr val="EEECE1"/>
                </a:solidFill>
                <a:latin typeface="HY헤드라인M" pitchFamily="18" charset="-127"/>
                <a:ea typeface="HY헤드라인M" pitchFamily="18" charset="-127"/>
              </a:rPr>
              <a:t>계획교배</a:t>
            </a:r>
            <a:endParaRPr lang="en-US" altLang="ko-KR" sz="2100">
              <a:solidFill>
                <a:srgbClr val="EEECE1"/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68" name="AutoShape 64"/>
          <p:cNvSpPr>
            <a:spLocks/>
          </p:cNvSpPr>
          <p:nvPr/>
        </p:nvSpPr>
        <p:spPr bwMode="auto">
          <a:xfrm>
            <a:off x="7343804" y="3081338"/>
            <a:ext cx="2163763" cy="712787"/>
          </a:xfrm>
          <a:prstGeom prst="accentCallout2">
            <a:avLst>
              <a:gd name="adj1" fmla="val 31167"/>
              <a:gd name="adj2" fmla="val -5046"/>
              <a:gd name="adj3" fmla="val 31167"/>
              <a:gd name="adj4" fmla="val -38907"/>
              <a:gd name="adj5" fmla="val 77061"/>
              <a:gd name="adj6" fmla="val -52469"/>
            </a:avLst>
          </a:prstGeom>
          <a:noFill/>
          <a:ln w="9525">
            <a:solidFill>
              <a:srgbClr val="4F81BD"/>
            </a:solidFill>
            <a:miter lim="800000"/>
            <a:headEnd/>
            <a:tailEnd type="diamond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CC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024" tIns="45513" rIns="91024" bIns="45513" anchor="ctr"/>
          <a:lstStyle/>
          <a:p>
            <a:pPr eaLnBrk="0" fontAlgn="auto" hangingPunct="0">
              <a:spcAft>
                <a:spcPts val="0"/>
              </a:spcAft>
              <a:defRPr/>
            </a:pPr>
            <a:r>
              <a:rPr lang="ko-KR" altLang="en-US" sz="1600" kern="0" dirty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개체 장단점 파악</a:t>
            </a:r>
            <a:endParaRPr lang="en-US" altLang="ko-KR" sz="1600" kern="0" dirty="0">
              <a:solidFill>
                <a:prstClr val="black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pPr eaLnBrk="0" fontAlgn="auto" hangingPunct="0">
              <a:spcAft>
                <a:spcPts val="0"/>
              </a:spcAft>
              <a:defRPr/>
            </a:pPr>
            <a:r>
              <a:rPr lang="ko-KR" altLang="en-US" sz="1600" kern="0" dirty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선발</a:t>
            </a:r>
            <a:r>
              <a:rPr lang="en-US" altLang="ko-KR" sz="1600" kern="0" dirty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, </a:t>
            </a:r>
            <a:r>
              <a:rPr lang="ko-KR" altLang="en-US" sz="1600" kern="0" dirty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도태의 기준</a:t>
            </a:r>
            <a:endParaRPr lang="en-US" altLang="ko-KR" sz="1600" kern="0" dirty="0">
              <a:solidFill>
                <a:prstClr val="black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pPr eaLnBrk="0" fontAlgn="auto" hangingPunct="0">
              <a:spcAft>
                <a:spcPts val="0"/>
              </a:spcAft>
              <a:defRPr/>
            </a:pPr>
            <a:r>
              <a:rPr lang="ko-KR" altLang="en-US" sz="1600" kern="0" dirty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계획교배의 필수단계</a:t>
            </a:r>
            <a:endParaRPr lang="en-US" altLang="ko-KR" sz="1600" kern="0" dirty="0">
              <a:solidFill>
                <a:prstClr val="black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69" name="AutoShape 65"/>
          <p:cNvSpPr>
            <a:spLocks/>
          </p:cNvSpPr>
          <p:nvPr/>
        </p:nvSpPr>
        <p:spPr bwMode="auto">
          <a:xfrm>
            <a:off x="6405563" y="6226176"/>
            <a:ext cx="2778125" cy="795338"/>
          </a:xfrm>
          <a:prstGeom prst="accentCallout2">
            <a:avLst>
              <a:gd name="adj1" fmla="val 31167"/>
              <a:gd name="adj2" fmla="val -5046"/>
              <a:gd name="adj3" fmla="val 31167"/>
              <a:gd name="adj4" fmla="val -38907"/>
              <a:gd name="adj5" fmla="val 48370"/>
              <a:gd name="adj6" fmla="val -51901"/>
            </a:avLst>
          </a:prstGeom>
          <a:noFill/>
          <a:ln w="9525">
            <a:solidFill>
              <a:srgbClr val="4F81BD"/>
            </a:solidFill>
            <a:miter lim="800000"/>
            <a:headEnd/>
            <a:tailEnd type="diamond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CC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024" tIns="45513" rIns="91024" bIns="45513" anchor="ctr"/>
          <a:lstStyle/>
          <a:p>
            <a:pPr eaLnBrk="0" fontAlgn="auto" hangingPunct="0">
              <a:spcAft>
                <a:spcPts val="0"/>
              </a:spcAft>
              <a:defRPr/>
            </a:pPr>
            <a:r>
              <a:rPr lang="ko-KR" altLang="en-US" sz="1600" kern="0" dirty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최종 선발된 </a:t>
            </a:r>
            <a:r>
              <a:rPr lang="ko-KR" altLang="en-US" sz="1600" kern="0" dirty="0" err="1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가임암소에</a:t>
            </a:r>
            <a:endParaRPr lang="en-US" altLang="ko-KR" sz="1600" kern="0" dirty="0">
              <a:solidFill>
                <a:prstClr val="black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pPr eaLnBrk="0" fontAlgn="auto" hangingPunct="0">
              <a:spcAft>
                <a:spcPts val="0"/>
              </a:spcAft>
              <a:defRPr/>
            </a:pPr>
            <a:r>
              <a:rPr lang="ko-KR" altLang="en-US" sz="1600" kern="0" dirty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계획적인 교배를 실시하여</a:t>
            </a:r>
            <a:endParaRPr lang="en-US" altLang="ko-KR" sz="1600" kern="0" dirty="0">
              <a:solidFill>
                <a:prstClr val="black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pPr eaLnBrk="0" fontAlgn="auto" hangingPunct="0">
              <a:spcAft>
                <a:spcPts val="0"/>
              </a:spcAft>
              <a:defRPr/>
            </a:pPr>
            <a:r>
              <a:rPr lang="ko-KR" altLang="en-US" sz="1600" kern="0" dirty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우량 송아지 생산</a:t>
            </a:r>
            <a:endParaRPr lang="en-US" altLang="ko-KR" sz="1600" kern="0" dirty="0">
              <a:solidFill>
                <a:prstClr val="black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70" name="AutoShape 66"/>
          <p:cNvSpPr>
            <a:spLocks/>
          </p:cNvSpPr>
          <p:nvPr/>
        </p:nvSpPr>
        <p:spPr bwMode="auto">
          <a:xfrm>
            <a:off x="361951" y="4364043"/>
            <a:ext cx="2016125" cy="585787"/>
          </a:xfrm>
          <a:prstGeom prst="accentCallout2">
            <a:avLst>
              <a:gd name="adj1" fmla="val 31167"/>
              <a:gd name="adj2" fmla="val 105046"/>
              <a:gd name="adj3" fmla="val 11288"/>
              <a:gd name="adj4" fmla="val 116513"/>
              <a:gd name="adj5" fmla="val -42315"/>
              <a:gd name="adj6" fmla="val 139053"/>
            </a:avLst>
          </a:prstGeom>
          <a:noFill/>
          <a:ln w="9525">
            <a:solidFill>
              <a:srgbClr val="4F81BD"/>
            </a:solidFill>
            <a:miter lim="800000"/>
            <a:headEnd/>
            <a:tailEnd type="diamond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CCCC00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024" tIns="45513" rIns="91024" bIns="45513" anchor="ctr"/>
          <a:lstStyle/>
          <a:p>
            <a:pPr eaLnBrk="0" fontAlgn="auto" hangingPunct="0">
              <a:spcAft>
                <a:spcPts val="0"/>
              </a:spcAft>
              <a:defRPr/>
            </a:pPr>
            <a:r>
              <a:rPr lang="ko-KR" altLang="en-US" sz="1600" kern="0" dirty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혈통자료</a:t>
            </a:r>
            <a:r>
              <a:rPr lang="en-US" altLang="ko-KR" sz="1600" kern="0" dirty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,</a:t>
            </a:r>
          </a:p>
          <a:p>
            <a:pPr eaLnBrk="0" fontAlgn="auto" hangingPunct="0">
              <a:spcAft>
                <a:spcPts val="0"/>
              </a:spcAft>
              <a:defRPr/>
            </a:pPr>
            <a:r>
              <a:rPr lang="ko-KR" altLang="en-US" sz="1600" kern="0" dirty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등록자료</a:t>
            </a:r>
            <a:r>
              <a:rPr lang="en-US" altLang="ko-KR" sz="1600" kern="0" dirty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(</a:t>
            </a:r>
            <a:r>
              <a:rPr lang="ko-KR" altLang="en-US" sz="1600" kern="0" dirty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환경효과</a:t>
            </a:r>
            <a:r>
              <a:rPr lang="en-US" altLang="ko-KR" sz="1600" kern="0" dirty="0">
                <a:solidFill>
                  <a:prstClr val="black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) </a:t>
            </a:r>
          </a:p>
        </p:txBody>
      </p:sp>
      <p:graphicFrame>
        <p:nvGraphicFramePr>
          <p:cNvPr id="71" name="표 70"/>
          <p:cNvGraphicFramePr>
            <a:graphicFrameLocks noGrp="1"/>
          </p:cNvGraphicFramePr>
          <p:nvPr/>
        </p:nvGraphicFramePr>
        <p:xfrm>
          <a:off x="0" y="0"/>
          <a:ext cx="10693400" cy="757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7238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T="45672" marB="4567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73" name="Text Box 8"/>
          <p:cNvSpPr txBox="1">
            <a:spLocks noChangeArrowheads="1"/>
          </p:cNvSpPr>
          <p:nvPr/>
        </p:nvSpPr>
        <p:spPr bwMode="auto">
          <a:xfrm>
            <a:off x="3" y="217488"/>
            <a:ext cx="6877050" cy="446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86683" tIns="0" rIns="0" bIns="0">
            <a:spAutoFit/>
          </a:bodyPr>
          <a:lstStyle>
            <a:defPPr>
              <a:defRPr lang="en-US"/>
            </a:defPPr>
            <a:lvl1pPr>
              <a:defRPr sz="2900" b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defRPr>
            </a:lvl1pPr>
          </a:lstStyle>
          <a:p>
            <a:pPr>
              <a:defRPr/>
            </a:pPr>
            <a:r>
              <a:rPr lang="en-US" altLang="ko-KR" dirty="0"/>
              <a:t>4. </a:t>
            </a:r>
            <a:r>
              <a:rPr lang="ko-KR" altLang="en-US" dirty="0" smtClean="0"/>
              <a:t>암소개량방법</a:t>
            </a:r>
            <a:endParaRPr lang="ko-KR" altLang="en-US" dirty="0"/>
          </a:p>
        </p:txBody>
      </p:sp>
    </p:spTree>
    <p:extLst>
      <p:ext uri="{BB962C8B-B14F-4D97-AF65-F5344CB8AC3E}">
        <p14:creationId xmlns:p14="http://schemas.microsoft.com/office/powerpoint/2010/main" val="2670868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 txBox="1">
            <a:spLocks noChangeArrowheads="1"/>
          </p:cNvSpPr>
          <p:nvPr/>
        </p:nvSpPr>
        <p:spPr>
          <a:xfrm>
            <a:off x="1219201" y="117475"/>
            <a:ext cx="8137525" cy="696913"/>
          </a:xfrm>
          <a:prstGeom prst="rect">
            <a:avLst/>
          </a:prstGeom>
        </p:spPr>
        <p:txBody>
          <a:bodyPr lIns="91024" tIns="45513" rIns="91024" bIns="45513"/>
          <a:lstStyle>
            <a:lvl1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48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48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charset="0"/>
              </a:defRPr>
            </a:lvl2pPr>
            <a:lvl3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48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charset="0"/>
              </a:defRPr>
            </a:lvl3pPr>
            <a:lvl4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48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charset="0"/>
              </a:defRPr>
            </a:lvl4pPr>
            <a:lvl5pPr algn="l" rtl="0" eaLnBrk="0" fontAlgn="base" latinLnBrk="1" hangingPunct="0">
              <a:spcBef>
                <a:spcPct val="0"/>
              </a:spcBef>
              <a:spcAft>
                <a:spcPct val="0"/>
              </a:spcAft>
              <a:defRPr kumimoji="1" sz="4800" b="1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charset="0"/>
              </a:defRPr>
            </a:lvl5pPr>
            <a:lvl6pPr marL="497845" algn="l" rtl="0" fontAlgn="base" latinLnBrk="1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charset="0"/>
              </a:defRPr>
            </a:lvl6pPr>
            <a:lvl7pPr marL="995690" algn="l" rtl="0" fontAlgn="base" latinLnBrk="1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charset="0"/>
              </a:defRPr>
            </a:lvl7pPr>
            <a:lvl8pPr marL="1493535" algn="l" rtl="0" fontAlgn="base" latinLnBrk="1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charset="0"/>
              </a:defRPr>
            </a:lvl8pPr>
            <a:lvl9pPr marL="1991380" algn="l" rtl="0" fontAlgn="base" latinLnBrk="1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ko-KR" altLang="en-US" sz="4100" kern="0" dirty="0">
                <a:solidFill>
                  <a:srgbClr val="FFFFFF"/>
                </a:solidFill>
                <a:latin typeface="HY헤드라인M" pitchFamily="18" charset="-127"/>
                <a:ea typeface="HY헤드라인M" pitchFamily="18" charset="-127"/>
              </a:rPr>
              <a:t>가축의 개량</a:t>
            </a:r>
          </a:p>
        </p:txBody>
      </p:sp>
      <p:graphicFrame>
        <p:nvGraphicFramePr>
          <p:cNvPr id="8" name="표 7"/>
          <p:cNvGraphicFramePr>
            <a:graphicFrameLocks noGrp="1"/>
          </p:cNvGraphicFramePr>
          <p:nvPr/>
        </p:nvGraphicFramePr>
        <p:xfrm>
          <a:off x="0" y="0"/>
          <a:ext cx="10693400" cy="757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7238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T="45672" marB="4567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10" name="Text Box 8"/>
          <p:cNvSpPr txBox="1">
            <a:spLocks noChangeArrowheads="1"/>
          </p:cNvSpPr>
          <p:nvPr/>
        </p:nvSpPr>
        <p:spPr bwMode="auto">
          <a:xfrm>
            <a:off x="3" y="217493"/>
            <a:ext cx="6877050" cy="446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86683" tIns="0" rIns="0" bIns="0">
            <a:spAutoFit/>
          </a:bodyPr>
          <a:lstStyle/>
          <a:p>
            <a:pPr>
              <a:defRPr/>
            </a:pPr>
            <a:r>
              <a:rPr lang="en-US" altLang="ko-KR" sz="29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4. </a:t>
            </a:r>
            <a:r>
              <a:rPr lang="ko-KR" altLang="en-US" sz="29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암소개량방법</a:t>
            </a:r>
          </a:p>
        </p:txBody>
      </p:sp>
      <p:sp>
        <p:nvSpPr>
          <p:cNvPr id="71686" name="Rectangle 30"/>
          <p:cNvSpPr>
            <a:spLocks noChangeArrowheads="1"/>
          </p:cNvSpPr>
          <p:nvPr/>
        </p:nvSpPr>
        <p:spPr bwMode="auto">
          <a:xfrm>
            <a:off x="811213" y="1274763"/>
            <a:ext cx="9086850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40" tIns="45521" rIns="91040" bIns="45521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eaLnBrk="1" hangingPunct="1">
              <a:lnSpc>
                <a:spcPct val="110000"/>
              </a:lnSpc>
              <a:spcBef>
                <a:spcPct val="0"/>
              </a:spcBef>
              <a:buClr>
                <a:srgbClr val="3333CC"/>
              </a:buClr>
              <a:buFont typeface="Wingdings" pitchFamily="2" charset="2"/>
              <a:buChar char="q"/>
            </a:pPr>
            <a:r>
              <a:rPr lang="ko-KR" altLang="en-US" sz="2400">
                <a:solidFill>
                  <a:srgbClr val="3333CC"/>
                </a:solidFill>
                <a:latin typeface="HY헤드라인M" pitchFamily="18" charset="-127"/>
                <a:ea typeface="HY헤드라인M" pitchFamily="18" charset="-127"/>
              </a:rPr>
              <a:t>  심사, 등록, 검정, 평가, 선발 및 계획교배의 과정을 </a:t>
            </a:r>
          </a:p>
          <a:p>
            <a:pPr eaLnBrk="1" hangingPunct="1">
              <a:lnSpc>
                <a:spcPct val="110000"/>
              </a:lnSpc>
              <a:spcBef>
                <a:spcPct val="0"/>
              </a:spcBef>
              <a:buClr>
                <a:srgbClr val="008000"/>
              </a:buClr>
              <a:buFont typeface="Wingdings" pitchFamily="2" charset="2"/>
              <a:buNone/>
            </a:pPr>
            <a:r>
              <a:rPr lang="ko-KR" altLang="en-US" sz="2400">
                <a:solidFill>
                  <a:srgbClr val="3333CC"/>
                </a:solidFill>
                <a:latin typeface="HY헤드라인M" pitchFamily="18" charset="-127"/>
                <a:ea typeface="HY헤드라인M" pitchFamily="18" charset="-127"/>
              </a:rPr>
              <a:t>     순환하는 일련의 연속작업</a:t>
            </a:r>
            <a:r>
              <a:rPr lang="ko-KR" altLang="en-US" sz="2400">
                <a:solidFill>
                  <a:srgbClr val="3333CC"/>
                </a:solidFill>
                <a:latin typeface="HY헤드라인M" pitchFamily="18" charset="-127"/>
                <a:ea typeface="한양신명조"/>
                <a:cs typeface="한양신명조"/>
              </a:rPr>
              <a:t> </a:t>
            </a:r>
            <a:endParaRPr lang="ko-KR" altLang="en-US" sz="2400">
              <a:solidFill>
                <a:srgbClr val="3333CC"/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grpSp>
        <p:nvGrpSpPr>
          <p:cNvPr id="71687" name="Group 32"/>
          <p:cNvGrpSpPr>
            <a:grpSpLocks/>
          </p:cNvGrpSpPr>
          <p:nvPr/>
        </p:nvGrpSpPr>
        <p:grpSpPr bwMode="auto">
          <a:xfrm>
            <a:off x="668962" y="2541590"/>
            <a:ext cx="9209762" cy="3931259"/>
            <a:chOff x="146" y="1738"/>
            <a:chExt cx="5334" cy="1957"/>
          </a:xfrm>
        </p:grpSpPr>
        <p:sp>
          <p:nvSpPr>
            <p:cNvPr id="71688" name="Rectangle 4"/>
            <p:cNvSpPr>
              <a:spLocks noChangeArrowheads="1"/>
            </p:cNvSpPr>
            <p:nvPr/>
          </p:nvSpPr>
          <p:spPr bwMode="auto">
            <a:xfrm>
              <a:off x="1239" y="1907"/>
              <a:ext cx="374" cy="391"/>
            </a:xfrm>
            <a:prstGeom prst="rect">
              <a:avLst/>
            </a:prstGeom>
            <a:solidFill>
              <a:srgbClr val="FFFF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85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kumimoji="1" sz="1700">
                  <a:solidFill>
                    <a:schemeClr val="bg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kumimoji="1" sz="3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kumimoji="1" sz="2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9pPr>
            </a:lstStyle>
            <a:p>
              <a:pPr algn="ctr" fontAlgn="t" latinLnBrk="0">
                <a:spcBef>
                  <a:spcPct val="50000"/>
                </a:spcBef>
                <a:buFontTx/>
                <a:buNone/>
              </a:pPr>
              <a:r>
                <a:rPr kumimoji="0" lang="ko-KR" altLang="en-US" sz="1800">
                  <a:solidFill>
                    <a:srgbClr val="000066"/>
                  </a:solidFill>
                  <a:latin typeface="HY헤드라인M" pitchFamily="18" charset="-127"/>
                  <a:ea typeface="HY헤드라인M" pitchFamily="18" charset="-127"/>
                </a:rPr>
                <a:t>생산</a:t>
              </a:r>
            </a:p>
            <a:p>
              <a:pPr algn="ctr" fontAlgn="t" latinLnBrk="0">
                <a:spcBef>
                  <a:spcPct val="50000"/>
                </a:spcBef>
                <a:buFontTx/>
                <a:buNone/>
              </a:pPr>
              <a:r>
                <a:rPr kumimoji="0" lang="ko-KR" altLang="en-US" sz="1800">
                  <a:solidFill>
                    <a:srgbClr val="000066"/>
                  </a:solidFill>
                  <a:latin typeface="HY헤드라인M" pitchFamily="18" charset="-127"/>
                  <a:ea typeface="HY헤드라인M" pitchFamily="18" charset="-127"/>
                </a:rPr>
                <a:t>기획</a:t>
              </a:r>
            </a:p>
          </p:txBody>
        </p:sp>
        <p:sp>
          <p:nvSpPr>
            <p:cNvPr id="71689" name="Rectangle 5"/>
            <p:cNvSpPr>
              <a:spLocks noChangeArrowheads="1"/>
            </p:cNvSpPr>
            <p:nvPr/>
          </p:nvSpPr>
          <p:spPr bwMode="auto">
            <a:xfrm>
              <a:off x="1102" y="2588"/>
              <a:ext cx="720" cy="391"/>
            </a:xfrm>
            <a:prstGeom prst="rect">
              <a:avLst/>
            </a:prstGeom>
            <a:solidFill>
              <a:srgbClr val="FFFF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85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kumimoji="1" sz="1700">
                  <a:solidFill>
                    <a:schemeClr val="bg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kumimoji="1" sz="3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kumimoji="1" sz="2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9pPr>
            </a:lstStyle>
            <a:p>
              <a:pPr algn="ctr" fontAlgn="t" latinLnBrk="0">
                <a:spcBef>
                  <a:spcPct val="50000"/>
                </a:spcBef>
                <a:buFontTx/>
                <a:buNone/>
              </a:pPr>
              <a:r>
                <a:rPr kumimoji="0" lang="ko-KR" altLang="en-US" sz="1800">
                  <a:solidFill>
                    <a:srgbClr val="000066"/>
                  </a:solidFill>
                  <a:latin typeface="HY헤드라인M" pitchFamily="18" charset="-127"/>
                  <a:ea typeface="HY헤드라인M" pitchFamily="18" charset="-127"/>
                </a:rPr>
                <a:t>수소</a:t>
              </a:r>
            </a:p>
            <a:p>
              <a:pPr algn="ctr" fontAlgn="t" latinLnBrk="0">
                <a:spcBef>
                  <a:spcPct val="50000"/>
                </a:spcBef>
                <a:buFontTx/>
                <a:buNone/>
              </a:pPr>
              <a:r>
                <a:rPr kumimoji="0" lang="ko-KR" altLang="en-US" sz="1800">
                  <a:solidFill>
                    <a:srgbClr val="000066"/>
                  </a:solidFill>
                  <a:latin typeface="HY헤드라인M" pitchFamily="18" charset="-127"/>
                  <a:ea typeface="HY헤드라인M" pitchFamily="18" charset="-127"/>
                </a:rPr>
                <a:t>개량</a:t>
              </a:r>
            </a:p>
          </p:txBody>
        </p:sp>
        <p:sp>
          <p:nvSpPr>
            <p:cNvPr id="71690" name="Rectangle 6"/>
            <p:cNvSpPr>
              <a:spLocks noChangeArrowheads="1"/>
            </p:cNvSpPr>
            <p:nvPr/>
          </p:nvSpPr>
          <p:spPr bwMode="auto">
            <a:xfrm>
              <a:off x="1128" y="3294"/>
              <a:ext cx="686" cy="391"/>
            </a:xfrm>
            <a:prstGeom prst="rect">
              <a:avLst/>
            </a:prstGeom>
            <a:solidFill>
              <a:srgbClr val="FFFF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85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kumimoji="1" sz="1700">
                  <a:solidFill>
                    <a:schemeClr val="bg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kumimoji="1" sz="3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kumimoji="1" sz="2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9pPr>
            </a:lstStyle>
            <a:p>
              <a:pPr algn="ctr" fontAlgn="t" latinLnBrk="0">
                <a:spcBef>
                  <a:spcPct val="50000"/>
                </a:spcBef>
                <a:buFontTx/>
                <a:buNone/>
              </a:pPr>
              <a:r>
                <a:rPr kumimoji="0" lang="ko-KR" altLang="en-US" sz="1800">
                  <a:solidFill>
                    <a:srgbClr val="000066"/>
                  </a:solidFill>
                  <a:latin typeface="HY헤드라인M" pitchFamily="18" charset="-127"/>
                  <a:ea typeface="HY헤드라인M" pitchFamily="18" charset="-127"/>
                </a:rPr>
                <a:t>당, 후대</a:t>
              </a:r>
            </a:p>
            <a:p>
              <a:pPr algn="ctr" fontAlgn="t" latinLnBrk="0">
                <a:spcBef>
                  <a:spcPct val="50000"/>
                </a:spcBef>
                <a:buFontTx/>
                <a:buNone/>
              </a:pPr>
              <a:r>
                <a:rPr kumimoji="0" lang="ko-KR" altLang="en-US" sz="1800">
                  <a:solidFill>
                    <a:srgbClr val="000066"/>
                  </a:solidFill>
                  <a:latin typeface="HY헤드라인M" pitchFamily="18" charset="-127"/>
                  <a:ea typeface="HY헤드라인M" pitchFamily="18" charset="-127"/>
                </a:rPr>
                <a:t> 능력검정</a:t>
              </a:r>
            </a:p>
          </p:txBody>
        </p:sp>
        <p:sp>
          <p:nvSpPr>
            <p:cNvPr id="71691" name="Rectangle 7"/>
            <p:cNvSpPr>
              <a:spLocks noChangeArrowheads="1"/>
            </p:cNvSpPr>
            <p:nvPr/>
          </p:nvSpPr>
          <p:spPr bwMode="auto">
            <a:xfrm>
              <a:off x="146" y="2579"/>
              <a:ext cx="642" cy="391"/>
            </a:xfrm>
            <a:prstGeom prst="rect">
              <a:avLst/>
            </a:prstGeom>
            <a:solidFill>
              <a:srgbClr val="FFFF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85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kumimoji="1" sz="1700">
                  <a:solidFill>
                    <a:schemeClr val="bg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kumimoji="1" sz="3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kumimoji="1" sz="2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9pPr>
            </a:lstStyle>
            <a:p>
              <a:pPr algn="ctr" fontAlgn="t" latinLnBrk="0">
                <a:spcBef>
                  <a:spcPct val="50000"/>
                </a:spcBef>
                <a:buFontTx/>
                <a:buNone/>
              </a:pPr>
              <a:r>
                <a:rPr kumimoji="0" lang="ko-KR" altLang="en-US" sz="1800">
                  <a:solidFill>
                    <a:srgbClr val="000066"/>
                  </a:solidFill>
                  <a:latin typeface="HY헤드라인M" pitchFamily="18" charset="-127"/>
                  <a:ea typeface="HY헤드라인M" pitchFamily="18" charset="-127"/>
                </a:rPr>
                <a:t>후보종축</a:t>
              </a:r>
            </a:p>
            <a:p>
              <a:pPr algn="ctr" fontAlgn="t" latinLnBrk="0">
                <a:spcBef>
                  <a:spcPct val="50000"/>
                </a:spcBef>
                <a:buFontTx/>
                <a:buNone/>
              </a:pPr>
              <a:r>
                <a:rPr kumimoji="0" lang="ko-KR" altLang="en-US" sz="1800">
                  <a:solidFill>
                    <a:srgbClr val="000066"/>
                  </a:solidFill>
                  <a:latin typeface="HY헤드라인M" pitchFamily="18" charset="-127"/>
                  <a:ea typeface="HY헤드라인M" pitchFamily="18" charset="-127"/>
                </a:rPr>
                <a:t>생산</a:t>
              </a:r>
            </a:p>
          </p:txBody>
        </p:sp>
        <p:sp>
          <p:nvSpPr>
            <p:cNvPr id="71692" name="Rectangle 8"/>
            <p:cNvSpPr>
              <a:spLocks noChangeArrowheads="1"/>
            </p:cNvSpPr>
            <p:nvPr/>
          </p:nvSpPr>
          <p:spPr bwMode="auto">
            <a:xfrm>
              <a:off x="2138" y="2574"/>
              <a:ext cx="642" cy="391"/>
            </a:xfrm>
            <a:prstGeom prst="rect">
              <a:avLst/>
            </a:prstGeom>
            <a:solidFill>
              <a:srgbClr val="FFFF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85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kumimoji="1" sz="1700">
                  <a:solidFill>
                    <a:schemeClr val="bg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kumimoji="1" sz="3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kumimoji="1" sz="2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9pPr>
            </a:lstStyle>
            <a:p>
              <a:pPr algn="ctr" fontAlgn="t" latinLnBrk="0">
                <a:spcBef>
                  <a:spcPct val="50000"/>
                </a:spcBef>
                <a:buFontTx/>
                <a:buNone/>
              </a:pPr>
              <a:r>
                <a:rPr kumimoji="0" lang="ko-KR" altLang="en-US" sz="1800">
                  <a:solidFill>
                    <a:srgbClr val="000066"/>
                  </a:solidFill>
                  <a:latin typeface="HY헤드라인M" pitchFamily="18" charset="-127"/>
                  <a:ea typeface="HY헤드라인M" pitchFamily="18" charset="-127"/>
                </a:rPr>
                <a:t>보증종축</a:t>
              </a:r>
            </a:p>
            <a:p>
              <a:pPr algn="ctr" fontAlgn="t" latinLnBrk="0">
                <a:spcBef>
                  <a:spcPct val="50000"/>
                </a:spcBef>
                <a:buFontTx/>
                <a:buNone/>
              </a:pPr>
              <a:r>
                <a:rPr kumimoji="0" lang="ko-KR" altLang="en-US" sz="1800">
                  <a:solidFill>
                    <a:srgbClr val="000066"/>
                  </a:solidFill>
                  <a:latin typeface="HY헤드라인M" pitchFamily="18" charset="-127"/>
                  <a:ea typeface="HY헤드라인M" pitchFamily="18" charset="-127"/>
                </a:rPr>
                <a:t>선발</a:t>
              </a:r>
            </a:p>
          </p:txBody>
        </p:sp>
        <p:sp>
          <p:nvSpPr>
            <p:cNvPr id="46" name="Line 9"/>
            <p:cNvSpPr>
              <a:spLocks noChangeShapeType="1"/>
            </p:cNvSpPr>
            <p:nvPr/>
          </p:nvSpPr>
          <p:spPr bwMode="auto">
            <a:xfrm>
              <a:off x="478" y="2064"/>
              <a:ext cx="624" cy="1"/>
            </a:xfrm>
            <a:prstGeom prst="line">
              <a:avLst/>
            </a:prstGeom>
            <a:noFill/>
            <a:ln w="28575">
              <a:solidFill>
                <a:srgbClr val="008000"/>
              </a:solidFill>
              <a:round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algn="ctr" eaLnBrk="0" fontAlgn="t" latinLnBrk="0" hangingPunct="0">
                <a:spcBef>
                  <a:spcPct val="50000"/>
                </a:spcBef>
                <a:defRPr/>
              </a:pPr>
              <a:endParaRPr kumimoji="0" lang="ko-KR" altLang="en-US" sz="1800" b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HY헤드라인M" pitchFamily="18" charset="-127"/>
              </a:endParaRPr>
            </a:p>
          </p:txBody>
        </p:sp>
        <p:sp>
          <p:nvSpPr>
            <p:cNvPr id="47" name="Line 10"/>
            <p:cNvSpPr>
              <a:spLocks noChangeShapeType="1"/>
            </p:cNvSpPr>
            <p:nvPr/>
          </p:nvSpPr>
          <p:spPr bwMode="auto">
            <a:xfrm>
              <a:off x="1822" y="2064"/>
              <a:ext cx="624" cy="1"/>
            </a:xfrm>
            <a:prstGeom prst="line">
              <a:avLst/>
            </a:prstGeom>
            <a:noFill/>
            <a:ln w="28575">
              <a:solidFill>
                <a:srgbClr val="008000"/>
              </a:solidFill>
              <a:round/>
              <a:headEnd type="arrow" w="med" len="med"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algn="ctr" eaLnBrk="0" fontAlgn="t" latinLnBrk="0" hangingPunct="0">
                <a:spcBef>
                  <a:spcPct val="50000"/>
                </a:spcBef>
                <a:defRPr/>
              </a:pPr>
              <a:endParaRPr kumimoji="0" lang="ko-KR" altLang="en-US" sz="1800" b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HY헤드라인M" pitchFamily="18" charset="-127"/>
              </a:endParaRPr>
            </a:p>
          </p:txBody>
        </p:sp>
        <p:sp>
          <p:nvSpPr>
            <p:cNvPr id="48" name="Line 11"/>
            <p:cNvSpPr>
              <a:spLocks noChangeShapeType="1"/>
            </p:cNvSpPr>
            <p:nvPr/>
          </p:nvSpPr>
          <p:spPr bwMode="auto">
            <a:xfrm>
              <a:off x="478" y="3504"/>
              <a:ext cx="624" cy="1"/>
            </a:xfrm>
            <a:prstGeom prst="line">
              <a:avLst/>
            </a:prstGeom>
            <a:noFill/>
            <a:ln w="28575">
              <a:solidFill>
                <a:srgbClr val="008000"/>
              </a:solidFill>
              <a:round/>
              <a:headEnd/>
              <a:tailEnd type="arrow" w="med" len="med"/>
            </a:ln>
            <a:effectLst/>
          </p:spPr>
          <p:txBody>
            <a:bodyPr wrap="none" anchor="ctr">
              <a:spAutoFit/>
            </a:bodyPr>
            <a:lstStyle/>
            <a:p>
              <a:pPr algn="ctr" eaLnBrk="0" fontAlgn="t" latinLnBrk="0" hangingPunct="0">
                <a:spcBef>
                  <a:spcPct val="50000"/>
                </a:spcBef>
                <a:defRPr/>
              </a:pPr>
              <a:endParaRPr kumimoji="0" lang="ko-KR" altLang="en-US" sz="1800" b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HY헤드라인M" pitchFamily="18" charset="-127"/>
              </a:endParaRPr>
            </a:p>
          </p:txBody>
        </p:sp>
        <p:sp>
          <p:nvSpPr>
            <p:cNvPr id="49" name="Line 12"/>
            <p:cNvSpPr>
              <a:spLocks noChangeShapeType="1"/>
            </p:cNvSpPr>
            <p:nvPr/>
          </p:nvSpPr>
          <p:spPr bwMode="auto">
            <a:xfrm>
              <a:off x="1822" y="3504"/>
              <a:ext cx="624" cy="1"/>
            </a:xfrm>
            <a:prstGeom prst="line">
              <a:avLst/>
            </a:prstGeom>
            <a:noFill/>
            <a:ln w="28575">
              <a:solidFill>
                <a:srgbClr val="008000"/>
              </a:solidFill>
              <a:round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algn="ctr" eaLnBrk="0" fontAlgn="t" latinLnBrk="0" hangingPunct="0">
                <a:spcBef>
                  <a:spcPct val="50000"/>
                </a:spcBef>
                <a:defRPr/>
              </a:pPr>
              <a:endParaRPr kumimoji="0" lang="ko-KR" altLang="en-US" sz="1800" b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HY헤드라인M" pitchFamily="18" charset="-127"/>
              </a:endParaRPr>
            </a:p>
          </p:txBody>
        </p:sp>
        <p:sp>
          <p:nvSpPr>
            <p:cNvPr id="50" name="Line 13"/>
            <p:cNvSpPr>
              <a:spLocks noChangeShapeType="1"/>
            </p:cNvSpPr>
            <p:nvPr/>
          </p:nvSpPr>
          <p:spPr bwMode="auto">
            <a:xfrm>
              <a:off x="478" y="2064"/>
              <a:ext cx="4" cy="431"/>
            </a:xfrm>
            <a:prstGeom prst="line">
              <a:avLst/>
            </a:prstGeom>
            <a:noFill/>
            <a:ln w="28575">
              <a:solidFill>
                <a:srgbClr val="008000"/>
              </a:solidFill>
              <a:round/>
              <a:headEnd/>
              <a:tailEnd type="arrow" w="med" len="med"/>
            </a:ln>
            <a:effectLst/>
          </p:spPr>
          <p:txBody>
            <a:bodyPr wrap="none" anchor="ctr">
              <a:spAutoFit/>
            </a:bodyPr>
            <a:lstStyle/>
            <a:p>
              <a:pPr algn="ctr" eaLnBrk="0" fontAlgn="t" latinLnBrk="0" hangingPunct="0">
                <a:spcBef>
                  <a:spcPct val="50000"/>
                </a:spcBef>
                <a:defRPr/>
              </a:pPr>
              <a:endParaRPr kumimoji="0" lang="ko-KR" altLang="en-US" sz="1800" b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HY헤드라인M" pitchFamily="18" charset="-127"/>
              </a:endParaRPr>
            </a:p>
          </p:txBody>
        </p:sp>
        <p:sp>
          <p:nvSpPr>
            <p:cNvPr id="51" name="Line 14"/>
            <p:cNvSpPr>
              <a:spLocks noChangeShapeType="1"/>
            </p:cNvSpPr>
            <p:nvPr/>
          </p:nvSpPr>
          <p:spPr bwMode="auto">
            <a:xfrm>
              <a:off x="2446" y="2064"/>
              <a:ext cx="1" cy="431"/>
            </a:xfrm>
            <a:prstGeom prst="line">
              <a:avLst/>
            </a:prstGeom>
            <a:noFill/>
            <a:ln w="28575">
              <a:solidFill>
                <a:srgbClr val="008000"/>
              </a:solidFill>
              <a:round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algn="ctr" eaLnBrk="0" fontAlgn="t" latinLnBrk="0" hangingPunct="0">
                <a:spcBef>
                  <a:spcPct val="50000"/>
                </a:spcBef>
                <a:defRPr/>
              </a:pPr>
              <a:endParaRPr kumimoji="0" lang="ko-KR" altLang="en-US" sz="1800" b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HY헤드라인M" pitchFamily="18" charset="-127"/>
              </a:endParaRPr>
            </a:p>
          </p:txBody>
        </p:sp>
        <p:sp>
          <p:nvSpPr>
            <p:cNvPr id="52" name="Line 15"/>
            <p:cNvSpPr>
              <a:spLocks noChangeShapeType="1"/>
            </p:cNvSpPr>
            <p:nvPr/>
          </p:nvSpPr>
          <p:spPr bwMode="auto">
            <a:xfrm>
              <a:off x="478" y="3024"/>
              <a:ext cx="4" cy="480"/>
            </a:xfrm>
            <a:prstGeom prst="line">
              <a:avLst/>
            </a:prstGeom>
            <a:noFill/>
            <a:ln w="28575">
              <a:solidFill>
                <a:srgbClr val="008000"/>
              </a:solidFill>
              <a:round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algn="ctr" eaLnBrk="0" fontAlgn="t" latinLnBrk="0" hangingPunct="0">
                <a:spcBef>
                  <a:spcPct val="50000"/>
                </a:spcBef>
                <a:defRPr/>
              </a:pPr>
              <a:endParaRPr kumimoji="0" lang="ko-KR" altLang="en-US" sz="1800" b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HY헤드라인M" pitchFamily="18" charset="-127"/>
              </a:endParaRPr>
            </a:p>
          </p:txBody>
        </p:sp>
        <p:sp>
          <p:nvSpPr>
            <p:cNvPr id="53" name="Line 16"/>
            <p:cNvSpPr>
              <a:spLocks noChangeShapeType="1"/>
            </p:cNvSpPr>
            <p:nvPr/>
          </p:nvSpPr>
          <p:spPr bwMode="auto">
            <a:xfrm>
              <a:off x="2446" y="3024"/>
              <a:ext cx="1" cy="480"/>
            </a:xfrm>
            <a:prstGeom prst="line">
              <a:avLst/>
            </a:prstGeom>
            <a:noFill/>
            <a:ln w="28575">
              <a:solidFill>
                <a:srgbClr val="008000"/>
              </a:solidFill>
              <a:round/>
              <a:headEnd type="arrow" w="med" len="med"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algn="ctr" eaLnBrk="0" fontAlgn="t" latinLnBrk="0" hangingPunct="0">
                <a:spcBef>
                  <a:spcPct val="50000"/>
                </a:spcBef>
                <a:defRPr/>
              </a:pPr>
              <a:endParaRPr kumimoji="0" lang="ko-KR" altLang="en-US" sz="1800" b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HY헤드라인M" pitchFamily="18" charset="-127"/>
              </a:endParaRPr>
            </a:p>
          </p:txBody>
        </p:sp>
        <p:sp>
          <p:nvSpPr>
            <p:cNvPr id="71701" name="Rectangle 17"/>
            <p:cNvSpPr>
              <a:spLocks noChangeArrowheads="1"/>
            </p:cNvSpPr>
            <p:nvPr/>
          </p:nvSpPr>
          <p:spPr bwMode="auto">
            <a:xfrm>
              <a:off x="3950" y="1918"/>
              <a:ext cx="808" cy="391"/>
            </a:xfrm>
            <a:prstGeom prst="rect">
              <a:avLst/>
            </a:prstGeom>
            <a:solidFill>
              <a:schemeClr val="tx1"/>
            </a:solidFill>
            <a:ln/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square" anchor="ctr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kumimoji="1" sz="1700">
                  <a:solidFill>
                    <a:schemeClr val="bg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kumimoji="1" sz="3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kumimoji="1" sz="2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9pPr>
            </a:lstStyle>
            <a:p>
              <a:pPr algn="ctr" fontAlgn="t" latinLnBrk="0">
                <a:spcBef>
                  <a:spcPct val="50000"/>
                </a:spcBef>
                <a:buFontTx/>
                <a:buNone/>
              </a:pPr>
              <a:r>
                <a:rPr kumimoji="0" lang="ko-KR" altLang="en-US" sz="1800" dirty="0">
                  <a:latin typeface="HY헤드라인M" pitchFamily="18" charset="-127"/>
                  <a:ea typeface="HY헤드라인M" pitchFamily="18" charset="-127"/>
                </a:rPr>
                <a:t>혈통등록</a:t>
              </a:r>
              <a:endParaRPr kumimoji="0" lang="en-US" altLang="ko-KR" sz="1800" dirty="0">
                <a:latin typeface="HY헤드라인M" pitchFamily="18" charset="-127"/>
                <a:ea typeface="HY헤드라인M" pitchFamily="18" charset="-127"/>
              </a:endParaRPr>
            </a:p>
            <a:p>
              <a:pPr algn="ctr" fontAlgn="t" latinLnBrk="0">
                <a:spcBef>
                  <a:spcPct val="50000"/>
                </a:spcBef>
                <a:buFontTx/>
                <a:buNone/>
              </a:pPr>
              <a:r>
                <a:rPr kumimoji="0" lang="ko-KR" altLang="en-US" sz="1800" dirty="0">
                  <a:latin typeface="HY헤드라인M" pitchFamily="18" charset="-127"/>
                  <a:ea typeface="HY헤드라인M" pitchFamily="18" charset="-127"/>
                </a:rPr>
                <a:t>능력검정</a:t>
              </a:r>
            </a:p>
          </p:txBody>
        </p:sp>
        <p:sp>
          <p:nvSpPr>
            <p:cNvPr id="71702" name="Rectangle 18"/>
            <p:cNvSpPr>
              <a:spLocks noChangeArrowheads="1"/>
            </p:cNvSpPr>
            <p:nvPr/>
          </p:nvSpPr>
          <p:spPr bwMode="auto">
            <a:xfrm>
              <a:off x="3986" y="2623"/>
              <a:ext cx="720" cy="391"/>
            </a:xfrm>
            <a:prstGeom prst="rect">
              <a:avLst/>
            </a:prstGeom>
            <a:solidFill>
              <a:schemeClr val="tx1"/>
            </a:solidFill>
            <a:ln/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anchor="ctr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kumimoji="1" sz="1700">
                  <a:solidFill>
                    <a:schemeClr val="bg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kumimoji="1" sz="3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kumimoji="1" sz="2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9pPr>
            </a:lstStyle>
            <a:p>
              <a:pPr algn="ctr" fontAlgn="t" latinLnBrk="0">
                <a:spcBef>
                  <a:spcPct val="50000"/>
                </a:spcBef>
                <a:buFontTx/>
                <a:buNone/>
              </a:pPr>
              <a:r>
                <a:rPr kumimoji="0" lang="ko-KR" altLang="en-US" sz="1800" dirty="0">
                  <a:latin typeface="HY헤드라인M" pitchFamily="18" charset="-127"/>
                  <a:ea typeface="HY헤드라인M" pitchFamily="18" charset="-127"/>
                </a:rPr>
                <a:t>농가</a:t>
              </a:r>
              <a:endParaRPr kumimoji="0" lang="en-US" altLang="ko-KR" sz="1800" dirty="0">
                <a:latin typeface="HY헤드라인M" pitchFamily="18" charset="-127"/>
                <a:ea typeface="HY헤드라인M" pitchFamily="18" charset="-127"/>
              </a:endParaRPr>
            </a:p>
            <a:p>
              <a:pPr algn="ctr" fontAlgn="t" latinLnBrk="0">
                <a:spcBef>
                  <a:spcPct val="50000"/>
                </a:spcBef>
                <a:buFontTx/>
                <a:buNone/>
              </a:pPr>
              <a:r>
                <a:rPr kumimoji="0" lang="ko-KR" altLang="en-US" sz="1800" dirty="0">
                  <a:latin typeface="HY헤드라인M" pitchFamily="18" charset="-127"/>
                  <a:ea typeface="HY헤드라인M" pitchFamily="18" charset="-127"/>
                </a:rPr>
                <a:t>암소 개량</a:t>
              </a:r>
            </a:p>
          </p:txBody>
        </p:sp>
        <p:sp>
          <p:nvSpPr>
            <p:cNvPr id="71703" name="Rectangle 19"/>
            <p:cNvSpPr>
              <a:spLocks noChangeArrowheads="1"/>
            </p:cNvSpPr>
            <p:nvPr/>
          </p:nvSpPr>
          <p:spPr bwMode="auto">
            <a:xfrm>
              <a:off x="3967" y="3304"/>
              <a:ext cx="775" cy="391"/>
            </a:xfrm>
            <a:prstGeom prst="rect">
              <a:avLst/>
            </a:prstGeom>
            <a:solidFill>
              <a:schemeClr val="tx1"/>
            </a:solidFill>
            <a:ln/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none" anchor="ctr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kumimoji="1" sz="1700">
                  <a:solidFill>
                    <a:schemeClr val="bg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kumimoji="1" sz="3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kumimoji="1" sz="2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9pPr>
            </a:lstStyle>
            <a:p>
              <a:pPr algn="ctr" fontAlgn="t" latinLnBrk="0">
                <a:spcBef>
                  <a:spcPct val="50000"/>
                </a:spcBef>
                <a:buFontTx/>
                <a:buNone/>
              </a:pPr>
              <a:r>
                <a:rPr kumimoji="0" lang="ko-KR" altLang="en-US" sz="1800">
                  <a:latin typeface="HY헤드라인M" pitchFamily="18" charset="-127"/>
                  <a:ea typeface="HY헤드라인M" pitchFamily="18" charset="-127"/>
                </a:rPr>
                <a:t>우량선발</a:t>
              </a:r>
              <a:endParaRPr kumimoji="0" lang="en-US" altLang="ko-KR" sz="1800">
                <a:latin typeface="HY헤드라인M" pitchFamily="18" charset="-127"/>
                <a:ea typeface="HY헤드라인M" pitchFamily="18" charset="-127"/>
              </a:endParaRPr>
            </a:p>
            <a:p>
              <a:pPr algn="ctr" fontAlgn="t" latinLnBrk="0">
                <a:spcBef>
                  <a:spcPct val="50000"/>
                </a:spcBef>
                <a:buFontTx/>
                <a:buNone/>
              </a:pPr>
              <a:r>
                <a:rPr kumimoji="0" lang="ko-KR" altLang="en-US" sz="1800">
                  <a:latin typeface="HY헤드라인M" pitchFamily="18" charset="-127"/>
                  <a:ea typeface="HY헤드라인M" pitchFamily="18" charset="-127"/>
                </a:rPr>
                <a:t>저능력도태</a:t>
              </a:r>
            </a:p>
          </p:txBody>
        </p:sp>
        <p:sp>
          <p:nvSpPr>
            <p:cNvPr id="71704" name="Rectangle 20"/>
            <p:cNvSpPr>
              <a:spLocks noChangeArrowheads="1"/>
            </p:cNvSpPr>
            <p:nvPr/>
          </p:nvSpPr>
          <p:spPr bwMode="auto">
            <a:xfrm>
              <a:off x="3114" y="2589"/>
              <a:ext cx="374" cy="391"/>
            </a:xfrm>
            <a:prstGeom prst="rect">
              <a:avLst/>
            </a:prstGeom>
            <a:solidFill>
              <a:schemeClr val="tx1"/>
            </a:solidFill>
            <a:ln/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none" anchor="ctr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kumimoji="1" sz="1700">
                  <a:solidFill>
                    <a:schemeClr val="bg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kumimoji="1" sz="3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kumimoji="1" sz="2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9pPr>
            </a:lstStyle>
            <a:p>
              <a:pPr algn="ctr" fontAlgn="t" latinLnBrk="0">
                <a:spcBef>
                  <a:spcPct val="50000"/>
                </a:spcBef>
                <a:buFontTx/>
                <a:buNone/>
              </a:pPr>
              <a:r>
                <a:rPr kumimoji="0" lang="ko-KR" altLang="en-US" sz="1800" dirty="0">
                  <a:latin typeface="HY헤드라인M" pitchFamily="18" charset="-127"/>
                  <a:ea typeface="HY헤드라인M" pitchFamily="18" charset="-127"/>
                </a:rPr>
                <a:t>계획</a:t>
              </a:r>
              <a:endParaRPr kumimoji="0" lang="en-US" altLang="ko-KR" sz="1800" dirty="0">
                <a:latin typeface="HY헤드라인M" pitchFamily="18" charset="-127"/>
                <a:ea typeface="HY헤드라인M" pitchFamily="18" charset="-127"/>
              </a:endParaRPr>
            </a:p>
            <a:p>
              <a:pPr algn="ctr" fontAlgn="t" latinLnBrk="0">
                <a:spcBef>
                  <a:spcPct val="50000"/>
                </a:spcBef>
                <a:buFontTx/>
                <a:buNone/>
              </a:pPr>
              <a:r>
                <a:rPr kumimoji="0" lang="ko-KR" altLang="en-US" sz="1800" dirty="0">
                  <a:latin typeface="HY헤드라인M" pitchFamily="18" charset="-127"/>
                  <a:ea typeface="HY헤드라인M" pitchFamily="18" charset="-127"/>
                </a:rPr>
                <a:t>교배</a:t>
              </a:r>
            </a:p>
          </p:txBody>
        </p:sp>
        <p:sp>
          <p:nvSpPr>
            <p:cNvPr id="71705" name="Rectangle 21"/>
            <p:cNvSpPr>
              <a:spLocks noChangeArrowheads="1"/>
            </p:cNvSpPr>
            <p:nvPr/>
          </p:nvSpPr>
          <p:spPr bwMode="auto">
            <a:xfrm>
              <a:off x="5106" y="2585"/>
              <a:ext cx="374" cy="391"/>
            </a:xfrm>
            <a:prstGeom prst="rect">
              <a:avLst/>
            </a:prstGeom>
            <a:solidFill>
              <a:schemeClr val="tx1"/>
            </a:solidFill>
            <a:ln/>
            <a:extLst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wrap="none" anchor="ctr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kumimoji="1" sz="1700">
                  <a:solidFill>
                    <a:schemeClr val="bg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kumimoji="1" sz="3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kumimoji="1" sz="2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9pPr>
            </a:lstStyle>
            <a:p>
              <a:pPr algn="ctr" fontAlgn="t" latinLnBrk="0">
                <a:spcBef>
                  <a:spcPct val="50000"/>
                </a:spcBef>
                <a:buFontTx/>
                <a:buNone/>
              </a:pPr>
              <a:r>
                <a:rPr kumimoji="0" lang="ko-KR" altLang="en-US" sz="1800" dirty="0">
                  <a:latin typeface="HY헤드라인M" pitchFamily="18" charset="-127"/>
                  <a:ea typeface="HY헤드라인M" pitchFamily="18" charset="-127"/>
                </a:rPr>
                <a:t>유전</a:t>
              </a:r>
              <a:endParaRPr kumimoji="0" lang="en-US" altLang="ko-KR" sz="1800" dirty="0">
                <a:latin typeface="HY헤드라인M" pitchFamily="18" charset="-127"/>
                <a:ea typeface="HY헤드라인M" pitchFamily="18" charset="-127"/>
              </a:endParaRPr>
            </a:p>
            <a:p>
              <a:pPr algn="ctr" fontAlgn="t" latinLnBrk="0">
                <a:spcBef>
                  <a:spcPct val="50000"/>
                </a:spcBef>
                <a:buFontTx/>
                <a:buNone/>
              </a:pPr>
              <a:r>
                <a:rPr kumimoji="0" lang="ko-KR" altLang="en-US" sz="1800" dirty="0">
                  <a:latin typeface="HY헤드라인M" pitchFamily="18" charset="-127"/>
                  <a:ea typeface="HY헤드라인M" pitchFamily="18" charset="-127"/>
                </a:rPr>
                <a:t>평가</a:t>
              </a:r>
              <a:endParaRPr kumimoji="0" lang="en-US" altLang="ko-KR" sz="1800" dirty="0">
                <a:latin typeface="HY헤드라인M" pitchFamily="18" charset="-127"/>
                <a:ea typeface="HY헤드라인M" pitchFamily="18" charset="-127"/>
              </a:endParaRPr>
            </a:p>
          </p:txBody>
        </p:sp>
        <p:sp>
          <p:nvSpPr>
            <p:cNvPr id="59" name="Line 22"/>
            <p:cNvSpPr>
              <a:spLocks noChangeShapeType="1"/>
            </p:cNvSpPr>
            <p:nvPr/>
          </p:nvSpPr>
          <p:spPr bwMode="auto">
            <a:xfrm flipV="1">
              <a:off x="3362" y="2065"/>
              <a:ext cx="588" cy="8"/>
            </a:xfrm>
            <a:prstGeom prst="line">
              <a:avLst/>
            </a:prstGeom>
            <a:noFill/>
            <a:ln w="28575">
              <a:solidFill>
                <a:srgbClr val="008000"/>
              </a:solidFill>
              <a:round/>
              <a:headEnd/>
              <a:tailEnd/>
            </a:ln>
            <a:effectLst/>
          </p:spPr>
          <p:txBody>
            <a:bodyPr wrap="square" anchor="ctr">
              <a:spAutoFit/>
            </a:bodyPr>
            <a:lstStyle/>
            <a:p>
              <a:pPr algn="ctr" eaLnBrk="0" fontAlgn="t" latinLnBrk="0" hangingPunct="0">
                <a:spcBef>
                  <a:spcPct val="50000"/>
                </a:spcBef>
                <a:defRPr/>
              </a:pPr>
              <a:endParaRPr kumimoji="0" lang="ko-KR" altLang="en-US" sz="1800" b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HY헤드라인M" pitchFamily="18" charset="-127"/>
              </a:endParaRPr>
            </a:p>
          </p:txBody>
        </p:sp>
        <p:sp>
          <p:nvSpPr>
            <p:cNvPr id="60" name="Line 23"/>
            <p:cNvSpPr>
              <a:spLocks noChangeShapeType="1"/>
            </p:cNvSpPr>
            <p:nvPr/>
          </p:nvSpPr>
          <p:spPr bwMode="auto">
            <a:xfrm>
              <a:off x="4758" y="2073"/>
              <a:ext cx="572" cy="0"/>
            </a:xfrm>
            <a:prstGeom prst="line">
              <a:avLst/>
            </a:prstGeom>
            <a:noFill/>
            <a:ln w="28575">
              <a:solidFill>
                <a:srgbClr val="008000"/>
              </a:solidFill>
              <a:round/>
              <a:headEnd type="arrow" w="med" len="med"/>
              <a:tailEnd/>
            </a:ln>
            <a:effectLst/>
          </p:spPr>
          <p:txBody>
            <a:bodyPr wrap="square" anchor="ctr">
              <a:spAutoFit/>
            </a:bodyPr>
            <a:lstStyle/>
            <a:p>
              <a:pPr algn="ctr" eaLnBrk="0" fontAlgn="t" latinLnBrk="0" hangingPunct="0">
                <a:spcBef>
                  <a:spcPct val="50000"/>
                </a:spcBef>
                <a:defRPr/>
              </a:pPr>
              <a:endParaRPr kumimoji="0" lang="ko-KR" altLang="en-US" sz="1800" b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HY헤드라인M" pitchFamily="18" charset="-127"/>
              </a:endParaRPr>
            </a:p>
          </p:txBody>
        </p:sp>
        <p:sp>
          <p:nvSpPr>
            <p:cNvPr id="61" name="Line 24"/>
            <p:cNvSpPr>
              <a:spLocks noChangeShapeType="1"/>
            </p:cNvSpPr>
            <p:nvPr/>
          </p:nvSpPr>
          <p:spPr bwMode="auto">
            <a:xfrm>
              <a:off x="3362" y="3513"/>
              <a:ext cx="624" cy="0"/>
            </a:xfrm>
            <a:prstGeom prst="line">
              <a:avLst/>
            </a:prstGeom>
            <a:noFill/>
            <a:ln w="28575">
              <a:solidFill>
                <a:srgbClr val="008000"/>
              </a:solidFill>
              <a:round/>
              <a:headEnd/>
              <a:tailEnd type="arrow" w="med" len="med"/>
            </a:ln>
            <a:effectLst/>
          </p:spPr>
          <p:txBody>
            <a:bodyPr wrap="none" anchor="ctr">
              <a:spAutoFit/>
            </a:bodyPr>
            <a:lstStyle/>
            <a:p>
              <a:pPr algn="ctr" eaLnBrk="0" fontAlgn="t" latinLnBrk="0" hangingPunct="0">
                <a:spcBef>
                  <a:spcPct val="50000"/>
                </a:spcBef>
                <a:defRPr/>
              </a:pPr>
              <a:endParaRPr kumimoji="0" lang="ko-KR" altLang="en-US" sz="1800" b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HY헤드라인M" pitchFamily="18" charset="-127"/>
              </a:endParaRPr>
            </a:p>
          </p:txBody>
        </p:sp>
        <p:sp>
          <p:nvSpPr>
            <p:cNvPr id="62" name="Line 25"/>
            <p:cNvSpPr>
              <a:spLocks noChangeShapeType="1"/>
            </p:cNvSpPr>
            <p:nvPr/>
          </p:nvSpPr>
          <p:spPr bwMode="auto">
            <a:xfrm>
              <a:off x="4706" y="3513"/>
              <a:ext cx="624" cy="0"/>
            </a:xfrm>
            <a:prstGeom prst="line">
              <a:avLst/>
            </a:prstGeom>
            <a:noFill/>
            <a:ln w="28575">
              <a:solidFill>
                <a:srgbClr val="008000"/>
              </a:solidFill>
              <a:round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algn="ctr" eaLnBrk="0" fontAlgn="t" latinLnBrk="0" hangingPunct="0">
                <a:spcBef>
                  <a:spcPct val="50000"/>
                </a:spcBef>
                <a:defRPr/>
              </a:pPr>
              <a:endParaRPr kumimoji="0" lang="ko-KR" altLang="en-US" sz="1800" b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HY헤드라인M" pitchFamily="18" charset="-127"/>
              </a:endParaRPr>
            </a:p>
          </p:txBody>
        </p:sp>
        <p:sp>
          <p:nvSpPr>
            <p:cNvPr id="63" name="Line 26"/>
            <p:cNvSpPr>
              <a:spLocks noChangeShapeType="1"/>
            </p:cNvSpPr>
            <p:nvPr/>
          </p:nvSpPr>
          <p:spPr bwMode="auto">
            <a:xfrm>
              <a:off x="3362" y="2073"/>
              <a:ext cx="0" cy="432"/>
            </a:xfrm>
            <a:prstGeom prst="line">
              <a:avLst/>
            </a:prstGeom>
            <a:noFill/>
            <a:ln w="28575">
              <a:solidFill>
                <a:srgbClr val="008000"/>
              </a:solidFill>
              <a:round/>
              <a:headEnd/>
              <a:tailEnd type="arrow" w="med" len="med"/>
            </a:ln>
            <a:effectLst/>
          </p:spPr>
          <p:txBody>
            <a:bodyPr wrap="none" anchor="ctr">
              <a:spAutoFit/>
            </a:bodyPr>
            <a:lstStyle/>
            <a:p>
              <a:pPr algn="ctr" eaLnBrk="0" fontAlgn="t" latinLnBrk="0" hangingPunct="0">
                <a:spcBef>
                  <a:spcPct val="50000"/>
                </a:spcBef>
                <a:defRPr/>
              </a:pPr>
              <a:endParaRPr kumimoji="0" lang="ko-KR" altLang="en-US" sz="1800" b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HY헤드라인M" pitchFamily="18" charset="-127"/>
              </a:endParaRPr>
            </a:p>
          </p:txBody>
        </p:sp>
        <p:sp>
          <p:nvSpPr>
            <p:cNvPr id="64" name="Line 27"/>
            <p:cNvSpPr>
              <a:spLocks noChangeShapeType="1"/>
            </p:cNvSpPr>
            <p:nvPr/>
          </p:nvSpPr>
          <p:spPr bwMode="auto">
            <a:xfrm>
              <a:off x="5330" y="2073"/>
              <a:ext cx="0" cy="432"/>
            </a:xfrm>
            <a:prstGeom prst="line">
              <a:avLst/>
            </a:prstGeom>
            <a:noFill/>
            <a:ln w="28575">
              <a:solidFill>
                <a:srgbClr val="008000"/>
              </a:solidFill>
              <a:round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algn="ctr" eaLnBrk="0" fontAlgn="t" latinLnBrk="0" hangingPunct="0">
                <a:spcBef>
                  <a:spcPct val="50000"/>
                </a:spcBef>
                <a:defRPr/>
              </a:pPr>
              <a:endParaRPr kumimoji="0" lang="ko-KR" altLang="en-US" sz="1800" b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HY헤드라인M" pitchFamily="18" charset="-127"/>
              </a:endParaRPr>
            </a:p>
          </p:txBody>
        </p:sp>
        <p:sp>
          <p:nvSpPr>
            <p:cNvPr id="65" name="Line 28"/>
            <p:cNvSpPr>
              <a:spLocks noChangeShapeType="1"/>
            </p:cNvSpPr>
            <p:nvPr/>
          </p:nvSpPr>
          <p:spPr bwMode="auto">
            <a:xfrm>
              <a:off x="3362" y="3033"/>
              <a:ext cx="0" cy="480"/>
            </a:xfrm>
            <a:prstGeom prst="line">
              <a:avLst/>
            </a:prstGeom>
            <a:noFill/>
            <a:ln w="28575">
              <a:solidFill>
                <a:srgbClr val="008000"/>
              </a:solidFill>
              <a:round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algn="ctr" eaLnBrk="0" fontAlgn="t" latinLnBrk="0" hangingPunct="0">
                <a:spcBef>
                  <a:spcPct val="50000"/>
                </a:spcBef>
                <a:defRPr/>
              </a:pPr>
              <a:endParaRPr kumimoji="0" lang="ko-KR" altLang="en-US" sz="1800" b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HY헤드라인M" pitchFamily="18" charset="-127"/>
              </a:endParaRPr>
            </a:p>
          </p:txBody>
        </p:sp>
        <p:sp>
          <p:nvSpPr>
            <p:cNvPr id="66" name="Line 29"/>
            <p:cNvSpPr>
              <a:spLocks noChangeShapeType="1"/>
            </p:cNvSpPr>
            <p:nvPr/>
          </p:nvSpPr>
          <p:spPr bwMode="auto">
            <a:xfrm>
              <a:off x="5330" y="3033"/>
              <a:ext cx="0" cy="480"/>
            </a:xfrm>
            <a:prstGeom prst="line">
              <a:avLst/>
            </a:prstGeom>
            <a:noFill/>
            <a:ln w="28575">
              <a:solidFill>
                <a:srgbClr val="008000"/>
              </a:solidFill>
              <a:round/>
              <a:headEnd type="arrow" w="med" len="med"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algn="ctr" eaLnBrk="0" fontAlgn="t" latinLnBrk="0" hangingPunct="0">
                <a:spcBef>
                  <a:spcPct val="50000"/>
                </a:spcBef>
                <a:defRPr/>
              </a:pPr>
              <a:endParaRPr kumimoji="0" lang="ko-KR" altLang="en-US" sz="1800" b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itchFamily="34" charset="0"/>
                <a:ea typeface="HY헤드라인M" pitchFamily="18" charset="-127"/>
              </a:endParaRPr>
            </a:p>
          </p:txBody>
        </p:sp>
        <p:sp>
          <p:nvSpPr>
            <p:cNvPr id="71714" name="Rectangle 31"/>
            <p:cNvSpPr>
              <a:spLocks noChangeArrowheads="1"/>
            </p:cNvSpPr>
            <p:nvPr/>
          </p:nvSpPr>
          <p:spPr bwMode="auto">
            <a:xfrm>
              <a:off x="2554" y="1738"/>
              <a:ext cx="720" cy="184"/>
            </a:xfrm>
            <a:prstGeom prst="rect">
              <a:avLst/>
            </a:prstGeom>
            <a:solidFill>
              <a:srgbClr val="FFFF6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2857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kumimoji="1" sz="1700">
                  <a:solidFill>
                    <a:schemeClr val="bg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kumimoji="1" sz="3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kumimoji="1" sz="2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9pPr>
            </a:lstStyle>
            <a:p>
              <a:pPr algn="ctr" fontAlgn="t" latinLnBrk="0">
                <a:spcBef>
                  <a:spcPct val="50000"/>
                </a:spcBef>
                <a:buFontTx/>
                <a:buNone/>
              </a:pPr>
              <a:r>
                <a:rPr kumimoji="0" lang="ko-KR" altLang="en-US" sz="1800" dirty="0">
                  <a:solidFill>
                    <a:srgbClr val="000066"/>
                  </a:solidFill>
                  <a:latin typeface="HY헤드라인M" pitchFamily="18" charset="-127"/>
                  <a:ea typeface="HY헤드라인M" pitchFamily="18" charset="-127"/>
                </a:rPr>
                <a:t>(개량체계)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003530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0" y="0"/>
          <a:ext cx="10693400" cy="757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7238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T="45672" marB="4567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3" name="Text Box 8"/>
          <p:cNvSpPr txBox="1">
            <a:spLocks noChangeArrowheads="1"/>
          </p:cNvSpPr>
          <p:nvPr/>
        </p:nvSpPr>
        <p:spPr bwMode="auto">
          <a:xfrm>
            <a:off x="3" y="217493"/>
            <a:ext cx="6877050" cy="446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86683" tIns="0" rIns="0" bIns="0">
            <a:spAutoFit/>
          </a:bodyPr>
          <a:lstStyle/>
          <a:p>
            <a:pPr>
              <a:defRPr/>
            </a:pPr>
            <a:r>
              <a:rPr lang="en-US" altLang="ko-KR" sz="29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5. </a:t>
            </a:r>
            <a:r>
              <a:rPr lang="ko-KR" altLang="en-US" sz="29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유전과 환경과의 관계</a:t>
            </a:r>
          </a:p>
        </p:txBody>
      </p:sp>
      <p:sp>
        <p:nvSpPr>
          <p:cNvPr id="21509" name="Rectangle 1"/>
          <p:cNvSpPr>
            <a:spLocks noChangeArrowheads="1"/>
          </p:cNvSpPr>
          <p:nvPr/>
        </p:nvSpPr>
        <p:spPr bwMode="auto">
          <a:xfrm>
            <a:off x="0" y="-33333"/>
            <a:ext cx="184150" cy="446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86683" tIns="0" rIns="0" bIns="0">
            <a:spAutoFit/>
          </a:bodyPr>
          <a:lstStyle/>
          <a:p>
            <a:pPr>
              <a:defRPr/>
            </a:pPr>
            <a:endParaRPr lang="ko-KR" altLang="en-US" sz="29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21510" name="Rectangle 2"/>
          <p:cNvSpPr>
            <a:spLocks noChangeArrowheads="1"/>
          </p:cNvSpPr>
          <p:nvPr/>
        </p:nvSpPr>
        <p:spPr bwMode="auto">
          <a:xfrm>
            <a:off x="0" y="-33333"/>
            <a:ext cx="184150" cy="446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86683" tIns="0" rIns="0" bIns="0">
            <a:spAutoFit/>
          </a:bodyPr>
          <a:lstStyle/>
          <a:p>
            <a:pPr>
              <a:defRPr/>
            </a:pPr>
            <a:endParaRPr lang="ko-KR" altLang="en-US" sz="29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73735" name="Rectangle 3"/>
          <p:cNvSpPr>
            <a:spLocks noChangeArrowheads="1"/>
          </p:cNvSpPr>
          <p:nvPr/>
        </p:nvSpPr>
        <p:spPr bwMode="auto">
          <a:xfrm>
            <a:off x="935039" y="1216052"/>
            <a:ext cx="8956674" cy="112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24" tIns="45513" rIns="91024" bIns="45513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eaLnBrk="1" hangingPunct="1">
              <a:lnSpc>
                <a:spcPct val="140000"/>
              </a:lnSpc>
              <a:spcBef>
                <a:spcPct val="0"/>
              </a:spcBef>
              <a:buFont typeface="Wingdings" pitchFamily="2" charset="2"/>
              <a:buChar char="q"/>
            </a:pPr>
            <a:r>
              <a:rPr lang="ko-KR" altLang="en-US" sz="2400" b="1">
                <a:solidFill>
                  <a:srgbClr val="008000"/>
                </a:solidFill>
                <a:latin typeface="HY헤드라인M" pitchFamily="18" charset="-127"/>
                <a:ea typeface="HY헤드라인M" pitchFamily="18" charset="-127"/>
              </a:rPr>
              <a:t> 유전</a:t>
            </a:r>
            <a:r>
              <a:rPr lang="ko-KR" altLang="en-US" sz="2400" b="1">
                <a:solidFill>
                  <a:srgbClr val="0000CC"/>
                </a:solidFill>
                <a:latin typeface="HY헤드라인M" pitchFamily="18" charset="-127"/>
                <a:ea typeface="HY헤드라인M" pitchFamily="18" charset="-127"/>
              </a:rPr>
              <a:t> : 부모의 특성이 반반씩 자식에게 전달되어지는 현상</a:t>
            </a:r>
          </a:p>
          <a:p>
            <a:pPr eaLnBrk="1" hangingPunct="1">
              <a:lnSpc>
                <a:spcPct val="140000"/>
              </a:lnSpc>
              <a:spcBef>
                <a:spcPct val="0"/>
              </a:spcBef>
              <a:buFontTx/>
              <a:buNone/>
            </a:pPr>
            <a:r>
              <a:rPr lang="ko-KR" altLang="en-US" sz="2400" b="1">
                <a:solidFill>
                  <a:srgbClr val="0000CC"/>
                </a:solidFill>
                <a:latin typeface="HY헤드라인M" pitchFamily="18" charset="-127"/>
                <a:ea typeface="HY헤드라인M" pitchFamily="18" charset="-127"/>
              </a:rPr>
              <a:t>            가축이 갖고 있는 유전자의 종합적인 효과</a:t>
            </a:r>
          </a:p>
        </p:txBody>
      </p:sp>
      <p:sp>
        <p:nvSpPr>
          <p:cNvPr id="73736" name="Rectangle 4"/>
          <p:cNvSpPr>
            <a:spLocks noChangeArrowheads="1"/>
          </p:cNvSpPr>
          <p:nvPr/>
        </p:nvSpPr>
        <p:spPr bwMode="auto">
          <a:xfrm>
            <a:off x="935066" y="2535243"/>
            <a:ext cx="8686801" cy="1643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24" tIns="45513" rIns="91024" bIns="45513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eaLnBrk="1" hangingPunct="1">
              <a:lnSpc>
                <a:spcPct val="140000"/>
              </a:lnSpc>
              <a:spcBef>
                <a:spcPct val="0"/>
              </a:spcBef>
              <a:buFont typeface="Wingdings" pitchFamily="2" charset="2"/>
              <a:buChar char="q"/>
            </a:pPr>
            <a:r>
              <a:rPr lang="ko-KR" altLang="en-US" sz="2400" b="1">
                <a:solidFill>
                  <a:srgbClr val="008000"/>
                </a:solidFill>
                <a:latin typeface="HY헤드라인M" pitchFamily="18" charset="-127"/>
                <a:ea typeface="HY헤드라인M" pitchFamily="18" charset="-127"/>
              </a:rPr>
              <a:t> 환경</a:t>
            </a:r>
            <a:r>
              <a:rPr lang="ko-KR" altLang="en-US" sz="2400" b="1">
                <a:solidFill>
                  <a:srgbClr val="0000CC"/>
                </a:solidFill>
                <a:latin typeface="HY헤드라인M" pitchFamily="18" charset="-127"/>
                <a:ea typeface="HY헤드라인M" pitchFamily="18" charset="-127"/>
              </a:rPr>
              <a:t> : 부모에게 전달받은 능력을 최대한 발현하도록 </a:t>
            </a:r>
          </a:p>
          <a:p>
            <a:pPr eaLnBrk="1" hangingPunct="1">
              <a:lnSpc>
                <a:spcPct val="140000"/>
              </a:lnSpc>
              <a:spcBef>
                <a:spcPct val="0"/>
              </a:spcBef>
              <a:buFont typeface="Wingdings" pitchFamily="2" charset="2"/>
              <a:buNone/>
            </a:pPr>
            <a:r>
              <a:rPr lang="ko-KR" altLang="en-US" sz="2400" b="1">
                <a:solidFill>
                  <a:srgbClr val="0000CC"/>
                </a:solidFill>
                <a:latin typeface="HY헤드라인M" pitchFamily="18" charset="-127"/>
                <a:ea typeface="HY헤드라인M" pitchFamily="18" charset="-127"/>
              </a:rPr>
              <a:t>            최적의 조건으로 급여하는 사료의 질과 양, 사양관리,</a:t>
            </a:r>
          </a:p>
          <a:p>
            <a:pPr eaLnBrk="1" hangingPunct="1">
              <a:lnSpc>
                <a:spcPct val="140000"/>
              </a:lnSpc>
              <a:spcBef>
                <a:spcPct val="0"/>
              </a:spcBef>
              <a:buFont typeface="Wingdings" pitchFamily="2" charset="2"/>
              <a:buNone/>
            </a:pPr>
            <a:r>
              <a:rPr lang="ko-KR" altLang="en-US" sz="2400" b="1">
                <a:solidFill>
                  <a:srgbClr val="0000CC"/>
                </a:solidFill>
                <a:latin typeface="HY헤드라인M" pitchFamily="18" charset="-127"/>
                <a:ea typeface="HY헤드라인M" pitchFamily="18" charset="-127"/>
              </a:rPr>
              <a:t>            우사시설 및 질병 등 외부적으로 영향을 주는 효과 </a:t>
            </a:r>
          </a:p>
        </p:txBody>
      </p:sp>
      <p:sp>
        <p:nvSpPr>
          <p:cNvPr id="73737" name="Rectangle 6"/>
          <p:cNvSpPr>
            <a:spLocks noChangeArrowheads="1"/>
          </p:cNvSpPr>
          <p:nvPr/>
        </p:nvSpPr>
        <p:spPr bwMode="auto">
          <a:xfrm>
            <a:off x="1795464" y="5361016"/>
            <a:ext cx="2438400" cy="954087"/>
          </a:xfrm>
          <a:prstGeom prst="rect">
            <a:avLst/>
          </a:prstGeom>
          <a:solidFill>
            <a:srgbClr val="FFFF99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24" tIns="45513" rIns="91024" bIns="45513" anchor="ctr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3200" b="1">
                <a:solidFill>
                  <a:srgbClr val="0000CC"/>
                </a:solidFill>
                <a:latin typeface="HY헤드라인M" pitchFamily="18" charset="-127"/>
                <a:ea typeface="HY헤드라인M" pitchFamily="18" charset="-127"/>
              </a:rPr>
              <a:t>가축의 능력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2400" b="1">
                <a:solidFill>
                  <a:srgbClr val="0000CC"/>
                </a:solidFill>
                <a:latin typeface="HY헤드라인M" pitchFamily="18" charset="-127"/>
                <a:ea typeface="HY헤드라인M" pitchFamily="18" charset="-127"/>
              </a:rPr>
              <a:t>(표현형)</a:t>
            </a:r>
          </a:p>
        </p:txBody>
      </p:sp>
      <p:sp>
        <p:nvSpPr>
          <p:cNvPr id="73738" name="Rectangle 7"/>
          <p:cNvSpPr>
            <a:spLocks noChangeArrowheads="1"/>
          </p:cNvSpPr>
          <p:nvPr/>
        </p:nvSpPr>
        <p:spPr bwMode="auto">
          <a:xfrm>
            <a:off x="6208726" y="6123717"/>
            <a:ext cx="1927893" cy="584357"/>
          </a:xfrm>
          <a:prstGeom prst="rect">
            <a:avLst/>
          </a:prstGeom>
          <a:solidFill>
            <a:srgbClr val="FFFF99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24" tIns="45513" rIns="91024" bIns="45513" anchor="ctr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3200" b="1">
                <a:solidFill>
                  <a:srgbClr val="0000CC"/>
                </a:solidFill>
                <a:latin typeface="HY헤드라인M" pitchFamily="18" charset="-127"/>
                <a:ea typeface="HY헤드라인M" pitchFamily="18" charset="-127"/>
              </a:rPr>
              <a:t>환경 효과</a:t>
            </a:r>
          </a:p>
        </p:txBody>
      </p:sp>
      <p:sp>
        <p:nvSpPr>
          <p:cNvPr id="73739" name="Rectangle 8"/>
          <p:cNvSpPr>
            <a:spLocks noChangeArrowheads="1"/>
          </p:cNvSpPr>
          <p:nvPr/>
        </p:nvSpPr>
        <p:spPr bwMode="auto">
          <a:xfrm>
            <a:off x="5962666" y="4859272"/>
            <a:ext cx="2354292" cy="584357"/>
          </a:xfrm>
          <a:prstGeom prst="rect">
            <a:avLst/>
          </a:prstGeom>
          <a:solidFill>
            <a:srgbClr val="FFFF99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24" tIns="45513" rIns="91024" bIns="45513" anchor="ctr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3200">
                <a:solidFill>
                  <a:srgbClr val="FF0000"/>
                </a:solidFill>
                <a:latin typeface="HY헤드라인M" pitchFamily="18" charset="-127"/>
                <a:ea typeface="HY헤드라인M" pitchFamily="18" charset="-127"/>
              </a:rPr>
              <a:t>유전적</a:t>
            </a:r>
            <a:r>
              <a:rPr lang="ko-KR" altLang="en-US" sz="3200" b="1">
                <a:solidFill>
                  <a:srgbClr val="FF0000"/>
                </a:solidFill>
                <a:latin typeface="HY헤드라인M" pitchFamily="18" charset="-127"/>
                <a:ea typeface="HY헤드라인M" pitchFamily="18" charset="-127"/>
              </a:rPr>
              <a:t> 능력</a:t>
            </a:r>
          </a:p>
        </p:txBody>
      </p:sp>
      <p:sp>
        <p:nvSpPr>
          <p:cNvPr id="31" name="AutoShape 10"/>
          <p:cNvSpPr>
            <a:spLocks noChangeArrowheads="1"/>
          </p:cNvSpPr>
          <p:nvPr/>
        </p:nvSpPr>
        <p:spPr bwMode="auto">
          <a:xfrm>
            <a:off x="4614863" y="5454654"/>
            <a:ext cx="1054100" cy="733425"/>
          </a:xfrm>
          <a:prstGeom prst="leftArrow">
            <a:avLst>
              <a:gd name="adj1" fmla="val 50000"/>
              <a:gd name="adj2" fmla="val 40625"/>
            </a:avLst>
          </a:prstGeom>
          <a:noFill/>
          <a:ln w="28575">
            <a:solidFill>
              <a:srgbClr val="FF0000"/>
            </a:solidFill>
            <a:miter lim="800000"/>
            <a:headEnd/>
            <a:tailEnd/>
          </a:ln>
          <a:effectLst/>
        </p:spPr>
        <p:txBody>
          <a:bodyPr lIns="91024" tIns="45513" rIns="91024" bIns="45513" anchor="ctr">
            <a:spAutoFit/>
          </a:bodyPr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b="1" kern="0">
              <a:solidFill>
                <a:sysClr val="windowText" lastClr="000000"/>
              </a:solidFill>
            </a:endParaRPr>
          </a:p>
        </p:txBody>
      </p:sp>
      <p:sp>
        <p:nvSpPr>
          <p:cNvPr id="73741" name="Rectangle 11"/>
          <p:cNvSpPr>
            <a:spLocks noChangeArrowheads="1"/>
          </p:cNvSpPr>
          <p:nvPr/>
        </p:nvSpPr>
        <p:spPr bwMode="auto">
          <a:xfrm>
            <a:off x="7040578" y="5591675"/>
            <a:ext cx="315272" cy="368914"/>
          </a:xfrm>
          <a:prstGeom prst="rect">
            <a:avLst/>
          </a:prstGeom>
          <a:solidFill>
            <a:srgbClr val="FFFF99"/>
          </a:solidFill>
          <a:ln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24" tIns="45513" rIns="91024" bIns="45513" anchor="ctr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eaLnBrk="1" latinLnBrk="0" hangingPunct="1">
              <a:spcBef>
                <a:spcPct val="0"/>
              </a:spcBef>
              <a:buFontTx/>
              <a:buNone/>
            </a:pPr>
            <a:r>
              <a:rPr kumimoji="0" lang="ko-KR" altLang="en-US" sz="1800" b="1">
                <a:solidFill>
                  <a:srgbClr val="0000CC"/>
                </a:solidFill>
                <a:latin typeface="HY헤드라인M" pitchFamily="18" charset="-127"/>
                <a:ea typeface="HY헤드라인M" pitchFamily="18" charset="-127"/>
              </a:rPr>
              <a:t>+</a:t>
            </a:r>
          </a:p>
        </p:txBody>
      </p:sp>
      <p:pic>
        <p:nvPicPr>
          <p:cNvPr id="13" name="Picture 4" descr="C:\Users\son\AppData\Local\Microsoft\Windows\Temporary Internet Files\Content.IE5\AG6PSPUX\MC900436915[1]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 rot="19909730">
            <a:off x="8594057" y="4513060"/>
            <a:ext cx="834838" cy="1026922"/>
          </a:xfrm>
          <a:prstGeom prst="rect">
            <a:avLst/>
          </a:prstGeom>
          <a:noFill/>
        </p:spPr>
      </p:pic>
      <p:pic>
        <p:nvPicPr>
          <p:cNvPr id="14" name="Picture 11" descr="C:\Users\이기환\AppData\Local\Microsoft\Windows\Temporary Internet Files\Content.IE5\PYD58GY4\MC900429079[1].wm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9383087" y="6349850"/>
            <a:ext cx="508635" cy="628153"/>
          </a:xfrm>
          <a:prstGeom prst="rect">
            <a:avLst/>
          </a:prstGeom>
          <a:noFill/>
        </p:spPr>
      </p:pic>
      <p:pic>
        <p:nvPicPr>
          <p:cNvPr id="15" name="Picture 19" descr="C:\Users\이기환\AppData\Local\Microsoft\Windows\Temporary Internet Files\Content.IE5\2VADTWPZ\MC900290605[1].wmf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 flipH="1">
            <a:off x="8634880" y="6441059"/>
            <a:ext cx="635794" cy="595639"/>
          </a:xfrm>
          <a:prstGeom prst="rect">
            <a:avLst/>
          </a:prstGeom>
          <a:noFill/>
        </p:spPr>
      </p:pic>
      <p:pic>
        <p:nvPicPr>
          <p:cNvPr id="16" name="Picture 29"/>
          <p:cNvPicPr>
            <a:picLocks noChangeAspect="1" noChangeArrowheads="1"/>
          </p:cNvPicPr>
          <p:nvPr/>
        </p:nvPicPr>
        <p:blipFill>
          <a:blip r:embed="rId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8996244" y="5827569"/>
            <a:ext cx="431388" cy="59553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2" descr="C:\Users\kihhwani\AppData\Local\Microsoft\Windows\Temporary Internet Files\Content.IE5\76104U7G\MC900441753[1]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35545" y="6003075"/>
            <a:ext cx="779003" cy="5951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31001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0" y="0"/>
          <a:ext cx="10693400" cy="757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7238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T="45672" marB="4567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74756" name="Rectangle 1"/>
          <p:cNvSpPr>
            <a:spLocks noChangeArrowheads="1"/>
          </p:cNvSpPr>
          <p:nvPr/>
        </p:nvSpPr>
        <p:spPr bwMode="auto">
          <a:xfrm>
            <a:off x="17" y="121097"/>
            <a:ext cx="183890" cy="215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24" tIns="45513" rIns="91024" bIns="45513" anchor="ctr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ko-KR" altLang="en-US" sz="800">
              <a:solidFill>
                <a:srgbClr val="000000"/>
              </a:solidFill>
              <a:latin typeface="Trebuchet MS" pitchFamily="34" charset="0"/>
            </a:endParaRPr>
          </a:p>
        </p:txBody>
      </p:sp>
      <p:sp>
        <p:nvSpPr>
          <p:cNvPr id="20486" name="Rectangle 2"/>
          <p:cNvSpPr>
            <a:spLocks noChangeArrowheads="1"/>
          </p:cNvSpPr>
          <p:nvPr/>
        </p:nvSpPr>
        <p:spPr bwMode="auto">
          <a:xfrm>
            <a:off x="0" y="-33333"/>
            <a:ext cx="184150" cy="446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86683" tIns="0" rIns="0" bIns="0">
            <a:spAutoFit/>
          </a:bodyPr>
          <a:lstStyle/>
          <a:p>
            <a:pPr>
              <a:defRPr/>
            </a:pPr>
            <a:endParaRPr lang="ko-KR" altLang="en-US" sz="29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8" name="Rectangle 2"/>
          <p:cNvSpPr txBox="1">
            <a:spLocks noChangeArrowheads="1"/>
          </p:cNvSpPr>
          <p:nvPr/>
        </p:nvSpPr>
        <p:spPr>
          <a:xfrm>
            <a:off x="126121" y="1056320"/>
            <a:ext cx="10666185" cy="1194142"/>
          </a:xfrm>
          <a:prstGeom prst="rect">
            <a:avLst/>
          </a:prstGeom>
        </p:spPr>
        <p:txBody>
          <a:bodyPr lIns="91024" tIns="45513" rIns="91024" bIns="45513">
            <a:normAutofit fontScale="97500"/>
          </a:bodyPr>
          <a:lstStyle/>
          <a:p>
            <a:pPr>
              <a:defRPr/>
            </a:pPr>
            <a:r>
              <a:rPr lang="ko-KR" altLang="en-US" sz="3700" b="1" kern="0" dirty="0">
                <a:ln w="1905"/>
                <a:gradFill>
                  <a:gsLst>
                    <a:gs pos="0">
                      <a:srgbClr val="2D2D8A">
                        <a:shade val="20000"/>
                        <a:satMod val="200000"/>
                      </a:srgbClr>
                    </a:gs>
                    <a:gs pos="78000">
                      <a:srgbClr val="2D2D8A">
                        <a:tint val="90000"/>
                        <a:shade val="89000"/>
                        <a:satMod val="220000"/>
                      </a:srgbClr>
                    </a:gs>
                    <a:gs pos="100000">
                      <a:srgbClr val="2D2D8A">
                        <a:tint val="12000"/>
                        <a:satMod val="255000"/>
                      </a:srgb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HY헤드라인M" pitchFamily="18" charset="-127"/>
                <a:ea typeface="HY헤드라인M" pitchFamily="18" charset="-127"/>
              </a:rPr>
              <a:t>한우암소개량 </a:t>
            </a:r>
            <a:r>
              <a:rPr lang="en-US" altLang="ko-KR" sz="3700" b="1" kern="0" dirty="0">
                <a:ln w="1905"/>
                <a:gradFill>
                  <a:gsLst>
                    <a:gs pos="0">
                      <a:srgbClr val="2D2D8A">
                        <a:shade val="20000"/>
                        <a:satMod val="200000"/>
                      </a:srgbClr>
                    </a:gs>
                    <a:gs pos="78000">
                      <a:srgbClr val="2D2D8A">
                        <a:tint val="90000"/>
                        <a:shade val="89000"/>
                        <a:satMod val="220000"/>
                      </a:srgbClr>
                    </a:gs>
                    <a:gs pos="100000">
                      <a:srgbClr val="2D2D8A">
                        <a:tint val="12000"/>
                        <a:satMod val="255000"/>
                      </a:srgb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HY헤드라인M" pitchFamily="18" charset="-127"/>
                <a:ea typeface="HY헤드라인M" pitchFamily="18" charset="-127"/>
              </a:rPr>
              <a:t>= </a:t>
            </a:r>
            <a:r>
              <a:rPr lang="ko-KR" altLang="en-US" sz="3700" b="1" kern="0" dirty="0">
                <a:ln w="1905"/>
                <a:gradFill>
                  <a:gsLst>
                    <a:gs pos="0">
                      <a:srgbClr val="2D2D8A">
                        <a:shade val="20000"/>
                        <a:satMod val="200000"/>
                      </a:srgbClr>
                    </a:gs>
                    <a:gs pos="78000">
                      <a:srgbClr val="2D2D8A">
                        <a:tint val="90000"/>
                        <a:shade val="89000"/>
                        <a:satMod val="220000"/>
                      </a:srgbClr>
                    </a:gs>
                    <a:gs pos="100000">
                      <a:srgbClr val="2D2D8A">
                        <a:tint val="12000"/>
                        <a:satMod val="255000"/>
                      </a:srgb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HY헤드라인M" pitchFamily="18" charset="-127"/>
                <a:ea typeface="HY헤드라인M" pitchFamily="18" charset="-127"/>
              </a:rPr>
              <a:t>좋은 자질을 물려주는 암소만 사육</a:t>
            </a:r>
          </a:p>
        </p:txBody>
      </p:sp>
      <p:sp>
        <p:nvSpPr>
          <p:cNvPr id="9" name="Rectangle 3"/>
          <p:cNvSpPr txBox="1">
            <a:spLocks noChangeArrowheads="1"/>
          </p:cNvSpPr>
          <p:nvPr/>
        </p:nvSpPr>
        <p:spPr>
          <a:xfrm>
            <a:off x="874742" y="1898650"/>
            <a:ext cx="9063037" cy="4357688"/>
          </a:xfrm>
          <a:prstGeom prst="rect">
            <a:avLst/>
          </a:prstGeom>
        </p:spPr>
        <p:txBody>
          <a:bodyPr lIns="91024" tIns="45513" rIns="91024" bIns="45513"/>
          <a:lstStyle/>
          <a:p>
            <a:pPr marL="371362" indent="-371362">
              <a:spcBef>
                <a:spcPct val="20000"/>
              </a:spcBef>
              <a:buFontTx/>
              <a:buChar char="•"/>
              <a:defRPr/>
            </a:pPr>
            <a:r>
              <a:rPr lang="ko-KR" altLang="en-US" sz="3700" b="1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우량 종축 선발 </a:t>
            </a:r>
            <a:r>
              <a:rPr lang="en-US" altLang="ko-KR" sz="3700" b="1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= </a:t>
            </a:r>
            <a:r>
              <a:rPr lang="ko-KR" altLang="en-US" sz="3700" b="1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큰 그릇 선택</a:t>
            </a:r>
            <a:r>
              <a:rPr lang="en-US" altLang="ko-KR" sz="3700" b="1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3700" b="1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활용</a:t>
            </a:r>
            <a:r>
              <a:rPr lang="en-US" altLang="ko-KR" sz="3700" b="1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</a:p>
          <a:p>
            <a:pPr>
              <a:spcBef>
                <a:spcPct val="20000"/>
              </a:spcBef>
              <a:defRPr/>
            </a:pPr>
            <a:r>
              <a:rPr lang="en-US" altLang="ko-KR" sz="3700" b="1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                        (</a:t>
            </a:r>
            <a:r>
              <a:rPr lang="ko-KR" altLang="en-US" sz="3700" b="1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생산효율성 증대</a:t>
            </a:r>
            <a:r>
              <a:rPr lang="en-US" altLang="ko-KR" sz="3700" b="1" kern="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endParaRPr lang="ko-KR" altLang="en-US" sz="3700" b="1" kern="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74760" name="Text Box 8"/>
          <p:cNvSpPr txBox="1">
            <a:spLocks noChangeArrowheads="1"/>
          </p:cNvSpPr>
          <p:nvPr/>
        </p:nvSpPr>
        <p:spPr bwMode="auto">
          <a:xfrm>
            <a:off x="2646363" y="3441712"/>
            <a:ext cx="7740650" cy="9690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24" tIns="45513" rIns="91024" bIns="45513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21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유전적 불량 개체선택</a:t>
            </a:r>
            <a:r>
              <a:rPr lang="en-US" altLang="ko-KR" sz="21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= </a:t>
            </a:r>
            <a:r>
              <a:rPr lang="ko-KR" altLang="en-US" sz="21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작은 그릇</a:t>
            </a:r>
            <a:endParaRPr lang="ko-KR" altLang="en-US" sz="100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lvl="1" eaLnBrk="1" hangingPunct="1">
              <a:spcBef>
                <a:spcPct val="0"/>
              </a:spcBef>
              <a:buFont typeface="Wingdings" pitchFamily="2" charset="2"/>
              <a:buChar char="à"/>
            </a:pPr>
            <a:r>
              <a:rPr lang="ko-KR" altLang="en-US" sz="18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 큰 그릇 개체와 동일한 사양관리를 해도 담질 못하고 손실이 발생</a:t>
            </a:r>
            <a:endParaRPr lang="en-US" altLang="ko-KR" sz="180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sym typeface="Wingdings" pitchFamily="2" charset="2"/>
            </a:endParaRPr>
          </a:p>
          <a:p>
            <a:pPr lvl="1" eaLnBrk="1" hangingPunct="1">
              <a:spcBef>
                <a:spcPct val="0"/>
              </a:spcBef>
              <a:buFont typeface="Wingdings" pitchFamily="2" charset="2"/>
              <a:buChar char="à"/>
            </a:pPr>
            <a:r>
              <a:rPr lang="en-US" altLang="ko-KR" sz="18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 (</a:t>
            </a:r>
            <a:r>
              <a:rPr lang="ko-KR" altLang="en-US" sz="18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비효율적인 생산개체</a:t>
            </a:r>
            <a:r>
              <a:rPr lang="en-US" altLang="ko-KR" sz="180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sym typeface="Wingdings" pitchFamily="2" charset="2"/>
              </a:rPr>
              <a:t>)</a:t>
            </a:r>
          </a:p>
        </p:txBody>
      </p:sp>
      <p:pic>
        <p:nvPicPr>
          <p:cNvPr id="74761" name="Picture 2" descr="C:\Users\kihhwani\AppData\Local\Microsoft\Windows\Temporary Internet Files\Content.IE5\53FTU0N3\bowl-309198_640[1]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30900" y="4978405"/>
            <a:ext cx="2768600" cy="1997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4762" name="그룹 4"/>
          <p:cNvGrpSpPr>
            <a:grpSpLocks/>
          </p:cNvGrpSpPr>
          <p:nvPr/>
        </p:nvGrpSpPr>
        <p:grpSpPr bwMode="auto">
          <a:xfrm>
            <a:off x="3095625" y="5364163"/>
            <a:ext cx="1968500" cy="1477962"/>
            <a:chOff x="2460210" y="4776124"/>
            <a:chExt cx="1967880" cy="1477792"/>
          </a:xfrm>
        </p:grpSpPr>
        <p:pic>
          <p:nvPicPr>
            <p:cNvPr id="74771" name="Picture 2" descr="C:\Users\kihhwani\AppData\Local\Microsoft\Windows\Temporary Internet Files\Content.IE5\53FTU0N3\bowl-309198_640[1]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460210" y="5028281"/>
              <a:ext cx="1697850" cy="12256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4772" name="Picture 3" descr="C:\Users\kihhwani\AppData\Local\Microsoft\Windows\Temporary Internet Files\Content.IE5\GETDC2MK\wave-34602_640[1]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30240" y="4776124"/>
              <a:ext cx="1697850" cy="8489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7" name="직선 연결선 6"/>
          <p:cNvCxnSpPr/>
          <p:nvPr/>
        </p:nvCxnSpPr>
        <p:spPr bwMode="auto">
          <a:xfrm>
            <a:off x="2060604" y="5164138"/>
            <a:ext cx="8012113" cy="0"/>
          </a:xfrm>
          <a:prstGeom prst="line">
            <a:avLst/>
          </a:prstGeom>
          <a:ln w="38100"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74764" name="Picture 4" descr="C:\Users\kihhwani\AppData\Local\Microsoft\Windows\Temporary Internet Files\Content.IE5\8NIE6OGU\water-159015_640[1]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204" y="3898900"/>
            <a:ext cx="1512888" cy="2362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4765" name="TextBox 9"/>
          <p:cNvSpPr txBox="1">
            <a:spLocks noChangeArrowheads="1"/>
          </p:cNvSpPr>
          <p:nvPr/>
        </p:nvSpPr>
        <p:spPr bwMode="auto">
          <a:xfrm>
            <a:off x="3006755" y="6975475"/>
            <a:ext cx="1966913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24" tIns="45513" rIns="91024" bIns="45513">
            <a:spAutoFit/>
          </a:bodyPr>
          <a:lstStyle/>
          <a:p>
            <a:pPr algn="ctr"/>
            <a:r>
              <a:rPr lang="ko-KR" altLang="en-US" sz="180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저능력 암소</a:t>
            </a:r>
          </a:p>
        </p:txBody>
      </p:sp>
      <p:sp>
        <p:nvSpPr>
          <p:cNvPr id="74766" name="TextBox 22"/>
          <p:cNvSpPr txBox="1">
            <a:spLocks noChangeArrowheads="1"/>
          </p:cNvSpPr>
          <p:nvPr/>
        </p:nvSpPr>
        <p:spPr bwMode="auto">
          <a:xfrm>
            <a:off x="6381750" y="6975475"/>
            <a:ext cx="1968500" cy="369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24" tIns="45513" rIns="91024" bIns="45513">
            <a:spAutoFit/>
          </a:bodyPr>
          <a:lstStyle/>
          <a:p>
            <a:pPr algn="ctr"/>
            <a:r>
              <a:rPr lang="ko-KR" altLang="en-US" sz="180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고능력 암소</a:t>
            </a:r>
          </a:p>
        </p:txBody>
      </p:sp>
      <p:sp>
        <p:nvSpPr>
          <p:cNvPr id="74767" name="TextBox 23"/>
          <p:cNvSpPr txBox="1">
            <a:spLocks noChangeArrowheads="1"/>
          </p:cNvSpPr>
          <p:nvPr/>
        </p:nvSpPr>
        <p:spPr bwMode="auto">
          <a:xfrm>
            <a:off x="2867027" y="5265738"/>
            <a:ext cx="998538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24" tIns="45513" rIns="91024" bIns="45513">
            <a:spAutoFit/>
          </a:bodyPr>
          <a:lstStyle/>
          <a:p>
            <a:pPr algn="ctr"/>
            <a:r>
              <a:rPr lang="ko-KR" altLang="en-US" sz="180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넘침</a:t>
            </a:r>
          </a:p>
        </p:txBody>
      </p:sp>
      <p:sp>
        <p:nvSpPr>
          <p:cNvPr id="74768" name="TextBox 24"/>
          <p:cNvSpPr txBox="1">
            <a:spLocks noChangeArrowheads="1"/>
          </p:cNvSpPr>
          <p:nvPr/>
        </p:nvSpPr>
        <p:spPr bwMode="auto">
          <a:xfrm>
            <a:off x="6472238" y="5265738"/>
            <a:ext cx="1657350" cy="646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24" tIns="45513" rIns="91024" bIns="45513">
            <a:spAutoFit/>
          </a:bodyPr>
          <a:lstStyle/>
          <a:p>
            <a:pPr algn="ctr"/>
            <a:r>
              <a:rPr lang="ko-KR" altLang="en-US" sz="180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모두 담을 수 있음</a:t>
            </a:r>
            <a:r>
              <a:rPr lang="en-US" altLang="ko-KR" sz="180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.</a:t>
            </a:r>
            <a:endParaRPr lang="ko-KR" altLang="en-US" sz="1800">
              <a:solidFill>
                <a:srgbClr val="000000"/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19" name="Text Box 8"/>
          <p:cNvSpPr txBox="1">
            <a:spLocks noChangeArrowheads="1"/>
          </p:cNvSpPr>
          <p:nvPr/>
        </p:nvSpPr>
        <p:spPr bwMode="auto">
          <a:xfrm>
            <a:off x="3" y="217495"/>
            <a:ext cx="6877050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86683" tIns="0" rIns="0" bIns="0">
            <a:spAutoFit/>
          </a:bodyPr>
          <a:lstStyle>
            <a:defPPr>
              <a:defRPr lang="en-US"/>
            </a:defPPr>
            <a:lvl1pPr>
              <a:defRPr sz="2800" b="1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defRPr>
            </a:lvl1pPr>
          </a:lstStyle>
          <a:p>
            <a:pPr>
              <a:defRPr/>
            </a:pPr>
            <a:r>
              <a:rPr lang="en-US" altLang="ko-KR" dirty="0" smtClean="0"/>
              <a:t>6. </a:t>
            </a:r>
            <a:r>
              <a:rPr lang="ko-KR" altLang="en-US" dirty="0" smtClean="0"/>
              <a:t>좋은 </a:t>
            </a:r>
            <a:r>
              <a:rPr lang="ko-KR" altLang="en-US" dirty="0"/>
              <a:t>유전자원</a:t>
            </a:r>
            <a:r>
              <a:rPr lang="en-US" altLang="ko-KR" dirty="0"/>
              <a:t>(</a:t>
            </a:r>
            <a:r>
              <a:rPr lang="ko-KR" altLang="en-US" dirty="0"/>
              <a:t>암소</a:t>
            </a:r>
            <a:r>
              <a:rPr lang="en-US" altLang="ko-KR" dirty="0"/>
              <a:t>) </a:t>
            </a:r>
            <a:r>
              <a:rPr lang="ko-KR" altLang="en-US" dirty="0"/>
              <a:t>보유목적</a:t>
            </a:r>
          </a:p>
        </p:txBody>
      </p:sp>
      <p:cxnSp>
        <p:nvCxnSpPr>
          <p:cNvPr id="4" name="직선 화살표 연결선 3"/>
          <p:cNvCxnSpPr>
            <a:stCxn id="74772" idx="0"/>
          </p:cNvCxnSpPr>
          <p:nvPr/>
        </p:nvCxnSpPr>
        <p:spPr bwMode="auto">
          <a:xfrm flipH="1" flipV="1">
            <a:off x="4214813" y="4410075"/>
            <a:ext cx="0" cy="954089"/>
          </a:xfrm>
          <a:prstGeom prst="straightConnector1">
            <a:avLst/>
          </a:prstGeom>
          <a:ln>
            <a:headEnd type="none" w="med" len="med"/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09345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0" y="0"/>
          <a:ext cx="10693400" cy="757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7238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T="45672" marB="4567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76804" name="Rectangle 1"/>
          <p:cNvSpPr>
            <a:spLocks noChangeArrowheads="1"/>
          </p:cNvSpPr>
          <p:nvPr/>
        </p:nvSpPr>
        <p:spPr bwMode="auto">
          <a:xfrm>
            <a:off x="17" y="121106"/>
            <a:ext cx="183858" cy="215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08" tIns="45505" rIns="91008" bIns="45505" anchor="ctr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ko-KR" altLang="en-US" sz="800">
              <a:solidFill>
                <a:schemeClr val="tx1"/>
              </a:solidFill>
              <a:latin typeface="Trebuchet MS" pitchFamily="34" charset="0"/>
            </a:endParaRPr>
          </a:p>
        </p:txBody>
      </p:sp>
      <p:sp>
        <p:nvSpPr>
          <p:cNvPr id="76805" name="Rectangle 2"/>
          <p:cNvSpPr>
            <a:spLocks noChangeArrowheads="1"/>
          </p:cNvSpPr>
          <p:nvPr/>
        </p:nvSpPr>
        <p:spPr bwMode="auto">
          <a:xfrm>
            <a:off x="17" y="121106"/>
            <a:ext cx="183858" cy="215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08" tIns="45505" rIns="91008" bIns="45505" anchor="ctr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ko-KR" altLang="en-US" sz="800">
              <a:solidFill>
                <a:schemeClr val="tx1"/>
              </a:solidFill>
              <a:latin typeface="Trebuchet MS" pitchFamily="34" charset="0"/>
            </a:endParaRPr>
          </a:p>
        </p:txBody>
      </p:sp>
      <p:sp>
        <p:nvSpPr>
          <p:cNvPr id="6" name="AutoShape 17" descr="그림1"/>
          <p:cNvSpPr>
            <a:spLocks noChangeArrowheads="1"/>
          </p:cNvSpPr>
          <p:nvPr/>
        </p:nvSpPr>
        <p:spPr bwMode="auto">
          <a:xfrm>
            <a:off x="2286004" y="3016277"/>
            <a:ext cx="6296025" cy="1439863"/>
          </a:xfrm>
          <a:prstGeom prst="roundRect">
            <a:avLst>
              <a:gd name="adj" fmla="val 16667"/>
            </a:avLst>
          </a:prstGeom>
          <a:solidFill>
            <a:srgbClr val="0000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1164435" tIns="45505" rIns="91008" bIns="45505" anchor="ctr"/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4000" b="1" dirty="0">
                <a:latin typeface="HY헤드라인M" pitchFamily="18" charset="-127"/>
                <a:ea typeface="HY헤드라인M" pitchFamily="18" charset="-127"/>
              </a:rPr>
              <a:t>암소 개량방법</a:t>
            </a:r>
            <a:endParaRPr lang="en-US" altLang="ko-KR" sz="4000" b="1" dirty="0"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7" name="Rectangle 23"/>
          <p:cNvSpPr>
            <a:spLocks noChangeArrowheads="1"/>
          </p:cNvSpPr>
          <p:nvPr/>
        </p:nvSpPr>
        <p:spPr bwMode="auto">
          <a:xfrm>
            <a:off x="2295525" y="3232150"/>
            <a:ext cx="1081088" cy="1368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08" tIns="45505" rIns="91008" bIns="45505" anchor="ctr"/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1700" b="1">
                <a:latin typeface="Arial Narrow" pitchFamily="34" charset="0"/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3421675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제목 1"/>
          <p:cNvSpPr>
            <a:spLocks noGrp="1"/>
          </p:cNvSpPr>
          <p:nvPr>
            <p:ph type="title"/>
          </p:nvPr>
        </p:nvSpPr>
        <p:spPr>
          <a:xfrm>
            <a:off x="300014" y="819560"/>
            <a:ext cx="8180404" cy="640498"/>
          </a:xfrm>
        </p:spPr>
        <p:txBody>
          <a:bodyPr>
            <a:noAutofit/>
          </a:bodyPr>
          <a:lstStyle/>
          <a:p>
            <a:pPr algn="l"/>
            <a:r>
              <a:rPr lang="ko-KR" altLang="en-US" sz="3600" spc="-171" dirty="0">
                <a:solidFill>
                  <a:schemeClr val="accent4">
                    <a:lumMod val="50000"/>
                  </a:schemeClr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농가의 단계별 해야 할 일</a:t>
            </a:r>
          </a:p>
        </p:txBody>
      </p:sp>
      <p:sp>
        <p:nvSpPr>
          <p:cNvPr id="6" name="직사각형 5"/>
          <p:cNvSpPr/>
          <p:nvPr/>
        </p:nvSpPr>
        <p:spPr>
          <a:xfrm>
            <a:off x="371497" y="3240454"/>
            <a:ext cx="1715921" cy="1501007"/>
          </a:xfrm>
          <a:prstGeom prst="rect">
            <a:avLst/>
          </a:prstGeom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103922" tIns="51961" rIns="103922" bIns="51961" rtlCol="0" anchor="ctr"/>
          <a:lstStyle/>
          <a:p>
            <a:pPr algn="ctr" defTabSz="1039197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3200" spc="-57" dirty="0">
                <a:solidFill>
                  <a:prstClr val="white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목표</a:t>
            </a:r>
            <a:endParaRPr kumimoji="0" lang="en-US" altLang="ko-KR" sz="3200" spc="-57" dirty="0">
              <a:solidFill>
                <a:prstClr val="white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pPr algn="ctr" defTabSz="1039197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3200" spc="-57" dirty="0">
                <a:solidFill>
                  <a:prstClr val="white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설정</a:t>
            </a:r>
          </a:p>
        </p:txBody>
      </p:sp>
      <p:sp>
        <p:nvSpPr>
          <p:cNvPr id="7" name="직사각형 6"/>
          <p:cNvSpPr/>
          <p:nvPr/>
        </p:nvSpPr>
        <p:spPr>
          <a:xfrm>
            <a:off x="2153731" y="3240454"/>
            <a:ext cx="3056758" cy="1501007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80000">
                <a:schemeClr val="tx2">
                  <a:lumMod val="10000"/>
                  <a:lumOff val="90000"/>
                </a:schemeClr>
              </a:gs>
            </a:gsLst>
            <a:lin ang="16200000" scaled="0"/>
          </a:gradFill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0" tIns="51961" rIns="103922" bIns="51961" rtlCol="0" anchor="ctr"/>
          <a:lstStyle/>
          <a:p>
            <a:pPr marL="617025" indent="-313919" defTabSz="1039197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kumimoji="0" lang="ko-KR" altLang="en-US" sz="16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나만의 기준 설정</a:t>
            </a:r>
            <a:endParaRPr kumimoji="0" lang="en-US" altLang="ko-KR" sz="1600" b="1" spc="-57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pPr marL="617025" indent="-313919" defTabSz="1039197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kumimoji="0" lang="ko-KR" altLang="en-US" sz="16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육량</a:t>
            </a:r>
            <a:r>
              <a:rPr kumimoji="0" lang="en-US" altLang="ko-KR" sz="16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, </a:t>
            </a:r>
            <a:r>
              <a:rPr kumimoji="0" lang="ko-KR" altLang="en-US" sz="16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육질</a:t>
            </a:r>
            <a:r>
              <a:rPr kumimoji="0" lang="en-US" altLang="ko-KR" sz="16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, </a:t>
            </a:r>
            <a:r>
              <a:rPr kumimoji="0" lang="ko-KR" altLang="en-US" sz="16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외모 등</a:t>
            </a:r>
            <a:endParaRPr kumimoji="0" lang="en-US" altLang="ko-KR" sz="1600" b="1" spc="-57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pPr marL="617025" indent="-313919" defTabSz="1039197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kumimoji="0" lang="ko-KR" altLang="en-US" sz="14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전국</a:t>
            </a:r>
            <a:r>
              <a:rPr kumimoji="0" lang="en-US" altLang="ko-KR" sz="14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&gt; </a:t>
            </a:r>
            <a:r>
              <a:rPr kumimoji="0" lang="ko-KR" altLang="en-US" sz="14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도 </a:t>
            </a:r>
            <a:r>
              <a:rPr kumimoji="0" lang="en-US" altLang="ko-KR" sz="14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kumimoji="0" lang="ko-KR" altLang="en-US" sz="14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지역 </a:t>
            </a:r>
            <a:r>
              <a:rPr kumimoji="0" lang="en-US" altLang="ko-KR" sz="14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&gt; </a:t>
            </a:r>
            <a:r>
              <a:rPr kumimoji="0" lang="ko-KR" altLang="en-US" sz="14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선도농가</a:t>
            </a:r>
            <a:endParaRPr kumimoji="0" lang="en-US" altLang="ko-KR" sz="1400" b="1" spc="-57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371497" y="4826963"/>
            <a:ext cx="1715921" cy="1501007"/>
          </a:xfrm>
          <a:prstGeom prst="rect">
            <a:avLst/>
          </a:prstGeom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103922" tIns="51961" rIns="103922" bIns="51961" rtlCol="0" anchor="ctr"/>
          <a:lstStyle/>
          <a:p>
            <a:pPr algn="ctr" defTabSz="1039197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3200" spc="-57" dirty="0">
                <a:solidFill>
                  <a:prstClr val="white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계획</a:t>
            </a:r>
            <a:endParaRPr kumimoji="0" lang="en-US" altLang="ko-KR" sz="3200" spc="-57" dirty="0">
              <a:solidFill>
                <a:prstClr val="white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pPr algn="ctr" defTabSz="1039197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3200" spc="-57" dirty="0">
                <a:solidFill>
                  <a:prstClr val="white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교배</a:t>
            </a:r>
          </a:p>
        </p:txBody>
      </p:sp>
      <p:sp>
        <p:nvSpPr>
          <p:cNvPr id="10" name="직사각형 9"/>
          <p:cNvSpPr/>
          <p:nvPr/>
        </p:nvSpPr>
        <p:spPr>
          <a:xfrm>
            <a:off x="2153731" y="4826963"/>
            <a:ext cx="3056758" cy="1501007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80000">
                <a:schemeClr val="tx2">
                  <a:lumMod val="10000"/>
                  <a:lumOff val="90000"/>
                </a:schemeClr>
              </a:gs>
            </a:gsLst>
            <a:lin ang="16200000" scaled="0"/>
          </a:gradFill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0" tIns="51961" rIns="103922" bIns="51961" rtlCol="0" anchor="ctr"/>
          <a:lstStyle/>
          <a:p>
            <a:pPr marL="617025" indent="-313919" defTabSz="1039197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kumimoji="0" lang="ko-KR" altLang="en-US" sz="16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단점 보완</a:t>
            </a:r>
            <a:endParaRPr kumimoji="0" lang="en-US" altLang="ko-KR" sz="1600" b="1" spc="-57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pPr marL="617025" indent="-313919" defTabSz="1039197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kumimoji="0" lang="ko-KR" altLang="en-US" sz="16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장점 강화</a:t>
            </a:r>
            <a:endParaRPr kumimoji="0" lang="en-US" altLang="ko-KR" sz="1600" b="1" spc="-57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pPr marL="617025" indent="-313919" defTabSz="1039197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kumimoji="0" lang="ko-KR" altLang="en-US" sz="16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궁합이 맞는 신랑 찾기</a:t>
            </a:r>
          </a:p>
        </p:txBody>
      </p:sp>
      <p:sp>
        <p:nvSpPr>
          <p:cNvPr id="11" name="직사각형 10"/>
          <p:cNvSpPr/>
          <p:nvPr/>
        </p:nvSpPr>
        <p:spPr>
          <a:xfrm>
            <a:off x="5267959" y="3240454"/>
            <a:ext cx="1715921" cy="1501007"/>
          </a:xfrm>
          <a:prstGeom prst="rect">
            <a:avLst/>
          </a:prstGeom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103922" tIns="51961" rIns="103922" bIns="51961" rtlCol="0" anchor="ctr"/>
          <a:lstStyle/>
          <a:p>
            <a:pPr algn="ctr" defTabSz="1039197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3200" spc="-57" dirty="0">
                <a:solidFill>
                  <a:prstClr val="white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개체</a:t>
            </a:r>
            <a:endParaRPr kumimoji="0" lang="en-US" altLang="ko-KR" sz="3200" spc="-57" dirty="0">
              <a:solidFill>
                <a:prstClr val="white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pPr algn="ctr" defTabSz="1039197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3200" spc="-57" dirty="0">
                <a:solidFill>
                  <a:prstClr val="white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선발</a:t>
            </a:r>
          </a:p>
        </p:txBody>
      </p:sp>
      <p:sp>
        <p:nvSpPr>
          <p:cNvPr id="12" name="직사각형 11"/>
          <p:cNvSpPr/>
          <p:nvPr/>
        </p:nvSpPr>
        <p:spPr>
          <a:xfrm>
            <a:off x="7050214" y="3240454"/>
            <a:ext cx="3205593" cy="1501007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80000">
                <a:schemeClr val="tx2">
                  <a:lumMod val="10000"/>
                  <a:lumOff val="90000"/>
                </a:schemeClr>
              </a:gs>
            </a:gsLst>
            <a:lin ang="16200000" scaled="0"/>
          </a:gradFill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0" tIns="51961" rIns="103922" bIns="51961" rtlCol="0" anchor="ctr"/>
          <a:lstStyle/>
          <a:p>
            <a:pPr marL="617025" indent="-313919" defTabSz="1039197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kumimoji="0" lang="ko-KR" altLang="en-US" sz="14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번식능력</a:t>
            </a:r>
            <a:endParaRPr kumimoji="0" lang="en-US" altLang="ko-KR" sz="1400" b="1" spc="-57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pPr marL="617025" indent="-313919" defTabSz="1039197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kumimoji="0" lang="ko-KR" altLang="en-US" sz="14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외모</a:t>
            </a:r>
            <a:r>
              <a:rPr kumimoji="0" lang="en-US" altLang="ko-KR" sz="14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, </a:t>
            </a:r>
            <a:r>
              <a:rPr kumimoji="0" lang="ko-KR" altLang="en-US" sz="14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체형</a:t>
            </a:r>
            <a:r>
              <a:rPr kumimoji="0" lang="en-US" altLang="ko-KR" sz="14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(</a:t>
            </a:r>
            <a:r>
              <a:rPr kumimoji="0" lang="ko-KR" altLang="en-US" sz="14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선형심사</a:t>
            </a:r>
            <a:r>
              <a:rPr kumimoji="0" lang="en-US" altLang="ko-KR" sz="14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)</a:t>
            </a:r>
          </a:p>
          <a:p>
            <a:pPr marL="617025" indent="-313919" defTabSz="1039197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kumimoji="0" lang="ko-KR" altLang="en-US" sz="14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유전능력</a:t>
            </a:r>
            <a:r>
              <a:rPr kumimoji="0" lang="en-US" altLang="ko-KR" sz="14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, </a:t>
            </a:r>
            <a:r>
              <a:rPr kumimoji="0" lang="ko-KR" altLang="en-US" sz="14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후대도체성적</a:t>
            </a:r>
            <a:r>
              <a:rPr kumimoji="0" lang="en-US" altLang="ko-KR" sz="14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, </a:t>
            </a:r>
            <a:r>
              <a:rPr kumimoji="0" lang="ko-KR" altLang="en-US" sz="14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근친</a:t>
            </a:r>
            <a:endParaRPr kumimoji="0" lang="en-US" altLang="ko-KR" sz="1400" b="1" spc="-57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13" name="직사각형 12"/>
          <p:cNvSpPr/>
          <p:nvPr/>
        </p:nvSpPr>
        <p:spPr>
          <a:xfrm>
            <a:off x="5267959" y="4826963"/>
            <a:ext cx="1715921" cy="1501007"/>
          </a:xfrm>
          <a:prstGeom prst="rect">
            <a:avLst/>
          </a:prstGeom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103922" tIns="51961" rIns="103922" bIns="51961" rtlCol="0" anchor="ctr"/>
          <a:lstStyle/>
          <a:p>
            <a:pPr algn="ctr" defTabSz="1039197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3200" spc="-57" dirty="0">
                <a:solidFill>
                  <a:prstClr val="white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개체</a:t>
            </a:r>
            <a:endParaRPr kumimoji="0" lang="en-US" altLang="ko-KR" sz="3200" spc="-57" dirty="0">
              <a:solidFill>
                <a:prstClr val="white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pPr algn="ctr" defTabSz="1039197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3200" spc="-57" dirty="0">
                <a:solidFill>
                  <a:prstClr val="white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도태</a:t>
            </a:r>
          </a:p>
        </p:txBody>
      </p:sp>
      <p:sp>
        <p:nvSpPr>
          <p:cNvPr id="14" name="직사각형 13"/>
          <p:cNvSpPr/>
          <p:nvPr/>
        </p:nvSpPr>
        <p:spPr>
          <a:xfrm>
            <a:off x="7050189" y="4826963"/>
            <a:ext cx="3182842" cy="1501007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80000">
                <a:schemeClr val="tx2">
                  <a:lumMod val="10000"/>
                  <a:lumOff val="90000"/>
                </a:schemeClr>
              </a:gs>
            </a:gsLst>
            <a:lin ang="16200000" scaled="0"/>
          </a:gradFill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0" tIns="51961" rIns="103922" bIns="51961" rtlCol="0" anchor="ctr"/>
          <a:lstStyle/>
          <a:p>
            <a:pPr marL="617025" indent="-313919" defTabSz="1039197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kumimoji="0" lang="ko-KR" altLang="en-US" sz="14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번식 기능 저하</a:t>
            </a:r>
            <a:r>
              <a:rPr kumimoji="0" lang="en-US" altLang="ko-KR" sz="14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, </a:t>
            </a:r>
            <a:r>
              <a:rPr kumimoji="0" lang="ko-KR" altLang="en-US" sz="14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근친 상승</a:t>
            </a:r>
            <a:endParaRPr kumimoji="0" lang="en-US" altLang="ko-KR" sz="1400" b="1" spc="-57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pPr marL="617025" indent="-313919" defTabSz="1039197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kumimoji="0" lang="ko-KR" altLang="en-US" sz="14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유전능력  저하</a:t>
            </a:r>
            <a:endParaRPr kumimoji="0" lang="en-US" altLang="ko-KR" sz="1400" b="1" spc="-57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pPr marL="617025" indent="-313919" defTabSz="1039197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kumimoji="0" lang="ko-KR" altLang="en-US" sz="14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후대 성적 저하</a:t>
            </a:r>
          </a:p>
        </p:txBody>
      </p:sp>
      <p:sp>
        <p:nvSpPr>
          <p:cNvPr id="15" name="직사각형 14"/>
          <p:cNvSpPr/>
          <p:nvPr/>
        </p:nvSpPr>
        <p:spPr>
          <a:xfrm>
            <a:off x="380826" y="1667750"/>
            <a:ext cx="1715921" cy="1501007"/>
          </a:xfrm>
          <a:prstGeom prst="rect">
            <a:avLst/>
          </a:prstGeom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103922" tIns="51961" rIns="103922" bIns="51961" rtlCol="0" anchor="ctr"/>
          <a:lstStyle/>
          <a:p>
            <a:pPr algn="ctr" defTabSz="1039197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3200" spc="-57" dirty="0">
                <a:solidFill>
                  <a:prstClr val="white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기록</a:t>
            </a:r>
            <a:endParaRPr kumimoji="0" lang="en-US" altLang="ko-KR" sz="3200" spc="-57" dirty="0">
              <a:solidFill>
                <a:prstClr val="white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pPr algn="ctr" defTabSz="1039197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3200" spc="-57" dirty="0">
                <a:solidFill>
                  <a:prstClr val="white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관리</a:t>
            </a:r>
          </a:p>
        </p:txBody>
      </p:sp>
      <p:sp>
        <p:nvSpPr>
          <p:cNvPr id="16" name="직사각형 15"/>
          <p:cNvSpPr/>
          <p:nvPr/>
        </p:nvSpPr>
        <p:spPr>
          <a:xfrm>
            <a:off x="2163060" y="1667750"/>
            <a:ext cx="3056758" cy="1501007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80000">
                <a:schemeClr val="tx2">
                  <a:lumMod val="10000"/>
                  <a:lumOff val="90000"/>
                </a:schemeClr>
              </a:gs>
            </a:gsLst>
            <a:lin ang="16200000" scaled="0"/>
          </a:gradFill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0" tIns="51961" rIns="103922" bIns="51961" rtlCol="0" anchor="ctr"/>
          <a:lstStyle/>
          <a:p>
            <a:pPr marL="617025" indent="-313919" defTabSz="1039197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kumimoji="0" lang="ko-KR" altLang="en-US" sz="16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수정 및 </a:t>
            </a:r>
            <a:r>
              <a:rPr kumimoji="0" lang="ko-KR" altLang="en-US" sz="1600" b="1" spc="-57" dirty="0" err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분만일자별</a:t>
            </a:r>
            <a:r>
              <a:rPr kumimoji="0" lang="ko-KR" altLang="en-US" sz="16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기록</a:t>
            </a:r>
            <a:endParaRPr kumimoji="0" lang="en-US" altLang="ko-KR" sz="1600" b="1" spc="-57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pPr marL="617025" indent="-313919" defTabSz="1039197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kumimoji="0" lang="ko-KR" altLang="en-US" sz="16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후대기록</a:t>
            </a:r>
            <a:endParaRPr kumimoji="0" lang="en-US" altLang="ko-KR" sz="1600" b="1" spc="-57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pPr marL="617025" indent="-313919" defTabSz="1039197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kumimoji="0" lang="ko-KR" altLang="en-US" sz="16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질병 등 특이사항</a:t>
            </a:r>
          </a:p>
        </p:txBody>
      </p:sp>
      <p:sp>
        <p:nvSpPr>
          <p:cNvPr id="17" name="직사각형 16"/>
          <p:cNvSpPr/>
          <p:nvPr/>
        </p:nvSpPr>
        <p:spPr>
          <a:xfrm>
            <a:off x="5277284" y="1667750"/>
            <a:ext cx="1715921" cy="1501007"/>
          </a:xfrm>
          <a:prstGeom prst="rect">
            <a:avLst/>
          </a:prstGeom>
          <a:ln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103922" tIns="51961" rIns="103922" bIns="51961" rtlCol="0" anchor="ctr"/>
          <a:lstStyle/>
          <a:p>
            <a:pPr algn="ctr" defTabSz="1039197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3200" spc="-57" dirty="0">
                <a:solidFill>
                  <a:prstClr val="white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혈통</a:t>
            </a:r>
            <a:endParaRPr kumimoji="0" lang="en-US" altLang="ko-KR" sz="3200" spc="-57" dirty="0">
              <a:solidFill>
                <a:prstClr val="white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pPr algn="ctr" defTabSz="1039197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3200" spc="-57" dirty="0">
                <a:solidFill>
                  <a:prstClr val="white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관리</a:t>
            </a:r>
          </a:p>
        </p:txBody>
      </p:sp>
      <p:sp>
        <p:nvSpPr>
          <p:cNvPr id="18" name="직사각형 17"/>
          <p:cNvSpPr/>
          <p:nvPr/>
        </p:nvSpPr>
        <p:spPr>
          <a:xfrm>
            <a:off x="7059543" y="1667750"/>
            <a:ext cx="3241769" cy="1501007"/>
          </a:xfrm>
          <a:prstGeom prst="rect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80000">
                <a:schemeClr val="tx2">
                  <a:lumMod val="10000"/>
                  <a:lumOff val="90000"/>
                </a:schemeClr>
              </a:gs>
            </a:gsLst>
            <a:lin ang="16200000" scaled="0"/>
          </a:gradFill>
          <a:ln>
            <a:noFill/>
          </a:ln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lIns="0" tIns="51961" rIns="103922" bIns="51961" rtlCol="0" anchor="ctr"/>
          <a:lstStyle/>
          <a:p>
            <a:pPr marL="617025" indent="-313919" defTabSz="1039197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kumimoji="0" lang="ko-KR" altLang="en-US" sz="14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혈통등록</a:t>
            </a:r>
            <a:r>
              <a:rPr kumimoji="0" lang="en-US" altLang="ko-KR" sz="14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(</a:t>
            </a:r>
            <a:r>
              <a:rPr kumimoji="0" lang="ko-KR" altLang="en-US" sz="14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미등록 및 </a:t>
            </a:r>
            <a:r>
              <a:rPr kumimoji="0" lang="ko-KR" altLang="en-US" sz="1400" b="1" spc="-57" dirty="0" err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기초등록우</a:t>
            </a:r>
            <a:r>
              <a:rPr kumimoji="0" lang="ko-KR" altLang="en-US" sz="14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kumimoji="0" lang="en-US" altLang="ko-KR" sz="14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)</a:t>
            </a:r>
          </a:p>
          <a:p>
            <a:pPr marL="617025" indent="-313919" defTabSz="1039197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kumimoji="0" lang="ko-KR" altLang="en-US" sz="14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집단 및 개체의 능력파악</a:t>
            </a:r>
            <a:endParaRPr kumimoji="0" lang="en-US" altLang="ko-KR" sz="1400" b="1" spc="-57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  <a:p>
            <a:pPr marL="617025" indent="-313919" defTabSz="1039197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</a:pPr>
            <a:r>
              <a:rPr kumimoji="0" lang="ko-KR" altLang="en-US" sz="14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집단의 혈연관계 규명</a:t>
            </a:r>
            <a:r>
              <a:rPr kumimoji="0" lang="en-US" altLang="ko-KR" sz="14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(</a:t>
            </a:r>
            <a:r>
              <a:rPr kumimoji="0" lang="ko-KR" altLang="en-US" sz="14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근친</a:t>
            </a:r>
            <a:r>
              <a:rPr kumimoji="0" lang="en-US" altLang="ko-KR" sz="1400" b="1" spc="-57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)</a:t>
            </a:r>
          </a:p>
        </p:txBody>
      </p:sp>
      <p:sp>
        <p:nvSpPr>
          <p:cNvPr id="19" name="Rectangle 2"/>
          <p:cNvSpPr>
            <a:spLocks noChangeArrowheads="1"/>
          </p:cNvSpPr>
          <p:nvPr/>
        </p:nvSpPr>
        <p:spPr bwMode="auto">
          <a:xfrm>
            <a:off x="404617" y="6502853"/>
            <a:ext cx="9855269" cy="608148"/>
          </a:xfrm>
          <a:prstGeom prst="rect">
            <a:avLst/>
          </a:prstGeom>
          <a:solidFill>
            <a:srgbClr val="EAEAE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8400" tIns="163368" rIns="98400" bIns="163368" anchor="ctr">
            <a:spAutoFit/>
          </a:bodyPr>
          <a:lstStyle>
            <a:lvl1pPr defTabSz="866775"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defTabSz="866775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defTabSz="866775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defTabSz="866775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defTabSz="866775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defTabSz="8667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defTabSz="8667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defTabSz="8667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defTabSz="866775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defTabSz="985074" eaLnBrk="1" fontAlgn="auto" latinLnBrk="0" hangingPunct="1">
              <a:spcAft>
                <a:spcPts val="0"/>
              </a:spcAft>
              <a:buNone/>
              <a:defRPr/>
            </a:pPr>
            <a:r>
              <a:rPr lang="en-US" altLang="ko-KR" sz="1800" b="1" kern="0" dirty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  <a:t> * </a:t>
            </a:r>
            <a:r>
              <a:rPr lang="ko-KR" altLang="en-US" sz="1800" b="1" kern="0" dirty="0">
                <a:solidFill>
                  <a:srgbClr val="002060"/>
                </a:solidFill>
                <a:latin typeface="맑은 고딕" pitchFamily="50" charset="-127"/>
                <a:ea typeface="맑은 고딕" pitchFamily="50" charset="-127"/>
              </a:rPr>
              <a:t>위의 작업을 반복 수행하여 우리 농장의 암소 집단을 최적의 암소 집단으로 개선</a:t>
            </a:r>
            <a:endParaRPr lang="en-US" altLang="ko-KR" sz="1800" b="1" kern="0" dirty="0">
              <a:solidFill>
                <a:srgbClr val="00206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graphicFrame>
        <p:nvGraphicFramePr>
          <p:cNvPr id="22" name="표 21"/>
          <p:cNvGraphicFramePr>
            <a:graphicFrameLocks noGrp="1"/>
          </p:cNvGraphicFramePr>
          <p:nvPr/>
        </p:nvGraphicFramePr>
        <p:xfrm>
          <a:off x="0" y="0"/>
          <a:ext cx="10693400" cy="757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7238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T="45672" marB="4567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23" name="Text Box 8"/>
          <p:cNvSpPr txBox="1">
            <a:spLocks noChangeArrowheads="1"/>
          </p:cNvSpPr>
          <p:nvPr/>
        </p:nvSpPr>
        <p:spPr bwMode="auto">
          <a:xfrm>
            <a:off x="3" y="134938"/>
            <a:ext cx="6877050" cy="492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86683" tIns="0" rIns="0" bIns="0">
            <a:spAutoFit/>
          </a:bodyPr>
          <a:lstStyle/>
          <a:p>
            <a:pPr>
              <a:defRPr/>
            </a:pPr>
            <a:r>
              <a:rPr lang="en-US" altLang="ko-KR" sz="32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1. </a:t>
            </a:r>
            <a:r>
              <a:rPr lang="ko-KR" altLang="en-US" sz="32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농장 암소 개량방법</a:t>
            </a:r>
          </a:p>
        </p:txBody>
      </p:sp>
      <p:sp>
        <p:nvSpPr>
          <p:cNvPr id="24" name="Rectangle 1"/>
          <p:cNvSpPr>
            <a:spLocks noChangeArrowheads="1"/>
          </p:cNvSpPr>
          <p:nvPr/>
        </p:nvSpPr>
        <p:spPr bwMode="auto">
          <a:xfrm>
            <a:off x="0" y="-33333"/>
            <a:ext cx="184150" cy="446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86683" tIns="0" rIns="0" bIns="0">
            <a:spAutoFit/>
          </a:bodyPr>
          <a:lstStyle/>
          <a:p>
            <a:pPr>
              <a:defRPr/>
            </a:pPr>
            <a:endParaRPr lang="ko-KR" altLang="en-US" sz="29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25" name="Rectangle 2"/>
          <p:cNvSpPr>
            <a:spLocks noChangeArrowheads="1"/>
          </p:cNvSpPr>
          <p:nvPr/>
        </p:nvSpPr>
        <p:spPr bwMode="auto">
          <a:xfrm>
            <a:off x="0" y="-33333"/>
            <a:ext cx="184150" cy="446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86683" tIns="0" rIns="0" bIns="0">
            <a:spAutoFit/>
          </a:bodyPr>
          <a:lstStyle/>
          <a:p>
            <a:pPr>
              <a:defRPr/>
            </a:pPr>
            <a:endParaRPr lang="ko-KR" altLang="en-US" sz="29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itchFamily="18" charset="-127"/>
              <a:ea typeface="HY견고딕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1150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0" y="0"/>
          <a:ext cx="10693400" cy="757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7238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T="45672" marB="4567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3" name="Text Box 8"/>
          <p:cNvSpPr txBox="1">
            <a:spLocks noChangeArrowheads="1"/>
          </p:cNvSpPr>
          <p:nvPr/>
        </p:nvSpPr>
        <p:spPr bwMode="auto">
          <a:xfrm>
            <a:off x="3" y="134938"/>
            <a:ext cx="6877050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86683" tIns="0" rIns="0" bIns="0">
            <a:spAutoFit/>
          </a:bodyPr>
          <a:lstStyle/>
          <a:p>
            <a:pPr>
              <a:defRPr/>
            </a:pPr>
            <a:r>
              <a:rPr lang="en-US" altLang="ko-KR" sz="32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1. </a:t>
            </a:r>
            <a:r>
              <a:rPr lang="ko-KR" altLang="en-US" sz="32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농장 암소 개량방법 </a:t>
            </a:r>
            <a:r>
              <a:rPr lang="en-US" altLang="ko-KR" sz="32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–</a:t>
            </a:r>
            <a:r>
              <a:rPr lang="ko-KR" altLang="en-US" sz="32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단계별 할일</a:t>
            </a:r>
          </a:p>
        </p:txBody>
      </p:sp>
      <p:sp>
        <p:nvSpPr>
          <p:cNvPr id="26629" name="Rectangle 1"/>
          <p:cNvSpPr>
            <a:spLocks noChangeArrowheads="1"/>
          </p:cNvSpPr>
          <p:nvPr/>
        </p:nvSpPr>
        <p:spPr bwMode="auto">
          <a:xfrm>
            <a:off x="0" y="-33333"/>
            <a:ext cx="184150" cy="446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86683" tIns="0" rIns="0" bIns="0">
            <a:spAutoFit/>
          </a:bodyPr>
          <a:lstStyle/>
          <a:p>
            <a:pPr>
              <a:defRPr/>
            </a:pPr>
            <a:endParaRPr lang="ko-KR" altLang="en-US" sz="29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26630" name="Rectangle 2"/>
          <p:cNvSpPr>
            <a:spLocks noChangeArrowheads="1"/>
          </p:cNvSpPr>
          <p:nvPr/>
        </p:nvSpPr>
        <p:spPr bwMode="auto">
          <a:xfrm>
            <a:off x="0" y="-33333"/>
            <a:ext cx="184150" cy="446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86683" tIns="0" rIns="0" bIns="0">
            <a:spAutoFit/>
          </a:bodyPr>
          <a:lstStyle/>
          <a:p>
            <a:pPr>
              <a:defRPr/>
            </a:pPr>
            <a:endParaRPr lang="ko-KR" altLang="en-US" sz="29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24584" name="내용 개체 틀 2"/>
          <p:cNvSpPr txBox="1">
            <a:spLocks/>
          </p:cNvSpPr>
          <p:nvPr/>
        </p:nvSpPr>
        <p:spPr bwMode="auto">
          <a:xfrm>
            <a:off x="396150" y="810301"/>
            <a:ext cx="9856786" cy="505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24" tIns="45513" rIns="91024" bIns="45513"/>
          <a:lstStyle>
            <a:lvl1pPr marL="342900" indent="-342900" eaLnBrk="0" hangingPunct="0">
              <a:defRPr kumimoji="1" sz="800">
                <a:solidFill>
                  <a:schemeClr val="tx1"/>
                </a:solidFill>
                <a:latin typeface="Trebuchet MS" pitchFamily="34" charset="0"/>
                <a:ea typeface="굴림" pitchFamily="50" charset="-127"/>
              </a:defRPr>
            </a:lvl1pPr>
            <a:lvl2pPr marL="742950" indent="-285750" eaLnBrk="0" hangingPunct="0">
              <a:defRPr kumimoji="1" sz="800">
                <a:solidFill>
                  <a:schemeClr val="tx1"/>
                </a:solidFill>
                <a:latin typeface="Trebuchet MS" pitchFamily="34" charset="0"/>
                <a:ea typeface="굴림" pitchFamily="50" charset="-127"/>
              </a:defRPr>
            </a:lvl2pPr>
            <a:lvl3pPr marL="1143000" indent="-228600" eaLnBrk="0" hangingPunct="0">
              <a:defRPr kumimoji="1" sz="800">
                <a:solidFill>
                  <a:schemeClr val="tx1"/>
                </a:solidFill>
                <a:latin typeface="Trebuchet MS" pitchFamily="34" charset="0"/>
                <a:ea typeface="굴림" pitchFamily="50" charset="-127"/>
              </a:defRPr>
            </a:lvl3pPr>
            <a:lvl4pPr marL="1600200" indent="-228600" eaLnBrk="0" hangingPunct="0">
              <a:defRPr kumimoji="1" sz="800">
                <a:solidFill>
                  <a:schemeClr val="tx1"/>
                </a:solidFill>
                <a:latin typeface="Trebuchet MS" pitchFamily="34" charset="0"/>
                <a:ea typeface="굴림" pitchFamily="50" charset="-127"/>
              </a:defRPr>
            </a:lvl4pPr>
            <a:lvl5pPr marL="2057400" indent="-228600" eaLnBrk="0" hangingPunct="0">
              <a:defRPr kumimoji="1" sz="800">
                <a:solidFill>
                  <a:schemeClr val="tx1"/>
                </a:solidFill>
                <a:latin typeface="Trebuchet MS" pitchFamily="34" charset="0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800">
                <a:solidFill>
                  <a:schemeClr val="tx1"/>
                </a:solidFill>
                <a:latin typeface="Trebuchet MS" pitchFamily="34" charset="0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800">
                <a:solidFill>
                  <a:schemeClr val="tx1"/>
                </a:solidFill>
                <a:latin typeface="Trebuchet MS" pitchFamily="34" charset="0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800">
                <a:solidFill>
                  <a:schemeClr val="tx1"/>
                </a:solidFill>
                <a:latin typeface="Trebuchet MS" pitchFamily="34" charset="0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 sz="800">
                <a:solidFill>
                  <a:schemeClr val="tx1"/>
                </a:solidFill>
                <a:latin typeface="Trebuchet MS" pitchFamily="34" charset="0"/>
                <a:ea typeface="굴림" pitchFamily="50" charset="-127"/>
              </a:defRPr>
            </a:lvl9pPr>
          </a:lstStyle>
          <a:p>
            <a:pPr marL="0" indent="0" eaLnBrk="1" hangingPunct="1">
              <a:lnSpc>
                <a:spcPct val="150000"/>
              </a:lnSpc>
              <a:spcBef>
                <a:spcPct val="20000"/>
              </a:spcBef>
              <a:defRPr/>
            </a:pPr>
            <a:r>
              <a:rPr kumimoji="0" lang="en-US" altLang="ko-KR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1. </a:t>
            </a:r>
            <a:r>
              <a:rPr kumimoji="0" lang="ko-KR" altLang="en-US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기록관리</a:t>
            </a:r>
            <a:r>
              <a:rPr kumimoji="0" lang="en-US" altLang="ko-KR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 (</a:t>
            </a:r>
            <a:r>
              <a:rPr kumimoji="0" lang="ko-KR" altLang="en-US" sz="2900" b="1" dirty="0" err="1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수정일자별</a:t>
            </a:r>
            <a:r>
              <a:rPr kumimoji="0" lang="ko-KR" altLang="en-US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 기록</a:t>
            </a:r>
            <a:r>
              <a:rPr kumimoji="0" lang="en-US" altLang="ko-KR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kumimoji="0" lang="ko-KR" altLang="en-US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후대기록</a:t>
            </a:r>
            <a:r>
              <a:rPr kumimoji="0" lang="en-US" altLang="ko-KR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kumimoji="0" lang="ko-KR" altLang="en-US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질병 등 특이사항</a:t>
            </a:r>
            <a:r>
              <a:rPr kumimoji="0" lang="en-US" altLang="ko-KR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)</a:t>
            </a:r>
          </a:p>
          <a:p>
            <a:pPr marL="0" indent="0" eaLnBrk="1" hangingPunct="1">
              <a:lnSpc>
                <a:spcPct val="150000"/>
              </a:lnSpc>
              <a:spcBef>
                <a:spcPct val="20000"/>
              </a:spcBef>
              <a:defRPr/>
            </a:pPr>
            <a:r>
              <a:rPr kumimoji="0" lang="en-US" altLang="ko-KR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2. </a:t>
            </a:r>
            <a:r>
              <a:rPr kumimoji="0" lang="ko-KR" altLang="en-US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혈통관리 </a:t>
            </a:r>
            <a:r>
              <a:rPr kumimoji="0" lang="en-US" altLang="ko-KR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(</a:t>
            </a:r>
            <a:r>
              <a:rPr kumimoji="0" lang="ko-KR" altLang="en-US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미등록</a:t>
            </a:r>
            <a:r>
              <a:rPr kumimoji="0" lang="en-US" altLang="ko-KR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kumimoji="0" lang="ko-KR" altLang="en-US" sz="2900" b="1" dirty="0" err="1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기초등록우</a:t>
            </a:r>
            <a:r>
              <a:rPr kumimoji="0" lang="ko-KR" altLang="en-US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 </a:t>
            </a:r>
            <a:r>
              <a:rPr kumimoji="0" lang="en-US" altLang="ko-KR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-&gt; </a:t>
            </a:r>
            <a:r>
              <a:rPr kumimoji="0" lang="ko-KR" altLang="en-US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혈통등록</a:t>
            </a:r>
            <a:r>
              <a:rPr kumimoji="0" lang="en-US" altLang="ko-KR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)</a:t>
            </a:r>
          </a:p>
          <a:p>
            <a:pPr marL="0" indent="0" eaLnBrk="1" hangingPunct="1">
              <a:lnSpc>
                <a:spcPct val="150000"/>
              </a:lnSpc>
              <a:spcBef>
                <a:spcPct val="20000"/>
              </a:spcBef>
              <a:defRPr/>
            </a:pPr>
            <a:r>
              <a:rPr kumimoji="0" lang="en-US" altLang="ko-KR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3. </a:t>
            </a:r>
            <a:r>
              <a:rPr kumimoji="0" lang="ko-KR" altLang="en-US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나만의 기준설정 </a:t>
            </a:r>
            <a:r>
              <a:rPr kumimoji="0" lang="en-US" altLang="ko-KR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(</a:t>
            </a:r>
            <a:r>
              <a:rPr kumimoji="0" lang="ko-KR" altLang="en-US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육량</a:t>
            </a:r>
            <a:r>
              <a:rPr kumimoji="0" lang="en-US" altLang="ko-KR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kumimoji="0" lang="ko-KR" altLang="en-US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육질</a:t>
            </a:r>
            <a:r>
              <a:rPr kumimoji="0" lang="en-US" altLang="ko-KR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kumimoji="0" lang="ko-KR" altLang="en-US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외모 최소기준 설정</a:t>
            </a:r>
            <a:r>
              <a:rPr kumimoji="0" lang="en-US" altLang="ko-KR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)</a:t>
            </a:r>
          </a:p>
          <a:p>
            <a:pPr marL="0" indent="0" eaLnBrk="1" hangingPunct="1">
              <a:lnSpc>
                <a:spcPct val="150000"/>
              </a:lnSpc>
              <a:spcBef>
                <a:spcPct val="20000"/>
              </a:spcBef>
              <a:defRPr/>
            </a:pPr>
            <a:r>
              <a:rPr kumimoji="0" lang="en-US" altLang="ko-KR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    - </a:t>
            </a:r>
            <a:r>
              <a:rPr kumimoji="0" lang="ko-KR" altLang="en-US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전국</a:t>
            </a:r>
            <a:r>
              <a:rPr kumimoji="0" lang="en-US" altLang="ko-KR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kumimoji="0" lang="ko-KR" altLang="en-US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지역</a:t>
            </a:r>
            <a:r>
              <a:rPr kumimoji="0" lang="en-US" altLang="ko-KR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kumimoji="0" lang="ko-KR" altLang="en-US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선도농가 성적과 </a:t>
            </a:r>
            <a:r>
              <a:rPr kumimoji="0" lang="ko-KR" altLang="en-US" sz="2900" b="1" dirty="0" err="1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비교후</a:t>
            </a:r>
            <a:r>
              <a:rPr kumimoji="0" lang="ko-KR" altLang="en-US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 목표치 설정</a:t>
            </a:r>
            <a:endParaRPr kumimoji="0" lang="en-US" altLang="ko-KR" sz="2900" b="1" dirty="0">
              <a:solidFill>
                <a:srgbClr val="000000"/>
              </a:solidFill>
              <a:latin typeface="HY헤드라인M" pitchFamily="18" charset="-127"/>
              <a:ea typeface="HY헤드라인M" pitchFamily="18" charset="-127"/>
            </a:endParaRPr>
          </a:p>
          <a:p>
            <a:pPr marL="0" indent="0" eaLnBrk="1" hangingPunct="1">
              <a:lnSpc>
                <a:spcPct val="150000"/>
              </a:lnSpc>
              <a:spcBef>
                <a:spcPct val="20000"/>
              </a:spcBef>
              <a:defRPr/>
            </a:pPr>
            <a:r>
              <a:rPr kumimoji="0" lang="en-US" altLang="ko-KR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4. </a:t>
            </a:r>
            <a:r>
              <a:rPr kumimoji="0" lang="ko-KR" altLang="en-US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차기 </a:t>
            </a:r>
            <a:r>
              <a:rPr kumimoji="0" lang="ko-KR" altLang="en-US" sz="2900" b="1" dirty="0" err="1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번식우</a:t>
            </a:r>
            <a:r>
              <a:rPr kumimoji="0" lang="ko-KR" altLang="en-US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 선발 </a:t>
            </a:r>
            <a:r>
              <a:rPr kumimoji="0" lang="en-US" altLang="ko-KR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(</a:t>
            </a:r>
            <a:r>
              <a:rPr kumimoji="0" lang="ko-KR" altLang="en-US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번식</a:t>
            </a:r>
            <a:r>
              <a:rPr kumimoji="0" lang="en-US" altLang="ko-KR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kumimoji="0" lang="ko-KR" altLang="en-US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외모</a:t>
            </a:r>
            <a:r>
              <a:rPr kumimoji="0" lang="en-US" altLang="ko-KR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kumimoji="0" lang="ko-KR" altLang="en-US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유전능력</a:t>
            </a:r>
            <a:r>
              <a:rPr kumimoji="0" lang="en-US" altLang="ko-KR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kumimoji="0" lang="ko-KR" altLang="en-US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후대성적</a:t>
            </a:r>
            <a:r>
              <a:rPr kumimoji="0" lang="en-US" altLang="ko-KR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kumimoji="0" lang="ko-KR" altLang="en-US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근친</a:t>
            </a:r>
            <a:r>
              <a:rPr kumimoji="0" lang="en-US" altLang="ko-KR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)</a:t>
            </a:r>
          </a:p>
          <a:p>
            <a:pPr marL="0" indent="0" eaLnBrk="1" hangingPunct="1">
              <a:lnSpc>
                <a:spcPct val="150000"/>
              </a:lnSpc>
              <a:spcBef>
                <a:spcPct val="20000"/>
              </a:spcBef>
              <a:defRPr/>
            </a:pPr>
            <a:r>
              <a:rPr kumimoji="0" lang="en-US" altLang="ko-KR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5. </a:t>
            </a:r>
            <a:r>
              <a:rPr kumimoji="0" lang="ko-KR" altLang="en-US" sz="2900" b="1" dirty="0" err="1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번식우</a:t>
            </a:r>
            <a:r>
              <a:rPr kumimoji="0" lang="ko-KR" altLang="en-US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 단점</a:t>
            </a:r>
            <a:r>
              <a:rPr kumimoji="0" lang="en-US" altLang="ko-KR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 </a:t>
            </a:r>
            <a:r>
              <a:rPr kumimoji="0" lang="ko-KR" altLang="en-US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보완</a:t>
            </a:r>
            <a:r>
              <a:rPr kumimoji="0" lang="en-US" altLang="ko-KR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kumimoji="0" lang="ko-KR" altLang="en-US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장점 강화 교배 실시 </a:t>
            </a:r>
            <a:r>
              <a:rPr kumimoji="0" lang="en-US" altLang="ko-KR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(</a:t>
            </a:r>
            <a:r>
              <a:rPr kumimoji="0" lang="ko-KR" altLang="en-US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보유정액</a:t>
            </a:r>
            <a:r>
              <a:rPr kumimoji="0" lang="en-US" altLang="ko-KR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)</a:t>
            </a:r>
          </a:p>
          <a:p>
            <a:pPr marL="0" indent="0" eaLnBrk="1" hangingPunct="1">
              <a:lnSpc>
                <a:spcPct val="150000"/>
              </a:lnSpc>
              <a:spcBef>
                <a:spcPct val="20000"/>
              </a:spcBef>
              <a:defRPr/>
            </a:pPr>
            <a:r>
              <a:rPr kumimoji="0" lang="en-US" altLang="ko-KR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6. </a:t>
            </a:r>
            <a:r>
              <a:rPr kumimoji="0" lang="ko-KR" altLang="en-US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우량 번식우의 후대</a:t>
            </a:r>
            <a:r>
              <a:rPr kumimoji="0" lang="en-US" altLang="ko-KR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(</a:t>
            </a:r>
            <a:r>
              <a:rPr kumimoji="0" lang="ko-KR" altLang="en-US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암송아지</a:t>
            </a:r>
            <a:r>
              <a:rPr kumimoji="0" lang="en-US" altLang="ko-KR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)</a:t>
            </a:r>
            <a:r>
              <a:rPr kumimoji="0" lang="ko-KR" altLang="en-US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는 </a:t>
            </a:r>
            <a:r>
              <a:rPr kumimoji="0" lang="en-US" altLang="ko-KR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1</a:t>
            </a:r>
            <a:r>
              <a:rPr kumimoji="0" lang="ko-KR" altLang="en-US" sz="2900" b="1" dirty="0" err="1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산이상</a:t>
            </a:r>
            <a:r>
              <a:rPr kumimoji="0" lang="ko-KR" altLang="en-US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 검정 실시</a:t>
            </a:r>
            <a:endParaRPr kumimoji="0" lang="en-US" altLang="ko-KR" sz="2900" b="1" dirty="0">
              <a:solidFill>
                <a:srgbClr val="000000"/>
              </a:solidFill>
              <a:latin typeface="HY헤드라인M" pitchFamily="18" charset="-127"/>
              <a:ea typeface="HY헤드라인M" pitchFamily="18" charset="-127"/>
            </a:endParaRPr>
          </a:p>
          <a:p>
            <a:pPr marL="0" indent="0" eaLnBrk="1" hangingPunct="1">
              <a:lnSpc>
                <a:spcPct val="150000"/>
              </a:lnSpc>
              <a:spcBef>
                <a:spcPct val="20000"/>
              </a:spcBef>
              <a:defRPr/>
            </a:pPr>
            <a:r>
              <a:rPr kumimoji="0" lang="en-US" altLang="ko-KR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7. </a:t>
            </a:r>
            <a:r>
              <a:rPr kumimoji="0" lang="ko-KR" altLang="en-US" sz="2900" b="1" dirty="0" err="1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저능력우</a:t>
            </a:r>
            <a:r>
              <a:rPr kumimoji="0" lang="ko-KR" altLang="en-US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 비육도태</a:t>
            </a:r>
            <a:endParaRPr kumimoji="0" lang="en-US" altLang="ko-KR" sz="2900" b="1" dirty="0">
              <a:solidFill>
                <a:srgbClr val="000000"/>
              </a:solidFill>
              <a:latin typeface="HY헤드라인M" pitchFamily="18" charset="-127"/>
              <a:ea typeface="HY헤드라인M" pitchFamily="18" charset="-127"/>
            </a:endParaRPr>
          </a:p>
          <a:p>
            <a:pPr marL="0" indent="0" eaLnBrk="1" hangingPunct="1">
              <a:lnSpc>
                <a:spcPct val="150000"/>
              </a:lnSpc>
              <a:spcBef>
                <a:spcPct val="20000"/>
              </a:spcBef>
              <a:defRPr/>
            </a:pPr>
            <a:r>
              <a:rPr kumimoji="0" lang="en-US" altLang="ko-KR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8. </a:t>
            </a:r>
            <a:r>
              <a:rPr kumimoji="0" lang="ko-KR" altLang="en-US" sz="2900" b="1" dirty="0">
                <a:solidFill>
                  <a:srgbClr val="000000"/>
                </a:solidFill>
                <a:latin typeface="HY헤드라인M" pitchFamily="18" charset="-127"/>
                <a:ea typeface="HY헤드라인M" pitchFamily="18" charset="-127"/>
              </a:rPr>
              <a:t>위의 작업을 반복 수행</a:t>
            </a:r>
            <a:endParaRPr kumimoji="0" lang="en-US" altLang="ko-KR" sz="2900" b="1" dirty="0">
              <a:solidFill>
                <a:srgbClr val="000000"/>
              </a:solidFill>
              <a:latin typeface="HY헤드라인M" pitchFamily="18" charset="-127"/>
              <a:ea typeface="HY헤드라인M" pitchFamily="18" charset="-127"/>
            </a:endParaRPr>
          </a:p>
          <a:p>
            <a:pPr eaLnBrk="1" hangingPunct="1">
              <a:lnSpc>
                <a:spcPct val="150000"/>
              </a:lnSpc>
              <a:spcBef>
                <a:spcPct val="20000"/>
              </a:spcBef>
              <a:defRPr/>
            </a:pPr>
            <a:endParaRPr kumimoji="0" lang="en-US" altLang="ko-KR" sz="2900" b="1" dirty="0">
              <a:solidFill>
                <a:srgbClr val="000000"/>
              </a:solidFill>
              <a:latin typeface="HY헤드라인M" pitchFamily="18" charset="-127"/>
              <a:ea typeface="HY헤드라인M" pitchFamily="18" charset="-127"/>
            </a:endParaRPr>
          </a:p>
          <a:p>
            <a:pPr eaLnBrk="1" hangingPunct="1">
              <a:lnSpc>
                <a:spcPct val="150000"/>
              </a:lnSpc>
              <a:spcBef>
                <a:spcPct val="20000"/>
              </a:spcBef>
              <a:defRPr/>
            </a:pPr>
            <a:endParaRPr kumimoji="0" lang="en-US" altLang="ko-KR" sz="2900" b="1" dirty="0">
              <a:solidFill>
                <a:srgbClr val="000000"/>
              </a:solidFill>
              <a:latin typeface="HY헤드라인M" pitchFamily="18" charset="-127"/>
              <a:ea typeface="HY헤드라인M" pitchFamily="18" charset="-127"/>
            </a:endParaRPr>
          </a:p>
          <a:p>
            <a:pPr eaLnBrk="1" hangingPunct="1">
              <a:lnSpc>
                <a:spcPct val="150000"/>
              </a:lnSpc>
              <a:spcBef>
                <a:spcPct val="20000"/>
              </a:spcBef>
              <a:defRPr/>
            </a:pPr>
            <a:endParaRPr kumimoji="0" lang="en-US" altLang="ko-KR" sz="2900" b="1" dirty="0">
              <a:solidFill>
                <a:srgbClr val="000000"/>
              </a:solidFill>
              <a:latin typeface="HY헤드라인M" pitchFamily="18" charset="-127"/>
              <a:ea typeface="HY헤드라인M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361712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8" name="Rectangle 2"/>
          <p:cNvSpPr>
            <a:spLocks noGrp="1" noChangeArrowheads="1"/>
          </p:cNvSpPr>
          <p:nvPr>
            <p:ph type="title"/>
          </p:nvPr>
        </p:nvSpPr>
        <p:spPr>
          <a:xfrm>
            <a:off x="1027754" y="504086"/>
            <a:ext cx="8643832" cy="537340"/>
          </a:xfrm>
        </p:spPr>
        <p:txBody>
          <a:bodyPr/>
          <a:lstStyle/>
          <a:p>
            <a:pPr algn="ctr"/>
            <a:r>
              <a:rPr lang="ko-KR" altLang="en-US" smtClean="0">
                <a:latin typeface="HY견고딕" pitchFamily="18" charset="-127"/>
                <a:ea typeface="HY견고딕" pitchFamily="18" charset="-127"/>
              </a:rPr>
              <a:t>목  차</a:t>
            </a:r>
            <a:endParaRPr lang="en-US" altLang="ko-KR" dirty="0"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106499" name="Text Box 3"/>
          <p:cNvSpPr txBox="1">
            <a:spLocks noChangeArrowheads="1"/>
          </p:cNvSpPr>
          <p:nvPr/>
        </p:nvSpPr>
        <p:spPr bwMode="auto">
          <a:xfrm>
            <a:off x="1941907" y="796401"/>
            <a:ext cx="209791" cy="22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103849" tIns="51925" rIns="103849" bIns="51925">
            <a:spAutoFit/>
          </a:bodyPr>
          <a:lstStyle/>
          <a:p>
            <a:pPr algn="l"/>
            <a:endParaRPr lang="ko-KR" altLang="ko-KR"/>
          </a:p>
        </p:txBody>
      </p:sp>
      <p:sp>
        <p:nvSpPr>
          <p:cNvPr id="106542" name="Line 46"/>
          <p:cNvSpPr>
            <a:spLocks noChangeShapeType="1"/>
          </p:cNvSpPr>
          <p:nvPr/>
        </p:nvSpPr>
        <p:spPr bwMode="auto">
          <a:xfrm>
            <a:off x="2603243" y="2585157"/>
            <a:ext cx="5614035" cy="0"/>
          </a:xfrm>
          <a:prstGeom prst="line">
            <a:avLst/>
          </a:prstGeom>
          <a:noFill/>
          <a:ln w="25400">
            <a:solidFill>
              <a:srgbClr val="5F5F5F"/>
            </a:solidFill>
            <a:prstDash val="sysDot"/>
            <a:round/>
            <a:headEnd/>
            <a:tailEnd type="oval" w="med" len="med"/>
          </a:ln>
          <a:effectLst/>
        </p:spPr>
        <p:txBody>
          <a:bodyPr wrap="none" lIns="91040" tIns="45521" rIns="91040" bIns="45521" anchor="ctr"/>
          <a:lstStyle/>
          <a:p>
            <a:endParaRPr lang="ko-KR" altLang="en-US"/>
          </a:p>
        </p:txBody>
      </p:sp>
      <p:grpSp>
        <p:nvGrpSpPr>
          <p:cNvPr id="3" name="Group 47"/>
          <p:cNvGrpSpPr>
            <a:grpSpLocks/>
          </p:cNvGrpSpPr>
          <p:nvPr/>
        </p:nvGrpSpPr>
        <p:grpSpPr bwMode="auto">
          <a:xfrm>
            <a:off x="2319199" y="2391331"/>
            <a:ext cx="213496" cy="201284"/>
            <a:chOff x="1239" y="1515"/>
            <a:chExt cx="115" cy="115"/>
          </a:xfrm>
        </p:grpSpPr>
        <p:sp>
          <p:nvSpPr>
            <p:cNvPr id="106544" name="AutoShape 48"/>
            <p:cNvSpPr>
              <a:spLocks noChangeArrowheads="1"/>
            </p:cNvSpPr>
            <p:nvPr/>
          </p:nvSpPr>
          <p:spPr bwMode="gray">
            <a:xfrm rot="2700000">
              <a:off x="1239" y="1515"/>
              <a:ext cx="115" cy="115"/>
            </a:xfrm>
            <a:prstGeom prst="rtTriangle">
              <a:avLst/>
            </a:prstGeom>
            <a:solidFill>
              <a:srgbClr val="80808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106545" name="AutoShape 49"/>
            <p:cNvSpPr>
              <a:spLocks noChangeArrowheads="1"/>
            </p:cNvSpPr>
            <p:nvPr/>
          </p:nvSpPr>
          <p:spPr bwMode="gray">
            <a:xfrm rot="18900000" flipH="1">
              <a:off x="1239" y="1515"/>
              <a:ext cx="115" cy="115"/>
            </a:xfrm>
            <a:prstGeom prst="rtTriangle">
              <a:avLst/>
            </a:prstGeom>
            <a:solidFill>
              <a:schemeClr val="folHlink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ko-KR" altLang="en-US"/>
            </a:p>
          </p:txBody>
        </p:sp>
      </p:grpSp>
      <p:sp>
        <p:nvSpPr>
          <p:cNvPr id="106546" name="Text Box 50"/>
          <p:cNvSpPr txBox="1">
            <a:spLocks noChangeArrowheads="1"/>
          </p:cNvSpPr>
          <p:nvPr/>
        </p:nvSpPr>
        <p:spPr bwMode="auto">
          <a:xfrm>
            <a:off x="3186474" y="2008025"/>
            <a:ext cx="4338842" cy="50742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1040" tIns="45521" rIns="91040" bIns="45521">
            <a:spAutoFit/>
          </a:bodyPr>
          <a:lstStyle/>
          <a:p>
            <a:pPr algn="l" eaLnBrk="0" hangingPunct="0"/>
            <a:r>
              <a:rPr lang="en-US" altLang="ko-KR" sz="2700" dirty="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</a:rPr>
              <a:t>1. </a:t>
            </a:r>
            <a:r>
              <a:rPr lang="ko-KR" altLang="en-US" sz="2700" dirty="0" smtClean="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</a:rPr>
              <a:t>전라북도 주요사업 소개</a:t>
            </a:r>
            <a:endParaRPr lang="en-US" altLang="ko-KR" sz="2700" dirty="0">
              <a:solidFill>
                <a:srgbClr val="000000"/>
              </a:solidFill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106548" name="Line 52"/>
          <p:cNvSpPr>
            <a:spLocks noChangeShapeType="1"/>
          </p:cNvSpPr>
          <p:nvPr/>
        </p:nvSpPr>
        <p:spPr bwMode="auto">
          <a:xfrm>
            <a:off x="2614362" y="3399227"/>
            <a:ext cx="5614035" cy="0"/>
          </a:xfrm>
          <a:prstGeom prst="line">
            <a:avLst/>
          </a:prstGeom>
          <a:noFill/>
          <a:ln w="25400">
            <a:solidFill>
              <a:srgbClr val="5F5F5F"/>
            </a:solidFill>
            <a:prstDash val="sysDot"/>
            <a:round/>
            <a:headEnd/>
            <a:tailEnd type="oval" w="med" len="med"/>
          </a:ln>
          <a:effectLst/>
        </p:spPr>
        <p:txBody>
          <a:bodyPr wrap="none" lIns="91040" tIns="45521" rIns="91040" bIns="45521" anchor="ctr"/>
          <a:lstStyle/>
          <a:p>
            <a:endParaRPr lang="ko-KR" altLang="en-US"/>
          </a:p>
        </p:txBody>
      </p:sp>
      <p:grpSp>
        <p:nvGrpSpPr>
          <p:cNvPr id="5" name="Group 53"/>
          <p:cNvGrpSpPr>
            <a:grpSpLocks/>
          </p:cNvGrpSpPr>
          <p:nvPr/>
        </p:nvGrpSpPr>
        <p:grpSpPr bwMode="auto">
          <a:xfrm>
            <a:off x="2330348" y="3281957"/>
            <a:ext cx="213497" cy="201284"/>
            <a:chOff x="1239" y="1515"/>
            <a:chExt cx="115" cy="115"/>
          </a:xfrm>
        </p:grpSpPr>
        <p:sp>
          <p:nvSpPr>
            <p:cNvPr id="106550" name="AutoShape 54"/>
            <p:cNvSpPr>
              <a:spLocks noChangeArrowheads="1"/>
            </p:cNvSpPr>
            <p:nvPr/>
          </p:nvSpPr>
          <p:spPr bwMode="gray">
            <a:xfrm rot="2700000">
              <a:off x="1239" y="1515"/>
              <a:ext cx="115" cy="115"/>
            </a:xfrm>
            <a:prstGeom prst="rtTriangle">
              <a:avLst/>
            </a:prstGeom>
            <a:solidFill>
              <a:srgbClr val="80808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106551" name="AutoShape 55"/>
            <p:cNvSpPr>
              <a:spLocks noChangeArrowheads="1"/>
            </p:cNvSpPr>
            <p:nvPr/>
          </p:nvSpPr>
          <p:spPr bwMode="gray">
            <a:xfrm rot="18900000" flipH="1">
              <a:off x="1239" y="1515"/>
              <a:ext cx="115" cy="115"/>
            </a:xfrm>
            <a:prstGeom prst="rtTriangle">
              <a:avLst/>
            </a:prstGeom>
            <a:solidFill>
              <a:schemeClr val="accent2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ko-KR" altLang="en-US"/>
            </a:p>
          </p:txBody>
        </p:sp>
      </p:grpSp>
      <p:sp>
        <p:nvSpPr>
          <p:cNvPr id="106552" name="Text Box 56"/>
          <p:cNvSpPr txBox="1">
            <a:spLocks noChangeArrowheads="1"/>
          </p:cNvSpPr>
          <p:nvPr/>
        </p:nvSpPr>
        <p:spPr bwMode="auto">
          <a:xfrm>
            <a:off x="3201596" y="2898656"/>
            <a:ext cx="4454258" cy="50742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1040" tIns="45521" rIns="91040" bIns="45521">
            <a:spAutoFit/>
          </a:bodyPr>
          <a:lstStyle/>
          <a:p>
            <a:pPr algn="l" eaLnBrk="0" hangingPunct="0"/>
            <a:r>
              <a:rPr lang="en-US" altLang="ko-KR" sz="2700" dirty="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</a:rPr>
              <a:t>2. </a:t>
            </a:r>
            <a:r>
              <a:rPr lang="ko-KR" altLang="en-US" sz="2700" dirty="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</a:rPr>
              <a:t>한우 암소 개량의 필요성</a:t>
            </a:r>
            <a:endParaRPr lang="en-US" altLang="ko-KR" sz="2700" dirty="0">
              <a:solidFill>
                <a:srgbClr val="000000"/>
              </a:solidFill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31" name="Line 64"/>
          <p:cNvSpPr>
            <a:spLocks noChangeShapeType="1"/>
          </p:cNvSpPr>
          <p:nvPr/>
        </p:nvSpPr>
        <p:spPr bwMode="auto">
          <a:xfrm>
            <a:off x="2614362" y="5199893"/>
            <a:ext cx="5614035" cy="0"/>
          </a:xfrm>
          <a:prstGeom prst="line">
            <a:avLst/>
          </a:prstGeom>
          <a:noFill/>
          <a:ln w="25400">
            <a:solidFill>
              <a:srgbClr val="5F5F5F"/>
            </a:solidFill>
            <a:prstDash val="sysDot"/>
            <a:round/>
            <a:headEnd/>
            <a:tailEnd type="oval" w="med" len="med"/>
          </a:ln>
          <a:effectLst/>
        </p:spPr>
        <p:txBody>
          <a:bodyPr wrap="none" lIns="91040" tIns="45521" rIns="91040" bIns="45521" anchor="ctr"/>
          <a:lstStyle/>
          <a:p>
            <a:endParaRPr lang="ko-KR" altLang="en-US"/>
          </a:p>
        </p:txBody>
      </p:sp>
      <p:grpSp>
        <p:nvGrpSpPr>
          <p:cNvPr id="7" name="Group 65"/>
          <p:cNvGrpSpPr>
            <a:grpSpLocks/>
          </p:cNvGrpSpPr>
          <p:nvPr/>
        </p:nvGrpSpPr>
        <p:grpSpPr bwMode="auto">
          <a:xfrm>
            <a:off x="2330348" y="5082628"/>
            <a:ext cx="213497" cy="201284"/>
            <a:chOff x="1239" y="1515"/>
            <a:chExt cx="115" cy="115"/>
          </a:xfrm>
        </p:grpSpPr>
        <p:sp>
          <p:nvSpPr>
            <p:cNvPr id="34" name="AutoShape 66"/>
            <p:cNvSpPr>
              <a:spLocks noChangeArrowheads="1"/>
            </p:cNvSpPr>
            <p:nvPr/>
          </p:nvSpPr>
          <p:spPr bwMode="gray">
            <a:xfrm rot="2700000">
              <a:off x="1239" y="1515"/>
              <a:ext cx="115" cy="115"/>
            </a:xfrm>
            <a:prstGeom prst="rtTriangle">
              <a:avLst/>
            </a:prstGeom>
            <a:solidFill>
              <a:srgbClr val="80808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35" name="AutoShape 67"/>
            <p:cNvSpPr>
              <a:spLocks noChangeArrowheads="1"/>
            </p:cNvSpPr>
            <p:nvPr/>
          </p:nvSpPr>
          <p:spPr bwMode="gray">
            <a:xfrm rot="18900000" flipH="1">
              <a:off x="1239" y="1515"/>
              <a:ext cx="115" cy="115"/>
            </a:xfrm>
            <a:prstGeom prst="rtTriangle">
              <a:avLst/>
            </a:prstGeom>
            <a:solidFill>
              <a:schemeClr val="accent2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ko-KR" altLang="en-US"/>
            </a:p>
          </p:txBody>
        </p:sp>
      </p:grpSp>
      <p:sp>
        <p:nvSpPr>
          <p:cNvPr id="33" name="Text Box 68"/>
          <p:cNvSpPr txBox="1">
            <a:spLocks noChangeArrowheads="1"/>
          </p:cNvSpPr>
          <p:nvPr/>
        </p:nvSpPr>
        <p:spPr bwMode="auto">
          <a:xfrm>
            <a:off x="3234098" y="4699321"/>
            <a:ext cx="5146755" cy="50742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1040" tIns="45521" rIns="91040" bIns="45521">
            <a:spAutoFit/>
          </a:bodyPr>
          <a:lstStyle/>
          <a:p>
            <a:pPr eaLnBrk="0" hangingPunct="0"/>
            <a:r>
              <a:rPr lang="en-US" altLang="ko-KR" sz="2700" dirty="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</a:rPr>
              <a:t>4. </a:t>
            </a:r>
            <a:r>
              <a:rPr lang="ko-KR" altLang="en-US" sz="2700" dirty="0" smtClean="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</a:rPr>
              <a:t>암소 개량컨설팅 자료의 활용</a:t>
            </a:r>
            <a:endParaRPr lang="en-US" altLang="ko-KR" sz="2700" dirty="0">
              <a:solidFill>
                <a:srgbClr val="000000"/>
              </a:solidFill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106554" name="Line 58"/>
          <p:cNvSpPr>
            <a:spLocks noChangeShapeType="1"/>
          </p:cNvSpPr>
          <p:nvPr/>
        </p:nvSpPr>
        <p:spPr bwMode="auto">
          <a:xfrm>
            <a:off x="2571947" y="4294689"/>
            <a:ext cx="5661290" cy="323"/>
          </a:xfrm>
          <a:prstGeom prst="line">
            <a:avLst/>
          </a:prstGeom>
          <a:noFill/>
          <a:ln w="25400">
            <a:solidFill>
              <a:srgbClr val="5F5F5F"/>
            </a:solidFill>
            <a:prstDash val="sysDot"/>
            <a:round/>
            <a:headEnd/>
            <a:tailEnd type="oval" w="med" len="med"/>
          </a:ln>
          <a:effectLst/>
        </p:spPr>
        <p:txBody>
          <a:bodyPr wrap="none" lIns="91040" tIns="45521" rIns="91040" bIns="45521" anchor="ctr"/>
          <a:lstStyle/>
          <a:p>
            <a:endParaRPr lang="ko-KR" altLang="en-US"/>
          </a:p>
        </p:txBody>
      </p:sp>
      <p:sp>
        <p:nvSpPr>
          <p:cNvPr id="106558" name="Text Box 62"/>
          <p:cNvSpPr txBox="1">
            <a:spLocks noChangeArrowheads="1"/>
          </p:cNvSpPr>
          <p:nvPr/>
        </p:nvSpPr>
        <p:spPr bwMode="auto">
          <a:xfrm>
            <a:off x="3210730" y="3794078"/>
            <a:ext cx="3756150" cy="50783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040" tIns="45521" rIns="91040" bIns="45521">
            <a:spAutoFit/>
          </a:bodyPr>
          <a:lstStyle/>
          <a:p>
            <a:pPr eaLnBrk="0" hangingPunct="0"/>
            <a:r>
              <a:rPr lang="en-US" altLang="ko-KR" sz="2700" dirty="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</a:rPr>
              <a:t>3. </a:t>
            </a:r>
            <a:r>
              <a:rPr lang="ko-KR" altLang="en-US" sz="2700" dirty="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</a:rPr>
              <a:t>암소 개량방법</a:t>
            </a:r>
            <a:endParaRPr lang="en-US" altLang="ko-KR" sz="2700" dirty="0">
              <a:solidFill>
                <a:srgbClr val="000000"/>
              </a:solidFill>
              <a:latin typeface="HY견고딕" pitchFamily="18" charset="-127"/>
              <a:ea typeface="HY견고딕" pitchFamily="18" charset="-127"/>
            </a:endParaRPr>
          </a:p>
        </p:txBody>
      </p:sp>
      <p:grpSp>
        <p:nvGrpSpPr>
          <p:cNvPr id="9" name="Group 47"/>
          <p:cNvGrpSpPr>
            <a:grpSpLocks/>
          </p:cNvGrpSpPr>
          <p:nvPr/>
        </p:nvGrpSpPr>
        <p:grpSpPr bwMode="auto">
          <a:xfrm>
            <a:off x="2333622" y="4186262"/>
            <a:ext cx="213496" cy="201284"/>
            <a:chOff x="1239" y="1515"/>
            <a:chExt cx="115" cy="115"/>
          </a:xfrm>
        </p:grpSpPr>
        <p:sp>
          <p:nvSpPr>
            <p:cNvPr id="38" name="AutoShape 48"/>
            <p:cNvSpPr>
              <a:spLocks noChangeArrowheads="1"/>
            </p:cNvSpPr>
            <p:nvPr/>
          </p:nvSpPr>
          <p:spPr bwMode="gray">
            <a:xfrm rot="2700000">
              <a:off x="1239" y="1515"/>
              <a:ext cx="115" cy="115"/>
            </a:xfrm>
            <a:prstGeom prst="rtTriangle">
              <a:avLst/>
            </a:prstGeom>
            <a:solidFill>
              <a:srgbClr val="80808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39" name="AutoShape 49"/>
            <p:cNvSpPr>
              <a:spLocks noChangeArrowheads="1"/>
            </p:cNvSpPr>
            <p:nvPr/>
          </p:nvSpPr>
          <p:spPr bwMode="gray">
            <a:xfrm rot="18900000" flipH="1">
              <a:off x="1239" y="1515"/>
              <a:ext cx="115" cy="115"/>
            </a:xfrm>
            <a:prstGeom prst="rtTriangle">
              <a:avLst/>
            </a:prstGeom>
            <a:solidFill>
              <a:schemeClr val="folHlink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ko-KR" altLang="en-US"/>
            </a:p>
          </p:txBody>
        </p:sp>
      </p:grpSp>
      <p:sp>
        <p:nvSpPr>
          <p:cNvPr id="29" name="Line 64"/>
          <p:cNvSpPr>
            <a:spLocks noChangeShapeType="1"/>
          </p:cNvSpPr>
          <p:nvPr/>
        </p:nvSpPr>
        <p:spPr bwMode="auto">
          <a:xfrm>
            <a:off x="2614268" y="6078510"/>
            <a:ext cx="5614035" cy="0"/>
          </a:xfrm>
          <a:prstGeom prst="line">
            <a:avLst/>
          </a:prstGeom>
          <a:noFill/>
          <a:ln w="25400">
            <a:solidFill>
              <a:srgbClr val="5F5F5F"/>
            </a:solidFill>
            <a:prstDash val="sysDot"/>
            <a:round/>
            <a:headEnd/>
            <a:tailEnd type="oval" w="med" len="med"/>
          </a:ln>
          <a:effectLst/>
        </p:spPr>
        <p:txBody>
          <a:bodyPr wrap="none" lIns="91040" tIns="45521" rIns="91040" bIns="45521" anchor="ctr"/>
          <a:lstStyle/>
          <a:p>
            <a:endParaRPr lang="ko-KR" altLang="en-US"/>
          </a:p>
        </p:txBody>
      </p:sp>
      <p:grpSp>
        <p:nvGrpSpPr>
          <p:cNvPr id="30" name="Group 47"/>
          <p:cNvGrpSpPr>
            <a:grpSpLocks/>
          </p:cNvGrpSpPr>
          <p:nvPr/>
        </p:nvGrpSpPr>
        <p:grpSpPr bwMode="auto">
          <a:xfrm>
            <a:off x="2342894" y="5964612"/>
            <a:ext cx="213496" cy="201284"/>
            <a:chOff x="1239" y="1515"/>
            <a:chExt cx="115" cy="115"/>
          </a:xfrm>
        </p:grpSpPr>
        <p:sp>
          <p:nvSpPr>
            <p:cNvPr id="32" name="AutoShape 48"/>
            <p:cNvSpPr>
              <a:spLocks noChangeArrowheads="1"/>
            </p:cNvSpPr>
            <p:nvPr/>
          </p:nvSpPr>
          <p:spPr bwMode="gray">
            <a:xfrm rot="2700000">
              <a:off x="1239" y="1515"/>
              <a:ext cx="115" cy="115"/>
            </a:xfrm>
            <a:prstGeom prst="rtTriangle">
              <a:avLst/>
            </a:prstGeom>
            <a:solidFill>
              <a:srgbClr val="808080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ko-KR" altLang="en-US"/>
            </a:p>
          </p:txBody>
        </p:sp>
        <p:sp>
          <p:nvSpPr>
            <p:cNvPr id="36" name="AutoShape 49"/>
            <p:cNvSpPr>
              <a:spLocks noChangeArrowheads="1"/>
            </p:cNvSpPr>
            <p:nvPr/>
          </p:nvSpPr>
          <p:spPr bwMode="gray">
            <a:xfrm rot="18900000" flipH="1">
              <a:off x="1239" y="1515"/>
              <a:ext cx="115" cy="115"/>
            </a:xfrm>
            <a:prstGeom prst="rtTriangle">
              <a:avLst/>
            </a:prstGeom>
            <a:solidFill>
              <a:schemeClr val="folHlink"/>
            </a:solidFill>
            <a:ln w="9525" algn="ctr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ko-KR" altLang="en-US"/>
            </a:p>
          </p:txBody>
        </p:sp>
      </p:grpSp>
      <p:sp>
        <p:nvSpPr>
          <p:cNvPr id="37" name="Text Box 68"/>
          <p:cNvSpPr txBox="1">
            <a:spLocks noChangeArrowheads="1"/>
          </p:cNvSpPr>
          <p:nvPr/>
        </p:nvSpPr>
        <p:spPr bwMode="auto">
          <a:xfrm>
            <a:off x="3262673" y="5571081"/>
            <a:ext cx="4800507" cy="50742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91040" tIns="45521" rIns="91040" bIns="45521">
            <a:spAutoFit/>
          </a:bodyPr>
          <a:lstStyle/>
          <a:p>
            <a:pPr eaLnBrk="0" hangingPunct="0"/>
            <a:r>
              <a:rPr lang="en-US" altLang="ko-KR" sz="2700" dirty="0" smtClean="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</a:rPr>
              <a:t>5. </a:t>
            </a:r>
            <a:r>
              <a:rPr lang="ko-KR" altLang="en-US" sz="2700" dirty="0" smtClean="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</a:rPr>
              <a:t>한우 컨설팅 프로그램 시연</a:t>
            </a:r>
            <a:endParaRPr lang="en-US" altLang="ko-KR" sz="2700" dirty="0">
              <a:solidFill>
                <a:srgbClr val="000000"/>
              </a:solidFill>
              <a:latin typeface="HY견고딕" pitchFamily="18" charset="-127"/>
              <a:ea typeface="HY견고딕" pitchFamily="18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 sz="6200" b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기록을 해 봅시다</a:t>
            </a:r>
          </a:p>
        </p:txBody>
      </p:sp>
      <p:sp>
        <p:nvSpPr>
          <p:cNvPr id="5" name="텍스트 개체 틀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altLang="ko-KR" sz="3200" b="0" dirty="0"/>
          </a:p>
        </p:txBody>
      </p:sp>
    </p:spTree>
    <p:extLst>
      <p:ext uri="{BB962C8B-B14F-4D97-AF65-F5344CB8AC3E}">
        <p14:creationId xmlns:p14="http://schemas.microsoft.com/office/powerpoint/2010/main" val="3133191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그룹 14"/>
          <p:cNvGrpSpPr/>
          <p:nvPr/>
        </p:nvGrpSpPr>
        <p:grpSpPr>
          <a:xfrm>
            <a:off x="8247618" y="3760197"/>
            <a:ext cx="2345985" cy="1789272"/>
            <a:chOff x="7052593" y="3262182"/>
            <a:chExt cx="2006068" cy="1622854"/>
          </a:xfrm>
        </p:grpSpPr>
        <p:pic>
          <p:nvPicPr>
            <p:cNvPr id="1026" name="Picture 2"/>
            <p:cNvPicPr>
              <a:picLocks noChangeAspect="1" noChangeArrowheads="1"/>
            </p:cNvPicPr>
            <p:nvPr/>
          </p:nvPicPr>
          <p:blipFill>
            <a:blip r:embed="rId3" cstate="print"/>
            <a:srcRect/>
            <a:stretch>
              <a:fillRect/>
            </a:stretch>
          </p:blipFill>
          <p:spPr bwMode="auto">
            <a:xfrm>
              <a:off x="7052593" y="3262182"/>
              <a:ext cx="2006068" cy="16228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4" name="직사각형 13"/>
            <p:cNvSpPr/>
            <p:nvPr/>
          </p:nvSpPr>
          <p:spPr>
            <a:xfrm>
              <a:off x="7718854" y="4654379"/>
              <a:ext cx="799070" cy="14828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039381" fontAlgn="auto">
                <a:spcBef>
                  <a:spcPts val="0"/>
                </a:spcBef>
                <a:spcAft>
                  <a:spcPts val="0"/>
                </a:spcAft>
              </a:pPr>
              <a:endParaRPr kumimoji="0" lang="ko-KR" altLang="en-US" sz="2100" dirty="0">
                <a:solidFill>
                  <a:prstClr val="white"/>
                </a:solidFill>
              </a:endParaRPr>
            </a:p>
          </p:txBody>
        </p:sp>
      </p:grpSp>
      <p:sp>
        <p:nvSpPr>
          <p:cNvPr id="31" name="제목 1"/>
          <p:cNvSpPr>
            <a:spLocks noGrp="1"/>
          </p:cNvSpPr>
          <p:nvPr>
            <p:ph type="title"/>
          </p:nvPr>
        </p:nvSpPr>
        <p:spPr>
          <a:xfrm>
            <a:off x="300014" y="630280"/>
            <a:ext cx="8180404" cy="640498"/>
          </a:xfrm>
        </p:spPr>
        <p:txBody>
          <a:bodyPr>
            <a:noAutofit/>
          </a:bodyPr>
          <a:lstStyle/>
          <a:p>
            <a:pPr algn="l"/>
            <a:r>
              <a:rPr lang="ko-KR" altLang="en-US" sz="4600" spc="-171" dirty="0">
                <a:solidFill>
                  <a:schemeClr val="accent4">
                    <a:lumMod val="50000"/>
                  </a:schemeClr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기록관리</a:t>
            </a:r>
          </a:p>
        </p:txBody>
      </p:sp>
      <p:sp>
        <p:nvSpPr>
          <p:cNvPr id="6" name="제목 1"/>
          <p:cNvSpPr txBox="1">
            <a:spLocks/>
          </p:cNvSpPr>
          <p:nvPr/>
        </p:nvSpPr>
        <p:spPr>
          <a:xfrm>
            <a:off x="296225" y="4040233"/>
            <a:ext cx="8180404" cy="640498"/>
          </a:xfrm>
          <a:prstGeom prst="rect">
            <a:avLst/>
          </a:prstGeom>
        </p:spPr>
        <p:txBody>
          <a:bodyPr vert="horz" lIns="103941" tIns="51970" rIns="103941" bIns="51970" rtlCol="0" anchor="ctr">
            <a:noAutofit/>
          </a:bodyPr>
          <a:lstStyle/>
          <a:p>
            <a:pPr defTabSz="1039381" fontAlgn="auto">
              <a:spcAft>
                <a:spcPts val="0"/>
              </a:spcAft>
              <a:defRPr/>
            </a:pPr>
            <a:r>
              <a:rPr kumimoji="0" lang="ko-KR" altLang="en-US" sz="4600" spc="-171" dirty="0">
                <a:solidFill>
                  <a:srgbClr val="39639D">
                    <a:lumMod val="50000"/>
                  </a:srgbClr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혈통관리</a:t>
            </a:r>
          </a:p>
        </p:txBody>
      </p:sp>
      <p:grpSp>
        <p:nvGrpSpPr>
          <p:cNvPr id="11" name="그룹 10"/>
          <p:cNvGrpSpPr/>
          <p:nvPr/>
        </p:nvGrpSpPr>
        <p:grpSpPr>
          <a:xfrm>
            <a:off x="273024" y="793117"/>
            <a:ext cx="10061266" cy="2714349"/>
            <a:chOff x="99621" y="906161"/>
            <a:chExt cx="8810912" cy="2461891"/>
          </a:xfrm>
        </p:grpSpPr>
        <p:sp>
          <p:nvSpPr>
            <p:cNvPr id="7" name="제목 3"/>
            <p:cNvSpPr txBox="1">
              <a:spLocks/>
            </p:cNvSpPr>
            <p:nvPr/>
          </p:nvSpPr>
          <p:spPr>
            <a:xfrm>
              <a:off x="99621" y="1275565"/>
              <a:ext cx="8732943" cy="1260211"/>
            </a:xfrm>
            <a:prstGeom prst="rect">
              <a:avLst/>
            </a:prstGeom>
          </p:spPr>
          <p:txBody>
            <a:bodyPr vert="horz" lIns="91440" tIns="45720" rIns="91440" bIns="45720" rtlCol="0" anchor="ctr">
              <a:normAutofit/>
            </a:bodyPr>
            <a:lstStyle/>
            <a:p>
              <a:pPr defTabSz="1039381" fontAlgn="auto">
                <a:spcAft>
                  <a:spcPts val="0"/>
                </a:spcAft>
                <a:defRPr/>
              </a:pPr>
              <a:r>
                <a:rPr kumimoji="0" lang="ko-KR" altLang="en-US" sz="3700" dirty="0">
                  <a:solidFill>
                    <a:prstClr val="black"/>
                  </a:solidFill>
                  <a:latin typeface="HY헤드라인M" pitchFamily="18" charset="-127"/>
                  <a:ea typeface="HY헤드라인M" pitchFamily="18" charset="-127"/>
                </a:rPr>
                <a:t>가계부를 쓰는 이유는</a:t>
              </a:r>
              <a:r>
                <a:rPr kumimoji="0" lang="en-US" altLang="ko-KR" sz="3700" dirty="0">
                  <a:solidFill>
                    <a:prstClr val="black"/>
                  </a:solidFill>
                  <a:latin typeface="HY헤드라인M" pitchFamily="18" charset="-127"/>
                  <a:ea typeface="HY헤드라인M" pitchFamily="18" charset="-127"/>
                </a:rPr>
                <a:t>?</a:t>
              </a:r>
              <a:endParaRPr kumimoji="0" lang="ko-KR" altLang="en-US" sz="3700" dirty="0">
                <a:solidFill>
                  <a:prstClr val="black"/>
                </a:solidFill>
                <a:latin typeface="HY헤드라인M" pitchFamily="18" charset="-127"/>
                <a:ea typeface="HY헤드라인M" pitchFamily="18" charset="-127"/>
              </a:endParaRPr>
            </a:p>
          </p:txBody>
        </p:sp>
        <p:pic>
          <p:nvPicPr>
            <p:cNvPr id="8" name="Picture 3"/>
            <p:cNvPicPr>
              <a:picLocks noChangeAspect="1" noChangeArrowheads="1"/>
            </p:cNvPicPr>
            <p:nvPr/>
          </p:nvPicPr>
          <p:blipFill>
            <a:blip r:embed="rId4" cstate="print"/>
            <a:srcRect b="60683"/>
            <a:stretch>
              <a:fillRect/>
            </a:stretch>
          </p:blipFill>
          <p:spPr bwMode="auto">
            <a:xfrm>
              <a:off x="695723" y="2424143"/>
              <a:ext cx="7680428" cy="94390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pic>
          <p:nvPicPr>
            <p:cNvPr id="10" name="Picture 5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5189954" y="906161"/>
              <a:ext cx="3720579" cy="1753872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</p:grpSp>
      <p:sp>
        <p:nvSpPr>
          <p:cNvPr id="12" name="제목 3"/>
          <p:cNvSpPr txBox="1">
            <a:spLocks/>
          </p:cNvSpPr>
          <p:nvPr/>
        </p:nvSpPr>
        <p:spPr>
          <a:xfrm>
            <a:off x="291986" y="4905756"/>
            <a:ext cx="10237642" cy="2093233"/>
          </a:xfrm>
          <a:prstGeom prst="rect">
            <a:avLst/>
          </a:prstGeom>
        </p:spPr>
        <p:txBody>
          <a:bodyPr vert="horz" lIns="103941" tIns="51970" rIns="103941" bIns="51970" rtlCol="0" anchor="ctr">
            <a:noAutofit/>
          </a:bodyPr>
          <a:lstStyle/>
          <a:p>
            <a:pPr defTabSz="1039381" fontAlgn="auto">
              <a:lnSpc>
                <a:spcPct val="150000"/>
              </a:lnSpc>
              <a:spcAft>
                <a:spcPts val="0"/>
              </a:spcAft>
              <a:defRPr/>
            </a:pPr>
            <a:r>
              <a:rPr kumimoji="0" lang="ko-KR" altLang="en-US" sz="3200" dirty="0">
                <a:solidFill>
                  <a:prstClr val="black"/>
                </a:solidFill>
                <a:latin typeface="HY헤드라인M" pitchFamily="18" charset="-127"/>
                <a:ea typeface="HY헤드라인M" pitchFamily="18" charset="-127"/>
              </a:rPr>
              <a:t>등록은 </a:t>
            </a:r>
            <a:r>
              <a:rPr kumimoji="0" lang="ko-KR" altLang="en-US" sz="3200" dirty="0">
                <a:solidFill>
                  <a:srgbClr val="DA1F28"/>
                </a:solidFill>
                <a:latin typeface="HY헤드라인M" pitchFamily="18" charset="-127"/>
                <a:ea typeface="HY헤드라인M" pitchFamily="18" charset="-127"/>
              </a:rPr>
              <a:t>가축개량에서 가장 기초적인 첫걸음</a:t>
            </a:r>
            <a:endParaRPr kumimoji="0" lang="en-US" altLang="ko-KR" sz="3200" dirty="0">
              <a:solidFill>
                <a:srgbClr val="DA1F28"/>
              </a:solidFill>
              <a:latin typeface="HY헤드라인M" pitchFamily="18" charset="-127"/>
              <a:ea typeface="HY헤드라인M" pitchFamily="18" charset="-127"/>
            </a:endParaRPr>
          </a:p>
          <a:p>
            <a:pPr defTabSz="1039381" fontAlgn="auto">
              <a:lnSpc>
                <a:spcPct val="150000"/>
              </a:lnSpc>
              <a:spcAft>
                <a:spcPts val="0"/>
              </a:spcAft>
              <a:defRPr/>
            </a:pPr>
            <a:r>
              <a:rPr kumimoji="0" lang="en-US" altLang="ko-KR" sz="3200" dirty="0">
                <a:solidFill>
                  <a:prstClr val="black"/>
                </a:solidFill>
                <a:latin typeface="HY헤드라인M" pitchFamily="18" charset="-127"/>
                <a:ea typeface="HY헤드라인M" pitchFamily="18" charset="-127"/>
              </a:rPr>
              <a:t>: </a:t>
            </a:r>
            <a:r>
              <a:rPr kumimoji="0" lang="ko-KR" altLang="en-US" sz="3200" dirty="0">
                <a:solidFill>
                  <a:srgbClr val="DA1F28"/>
                </a:solidFill>
                <a:latin typeface="HY헤드라인M" pitchFamily="18" charset="-127"/>
                <a:ea typeface="HY헤드라인M" pitchFamily="18" charset="-127"/>
              </a:rPr>
              <a:t>혈통을 확립</a:t>
            </a:r>
            <a:r>
              <a:rPr kumimoji="0" lang="ko-KR" altLang="en-US" sz="3200" dirty="0">
                <a:solidFill>
                  <a:prstClr val="black"/>
                </a:solidFill>
                <a:latin typeface="HY헤드라인M" pitchFamily="18" charset="-127"/>
                <a:ea typeface="HY헤드라인M" pitchFamily="18" charset="-127"/>
              </a:rPr>
              <a:t>하고 </a:t>
            </a:r>
            <a:r>
              <a:rPr kumimoji="0" lang="ko-KR" altLang="en-US" sz="3200" dirty="0">
                <a:solidFill>
                  <a:srgbClr val="DA1F28"/>
                </a:solidFill>
                <a:latin typeface="HY헤드라인M" pitchFamily="18" charset="-127"/>
                <a:ea typeface="HY헤드라인M" pitchFamily="18" charset="-127"/>
              </a:rPr>
              <a:t>근친교배를 </a:t>
            </a:r>
            <a:r>
              <a:rPr kumimoji="0" lang="ko-KR" altLang="en-US" sz="3200" dirty="0" smtClean="0">
                <a:solidFill>
                  <a:srgbClr val="DA1F28"/>
                </a:solidFill>
                <a:latin typeface="HY헤드라인M" pitchFamily="18" charset="-127"/>
                <a:ea typeface="HY헤드라인M" pitchFamily="18" charset="-127"/>
              </a:rPr>
              <a:t>방지</a:t>
            </a:r>
            <a:r>
              <a:rPr kumimoji="0" lang="ko-KR" altLang="en-US" sz="3200" dirty="0" smtClean="0">
                <a:solidFill>
                  <a:prstClr val="black"/>
                </a:solidFill>
                <a:latin typeface="HY헤드라인M" pitchFamily="18" charset="-127"/>
                <a:ea typeface="HY헤드라인M" pitchFamily="18" charset="-127"/>
              </a:rPr>
              <a:t>한다</a:t>
            </a:r>
            <a:r>
              <a:rPr kumimoji="0" lang="en-US" altLang="ko-KR" sz="3200" dirty="0" smtClean="0">
                <a:solidFill>
                  <a:prstClr val="black"/>
                </a:solidFill>
                <a:latin typeface="HY헤드라인M" pitchFamily="18" charset="-127"/>
                <a:ea typeface="HY헤드라인M" pitchFamily="18" charset="-127"/>
              </a:rPr>
              <a:t>!</a:t>
            </a:r>
            <a:endParaRPr kumimoji="0" lang="en-US" altLang="ko-KR" sz="3200" dirty="0">
              <a:solidFill>
                <a:prstClr val="black"/>
              </a:solidFill>
              <a:latin typeface="HY헤드라인M" pitchFamily="18" charset="-127"/>
              <a:ea typeface="HY헤드라인M" pitchFamily="18" charset="-127"/>
            </a:endParaRPr>
          </a:p>
          <a:p>
            <a:pPr defTabSz="1039381" fontAlgn="auto">
              <a:lnSpc>
                <a:spcPct val="150000"/>
              </a:lnSpc>
              <a:spcAft>
                <a:spcPts val="0"/>
              </a:spcAft>
              <a:defRPr/>
            </a:pPr>
            <a:r>
              <a:rPr kumimoji="0" lang="en-US" altLang="ko-KR" sz="3200" dirty="0">
                <a:solidFill>
                  <a:prstClr val="black"/>
                </a:solidFill>
                <a:latin typeface="HY헤드라인M" pitchFamily="18" charset="-127"/>
                <a:ea typeface="HY헤드라인M" pitchFamily="18" charset="-127"/>
              </a:rPr>
              <a:t>: </a:t>
            </a:r>
            <a:r>
              <a:rPr kumimoji="0" lang="ko-KR" altLang="en-US" sz="3200" dirty="0" smtClean="0">
                <a:solidFill>
                  <a:prstClr val="black"/>
                </a:solidFill>
                <a:latin typeface="HY헤드라인M" pitchFamily="18" charset="-127"/>
                <a:ea typeface="HY헤드라인M" pitchFamily="18" charset="-127"/>
              </a:rPr>
              <a:t>전산화되지 않는 농장만의 기록관리 추가</a:t>
            </a:r>
            <a:r>
              <a:rPr kumimoji="0" lang="en-US" altLang="ko-KR" sz="3200" dirty="0" smtClean="0">
                <a:solidFill>
                  <a:prstClr val="black"/>
                </a:solidFill>
                <a:latin typeface="HY헤드라인M" pitchFamily="18" charset="-127"/>
                <a:ea typeface="HY헤드라인M" pitchFamily="18" charset="-127"/>
              </a:rPr>
              <a:t>!</a:t>
            </a:r>
            <a:endParaRPr kumimoji="0" lang="en-US" altLang="ko-KR" sz="3200" dirty="0">
              <a:solidFill>
                <a:prstClr val="black"/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16" name="모서리가 둥근 사각형 설명선 15"/>
          <p:cNvSpPr/>
          <p:nvPr/>
        </p:nvSpPr>
        <p:spPr>
          <a:xfrm>
            <a:off x="5549012" y="3536813"/>
            <a:ext cx="2466224" cy="781103"/>
          </a:xfrm>
          <a:prstGeom prst="wedgeRoundRectCallout">
            <a:avLst>
              <a:gd name="adj1" fmla="val 72994"/>
              <a:gd name="adj2" fmla="val 89192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941" tIns="51970" rIns="103941" bIns="51970" rtlCol="0" anchor="ctr"/>
          <a:lstStyle/>
          <a:p>
            <a:pPr algn="ctr" defTabSz="1039381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2100" b="1" dirty="0">
                <a:solidFill>
                  <a:prstClr val="black"/>
                </a:solidFill>
              </a:rPr>
              <a:t>뼈대 있는 집안을 만들자</a:t>
            </a:r>
          </a:p>
        </p:txBody>
      </p:sp>
    </p:spTree>
    <p:extLst>
      <p:ext uri="{BB962C8B-B14F-4D97-AF65-F5344CB8AC3E}">
        <p14:creationId xmlns:p14="http://schemas.microsoft.com/office/powerpoint/2010/main" val="36880474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 sz="6200" dirty="0"/>
              <a:t>기록관리</a:t>
            </a:r>
            <a:r>
              <a:rPr lang="en-US" altLang="ko-KR" sz="6200" dirty="0"/>
              <a:t>(</a:t>
            </a:r>
            <a:r>
              <a:rPr lang="ko-KR" altLang="en-US" sz="6200" dirty="0"/>
              <a:t>필수항목</a:t>
            </a:r>
            <a:r>
              <a:rPr lang="en-US" altLang="ko-KR" sz="6200" dirty="0"/>
              <a:t>)</a:t>
            </a:r>
            <a:endParaRPr lang="ko-KR" altLang="en-US" sz="6200" dirty="0"/>
          </a:p>
        </p:txBody>
      </p:sp>
      <p:pic>
        <p:nvPicPr>
          <p:cNvPr id="5123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3505" y="1496485"/>
            <a:ext cx="9607419" cy="314251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TextBox 4"/>
          <p:cNvSpPr txBox="1"/>
          <p:nvPr/>
        </p:nvSpPr>
        <p:spPr>
          <a:xfrm>
            <a:off x="417699" y="1807822"/>
            <a:ext cx="990022" cy="735620"/>
          </a:xfrm>
          <a:prstGeom prst="rect">
            <a:avLst/>
          </a:prstGeom>
          <a:noFill/>
        </p:spPr>
        <p:txBody>
          <a:bodyPr wrap="none" lIns="103667" tIns="51833" rIns="103667" bIns="51833" rtlCol="0">
            <a:spAutoFit/>
          </a:bodyPr>
          <a:lstStyle/>
          <a:p>
            <a:pPr defTabSz="1036631" fontAlgn="auto">
              <a:spcBef>
                <a:spcPts val="0"/>
              </a:spcBef>
              <a:spcAft>
                <a:spcPts val="0"/>
              </a:spcAft>
            </a:pPr>
            <a:r>
              <a:rPr kumimoji="0" lang="ko-KR" altLang="en-US" sz="41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entury Schoolbook"/>
                <a:ea typeface="휴먼매직체"/>
              </a:rPr>
              <a:t>혈통</a:t>
            </a:r>
          </a:p>
        </p:txBody>
      </p:sp>
      <p:pic>
        <p:nvPicPr>
          <p:cNvPr id="5124" name="Picture 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34136" y="3780631"/>
            <a:ext cx="9858047" cy="2093189"/>
          </a:xfrm>
          <a:prstGeom prst="rect">
            <a:avLst/>
          </a:prstGeom>
          <a:ln>
            <a:solidFill>
              <a:srgbClr val="FF000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84762" y="5490820"/>
            <a:ext cx="9998736" cy="1519161"/>
          </a:xfrm>
          <a:prstGeom prst="rect">
            <a:avLst/>
          </a:prstGeom>
          <a:ln>
            <a:solidFill>
              <a:srgbClr val="FF000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8" name="TextBox 7"/>
          <p:cNvSpPr txBox="1"/>
          <p:nvPr/>
        </p:nvSpPr>
        <p:spPr>
          <a:xfrm>
            <a:off x="7066151" y="7088710"/>
            <a:ext cx="2736304" cy="215444"/>
          </a:xfrm>
          <a:prstGeom prst="rect">
            <a:avLst/>
          </a:prstGeom>
          <a:noFill/>
        </p:spPr>
        <p:txBody>
          <a:bodyPr wrap="square" lIns="91040" tIns="45521" rIns="91040" bIns="45521" rtlCol="0">
            <a:spAutoFit/>
          </a:bodyPr>
          <a:lstStyle/>
          <a:p>
            <a:pPr algn="r"/>
            <a:r>
              <a:rPr lang="ko-KR" altLang="en-US" dirty="0" smtClean="0">
                <a:solidFill>
                  <a:prstClr val="black"/>
                </a:solidFill>
              </a:rPr>
              <a:t>농촌진흥청 국립축산과학원</a:t>
            </a:r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36725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1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1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 sz="5500" dirty="0"/>
              <a:t>기록관리</a:t>
            </a:r>
            <a:r>
              <a:rPr lang="en-US" altLang="ko-KR" sz="5500" dirty="0"/>
              <a:t>(</a:t>
            </a:r>
            <a:r>
              <a:rPr lang="ko-KR" altLang="en-US" sz="5500" dirty="0"/>
              <a:t>권장항목</a:t>
            </a:r>
            <a:r>
              <a:rPr lang="en-US" altLang="ko-KR" sz="5500" dirty="0"/>
              <a:t>)</a:t>
            </a:r>
            <a:endParaRPr lang="ko-KR" altLang="en-US" sz="5500" dirty="0"/>
          </a:p>
        </p:txBody>
      </p:sp>
      <p:pic>
        <p:nvPicPr>
          <p:cNvPr id="22531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4447" y="1575302"/>
            <a:ext cx="9322936" cy="3644263"/>
          </a:xfrm>
          <a:prstGeom prst="rect">
            <a:avLst/>
          </a:prstGeom>
          <a:ln>
            <a:solidFill>
              <a:srgbClr val="FF000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2533" name="Picture 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84762" y="3623108"/>
            <a:ext cx="9523876" cy="2132094"/>
          </a:xfrm>
          <a:prstGeom prst="rect">
            <a:avLst/>
          </a:prstGeom>
          <a:ln>
            <a:solidFill>
              <a:srgbClr val="FF000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2532" name="Picture 4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835432" y="4962088"/>
            <a:ext cx="9618555" cy="1871381"/>
          </a:xfrm>
          <a:prstGeom prst="rect">
            <a:avLst/>
          </a:prstGeom>
          <a:ln>
            <a:solidFill>
              <a:srgbClr val="FF000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TextBox 5"/>
          <p:cNvSpPr txBox="1"/>
          <p:nvPr/>
        </p:nvSpPr>
        <p:spPr>
          <a:xfrm>
            <a:off x="7066151" y="7088710"/>
            <a:ext cx="2736304" cy="215444"/>
          </a:xfrm>
          <a:prstGeom prst="rect">
            <a:avLst/>
          </a:prstGeom>
          <a:noFill/>
        </p:spPr>
        <p:txBody>
          <a:bodyPr wrap="square" lIns="91040" tIns="45521" rIns="91040" bIns="45521" rtlCol="0">
            <a:spAutoFit/>
          </a:bodyPr>
          <a:lstStyle/>
          <a:p>
            <a:pPr algn="r"/>
            <a:r>
              <a:rPr lang="ko-KR" altLang="en-US" dirty="0" smtClean="0">
                <a:solidFill>
                  <a:prstClr val="black"/>
                </a:solidFill>
              </a:rPr>
              <a:t>농촌진흥청 국립축산과학원</a:t>
            </a:r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455504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25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25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5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25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25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0592" y="1890303"/>
            <a:ext cx="9292286" cy="31301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81370" y="3623104"/>
            <a:ext cx="9510847" cy="3031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534670" y="302802"/>
            <a:ext cx="8732943" cy="1260211"/>
          </a:xfrm>
        </p:spPr>
        <p:txBody>
          <a:bodyPr>
            <a:normAutofit/>
          </a:bodyPr>
          <a:lstStyle/>
          <a:p>
            <a:r>
              <a:rPr lang="ko-KR" altLang="en-US" sz="5500" dirty="0"/>
              <a:t>기록관리</a:t>
            </a:r>
            <a:r>
              <a:rPr lang="en-US" altLang="ko-KR" sz="5500" dirty="0"/>
              <a:t>(</a:t>
            </a:r>
            <a:r>
              <a:rPr lang="ko-KR" altLang="en-US" sz="5500" dirty="0"/>
              <a:t>번식기록</a:t>
            </a:r>
            <a:r>
              <a:rPr lang="en-US" altLang="ko-KR" sz="5500" dirty="0"/>
              <a:t>)</a:t>
            </a:r>
            <a:endParaRPr lang="ko-KR" altLang="en-US" sz="5500" dirty="0"/>
          </a:p>
        </p:txBody>
      </p:sp>
      <p:sp>
        <p:nvSpPr>
          <p:cNvPr id="6" name="TextBox 5"/>
          <p:cNvSpPr txBox="1"/>
          <p:nvPr/>
        </p:nvSpPr>
        <p:spPr>
          <a:xfrm>
            <a:off x="7066151" y="7088710"/>
            <a:ext cx="2736304" cy="215444"/>
          </a:xfrm>
          <a:prstGeom prst="rect">
            <a:avLst/>
          </a:prstGeom>
          <a:noFill/>
        </p:spPr>
        <p:txBody>
          <a:bodyPr wrap="square" lIns="91040" tIns="45521" rIns="91040" bIns="45521" rtlCol="0">
            <a:spAutoFit/>
          </a:bodyPr>
          <a:lstStyle/>
          <a:p>
            <a:pPr algn="r"/>
            <a:r>
              <a:rPr lang="ko-KR" altLang="en-US" dirty="0" smtClean="0">
                <a:solidFill>
                  <a:prstClr val="black"/>
                </a:solidFill>
              </a:rPr>
              <a:t>농촌진흥청 국립축산과학원</a:t>
            </a:r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1588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9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36025" y="2047834"/>
            <a:ext cx="10023242" cy="44412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5" name="제목 1"/>
          <p:cNvSpPr>
            <a:spLocks noGrp="1"/>
          </p:cNvSpPr>
          <p:nvPr>
            <p:ph type="title"/>
          </p:nvPr>
        </p:nvSpPr>
        <p:spPr>
          <a:xfrm>
            <a:off x="534670" y="302802"/>
            <a:ext cx="8732943" cy="1260211"/>
          </a:xfrm>
        </p:spPr>
        <p:txBody>
          <a:bodyPr>
            <a:normAutofit/>
          </a:bodyPr>
          <a:lstStyle/>
          <a:p>
            <a:r>
              <a:rPr lang="ko-KR" altLang="en-US" sz="5500" dirty="0"/>
              <a:t>기록관리</a:t>
            </a:r>
            <a:r>
              <a:rPr lang="en-US" altLang="ko-KR" sz="5500" dirty="0"/>
              <a:t>(</a:t>
            </a:r>
            <a:r>
              <a:rPr lang="ko-KR" altLang="en-US" sz="5500" dirty="0"/>
              <a:t>도축성적</a:t>
            </a:r>
            <a:r>
              <a:rPr lang="en-US" altLang="ko-KR" sz="5500" dirty="0"/>
              <a:t>)</a:t>
            </a:r>
            <a:endParaRPr lang="ko-KR" altLang="en-US" sz="5500" dirty="0"/>
          </a:p>
        </p:txBody>
      </p:sp>
      <p:sp>
        <p:nvSpPr>
          <p:cNvPr id="4" name="TextBox 3"/>
          <p:cNvSpPr txBox="1"/>
          <p:nvPr/>
        </p:nvSpPr>
        <p:spPr>
          <a:xfrm>
            <a:off x="7066151" y="7088710"/>
            <a:ext cx="2736304" cy="215444"/>
          </a:xfrm>
          <a:prstGeom prst="rect">
            <a:avLst/>
          </a:prstGeom>
          <a:noFill/>
        </p:spPr>
        <p:txBody>
          <a:bodyPr wrap="square" lIns="91040" tIns="45521" rIns="91040" bIns="45521" rtlCol="0">
            <a:spAutoFit/>
          </a:bodyPr>
          <a:lstStyle/>
          <a:p>
            <a:pPr algn="r"/>
            <a:r>
              <a:rPr lang="ko-KR" altLang="en-US" dirty="0" smtClean="0">
                <a:solidFill>
                  <a:prstClr val="black"/>
                </a:solidFill>
              </a:rPr>
              <a:t>농촌진흥청 국립축산과학원</a:t>
            </a:r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7482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850" name="슬라이드 번호 개체 틀 2"/>
          <p:cNvSpPr>
            <a:spLocks noGrp="1"/>
          </p:cNvSpPr>
          <p:nvPr>
            <p:ph type="sldNum" sz="quarter" idx="4294967295"/>
          </p:nvPr>
        </p:nvSpPr>
        <p:spPr bwMode="auto">
          <a:xfrm>
            <a:off x="7662863" y="6996113"/>
            <a:ext cx="2495550" cy="4143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3831" tIns="51916" rIns="103831" bIns="51916"/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840833" indent="-322425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296018" indent="-257623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814428" indent="-257623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334409" indent="-257623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789602" indent="-25762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3244786" indent="-25762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699975" indent="-25762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4155167" indent="-25762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fld id="{2976CB8E-D380-4FC3-9316-40F0C313702A}" type="slidenum">
              <a:rPr lang="ko-KR" altLang="en-US" sz="800" b="1">
                <a:solidFill>
                  <a:srgbClr val="0000CC"/>
                </a:solidFill>
                <a:latin typeface="HY헤드라인M" pitchFamily="18" charset="-127"/>
                <a:ea typeface="HY헤드라인M" pitchFamily="18" charset="-127"/>
              </a:rPr>
              <a:pPr eaLnBrk="1" hangingPunct="1">
                <a:spcBef>
                  <a:spcPct val="0"/>
                </a:spcBef>
                <a:buFontTx/>
                <a:buNone/>
              </a:pPr>
              <a:t>25</a:t>
            </a:fld>
            <a:r>
              <a:rPr lang="en-US" altLang="ko-KR" sz="800" b="1">
                <a:solidFill>
                  <a:srgbClr val="0000CC"/>
                </a:solidFill>
                <a:latin typeface="HY헤드라인M" pitchFamily="18" charset="-127"/>
                <a:ea typeface="HY헤드라인M" pitchFamily="18" charset="-127"/>
              </a:rPr>
              <a:t>/54</a:t>
            </a:r>
          </a:p>
        </p:txBody>
      </p:sp>
      <p:pic>
        <p:nvPicPr>
          <p:cNvPr id="78851" name="Picture 3" descr="C:\DOCUME~1\Owner\LOCALS~1\Temp\Hnc\BinData\EMB000001c40038.gi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1689" y="152403"/>
            <a:ext cx="8612187" cy="74088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8852" name="Rectangle 5"/>
          <p:cNvSpPr>
            <a:spLocks noChangeArrowheads="1"/>
          </p:cNvSpPr>
          <p:nvPr/>
        </p:nvSpPr>
        <p:spPr bwMode="auto">
          <a:xfrm>
            <a:off x="620731" y="109875"/>
            <a:ext cx="1360646" cy="227957"/>
          </a:xfrm>
          <a:prstGeom prst="rect">
            <a:avLst/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3831" tIns="51916" rIns="103831" bIns="51916" anchor="ctr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ko-KR" altLang="en-US" sz="800">
                <a:solidFill>
                  <a:srgbClr val="FFFF00"/>
                </a:solidFill>
                <a:latin typeface="Arial" pitchFamily="34" charset="0"/>
                <a:ea typeface="HY헤드라인M" pitchFamily="18" charset="-127"/>
              </a:rPr>
              <a:t>암소 개량자료 기록표(예)</a:t>
            </a:r>
          </a:p>
        </p:txBody>
      </p:sp>
      <p:sp>
        <p:nvSpPr>
          <p:cNvPr id="78853" name="직사각형 1"/>
          <p:cNvSpPr>
            <a:spLocks noChangeArrowheads="1"/>
          </p:cNvSpPr>
          <p:nvPr/>
        </p:nvSpPr>
        <p:spPr bwMode="auto">
          <a:xfrm>
            <a:off x="1301778" y="1169989"/>
            <a:ext cx="4224339" cy="4140811"/>
          </a:xfrm>
          <a:prstGeom prst="rect">
            <a:avLst/>
          </a:prstGeom>
          <a:noFill/>
          <a:ln w="28575" algn="ctr">
            <a:solidFill>
              <a:srgbClr val="FF0000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040" tIns="45521" rIns="91040" bIns="45521">
            <a:noAutofit/>
          </a:bodyPr>
          <a:lstStyle>
            <a:lvl1pPr marL="457200" indent="-457200"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806450" indent="-309563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243013" indent="-246063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739900" indent="-246063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238375" indent="-246063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695575" indent="-2460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3152775" indent="-2460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609975" indent="-2460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4067175" indent="-2460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ko-KR" altLang="en-US" sz="700">
              <a:solidFill>
                <a:schemeClr val="tx1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41107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제목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ko-KR" altLang="en-US" sz="6200" b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혈통등록은 </a:t>
            </a:r>
            <a:r>
              <a:rPr lang="ko-KR" altLang="en-US" sz="6200" b="0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왜하죠</a:t>
            </a:r>
            <a:r>
              <a:rPr lang="en-US" altLang="ko-KR" sz="6200" b="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?</a:t>
            </a:r>
            <a:endParaRPr lang="ko-KR" altLang="en-US" sz="6200" b="0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" name="텍스트 개체 틀 4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altLang="ko-KR" sz="3200" b="0" dirty="0"/>
          </a:p>
        </p:txBody>
      </p:sp>
    </p:spTree>
    <p:extLst>
      <p:ext uri="{BB962C8B-B14F-4D97-AF65-F5344CB8AC3E}">
        <p14:creationId xmlns:p14="http://schemas.microsoft.com/office/powerpoint/2010/main" val="228642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2"/>
          <p:cNvSpPr>
            <a:spLocks noChangeArrowheads="1"/>
          </p:cNvSpPr>
          <p:nvPr/>
        </p:nvSpPr>
        <p:spPr bwMode="auto">
          <a:xfrm>
            <a:off x="445558" y="4510504"/>
            <a:ext cx="9891395" cy="26044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3703" tIns="51852" rIns="103703" bIns="51852" anchor="ctr"/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9pPr>
          </a:lstStyle>
          <a:p>
            <a:pPr latinLnBrk="0">
              <a:lnSpc>
                <a:spcPct val="120000"/>
              </a:lnSpc>
            </a:pPr>
            <a:r>
              <a:rPr kumimoji="0" lang="en-US" altLang="ko-KR" sz="41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- </a:t>
            </a:r>
            <a:r>
              <a:rPr kumimoji="0" lang="ko-KR" altLang="en-US" sz="4100" b="1" dirty="0" smtClean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개량에서 </a:t>
            </a:r>
            <a:r>
              <a:rPr kumimoji="0" lang="ko-KR" altLang="en-US" sz="41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가장 </a:t>
            </a:r>
            <a:r>
              <a:rPr kumimoji="0" lang="ko-KR" altLang="en-US" sz="4100" b="1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기초</a:t>
            </a:r>
            <a:r>
              <a:rPr kumimoji="0" lang="ko-KR" altLang="en-US" sz="41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적인 제</a:t>
            </a:r>
            <a:r>
              <a:rPr kumimoji="0" lang="en-US" altLang="ko-KR" sz="4100" b="1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r>
              <a:rPr kumimoji="0" lang="ko-KR" altLang="en-US" sz="41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단계로</a:t>
            </a:r>
          </a:p>
          <a:p>
            <a:pPr latinLnBrk="0">
              <a:lnSpc>
                <a:spcPct val="120000"/>
              </a:lnSpc>
            </a:pPr>
            <a:r>
              <a:rPr kumimoji="0" lang="en-US" altLang="ko-KR" sz="41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- </a:t>
            </a:r>
            <a:r>
              <a:rPr kumimoji="0" lang="ko-KR" altLang="en-US" sz="4100" b="1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혈통</a:t>
            </a:r>
            <a:r>
              <a:rPr kumimoji="0" lang="ko-KR" altLang="en-US" sz="41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을 확립하고 </a:t>
            </a:r>
          </a:p>
          <a:p>
            <a:pPr latinLnBrk="0">
              <a:lnSpc>
                <a:spcPct val="120000"/>
              </a:lnSpc>
            </a:pPr>
            <a:r>
              <a:rPr kumimoji="0" lang="en-US" altLang="ko-KR" sz="41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- </a:t>
            </a:r>
            <a:r>
              <a:rPr kumimoji="0" lang="ko-KR" altLang="en-US" sz="4100" b="1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근친교배</a:t>
            </a:r>
            <a:r>
              <a:rPr kumimoji="0" lang="ko-KR" altLang="en-US" sz="4100" b="1" dirty="0">
                <a:solidFill>
                  <a:prstClr val="black"/>
                </a:solidFill>
                <a:latin typeface="맑은 고딕" pitchFamily="50" charset="-127"/>
                <a:ea typeface="맑은 고딕" pitchFamily="50" charset="-127"/>
              </a:rPr>
              <a:t>를 방지</a:t>
            </a:r>
          </a:p>
          <a:p>
            <a:pPr latinLnBrk="0">
              <a:lnSpc>
                <a:spcPct val="120000"/>
              </a:lnSpc>
            </a:pPr>
            <a:endParaRPr kumimoji="0" lang="en-US" altLang="ko-KR" sz="2300" b="1" dirty="0">
              <a:solidFill>
                <a:prstClr val="black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52963" name="Text Box 3"/>
          <p:cNvSpPr txBox="1">
            <a:spLocks noChangeArrowheads="1"/>
          </p:cNvSpPr>
          <p:nvPr/>
        </p:nvSpPr>
        <p:spPr bwMode="auto">
          <a:xfrm>
            <a:off x="495684" y="1100972"/>
            <a:ext cx="6906154" cy="1367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3703" tIns="51852" rIns="103703" bIns="51852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latinLnBrk="0">
              <a:defRPr/>
            </a:pPr>
            <a:r>
              <a:rPr kumimoji="0" lang="ko-KR" altLang="en-US" sz="4100" b="1" spc="57" dirty="0">
                <a:ln w="11430"/>
                <a:solidFill>
                  <a:prstClr val="black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맑은 고딕" pitchFamily="50" charset="-127"/>
                <a:ea typeface="맑은 고딕" pitchFamily="50" charset="-127"/>
              </a:rPr>
              <a:t>등록이란</a:t>
            </a:r>
            <a:r>
              <a:rPr kumimoji="0" lang="en-US" altLang="ko-KR" sz="4100" b="1" spc="57" dirty="0">
                <a:ln w="11430"/>
                <a:solidFill>
                  <a:prstClr val="black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맑은 고딕" pitchFamily="50" charset="-127"/>
                <a:ea typeface="맑은 고딕" pitchFamily="50" charset="-127"/>
              </a:rPr>
              <a:t>?</a:t>
            </a:r>
          </a:p>
          <a:p>
            <a:pPr marL="583308" indent="-583308" latinLnBrk="0">
              <a:defRPr/>
            </a:pPr>
            <a:r>
              <a:rPr kumimoji="0" lang="en-US" altLang="ko-KR" sz="4100" b="1" spc="57" dirty="0">
                <a:ln w="11430"/>
                <a:solidFill>
                  <a:prstClr val="black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맑은 고딕" pitchFamily="50" charset="-127"/>
                <a:ea typeface="맑은 고딕" pitchFamily="50" charset="-127"/>
              </a:rPr>
              <a:t>    </a:t>
            </a:r>
            <a:r>
              <a:rPr kumimoji="0" lang="en-US" altLang="ko-KR" sz="3700" b="1" spc="57" dirty="0">
                <a:ln w="11430"/>
                <a:solidFill>
                  <a:prstClr val="black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맑은 고딕" pitchFamily="50" charset="-127"/>
                <a:ea typeface="맑은 고딕" pitchFamily="50" charset="-127"/>
              </a:rPr>
              <a:t>(Registration)</a:t>
            </a:r>
          </a:p>
        </p:txBody>
      </p:sp>
      <p:pic>
        <p:nvPicPr>
          <p:cNvPr id="58374" name="Picture 4" descr="캐릭터1"/>
          <p:cNvPicPr>
            <a:picLocks noGrp="1" noChangeAspect="1" noChangeArrowheads="1"/>
          </p:cNvPicPr>
          <p:nvPr>
            <p:ph/>
          </p:nvPr>
        </p:nvPicPr>
        <p:blipFill>
          <a:blip r:embed="rId2" cstate="print"/>
          <a:srcRect/>
          <a:stretch>
            <a:fillRect/>
          </a:stretch>
        </p:blipFill>
        <p:spPr>
          <a:xfrm>
            <a:off x="6651817" y="1001167"/>
            <a:ext cx="3105912" cy="3374564"/>
          </a:xfrm>
          <a:ln w="38100" cap="sq">
            <a:solidFill>
              <a:srgbClr val="000000"/>
            </a:solidFill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143778487"/>
      </p:ext>
    </p:extLst>
  </p:cSld>
  <p:clrMapOvr>
    <a:masterClrMapping/>
  </p:clrMapOvr>
  <p:transition advTm="3000">
    <p:zoom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29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5296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5296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44" name="Text Box 4"/>
          <p:cNvSpPr txBox="1">
            <a:spLocks noChangeArrowheads="1"/>
          </p:cNvSpPr>
          <p:nvPr/>
        </p:nvSpPr>
        <p:spPr bwMode="auto">
          <a:xfrm>
            <a:off x="462267" y="208309"/>
            <a:ext cx="6906154" cy="6740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3685" tIns="51843" rIns="103685" bIns="51843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latinLnBrk="0">
              <a:defRPr/>
            </a:pPr>
            <a:r>
              <a:rPr kumimoji="0" lang="en-US" altLang="ko-KR" sz="3700" b="1" spc="57" dirty="0">
                <a:ln w="11430"/>
                <a:solidFill>
                  <a:srgbClr val="00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맑은 고딕" pitchFamily="50" charset="-127"/>
                <a:ea typeface="맑은 고딕" pitchFamily="50" charset="-127"/>
              </a:rPr>
              <a:t>§ </a:t>
            </a:r>
            <a:r>
              <a:rPr kumimoji="0" lang="ko-KR" altLang="en-US" sz="3700" b="1" spc="57" dirty="0">
                <a:ln w="11430"/>
                <a:solidFill>
                  <a:srgbClr val="00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맑은 고딕" pitchFamily="50" charset="-127"/>
                <a:ea typeface="맑은 고딕" pitchFamily="50" charset="-127"/>
              </a:rPr>
              <a:t>등록의 종류와 단계</a:t>
            </a:r>
          </a:p>
        </p:txBody>
      </p:sp>
      <p:sp>
        <p:nvSpPr>
          <p:cNvPr id="62470" name="Rectangle 7"/>
          <p:cNvSpPr>
            <a:spLocks noChangeArrowheads="1"/>
          </p:cNvSpPr>
          <p:nvPr/>
        </p:nvSpPr>
        <p:spPr bwMode="auto">
          <a:xfrm>
            <a:off x="1739575" y="1363780"/>
            <a:ext cx="8341223" cy="1032672"/>
          </a:xfrm>
          <a:prstGeom prst="rect">
            <a:avLst/>
          </a:prstGeom>
          <a:solidFill>
            <a:srgbClr val="00B050"/>
          </a:solidFill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lIns="103685" tIns="51843" rIns="103685" bIns="51843" anchor="ctr"/>
          <a:lstStyle/>
          <a:p>
            <a:pPr latinLnBrk="0">
              <a:defRPr/>
            </a:pPr>
            <a:r>
              <a:rPr kumimoji="0" lang="ko-KR" altLang="en-US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기초등록 </a:t>
            </a:r>
            <a:r>
              <a:rPr kumimoji="0" lang="en-US" altLang="ko-KR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: </a:t>
            </a:r>
            <a:r>
              <a:rPr kumimoji="0" lang="ko-KR" altLang="en-US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부</a:t>
            </a:r>
            <a:r>
              <a:rPr kumimoji="0" lang="en-US" altLang="ko-KR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모 모름 </a:t>
            </a:r>
            <a:r>
              <a:rPr kumimoji="0" lang="en-US" altLang="ko-KR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en-US" altLang="ko-KR" sz="2100" b="1" dirty="0" smtClean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6</a:t>
            </a:r>
            <a:r>
              <a:rPr kumimoji="0" lang="ko-KR" altLang="en-US" sz="2100" b="1" dirty="0" err="1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개월령</a:t>
            </a:r>
            <a:r>
              <a:rPr kumimoji="0" lang="ko-KR" altLang="en-US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 이상의 한우</a:t>
            </a:r>
          </a:p>
          <a:p>
            <a:pPr latinLnBrk="0">
              <a:defRPr/>
            </a:pPr>
            <a:r>
              <a:rPr kumimoji="0" lang="ko-KR" altLang="en-US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              경미한 </a:t>
            </a:r>
            <a:r>
              <a:rPr kumimoji="0" lang="ko-KR" altLang="en-US" sz="2100" b="1" dirty="0" err="1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이모색이나</a:t>
            </a:r>
            <a:r>
              <a:rPr kumimoji="0" lang="ko-KR" altLang="en-US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en-US" altLang="ko-KR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0cm </a:t>
            </a:r>
            <a:r>
              <a:rPr kumimoji="0" lang="ko-KR" altLang="en-US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미만의 백</a:t>
            </a:r>
            <a:r>
              <a:rPr kumimoji="0" lang="en-US" altLang="ko-KR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(</a:t>
            </a:r>
            <a:r>
              <a:rPr kumimoji="0" lang="ko-KR" altLang="en-US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흑</a:t>
            </a:r>
            <a:r>
              <a:rPr kumimoji="0" lang="en-US" altLang="ko-KR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)</a:t>
            </a:r>
            <a:r>
              <a:rPr kumimoji="0" lang="ko-KR" altLang="en-US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반</a:t>
            </a:r>
            <a:r>
              <a:rPr kumimoji="0" lang="en-US" altLang="ko-KR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sz="2100" b="1" dirty="0" err="1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흑비경</a:t>
            </a:r>
            <a:r>
              <a:rPr kumimoji="0" lang="ko-KR" altLang="en-US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ko-KR" altLang="en-US" sz="2100" b="1" dirty="0" err="1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발현우</a:t>
            </a:r>
            <a:endParaRPr kumimoji="0" lang="en-US" altLang="ko-KR" sz="2100" b="1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  <a:p>
            <a:pPr latinLnBrk="0">
              <a:defRPr/>
            </a:pPr>
            <a:r>
              <a:rPr kumimoji="0" lang="en-US" altLang="ko-KR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              (</a:t>
            </a:r>
            <a:r>
              <a:rPr kumimoji="0" lang="ko-KR" altLang="en-US" sz="2100" b="1" dirty="0">
                <a:solidFill>
                  <a:srgbClr val="0000FF"/>
                </a:solidFill>
                <a:latin typeface="맑은 고딕" pitchFamily="50" charset="-127"/>
                <a:ea typeface="맑은 고딕" pitchFamily="50" charset="-127"/>
              </a:rPr>
              <a:t>한우판별</a:t>
            </a:r>
            <a:r>
              <a:rPr kumimoji="0" lang="ko-KR" altLang="en-US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이 종료함에 따라 후속조치</a:t>
            </a:r>
            <a:r>
              <a:rPr kumimoji="0" lang="en-US" altLang="ko-KR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,</a:t>
            </a:r>
            <a:r>
              <a:rPr kumimoji="0" lang="ko-KR" altLang="en-US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en-US" altLang="ko-KR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012.9.14)</a:t>
            </a:r>
            <a:endParaRPr kumimoji="0" lang="ko-KR" altLang="en-US" sz="2100" b="1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2471" name="Rectangle 8"/>
          <p:cNvSpPr>
            <a:spLocks noChangeArrowheads="1"/>
          </p:cNvSpPr>
          <p:nvPr/>
        </p:nvSpPr>
        <p:spPr bwMode="auto">
          <a:xfrm>
            <a:off x="1739575" y="2787281"/>
            <a:ext cx="8341223" cy="1032672"/>
          </a:xfrm>
          <a:prstGeom prst="rect">
            <a:avLst/>
          </a:prstGeom>
          <a:solidFill>
            <a:srgbClr val="FF6600"/>
          </a:solidFill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lIns="103685" tIns="51843" rIns="103685" bIns="51843" anchor="ctr"/>
          <a:lstStyle/>
          <a:p>
            <a:pPr latinLnBrk="0">
              <a:defRPr/>
            </a:pPr>
            <a:r>
              <a:rPr kumimoji="0" lang="ko-KR" altLang="en-US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혈통등록 </a:t>
            </a:r>
            <a:r>
              <a:rPr kumimoji="0" lang="en-US" altLang="ko-KR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: </a:t>
            </a:r>
            <a:r>
              <a:rPr kumimoji="0" lang="ko-KR" altLang="en-US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부</a:t>
            </a:r>
            <a:r>
              <a:rPr kumimoji="0" lang="en-US" altLang="ko-KR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kumimoji="0" lang="ko-KR" altLang="en-US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모가 </a:t>
            </a:r>
            <a:r>
              <a:rPr kumimoji="0" lang="ko-KR" altLang="en-US" sz="2100" b="1" dirty="0" err="1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등록우</a:t>
            </a:r>
            <a:r>
              <a:rPr kumimoji="0" lang="ko-KR" altLang="en-US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 이상</a:t>
            </a:r>
          </a:p>
          <a:p>
            <a:pPr latinLnBrk="0">
              <a:defRPr/>
            </a:pPr>
            <a:r>
              <a:rPr kumimoji="0" lang="en-US" altLang="ko-KR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              2</a:t>
            </a:r>
            <a:r>
              <a:rPr kumimoji="0" lang="ko-KR" altLang="en-US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개월 이내에 등록신청   </a:t>
            </a:r>
          </a:p>
        </p:txBody>
      </p:sp>
      <p:sp>
        <p:nvSpPr>
          <p:cNvPr id="62472" name="Rectangle 9"/>
          <p:cNvSpPr>
            <a:spLocks noChangeArrowheads="1"/>
          </p:cNvSpPr>
          <p:nvPr/>
        </p:nvSpPr>
        <p:spPr bwMode="auto">
          <a:xfrm>
            <a:off x="1739575" y="4180191"/>
            <a:ext cx="8341223" cy="1213525"/>
          </a:xfrm>
          <a:prstGeom prst="rect">
            <a:avLst/>
          </a:prstGeom>
          <a:solidFill>
            <a:srgbClr val="FF0000"/>
          </a:solidFill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lIns="103685" tIns="51843" rIns="103685" bIns="51843" anchor="ctr"/>
          <a:lstStyle/>
          <a:p>
            <a:pPr latinLnBrk="0">
              <a:defRPr/>
            </a:pPr>
            <a:r>
              <a:rPr kumimoji="0" lang="ko-KR" altLang="en-US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고등등록 </a:t>
            </a:r>
            <a:r>
              <a:rPr kumimoji="0" lang="en-US" altLang="ko-KR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: </a:t>
            </a:r>
            <a:r>
              <a:rPr kumimoji="0" lang="ko-KR" altLang="en-US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부</a:t>
            </a:r>
            <a:r>
              <a:rPr kumimoji="0" lang="en-US" altLang="ko-KR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,</a:t>
            </a:r>
            <a:r>
              <a:rPr kumimoji="0" lang="ko-KR" altLang="en-US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 모가 </a:t>
            </a:r>
            <a:r>
              <a:rPr kumimoji="0" lang="ko-KR" altLang="en-US" sz="2100" b="1" dirty="0" err="1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혈통등록우</a:t>
            </a:r>
            <a:r>
              <a:rPr kumimoji="0" lang="ko-KR" altLang="en-US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 이상이며 </a:t>
            </a:r>
            <a:r>
              <a:rPr kumimoji="0" lang="en-US" altLang="ko-KR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4~48</a:t>
            </a:r>
            <a:r>
              <a:rPr kumimoji="0" lang="ko-KR" altLang="en-US" sz="2100" b="1" dirty="0" err="1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개월령</a:t>
            </a:r>
            <a:r>
              <a:rPr kumimoji="0" lang="ko-KR" altLang="en-US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 이내인 개체</a:t>
            </a:r>
          </a:p>
          <a:p>
            <a:pPr latinLnBrk="0">
              <a:defRPr/>
            </a:pPr>
            <a:r>
              <a:rPr kumimoji="0" lang="ko-KR" altLang="en-US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              선형심사를 </a:t>
            </a:r>
            <a:r>
              <a:rPr kumimoji="0" lang="ko-KR" altLang="en-US" sz="2100" b="1" dirty="0" err="1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필해야</a:t>
            </a:r>
            <a:r>
              <a:rPr kumimoji="0" lang="ko-KR" altLang="en-US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 하며 심사점수 </a:t>
            </a:r>
            <a:r>
              <a:rPr kumimoji="0" lang="en-US" altLang="ko-KR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80</a:t>
            </a:r>
            <a:r>
              <a:rPr kumimoji="0" lang="ko-KR" altLang="en-US" sz="2100" b="1" dirty="0" err="1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점이상</a:t>
            </a:r>
            <a:endParaRPr kumimoji="0" lang="en-US" altLang="ko-KR" sz="2100" b="1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  <a:p>
            <a:pPr latinLnBrk="0">
              <a:defRPr/>
            </a:pPr>
            <a:r>
              <a:rPr kumimoji="0" lang="en-US" altLang="ko-KR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              </a:t>
            </a:r>
            <a:r>
              <a:rPr kumimoji="0" lang="ko-KR" altLang="en-US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유전능력평가 결과 </a:t>
            </a:r>
            <a:r>
              <a:rPr kumimoji="0" lang="en-US" altLang="ko-KR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4</a:t>
            </a:r>
            <a:r>
              <a:rPr kumimoji="0" lang="ko-KR" altLang="en-US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개의 </a:t>
            </a:r>
            <a:r>
              <a:rPr kumimoji="0" lang="ko-KR" altLang="en-US" sz="2100" b="1" dirty="0" err="1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형질중</a:t>
            </a:r>
            <a:r>
              <a:rPr kumimoji="0" lang="ko-KR" altLang="en-US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en-US" altLang="ko-KR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r>
              <a:rPr kumimoji="0" lang="ko-KR" altLang="en-US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개의 형질이 </a:t>
            </a:r>
            <a:r>
              <a:rPr kumimoji="0" lang="en-US" altLang="ko-KR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B</a:t>
            </a:r>
            <a:r>
              <a:rPr kumimoji="0" lang="ko-KR" altLang="en-US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이상</a:t>
            </a:r>
            <a:endParaRPr kumimoji="0" lang="en-US" altLang="ko-KR" sz="2100" b="1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  <a:p>
            <a:pPr latinLnBrk="0">
              <a:defRPr/>
            </a:pPr>
            <a:r>
              <a:rPr kumimoji="0" lang="en-US" altLang="ko-KR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              (2012.1.1) </a:t>
            </a:r>
            <a:endParaRPr kumimoji="0" lang="ko-KR" altLang="en-US" sz="2100" b="1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62473" name="Rectangle 10"/>
          <p:cNvSpPr>
            <a:spLocks noChangeArrowheads="1"/>
          </p:cNvSpPr>
          <p:nvPr/>
        </p:nvSpPr>
        <p:spPr bwMode="auto">
          <a:xfrm>
            <a:off x="1739575" y="5782667"/>
            <a:ext cx="8341223" cy="1320293"/>
          </a:xfrm>
          <a:prstGeom prst="rect">
            <a:avLst/>
          </a:prstGeom>
          <a:solidFill>
            <a:srgbClr val="0000FF"/>
          </a:solidFill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lIns="103685" tIns="51843" rIns="103685" bIns="51843" anchor="ctr"/>
          <a:lstStyle/>
          <a:p>
            <a:pPr latinLnBrk="0">
              <a:defRPr/>
            </a:pPr>
            <a:r>
              <a:rPr kumimoji="0" lang="ko-KR" altLang="en-US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육 종 우 </a:t>
            </a:r>
            <a:r>
              <a:rPr kumimoji="0" lang="en-US" altLang="ko-KR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: </a:t>
            </a:r>
            <a:r>
              <a:rPr kumimoji="0" lang="ko-KR" altLang="en-US" sz="2100" b="1" dirty="0" err="1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고등등록우에서</a:t>
            </a:r>
            <a:r>
              <a:rPr kumimoji="0" lang="ko-KR" altLang="en-US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 생산된 </a:t>
            </a:r>
            <a:r>
              <a:rPr kumimoji="0" lang="ko-KR" altLang="en-US" sz="2100" b="1" dirty="0" err="1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등록우로</a:t>
            </a:r>
            <a:r>
              <a:rPr kumimoji="0" lang="ko-KR" altLang="en-US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en-US" altLang="ko-KR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36</a:t>
            </a:r>
            <a:r>
              <a:rPr kumimoji="0" lang="ko-KR" altLang="en-US" sz="2100" b="1" dirty="0" err="1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개월이상</a:t>
            </a:r>
            <a:r>
              <a:rPr kumimoji="0" lang="en-US" altLang="ko-KR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,</a:t>
            </a:r>
          </a:p>
          <a:p>
            <a:pPr latinLnBrk="0">
              <a:defRPr/>
            </a:pPr>
            <a:r>
              <a:rPr kumimoji="0" lang="en-US" altLang="ko-KR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             </a:t>
            </a:r>
            <a:r>
              <a:rPr kumimoji="0" lang="ko-KR" altLang="en-US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선형심사를 </a:t>
            </a:r>
            <a:r>
              <a:rPr kumimoji="0" lang="ko-KR" altLang="en-US" sz="2100" b="1" dirty="0" err="1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필해야</a:t>
            </a:r>
            <a:r>
              <a:rPr kumimoji="0" lang="ko-KR" altLang="en-US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 하며 심사점수 </a:t>
            </a:r>
            <a:r>
              <a:rPr kumimoji="0" lang="en-US" altLang="ko-KR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85</a:t>
            </a:r>
            <a:r>
              <a:rPr kumimoji="0" lang="ko-KR" altLang="en-US" sz="2100" b="1" dirty="0" err="1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점이상</a:t>
            </a:r>
            <a:endParaRPr kumimoji="0" lang="en-US" altLang="ko-KR" sz="2100" b="1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  <a:p>
            <a:pPr latinLnBrk="0">
              <a:defRPr/>
            </a:pPr>
            <a:r>
              <a:rPr kumimoji="0" lang="en-US" altLang="ko-KR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             </a:t>
            </a:r>
            <a:r>
              <a:rPr kumimoji="0" lang="ko-KR" altLang="en-US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유전능력평가 결과 </a:t>
            </a:r>
            <a:r>
              <a:rPr kumimoji="0" lang="en-US" altLang="ko-KR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4</a:t>
            </a:r>
            <a:r>
              <a:rPr kumimoji="0" lang="ko-KR" altLang="en-US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개의 </a:t>
            </a:r>
            <a:r>
              <a:rPr kumimoji="0" lang="ko-KR" altLang="en-US" sz="2100" b="1" dirty="0" err="1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형질중</a:t>
            </a:r>
            <a:r>
              <a:rPr kumimoji="0" lang="ko-KR" altLang="en-US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kumimoji="0" lang="en-US" altLang="ko-KR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r>
              <a:rPr kumimoji="0" lang="ko-KR" altLang="en-US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개의 형질이 </a:t>
            </a:r>
            <a:r>
              <a:rPr kumimoji="0" lang="en-US" altLang="ko-KR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A</a:t>
            </a:r>
            <a:r>
              <a:rPr kumimoji="0" lang="ko-KR" altLang="en-US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이며</a:t>
            </a:r>
            <a:endParaRPr kumimoji="0" lang="en-US" altLang="ko-KR" sz="2100" b="1" dirty="0"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  <a:p>
            <a:pPr latinLnBrk="0">
              <a:defRPr/>
            </a:pPr>
            <a:r>
              <a:rPr kumimoji="0" lang="en-US" altLang="ko-KR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             D</a:t>
            </a:r>
            <a:r>
              <a:rPr kumimoji="0" lang="ko-KR" altLang="en-US" sz="2100" b="1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등급이 없는 개체</a:t>
            </a:r>
          </a:p>
        </p:txBody>
      </p:sp>
      <p:sp>
        <p:nvSpPr>
          <p:cNvPr id="45071" name="Text Box 12"/>
          <p:cNvSpPr txBox="1">
            <a:spLocks noChangeArrowheads="1"/>
          </p:cNvSpPr>
          <p:nvPr/>
        </p:nvSpPr>
        <p:spPr bwMode="auto">
          <a:xfrm>
            <a:off x="432455" y="952178"/>
            <a:ext cx="1167991" cy="6014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0" cap="sq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3685" tIns="51843" rIns="103685" bIns="51843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9pPr>
          </a:lstStyle>
          <a:p>
            <a:pPr algn="ctr" eaLnBrk="1" latinLnBrk="0" hangingPunct="1"/>
            <a:endParaRPr kumimoji="0" lang="en-US" altLang="ko-KR" sz="2900" b="1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eaLnBrk="1" latinLnBrk="0" hangingPunct="1"/>
            <a:endParaRPr kumimoji="0" lang="en-US" altLang="ko-KR" sz="1400" b="1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eaLnBrk="1" latinLnBrk="0" hangingPunct="1"/>
            <a:r>
              <a:rPr kumimoji="0" lang="en-US" altLang="ko-KR" sz="29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1</a:t>
            </a:r>
            <a:r>
              <a:rPr kumimoji="0" lang="ko-KR" altLang="en-US" sz="29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단계</a:t>
            </a:r>
          </a:p>
          <a:p>
            <a:pPr algn="ctr" eaLnBrk="1" latinLnBrk="0" hangingPunct="1"/>
            <a:endParaRPr kumimoji="0" lang="ko-KR" altLang="en-US" sz="2900" b="1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eaLnBrk="1" latinLnBrk="0" hangingPunct="1"/>
            <a:endParaRPr kumimoji="0" lang="ko-KR" altLang="en-US" sz="4100" b="1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eaLnBrk="1" latinLnBrk="0" hangingPunct="1"/>
            <a:r>
              <a:rPr kumimoji="0" lang="en-US" altLang="ko-KR" sz="29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2</a:t>
            </a:r>
            <a:r>
              <a:rPr kumimoji="0" lang="ko-KR" altLang="en-US" sz="29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단계</a:t>
            </a:r>
          </a:p>
          <a:p>
            <a:pPr algn="ctr" eaLnBrk="1" latinLnBrk="0" hangingPunct="1"/>
            <a:endParaRPr kumimoji="0" lang="ko-KR" altLang="en-US" sz="2900" b="1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eaLnBrk="1" latinLnBrk="0" hangingPunct="1"/>
            <a:endParaRPr kumimoji="0" lang="ko-KR" altLang="en-US" sz="4600" b="1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eaLnBrk="1" latinLnBrk="0" hangingPunct="1"/>
            <a:r>
              <a:rPr kumimoji="0" lang="en-US" altLang="ko-KR" sz="29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3</a:t>
            </a:r>
            <a:r>
              <a:rPr kumimoji="0" lang="ko-KR" altLang="en-US" sz="29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단계</a:t>
            </a:r>
          </a:p>
          <a:p>
            <a:pPr algn="ctr" eaLnBrk="1" latinLnBrk="0" hangingPunct="1"/>
            <a:endParaRPr kumimoji="0" lang="ko-KR" altLang="en-US" sz="2900" b="1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eaLnBrk="1" latinLnBrk="0" hangingPunct="1"/>
            <a:endParaRPr kumimoji="0" lang="en-US" altLang="ko-KR" sz="2900" b="1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eaLnBrk="1" latinLnBrk="0" hangingPunct="1"/>
            <a:endParaRPr kumimoji="0" lang="ko-KR" altLang="en-US" sz="1400" b="1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eaLnBrk="1" latinLnBrk="0" hangingPunct="1"/>
            <a:endParaRPr kumimoji="0" lang="en-US" altLang="ko-KR" b="1" smtClean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algn="ctr" eaLnBrk="1" latinLnBrk="0" hangingPunct="1"/>
            <a:r>
              <a:rPr kumimoji="0" lang="en-US" altLang="ko-KR" sz="29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4</a:t>
            </a:r>
            <a:r>
              <a:rPr kumimoji="0" lang="ko-KR" altLang="en-US" sz="2900" b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단계</a:t>
            </a:r>
          </a:p>
        </p:txBody>
      </p:sp>
      <p:sp>
        <p:nvSpPr>
          <p:cNvPr id="45072" name="AutoShape 4"/>
          <p:cNvSpPr>
            <a:spLocks noChangeArrowheads="1"/>
          </p:cNvSpPr>
          <p:nvPr/>
        </p:nvSpPr>
        <p:spPr bwMode="gray">
          <a:xfrm rot="5400000">
            <a:off x="681302" y="2273035"/>
            <a:ext cx="672112" cy="326743"/>
          </a:xfrm>
          <a:prstGeom prst="rightArrow">
            <a:avLst>
              <a:gd name="adj1" fmla="val 49380"/>
              <a:gd name="adj2" fmla="val 60657"/>
            </a:avLst>
          </a:prstGeom>
          <a:gradFill rotWithShape="1">
            <a:gsLst>
              <a:gs pos="0">
                <a:srgbClr val="FFFFFF">
                  <a:alpha val="0"/>
                </a:srgbClr>
              </a:gs>
              <a:gs pos="100000">
                <a:srgbClr val="FF0000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3685" tIns="51843" rIns="103685" bIns="51843" anchor="ctr"/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9pPr>
          </a:lstStyle>
          <a:p>
            <a:pPr algn="r" eaLnBrk="1" latinLnBrk="0" hangingPunct="1"/>
            <a:endParaRPr kumimoji="0" lang="ko-KR" altLang="en-US" sz="2100">
              <a:solidFill>
                <a:srgbClr val="000000"/>
              </a:solidFill>
            </a:endParaRPr>
          </a:p>
        </p:txBody>
      </p:sp>
      <p:sp>
        <p:nvSpPr>
          <p:cNvPr id="45073" name="AutoShape 4"/>
          <p:cNvSpPr>
            <a:spLocks noChangeArrowheads="1"/>
          </p:cNvSpPr>
          <p:nvPr/>
        </p:nvSpPr>
        <p:spPr bwMode="gray">
          <a:xfrm rot="5400000">
            <a:off x="681302" y="3895557"/>
            <a:ext cx="672112" cy="326743"/>
          </a:xfrm>
          <a:prstGeom prst="rightArrow">
            <a:avLst>
              <a:gd name="adj1" fmla="val 49380"/>
              <a:gd name="adj2" fmla="val 60657"/>
            </a:avLst>
          </a:prstGeom>
          <a:gradFill rotWithShape="1">
            <a:gsLst>
              <a:gs pos="0">
                <a:srgbClr val="FFFFFF">
                  <a:alpha val="0"/>
                </a:srgbClr>
              </a:gs>
              <a:gs pos="100000">
                <a:srgbClr val="FF0000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3685" tIns="51843" rIns="103685" bIns="51843" anchor="ctr"/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9pPr>
          </a:lstStyle>
          <a:p>
            <a:pPr algn="r" eaLnBrk="1" latinLnBrk="0" hangingPunct="1"/>
            <a:endParaRPr kumimoji="0" lang="ko-KR" altLang="en-US" sz="2100">
              <a:solidFill>
                <a:srgbClr val="000000"/>
              </a:solidFill>
            </a:endParaRPr>
          </a:p>
        </p:txBody>
      </p:sp>
      <p:sp>
        <p:nvSpPr>
          <p:cNvPr id="45074" name="AutoShape 4"/>
          <p:cNvSpPr>
            <a:spLocks noChangeArrowheads="1"/>
          </p:cNvSpPr>
          <p:nvPr/>
        </p:nvSpPr>
        <p:spPr bwMode="gray">
          <a:xfrm rot="5400000">
            <a:off x="692441" y="5413060"/>
            <a:ext cx="672112" cy="326743"/>
          </a:xfrm>
          <a:prstGeom prst="rightArrow">
            <a:avLst>
              <a:gd name="adj1" fmla="val 49380"/>
              <a:gd name="adj2" fmla="val 60657"/>
            </a:avLst>
          </a:prstGeom>
          <a:gradFill rotWithShape="1">
            <a:gsLst>
              <a:gs pos="0">
                <a:srgbClr val="FFFFFF">
                  <a:alpha val="0"/>
                </a:srgbClr>
              </a:gs>
              <a:gs pos="100000">
                <a:srgbClr val="FF0000"/>
              </a:gs>
            </a:gsLst>
            <a:lin ang="0" scaled="1"/>
          </a:gradFill>
          <a:ln>
            <a:noFill/>
          </a:ln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3685" tIns="51843" rIns="103685" bIns="51843" anchor="ctr"/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9pPr>
          </a:lstStyle>
          <a:p>
            <a:pPr algn="r" eaLnBrk="1" latinLnBrk="0" hangingPunct="1"/>
            <a:endParaRPr kumimoji="0" lang="ko-KR" altLang="en-US" sz="21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64333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86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686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686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0" y="0"/>
          <a:ext cx="10693400" cy="7580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8032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6" y="121088"/>
            <a:ext cx="183923" cy="215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040" tIns="45521" rIns="91040" bIns="45521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16" y="121088"/>
            <a:ext cx="183923" cy="215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040" tIns="45521" rIns="91040" bIns="45521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6" name="AutoShape 17" descr="그림1"/>
          <p:cNvSpPr>
            <a:spLocks noChangeArrowheads="1"/>
          </p:cNvSpPr>
          <p:nvPr/>
        </p:nvSpPr>
        <p:spPr bwMode="auto">
          <a:xfrm>
            <a:off x="2286360" y="3015546"/>
            <a:ext cx="6296414" cy="1439862"/>
          </a:xfrm>
          <a:prstGeom prst="roundRect">
            <a:avLst>
              <a:gd name="adj" fmla="val 16667"/>
            </a:avLst>
          </a:prstGeom>
          <a:solidFill>
            <a:srgbClr val="0000FF"/>
          </a:solidFill>
          <a:ln w="9525">
            <a:noFill/>
            <a:round/>
            <a:headEnd/>
            <a:tailEnd/>
          </a:ln>
          <a:effectLst/>
        </p:spPr>
        <p:txBody>
          <a:bodyPr wrap="none" lIns="1164845" tIns="45521" rIns="91040" bIns="45521" anchor="ctr"/>
          <a:lstStyle/>
          <a:p>
            <a:pPr algn="ctr"/>
            <a:r>
              <a:rPr lang="ko-KR" altLang="en-US" sz="3200" b="1" dirty="0" smtClean="0">
                <a:solidFill>
                  <a:schemeClr val="bg1"/>
                </a:solidFill>
                <a:latin typeface="HY헤드라인M" pitchFamily="18" charset="-127"/>
                <a:ea typeface="HY헤드라인M" pitchFamily="18" charset="-127"/>
              </a:rPr>
              <a:t>전라북도  주요사업  소개</a:t>
            </a:r>
            <a:endParaRPr lang="ko-KR" altLang="en-US" sz="3200" b="1" dirty="0">
              <a:solidFill>
                <a:schemeClr val="bg1"/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7" name="Rectangle 23"/>
          <p:cNvSpPr>
            <a:spLocks noChangeArrowheads="1"/>
          </p:cNvSpPr>
          <p:nvPr/>
        </p:nvSpPr>
        <p:spPr bwMode="auto">
          <a:xfrm>
            <a:off x="2295646" y="3231449"/>
            <a:ext cx="1081087" cy="136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91040" tIns="45521" rIns="91040" bIns="45521" anchor="ctr"/>
          <a:lstStyle/>
          <a:p>
            <a:pPr algn="ctr"/>
            <a:r>
              <a:rPr lang="en-US" altLang="ko-KR" sz="11700" b="1" dirty="0">
                <a:solidFill>
                  <a:schemeClr val="bg1"/>
                </a:solidFill>
                <a:latin typeface="Arial Narrow" pitchFamily="34" charset="0"/>
              </a:rPr>
              <a:t>1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0" y="0"/>
          <a:ext cx="10693400" cy="757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7238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T="45672" marB="4567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74756" name="Rectangle 1"/>
          <p:cNvSpPr>
            <a:spLocks noChangeArrowheads="1"/>
          </p:cNvSpPr>
          <p:nvPr/>
        </p:nvSpPr>
        <p:spPr bwMode="auto">
          <a:xfrm>
            <a:off x="16" y="121088"/>
            <a:ext cx="183923" cy="215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040" tIns="45521" rIns="91040" bIns="45521" anchor="ctr">
            <a:spAutoFit/>
          </a:bodyPr>
          <a:lstStyle/>
          <a:p>
            <a:endParaRPr lang="ko-KR" altLang="en-US"/>
          </a:p>
        </p:txBody>
      </p:sp>
      <p:sp>
        <p:nvSpPr>
          <p:cNvPr id="74757" name="Rectangle 2"/>
          <p:cNvSpPr>
            <a:spLocks noChangeArrowheads="1"/>
          </p:cNvSpPr>
          <p:nvPr/>
        </p:nvSpPr>
        <p:spPr bwMode="auto">
          <a:xfrm>
            <a:off x="16" y="121088"/>
            <a:ext cx="183923" cy="215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040" tIns="45521" rIns="91040" bIns="45521" anchor="ctr">
            <a:spAutoFit/>
          </a:bodyPr>
          <a:lstStyle/>
          <a:p>
            <a:endParaRPr lang="ko-KR" altLang="en-US"/>
          </a:p>
        </p:txBody>
      </p:sp>
      <p:sp>
        <p:nvSpPr>
          <p:cNvPr id="6" name="AutoShape 17" descr="그림1"/>
          <p:cNvSpPr>
            <a:spLocks noChangeArrowheads="1"/>
          </p:cNvSpPr>
          <p:nvPr/>
        </p:nvSpPr>
        <p:spPr bwMode="auto">
          <a:xfrm>
            <a:off x="2286004" y="3016277"/>
            <a:ext cx="6296025" cy="1439863"/>
          </a:xfrm>
          <a:prstGeom prst="roundRect">
            <a:avLst>
              <a:gd name="adj" fmla="val 16667"/>
            </a:avLst>
          </a:prstGeom>
          <a:solidFill>
            <a:srgbClr val="0000FF"/>
          </a:solidFill>
          <a:ln w="9525">
            <a:noFill/>
            <a:round/>
            <a:headEnd/>
            <a:tailEnd/>
          </a:ln>
        </p:spPr>
        <p:txBody>
          <a:bodyPr wrap="none" lIns="1164845" tIns="45521" rIns="91040" bIns="45521" anchor="ctr"/>
          <a:lstStyle/>
          <a:p>
            <a:pPr algn="ctr"/>
            <a:r>
              <a:rPr lang="ko-KR" altLang="en-US" sz="3200" b="1" dirty="0">
                <a:solidFill>
                  <a:schemeClr val="bg1"/>
                </a:solidFill>
                <a:latin typeface="HY헤드라인M" pitchFamily="18" charset="-127"/>
                <a:ea typeface="HY헤드라인M" pitchFamily="18" charset="-127"/>
              </a:rPr>
              <a:t>암소 개량컨설팅 자료의 활용</a:t>
            </a:r>
          </a:p>
        </p:txBody>
      </p:sp>
      <p:sp>
        <p:nvSpPr>
          <p:cNvPr id="7" name="Rectangle 23"/>
          <p:cNvSpPr>
            <a:spLocks noChangeArrowheads="1"/>
          </p:cNvSpPr>
          <p:nvPr/>
        </p:nvSpPr>
        <p:spPr bwMode="auto">
          <a:xfrm>
            <a:off x="2295525" y="3232150"/>
            <a:ext cx="1081088" cy="136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040" tIns="45521" rIns="91040" bIns="45521" anchor="ctr"/>
          <a:lstStyle/>
          <a:p>
            <a:pPr algn="ctr"/>
            <a:r>
              <a:rPr lang="en-US" altLang="ko-KR" sz="11700" b="1" dirty="0" smtClean="0">
                <a:solidFill>
                  <a:schemeClr val="bg1"/>
                </a:solidFill>
                <a:latin typeface="Arial Narrow" pitchFamily="34" charset="0"/>
              </a:rPr>
              <a:t>4</a:t>
            </a:r>
            <a:endParaRPr lang="en-US" altLang="ko-KR" sz="117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0" y="0"/>
          <a:ext cx="10693400" cy="757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7238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T="45672" marB="4567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75780" name="Rectangle 1"/>
          <p:cNvSpPr>
            <a:spLocks noChangeArrowheads="1"/>
          </p:cNvSpPr>
          <p:nvPr/>
        </p:nvSpPr>
        <p:spPr bwMode="auto">
          <a:xfrm>
            <a:off x="17" y="121097"/>
            <a:ext cx="183890" cy="215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024" tIns="45513" rIns="91024" bIns="45513" anchor="ctr">
            <a:spAutoFit/>
          </a:bodyPr>
          <a:lstStyle/>
          <a:p>
            <a:endParaRPr lang="ko-KR" altLang="en-US"/>
          </a:p>
        </p:txBody>
      </p:sp>
      <p:sp>
        <p:nvSpPr>
          <p:cNvPr id="75781" name="Rectangle 2"/>
          <p:cNvSpPr>
            <a:spLocks noChangeArrowheads="1"/>
          </p:cNvSpPr>
          <p:nvPr/>
        </p:nvSpPr>
        <p:spPr bwMode="auto">
          <a:xfrm>
            <a:off x="17" y="121097"/>
            <a:ext cx="183890" cy="215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024" tIns="45513" rIns="91024" bIns="45513" anchor="ctr">
            <a:spAutoFit/>
          </a:bodyPr>
          <a:lstStyle/>
          <a:p>
            <a:endParaRPr lang="ko-KR" altLang="en-US"/>
          </a:p>
        </p:txBody>
      </p:sp>
      <p:sp>
        <p:nvSpPr>
          <p:cNvPr id="6" name="AutoShape 17" descr="그림1"/>
          <p:cNvSpPr>
            <a:spLocks noChangeArrowheads="1"/>
          </p:cNvSpPr>
          <p:nvPr/>
        </p:nvSpPr>
        <p:spPr bwMode="auto">
          <a:xfrm>
            <a:off x="1520825" y="3016277"/>
            <a:ext cx="7831138" cy="1439863"/>
          </a:xfrm>
          <a:prstGeom prst="roundRect">
            <a:avLst>
              <a:gd name="adj" fmla="val 16667"/>
            </a:avLst>
          </a:prstGeom>
          <a:solidFill>
            <a:srgbClr val="0000FF"/>
          </a:solidFill>
          <a:ln w="9525">
            <a:noFill/>
            <a:round/>
            <a:headEnd/>
            <a:tailEnd/>
          </a:ln>
        </p:spPr>
        <p:txBody>
          <a:bodyPr wrap="none" lIns="1164640" tIns="45513" rIns="91024" bIns="45513" anchor="ctr"/>
          <a:lstStyle/>
          <a:p>
            <a:r>
              <a:rPr lang="ko-KR" altLang="en-US" sz="4000" b="1" dirty="0">
                <a:solidFill>
                  <a:schemeClr val="bg1"/>
                </a:solidFill>
                <a:latin typeface="HY헤드라인M" pitchFamily="18" charset="-127"/>
                <a:ea typeface="HY헤드라인M" pitchFamily="18" charset="-127"/>
              </a:rPr>
              <a:t>혈통자료와 근친도 결과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6802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66700" y="1098553"/>
            <a:ext cx="10117138" cy="52117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0" y="0"/>
          <a:ext cx="10693400" cy="757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7238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T="45672" marB="4567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76805" name="Rectangle 1"/>
          <p:cNvSpPr>
            <a:spLocks noChangeArrowheads="1"/>
          </p:cNvSpPr>
          <p:nvPr/>
        </p:nvSpPr>
        <p:spPr bwMode="auto">
          <a:xfrm>
            <a:off x="17" y="121106"/>
            <a:ext cx="183858" cy="215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008" tIns="45505" rIns="91008" bIns="45505" anchor="ctr">
            <a:spAutoFit/>
          </a:bodyPr>
          <a:lstStyle/>
          <a:p>
            <a:endParaRPr lang="ko-KR" altLang="en-US"/>
          </a:p>
        </p:txBody>
      </p:sp>
      <p:sp>
        <p:nvSpPr>
          <p:cNvPr id="76806" name="Rectangle 2"/>
          <p:cNvSpPr>
            <a:spLocks noChangeArrowheads="1"/>
          </p:cNvSpPr>
          <p:nvPr/>
        </p:nvSpPr>
        <p:spPr bwMode="auto">
          <a:xfrm>
            <a:off x="17" y="121106"/>
            <a:ext cx="183858" cy="215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008" tIns="45505" rIns="91008" bIns="45505" anchor="ctr">
            <a:spAutoFit/>
          </a:bodyPr>
          <a:lstStyle/>
          <a:p>
            <a:endParaRPr lang="ko-KR" altLang="en-US"/>
          </a:p>
        </p:txBody>
      </p:sp>
      <p:sp>
        <p:nvSpPr>
          <p:cNvPr id="76807" name="직사각형 9"/>
          <p:cNvSpPr>
            <a:spLocks noChangeArrowheads="1"/>
          </p:cNvSpPr>
          <p:nvPr/>
        </p:nvSpPr>
        <p:spPr bwMode="auto">
          <a:xfrm>
            <a:off x="176226" y="120661"/>
            <a:ext cx="6364973" cy="538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008" tIns="45505" rIns="91008" bIns="45505">
            <a:spAutoFit/>
          </a:bodyPr>
          <a:lstStyle/>
          <a:p>
            <a:r>
              <a:rPr lang="ko-KR" altLang="en-US" sz="2900" b="1">
                <a:solidFill>
                  <a:schemeClr val="bg1"/>
                </a:solidFill>
                <a:latin typeface="HY헤드라인M" pitchFamily="18" charset="-127"/>
                <a:ea typeface="HY헤드라인M" pitchFamily="18" charset="-127"/>
              </a:rPr>
              <a:t> ① 혈통등록역사 및 근친도</a:t>
            </a:r>
            <a:r>
              <a:rPr lang="en-US" altLang="ko-KR" sz="2900" b="1" dirty="0">
                <a:solidFill>
                  <a:schemeClr val="bg1"/>
                </a:solidFill>
                <a:latin typeface="HY헤드라인M" pitchFamily="18" charset="-127"/>
                <a:ea typeface="HY헤드라인M" pitchFamily="18" charset="-127"/>
              </a:rPr>
              <a:t>(</a:t>
            </a:r>
            <a:r>
              <a:rPr lang="ko-KR" altLang="en-US" sz="2900" b="1" dirty="0">
                <a:solidFill>
                  <a:schemeClr val="bg1"/>
                </a:solidFill>
                <a:latin typeface="HY헤드라인M" pitchFamily="18" charset="-127"/>
                <a:ea typeface="HY헤드라인M" pitchFamily="18" charset="-127"/>
              </a:rPr>
              <a:t>교배역사</a:t>
            </a:r>
            <a:r>
              <a:rPr lang="en-US" altLang="ko-KR" sz="2900" b="1" dirty="0">
                <a:solidFill>
                  <a:schemeClr val="bg1"/>
                </a:solidFill>
                <a:latin typeface="HY헤드라인M" pitchFamily="18" charset="-127"/>
                <a:ea typeface="HY헤드라인M" pitchFamily="18" charset="-127"/>
              </a:rPr>
              <a:t>)</a:t>
            </a:r>
            <a:endParaRPr lang="ko-KR" altLang="en-US" sz="2900" b="1" dirty="0">
              <a:solidFill>
                <a:schemeClr val="bg1"/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247650" y="6291263"/>
            <a:ext cx="10136188" cy="830262"/>
          </a:xfrm>
          <a:prstGeom prst="rect">
            <a:avLst/>
          </a:prstGeom>
          <a:solidFill>
            <a:srgbClr val="FFFF00"/>
          </a:solidFill>
        </p:spPr>
        <p:txBody>
          <a:bodyPr lIns="91008" tIns="45505" rIns="91008" bIns="45505">
            <a:spAutoFit/>
          </a:bodyPr>
          <a:lstStyle/>
          <a:p>
            <a:pPr>
              <a:buFont typeface="Arial" pitchFamily="34" charset="0"/>
              <a:buChar char="•"/>
              <a:defRPr/>
            </a:pPr>
            <a:r>
              <a:rPr lang="ko-KR" altLang="en-US" sz="2400" dirty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2400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헤드라인M" pitchFamily="18" charset="-127"/>
                <a:ea typeface="HY헤드라인M" pitchFamily="18" charset="-127"/>
              </a:rPr>
              <a:t>암소</a:t>
            </a:r>
            <a:r>
              <a:rPr lang="ko-KR" altLang="en-US" sz="2400" dirty="0">
                <a:latin typeface="HY헤드라인M" pitchFamily="18" charset="-127"/>
                <a:ea typeface="HY헤드라인M" pitchFamily="18" charset="-127"/>
              </a:rPr>
              <a:t>의 기본적인 정보와 근친도</a:t>
            </a:r>
            <a:r>
              <a:rPr lang="en-US" altLang="ko-KR" sz="2400" dirty="0">
                <a:latin typeface="HY헤드라인M" pitchFamily="18" charset="-127"/>
                <a:ea typeface="HY헤드라인M" pitchFamily="18" charset="-127"/>
              </a:rPr>
              <a:t>(</a:t>
            </a:r>
            <a:r>
              <a:rPr lang="ko-KR" altLang="en-US" sz="2400" dirty="0">
                <a:latin typeface="HY헤드라인M" pitchFamily="18" charset="-127"/>
                <a:ea typeface="HY헤드라인M" pitchFamily="18" charset="-127"/>
              </a:rPr>
              <a:t>교배역사</a:t>
            </a:r>
            <a:r>
              <a:rPr lang="en-US" altLang="ko-KR" sz="2400" dirty="0">
                <a:latin typeface="HY헤드라인M" pitchFamily="18" charset="-127"/>
                <a:ea typeface="HY헤드라인M" pitchFamily="18" charset="-127"/>
              </a:rPr>
              <a:t>)</a:t>
            </a:r>
            <a:r>
              <a:rPr lang="ko-KR" altLang="en-US" sz="2400" dirty="0">
                <a:latin typeface="HY헤드라인M" pitchFamily="18" charset="-127"/>
                <a:ea typeface="HY헤드라인M" pitchFamily="18" charset="-127"/>
              </a:rPr>
              <a:t>를 한눈에 볼 수 있다</a:t>
            </a:r>
            <a:r>
              <a:rPr lang="en-US" altLang="ko-KR" sz="2400" dirty="0">
                <a:latin typeface="HY헤드라인M" pitchFamily="18" charset="-127"/>
                <a:ea typeface="HY헤드라인M" pitchFamily="18" charset="-127"/>
              </a:rPr>
              <a:t>.</a:t>
            </a:r>
          </a:p>
          <a:p>
            <a:pPr>
              <a:buFont typeface="Arial" pitchFamily="34" charset="0"/>
              <a:buChar char="•"/>
              <a:defRPr/>
            </a:pPr>
            <a:r>
              <a:rPr lang="en-US" altLang="ko-KR" sz="2400" dirty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2400" dirty="0">
                <a:latin typeface="HY헤드라인M" pitchFamily="18" charset="-127"/>
                <a:ea typeface="HY헤드라인M" pitchFamily="18" charset="-127"/>
              </a:rPr>
              <a:t>혈통을 확인하지 않고 정액을 </a:t>
            </a:r>
            <a:r>
              <a:rPr lang="ko-KR" altLang="en-US" sz="2400" dirty="0" err="1">
                <a:latin typeface="HY헤드라인M" pitchFamily="18" charset="-127"/>
                <a:ea typeface="HY헤드라인M" pitchFamily="18" charset="-127"/>
              </a:rPr>
              <a:t>몇세대에</a:t>
            </a:r>
            <a:r>
              <a:rPr lang="ko-KR" altLang="en-US" sz="2400" dirty="0">
                <a:latin typeface="HY헤드라인M" pitchFamily="18" charset="-127"/>
                <a:ea typeface="HY헤드라인M" pitchFamily="18" charset="-127"/>
              </a:rPr>
              <a:t> 걸쳐 </a:t>
            </a:r>
            <a:r>
              <a:rPr lang="ko-KR" altLang="en-US" sz="2400" dirty="0" err="1">
                <a:latin typeface="HY헤드라인M" pitchFamily="18" charset="-127"/>
                <a:ea typeface="HY헤드라인M" pitchFamily="18" charset="-127"/>
              </a:rPr>
              <a:t>계속사용시</a:t>
            </a:r>
            <a:r>
              <a:rPr lang="ko-KR" altLang="en-US" sz="2400" dirty="0">
                <a:latin typeface="HY헤드라인M" pitchFamily="18" charset="-127"/>
                <a:ea typeface="HY헤드라인M" pitchFamily="18" charset="-127"/>
              </a:rPr>
              <a:t> 문제발생</a:t>
            </a:r>
            <a:endParaRPr lang="en-US" altLang="ko-KR" sz="2400" dirty="0"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12" name="직사각형 11"/>
          <p:cNvSpPr/>
          <p:nvPr/>
        </p:nvSpPr>
        <p:spPr bwMode="auto">
          <a:xfrm>
            <a:off x="9764743" y="1135063"/>
            <a:ext cx="584199" cy="5111750"/>
          </a:xfrm>
          <a:prstGeom prst="rect">
            <a:avLst/>
          </a:prstGeom>
          <a:noFill/>
          <a:ln w="444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lIns="91008" tIns="45505" rIns="91008" bIns="45505"/>
          <a:lstStyle/>
          <a:p>
            <a:pPr latinLnBrk="0">
              <a:defRPr/>
            </a:pPr>
            <a:endParaRPr kumimoji="0" lang="ko-KR" altLang="en-US" sz="1800" kern="0">
              <a:solidFill>
                <a:sysClr val="windowText" lastClr="000000"/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0" y="0"/>
          <a:ext cx="10693400" cy="757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7238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T="45672" marB="4567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110596" name="Rectangle 1"/>
          <p:cNvSpPr>
            <a:spLocks noChangeArrowheads="1"/>
          </p:cNvSpPr>
          <p:nvPr/>
        </p:nvSpPr>
        <p:spPr bwMode="auto">
          <a:xfrm>
            <a:off x="17" y="121106"/>
            <a:ext cx="183858" cy="215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08" tIns="45505" rIns="91008" bIns="45505" anchor="ctr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ko-KR" altLang="en-US" sz="800">
              <a:solidFill>
                <a:schemeClr val="tx1"/>
              </a:solidFill>
              <a:latin typeface="Trebuchet MS" pitchFamily="34" charset="0"/>
            </a:endParaRPr>
          </a:p>
        </p:txBody>
      </p:sp>
      <p:sp>
        <p:nvSpPr>
          <p:cNvPr id="110597" name="Rectangle 2"/>
          <p:cNvSpPr>
            <a:spLocks noChangeArrowheads="1"/>
          </p:cNvSpPr>
          <p:nvPr/>
        </p:nvSpPr>
        <p:spPr bwMode="auto">
          <a:xfrm>
            <a:off x="17" y="121106"/>
            <a:ext cx="183858" cy="215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08" tIns="45505" rIns="91008" bIns="45505" anchor="ctr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ko-KR" altLang="en-US" sz="800">
              <a:solidFill>
                <a:schemeClr val="tx1"/>
              </a:solidFill>
              <a:latin typeface="Trebuchet MS" pitchFamily="34" charset="0"/>
            </a:endParaRPr>
          </a:p>
        </p:txBody>
      </p:sp>
      <p:sp>
        <p:nvSpPr>
          <p:cNvPr id="9" name="Text Box 8"/>
          <p:cNvSpPr txBox="1">
            <a:spLocks noChangeArrowheads="1"/>
          </p:cNvSpPr>
          <p:nvPr/>
        </p:nvSpPr>
        <p:spPr bwMode="auto">
          <a:xfrm>
            <a:off x="152400" y="134965"/>
            <a:ext cx="687705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86633" tIns="0" rIns="0" bIns="0">
            <a:spAutoFit/>
          </a:bodyPr>
          <a:lstStyle/>
          <a:p>
            <a:pPr>
              <a:defRPr/>
            </a:pPr>
            <a:r>
              <a:rPr lang="ko-KR" alt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근친의 이해와 근교피해</a:t>
            </a:r>
          </a:p>
        </p:txBody>
      </p:sp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16" y="121088"/>
            <a:ext cx="183923" cy="215042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chemeClr val="accent1">
                <a:gamma/>
                <a:shade val="60000"/>
                <a:invGamma/>
              </a:scheme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40" tIns="45521" rIns="91040" bIns="45521" anchor="ctr">
            <a:spAutoFit/>
          </a:bodyPr>
          <a:lstStyle/>
          <a:p>
            <a:pPr>
              <a:defRPr/>
            </a:pPr>
            <a:endParaRPr lang="ko-KR" altLang="en-US"/>
          </a:p>
        </p:txBody>
      </p:sp>
      <p:sp>
        <p:nvSpPr>
          <p:cNvPr id="11" name="Rectangle 2"/>
          <p:cNvSpPr txBox="1">
            <a:spLocks noChangeArrowheads="1"/>
          </p:cNvSpPr>
          <p:nvPr/>
        </p:nvSpPr>
        <p:spPr bwMode="gray">
          <a:xfrm>
            <a:off x="611216" y="1341438"/>
            <a:ext cx="8153401" cy="4953000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rgbClr val="FFFFFF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040" tIns="45521" rIns="91040" bIns="45521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latinLnBrk="1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742950" indent="-285750" algn="l" rtl="0" eaLnBrk="0" fontAlgn="base" latinLnBrk="1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11430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16002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20574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5146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341390" indent="-341390" defTabSz="910365" eaLnBrk="1" hangingPunct="1">
              <a:buClr>
                <a:srgbClr val="FFFF99"/>
              </a:buClr>
              <a:buNone/>
              <a:defRPr/>
            </a:pPr>
            <a:r>
              <a:rPr kumimoji="0" lang="en-US" altLang="ko-KR" b="1" kern="0">
                <a:solidFill>
                  <a:srgbClr val="000000"/>
                </a:solidFill>
                <a:cs typeface="Arial"/>
              </a:rPr>
              <a:t>   </a:t>
            </a:r>
          </a:p>
          <a:p>
            <a:pPr marL="341390" indent="-341390" defTabSz="910365" eaLnBrk="1" hangingPunct="1">
              <a:buClr>
                <a:srgbClr val="FFFF99"/>
              </a:buClr>
              <a:buNone/>
              <a:defRPr/>
            </a:pPr>
            <a:r>
              <a:rPr kumimoji="0" lang="en-US" altLang="ko-KR" b="1" kern="0">
                <a:solidFill>
                  <a:srgbClr val="000000"/>
                </a:solidFill>
                <a:cs typeface="Arial"/>
              </a:rPr>
              <a:t>         </a:t>
            </a:r>
            <a:r>
              <a:rPr kumimoji="0" lang="ko-KR" altLang="en-US" b="1" kern="0">
                <a:solidFill>
                  <a:srgbClr val="000000"/>
                </a:solidFill>
                <a:cs typeface="Arial"/>
              </a:rPr>
              <a:t>아비 </a:t>
            </a:r>
            <a:r>
              <a:rPr kumimoji="0" lang="en-US" altLang="ko-KR" b="1" kern="0">
                <a:solidFill>
                  <a:srgbClr val="000000"/>
                </a:solidFill>
                <a:cs typeface="Arial"/>
              </a:rPr>
              <a:t>× </a:t>
            </a:r>
            <a:r>
              <a:rPr kumimoji="0" lang="ko-KR" altLang="en-US" b="1" kern="0">
                <a:solidFill>
                  <a:srgbClr val="000000"/>
                </a:solidFill>
                <a:cs typeface="Arial"/>
              </a:rPr>
              <a:t>딸 </a:t>
            </a:r>
            <a:r>
              <a:rPr kumimoji="0" lang="en-US" altLang="ko-KR" b="1" kern="0">
                <a:solidFill>
                  <a:srgbClr val="000000"/>
                </a:solidFill>
                <a:cs typeface="Arial"/>
              </a:rPr>
              <a:t>= </a:t>
            </a:r>
            <a:r>
              <a:rPr kumimoji="0" lang="en-US" altLang="ko-KR" b="1" kern="0">
                <a:solidFill>
                  <a:srgbClr val="FF0000"/>
                </a:solidFill>
                <a:cs typeface="Arial"/>
              </a:rPr>
              <a:t>25.0%</a:t>
            </a:r>
          </a:p>
          <a:p>
            <a:pPr marL="341390" indent="-341390" defTabSz="910365" eaLnBrk="1" hangingPunct="1">
              <a:buClr>
                <a:srgbClr val="FFFF99"/>
              </a:buClr>
              <a:buNone/>
              <a:defRPr/>
            </a:pPr>
            <a:endParaRPr kumimoji="0" lang="en-US" altLang="ko-KR" b="1" kern="0">
              <a:solidFill>
                <a:srgbClr val="64C489"/>
              </a:solidFill>
              <a:cs typeface="Arial"/>
            </a:endParaRPr>
          </a:p>
          <a:p>
            <a:pPr marL="341390" indent="-341390" defTabSz="910365" eaLnBrk="1" hangingPunct="1">
              <a:buClr>
                <a:srgbClr val="FFFF99"/>
              </a:buClr>
              <a:buNone/>
              <a:defRPr/>
            </a:pPr>
            <a:r>
              <a:rPr kumimoji="0" lang="en-US" altLang="ko-KR" b="1" kern="0">
                <a:solidFill>
                  <a:srgbClr val="000000"/>
                </a:solidFill>
                <a:cs typeface="Arial"/>
              </a:rPr>
              <a:t>         </a:t>
            </a:r>
            <a:r>
              <a:rPr kumimoji="0" lang="ko-KR" altLang="en-US" b="1" kern="0">
                <a:solidFill>
                  <a:srgbClr val="000000"/>
                </a:solidFill>
                <a:cs typeface="Arial"/>
              </a:rPr>
              <a:t>어미 </a:t>
            </a:r>
            <a:r>
              <a:rPr kumimoji="0" lang="en-US" altLang="ko-KR" b="1" kern="0">
                <a:solidFill>
                  <a:srgbClr val="000000"/>
                </a:solidFill>
                <a:cs typeface="Arial"/>
              </a:rPr>
              <a:t>× </a:t>
            </a:r>
            <a:r>
              <a:rPr kumimoji="0" lang="ko-KR" altLang="en-US" b="1" kern="0">
                <a:solidFill>
                  <a:srgbClr val="000000"/>
                </a:solidFill>
                <a:cs typeface="Arial"/>
              </a:rPr>
              <a:t>아들 </a:t>
            </a:r>
            <a:r>
              <a:rPr kumimoji="0" lang="en-US" altLang="ko-KR" b="1" kern="0">
                <a:solidFill>
                  <a:srgbClr val="000000"/>
                </a:solidFill>
                <a:cs typeface="Arial"/>
              </a:rPr>
              <a:t>= </a:t>
            </a:r>
            <a:r>
              <a:rPr kumimoji="0" lang="en-US" altLang="ko-KR" b="1" kern="0">
                <a:solidFill>
                  <a:srgbClr val="FF0000"/>
                </a:solidFill>
                <a:cs typeface="Arial"/>
              </a:rPr>
              <a:t>25.0%</a:t>
            </a:r>
            <a:r>
              <a:rPr kumimoji="0" lang="en-US" altLang="ko-KR" b="1" kern="0">
                <a:solidFill>
                  <a:srgbClr val="000000"/>
                </a:solidFill>
                <a:cs typeface="Arial"/>
              </a:rPr>
              <a:t>             </a:t>
            </a:r>
          </a:p>
          <a:p>
            <a:pPr marL="341390" indent="-341390" defTabSz="910365" eaLnBrk="1" hangingPunct="1">
              <a:buClr>
                <a:srgbClr val="FFFF99"/>
              </a:buClr>
              <a:buNone/>
              <a:defRPr/>
            </a:pPr>
            <a:endParaRPr kumimoji="0" lang="en-US" altLang="ko-KR" b="1" kern="0">
              <a:solidFill>
                <a:srgbClr val="000000"/>
              </a:solidFill>
              <a:cs typeface="Arial"/>
            </a:endParaRPr>
          </a:p>
          <a:p>
            <a:pPr marL="341390" indent="-341390" defTabSz="910365" eaLnBrk="1" hangingPunct="1">
              <a:buNone/>
              <a:defRPr/>
            </a:pPr>
            <a:r>
              <a:rPr kumimoji="0" lang="en-US" altLang="ko-KR" b="1" kern="0">
                <a:solidFill>
                  <a:srgbClr val="000000"/>
                </a:solidFill>
                <a:cs typeface="Arial"/>
              </a:rPr>
              <a:t>         </a:t>
            </a:r>
            <a:r>
              <a:rPr kumimoji="0" lang="ko-KR" altLang="en-US" b="1" kern="0">
                <a:solidFill>
                  <a:srgbClr val="000000"/>
                </a:solidFill>
                <a:cs typeface="Arial"/>
              </a:rPr>
              <a:t>전 형매 </a:t>
            </a:r>
            <a:r>
              <a:rPr kumimoji="0" lang="en-US" altLang="ko-KR" b="1" kern="0">
                <a:solidFill>
                  <a:srgbClr val="000000"/>
                </a:solidFill>
                <a:cs typeface="Arial"/>
              </a:rPr>
              <a:t>= </a:t>
            </a:r>
            <a:r>
              <a:rPr kumimoji="0" lang="en-US" altLang="ko-KR" b="1" kern="0">
                <a:solidFill>
                  <a:srgbClr val="FF0000"/>
                </a:solidFill>
                <a:cs typeface="Arial"/>
              </a:rPr>
              <a:t>25.0%</a:t>
            </a:r>
          </a:p>
          <a:p>
            <a:pPr marL="341390" indent="-341390" defTabSz="910365" eaLnBrk="1" hangingPunct="1">
              <a:buNone/>
              <a:defRPr/>
            </a:pPr>
            <a:endParaRPr kumimoji="0" lang="en-US" altLang="ko-KR" b="1" kern="0">
              <a:solidFill>
                <a:srgbClr val="64C489"/>
              </a:solidFill>
              <a:cs typeface="Arial"/>
            </a:endParaRPr>
          </a:p>
          <a:p>
            <a:pPr marL="341390" indent="-341390" defTabSz="910365" eaLnBrk="1" hangingPunct="1">
              <a:buNone/>
              <a:defRPr/>
            </a:pPr>
            <a:r>
              <a:rPr kumimoji="0" lang="en-US" altLang="ko-KR" b="1" kern="0">
                <a:solidFill>
                  <a:srgbClr val="000000"/>
                </a:solidFill>
                <a:cs typeface="Arial"/>
              </a:rPr>
              <a:t>         </a:t>
            </a:r>
            <a:r>
              <a:rPr kumimoji="0" lang="ko-KR" altLang="en-US" b="1" kern="0">
                <a:solidFill>
                  <a:srgbClr val="000000"/>
                </a:solidFill>
                <a:cs typeface="Arial"/>
              </a:rPr>
              <a:t>아비 </a:t>
            </a:r>
            <a:r>
              <a:rPr kumimoji="0" lang="en-US" altLang="ko-KR" b="1" kern="0">
                <a:solidFill>
                  <a:srgbClr val="000000"/>
                </a:solidFill>
                <a:cs typeface="Arial"/>
              </a:rPr>
              <a:t>× </a:t>
            </a:r>
            <a:r>
              <a:rPr kumimoji="0" lang="ko-KR" altLang="en-US" b="1" kern="0">
                <a:solidFill>
                  <a:srgbClr val="000000"/>
                </a:solidFill>
                <a:cs typeface="Arial"/>
              </a:rPr>
              <a:t>아비의 외손녀 </a:t>
            </a:r>
            <a:r>
              <a:rPr kumimoji="0" lang="en-US" altLang="ko-KR" b="1" kern="0">
                <a:solidFill>
                  <a:srgbClr val="000000"/>
                </a:solidFill>
                <a:cs typeface="Arial"/>
              </a:rPr>
              <a:t>= </a:t>
            </a:r>
            <a:r>
              <a:rPr kumimoji="0" lang="en-US" altLang="ko-KR" b="1" kern="0">
                <a:solidFill>
                  <a:srgbClr val="FF0000"/>
                </a:solidFill>
                <a:cs typeface="Arial"/>
              </a:rPr>
              <a:t>12.5%</a:t>
            </a:r>
            <a:endParaRPr kumimoji="0" lang="en-US" altLang="ko-KR" b="1" kern="0" dirty="0">
              <a:solidFill>
                <a:srgbClr val="FF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72748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표 2"/>
          <p:cNvGraphicFramePr>
            <a:graphicFrameLocks noGrp="1"/>
          </p:cNvGraphicFramePr>
          <p:nvPr/>
        </p:nvGraphicFramePr>
        <p:xfrm>
          <a:off x="0" y="0"/>
          <a:ext cx="10693400" cy="757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7238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T="45672" marB="4567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4" name="Text Box 8"/>
          <p:cNvSpPr txBox="1">
            <a:spLocks noChangeArrowheads="1"/>
          </p:cNvSpPr>
          <p:nvPr/>
        </p:nvSpPr>
        <p:spPr bwMode="auto">
          <a:xfrm>
            <a:off x="152400" y="134965"/>
            <a:ext cx="6877050" cy="4921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86633" tIns="0" rIns="0" bIns="0">
            <a:spAutoFit/>
          </a:bodyPr>
          <a:lstStyle/>
          <a:p>
            <a:pPr>
              <a:defRPr/>
            </a:pPr>
            <a:r>
              <a:rPr lang="ko-KR" alt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근친의 이해와 근교피해</a:t>
            </a:r>
          </a:p>
        </p:txBody>
      </p:sp>
      <p:sp>
        <p:nvSpPr>
          <p:cNvPr id="6" name="Rectangle 3"/>
          <p:cNvSpPr txBox="1">
            <a:spLocks noChangeArrowheads="1"/>
          </p:cNvSpPr>
          <p:nvPr/>
        </p:nvSpPr>
        <p:spPr bwMode="gray">
          <a:xfrm>
            <a:off x="936211" y="1671674"/>
            <a:ext cx="8748712" cy="4194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040" tIns="45521" rIns="91040" bIns="45521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latinLnBrk="1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1pPr>
            <a:lvl2pPr marL="742950" indent="-285750" algn="l" rtl="0" eaLnBrk="0" fontAlgn="base" latinLnBrk="1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2pPr>
            <a:lvl3pPr marL="11430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3pPr>
            <a:lvl4pPr marL="16002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4pPr>
            <a:lvl5pPr marL="2057400" indent="-228600" algn="l" rtl="0" eaLnBrk="0" fontAlgn="base" latinLnBrk="1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맑은 고딕" pitchFamily="50" charset="-127"/>
                <a:ea typeface="맑은 고딕" pitchFamily="50" charset="-127"/>
                <a:cs typeface="+mn-cs"/>
              </a:defRPr>
            </a:lvl5pPr>
            <a:lvl6pPr marL="25146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9718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34290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886200" indent="-228600" algn="l" rtl="0" eaLnBrk="1" fontAlgn="base" latinLnBrk="1" hangingPunct="1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341390" indent="-341390" defTabSz="910365" eaLnBrk="1" hangingPunct="1">
              <a:lnSpc>
                <a:spcPct val="80000"/>
              </a:lnSpc>
              <a:defRPr/>
            </a:pPr>
            <a:r>
              <a:rPr kumimoji="0" lang="ko-KR" altLang="en-US" b="1" kern="0" dirty="0">
                <a:solidFill>
                  <a:srgbClr val="000000"/>
                </a:solidFill>
                <a:cs typeface="Arial"/>
              </a:rPr>
              <a:t>근친교배는 유전적으로 우수한 개체도 생산</a:t>
            </a:r>
            <a:endParaRPr kumimoji="0" lang="en-US" altLang="ko-KR" b="1" kern="0" dirty="0">
              <a:solidFill>
                <a:srgbClr val="000000"/>
              </a:solidFill>
              <a:cs typeface="Arial"/>
            </a:endParaRPr>
          </a:p>
          <a:p>
            <a:pPr marL="0" indent="0" defTabSz="910365" eaLnBrk="1" hangingPunct="1">
              <a:lnSpc>
                <a:spcPct val="80000"/>
              </a:lnSpc>
              <a:buNone/>
              <a:defRPr/>
            </a:pPr>
            <a:r>
              <a:rPr kumimoji="0" lang="en-US" altLang="ko-KR" b="1" kern="0" noProof="0" dirty="0" smtClean="0">
                <a:solidFill>
                  <a:srgbClr val="000000"/>
                </a:solidFill>
                <a:cs typeface="Arial"/>
              </a:rPr>
              <a:t>   - </a:t>
            </a:r>
            <a:r>
              <a:rPr kumimoji="0" lang="ko-KR" altLang="en-US" b="1" kern="0" noProof="0" dirty="0" smtClean="0">
                <a:solidFill>
                  <a:srgbClr val="000000"/>
                </a:solidFill>
                <a:cs typeface="Arial"/>
              </a:rPr>
              <a:t>비슷한 유전자</a:t>
            </a:r>
            <a:r>
              <a:rPr kumimoji="0" lang="en-US" altLang="ko-KR" b="1" kern="0" noProof="0" dirty="0" smtClean="0">
                <a:solidFill>
                  <a:srgbClr val="000000"/>
                </a:solidFill>
                <a:cs typeface="Arial"/>
              </a:rPr>
              <a:t>(</a:t>
            </a:r>
            <a:r>
              <a:rPr kumimoji="0" lang="ko-KR" altLang="en-US" b="1" kern="0" noProof="0" dirty="0" smtClean="0">
                <a:solidFill>
                  <a:srgbClr val="000000"/>
                </a:solidFill>
                <a:cs typeface="Arial"/>
              </a:rPr>
              <a:t>동형접합체 증가</a:t>
            </a:r>
            <a:r>
              <a:rPr kumimoji="0" lang="en-US" altLang="ko-KR" b="1" kern="0" noProof="0" dirty="0" smtClean="0">
                <a:solidFill>
                  <a:srgbClr val="000000"/>
                </a:solidFill>
                <a:cs typeface="Arial"/>
              </a:rPr>
              <a:t>) </a:t>
            </a:r>
            <a:r>
              <a:rPr kumimoji="0" lang="ko-KR" altLang="en-US" b="1" kern="0" noProof="0" dirty="0" smtClean="0">
                <a:solidFill>
                  <a:srgbClr val="000000"/>
                </a:solidFill>
                <a:cs typeface="Arial"/>
              </a:rPr>
              <a:t>증가</a:t>
            </a:r>
            <a:endParaRPr kumimoji="0" lang="ko-KR" altLang="en-US" b="1" kern="0" dirty="0">
              <a:solidFill>
                <a:srgbClr val="000000"/>
              </a:solidFill>
              <a:cs typeface="Arial"/>
            </a:endParaRPr>
          </a:p>
          <a:p>
            <a:pPr marL="341390" indent="-341390" defTabSz="910365" eaLnBrk="1" hangingPunct="1">
              <a:lnSpc>
                <a:spcPct val="80000"/>
              </a:lnSpc>
              <a:buNone/>
              <a:defRPr/>
            </a:pPr>
            <a:endParaRPr kumimoji="0" lang="ko-KR" altLang="en-US" b="1" kern="0" dirty="0">
              <a:solidFill>
                <a:srgbClr val="000000"/>
              </a:solidFill>
              <a:cs typeface="Arial"/>
            </a:endParaRPr>
          </a:p>
          <a:p>
            <a:pPr marL="341390" indent="-341390" defTabSz="910365" eaLnBrk="1" hangingPunct="1">
              <a:lnSpc>
                <a:spcPct val="80000"/>
              </a:lnSpc>
              <a:defRPr/>
            </a:pPr>
            <a:r>
              <a:rPr kumimoji="0" lang="ko-KR" altLang="en-US" b="1" kern="0" dirty="0">
                <a:solidFill>
                  <a:srgbClr val="000000"/>
                </a:solidFill>
                <a:cs typeface="Arial"/>
              </a:rPr>
              <a:t>하지만</a:t>
            </a:r>
            <a:r>
              <a:rPr kumimoji="0" lang="en-US" altLang="ko-KR" b="1" kern="0" dirty="0">
                <a:solidFill>
                  <a:srgbClr val="000000"/>
                </a:solidFill>
                <a:cs typeface="Arial"/>
              </a:rPr>
              <a:t>, </a:t>
            </a:r>
            <a:r>
              <a:rPr kumimoji="0" lang="ko-KR" altLang="en-US" b="1" kern="0" dirty="0">
                <a:solidFill>
                  <a:srgbClr val="000000"/>
                </a:solidFill>
                <a:cs typeface="Arial"/>
              </a:rPr>
              <a:t>불량유전자 형질도 증가</a:t>
            </a:r>
            <a:r>
              <a:rPr kumimoji="0" lang="en-US" altLang="ko-KR" b="1" kern="0" dirty="0">
                <a:solidFill>
                  <a:srgbClr val="000000"/>
                </a:solidFill>
                <a:cs typeface="Arial"/>
              </a:rPr>
              <a:t>.</a:t>
            </a:r>
            <a:endParaRPr kumimoji="0" lang="ko-KR" altLang="en-US" b="1" kern="0" dirty="0">
              <a:solidFill>
                <a:srgbClr val="000000"/>
              </a:solidFill>
              <a:cs typeface="Arial"/>
            </a:endParaRPr>
          </a:p>
          <a:p>
            <a:pPr marL="341390" indent="-341390" defTabSz="910365" eaLnBrk="1" hangingPunct="1">
              <a:lnSpc>
                <a:spcPct val="80000"/>
              </a:lnSpc>
              <a:buNone/>
              <a:defRPr/>
            </a:pPr>
            <a:endParaRPr kumimoji="0" lang="ko-KR" altLang="en-US" b="1" kern="0" dirty="0">
              <a:solidFill>
                <a:srgbClr val="000000"/>
              </a:solidFill>
              <a:cs typeface="Arial"/>
            </a:endParaRPr>
          </a:p>
          <a:p>
            <a:pPr marL="341390" indent="-341390" defTabSz="910365" eaLnBrk="1" hangingPunct="1">
              <a:lnSpc>
                <a:spcPct val="80000"/>
              </a:lnSpc>
              <a:defRPr/>
            </a:pPr>
            <a:r>
              <a:rPr kumimoji="0" lang="ko-KR" altLang="en-US" b="1" kern="0" dirty="0">
                <a:solidFill>
                  <a:srgbClr val="000000"/>
                </a:solidFill>
                <a:cs typeface="Arial"/>
              </a:rPr>
              <a:t>사산</a:t>
            </a:r>
            <a:r>
              <a:rPr kumimoji="0" lang="en-US" altLang="ko-KR" b="1" kern="0" dirty="0">
                <a:solidFill>
                  <a:srgbClr val="000000"/>
                </a:solidFill>
                <a:cs typeface="Arial"/>
              </a:rPr>
              <a:t>, </a:t>
            </a:r>
            <a:r>
              <a:rPr kumimoji="0" lang="ko-KR" altLang="en-US" b="1" kern="0" dirty="0">
                <a:solidFill>
                  <a:srgbClr val="000000"/>
                </a:solidFill>
                <a:cs typeface="Arial"/>
              </a:rPr>
              <a:t>기형</a:t>
            </a:r>
            <a:r>
              <a:rPr kumimoji="0" lang="en-US" altLang="ko-KR" b="1" kern="0" dirty="0">
                <a:solidFill>
                  <a:srgbClr val="000000"/>
                </a:solidFill>
                <a:cs typeface="Arial"/>
              </a:rPr>
              <a:t>, </a:t>
            </a:r>
            <a:r>
              <a:rPr kumimoji="0" lang="ko-KR" altLang="en-US" b="1" kern="0" dirty="0">
                <a:solidFill>
                  <a:srgbClr val="FF0000"/>
                </a:solidFill>
                <a:cs typeface="Arial"/>
              </a:rPr>
              <a:t>열성인자 발현</a:t>
            </a:r>
            <a:r>
              <a:rPr kumimoji="0" lang="ko-KR" altLang="en-US" b="1" kern="0" dirty="0">
                <a:solidFill>
                  <a:srgbClr val="000000"/>
                </a:solidFill>
                <a:cs typeface="Arial"/>
              </a:rPr>
              <a:t>에 의한  </a:t>
            </a:r>
          </a:p>
          <a:p>
            <a:pPr marL="341390" indent="-341390" defTabSz="910365" eaLnBrk="1" hangingPunct="1">
              <a:lnSpc>
                <a:spcPct val="80000"/>
              </a:lnSpc>
              <a:buNone/>
              <a:defRPr/>
            </a:pPr>
            <a:r>
              <a:rPr kumimoji="0" lang="ko-KR" altLang="en-US" b="1" kern="0" dirty="0">
                <a:solidFill>
                  <a:srgbClr val="000000"/>
                </a:solidFill>
                <a:cs typeface="Arial"/>
              </a:rPr>
              <a:t>   능력저하</a:t>
            </a:r>
            <a:r>
              <a:rPr kumimoji="0" lang="en-US" altLang="ko-KR" b="1" kern="0" dirty="0">
                <a:solidFill>
                  <a:srgbClr val="000000"/>
                </a:solidFill>
                <a:cs typeface="Arial"/>
              </a:rPr>
              <a:t>, </a:t>
            </a:r>
            <a:r>
              <a:rPr kumimoji="0" lang="ko-KR" altLang="en-US" b="1" kern="0" dirty="0">
                <a:solidFill>
                  <a:srgbClr val="000000"/>
                </a:solidFill>
                <a:cs typeface="Arial"/>
              </a:rPr>
              <a:t>생산성 저하</a:t>
            </a:r>
          </a:p>
          <a:p>
            <a:pPr marL="341390" indent="-341390" defTabSz="910365" eaLnBrk="1" hangingPunct="1">
              <a:lnSpc>
                <a:spcPct val="80000"/>
              </a:lnSpc>
              <a:buNone/>
              <a:defRPr/>
            </a:pPr>
            <a:endParaRPr kumimoji="0" lang="ko-KR" altLang="en-US" b="1" kern="0" dirty="0">
              <a:solidFill>
                <a:srgbClr val="000000"/>
              </a:solidFill>
              <a:cs typeface="Arial"/>
            </a:endParaRPr>
          </a:p>
          <a:p>
            <a:pPr marL="341390" indent="-341390" defTabSz="910365" eaLnBrk="1" hangingPunct="1">
              <a:lnSpc>
                <a:spcPct val="80000"/>
              </a:lnSpc>
              <a:defRPr/>
            </a:pPr>
            <a:r>
              <a:rPr kumimoji="0" lang="ko-KR" altLang="en-US" sz="3000" b="1" kern="0" dirty="0">
                <a:solidFill>
                  <a:srgbClr val="000000"/>
                </a:solidFill>
                <a:cs typeface="Arial"/>
              </a:rPr>
              <a:t>특히 </a:t>
            </a:r>
            <a:r>
              <a:rPr kumimoji="0" lang="ko-KR" altLang="en-US" sz="3000" b="1" kern="0" dirty="0" err="1">
                <a:solidFill>
                  <a:srgbClr val="000000"/>
                </a:solidFill>
                <a:cs typeface="Arial"/>
              </a:rPr>
              <a:t>유전력이</a:t>
            </a:r>
            <a:r>
              <a:rPr kumimoji="0" lang="ko-KR" altLang="en-US" sz="3000" b="1" kern="0" dirty="0">
                <a:solidFill>
                  <a:srgbClr val="000000"/>
                </a:solidFill>
                <a:cs typeface="Arial"/>
              </a:rPr>
              <a:t> 낮은 번식능력이나 활력 등이 </a:t>
            </a:r>
            <a:endParaRPr kumimoji="0" lang="en-US" altLang="ko-KR" sz="3000" b="1" kern="0" dirty="0">
              <a:solidFill>
                <a:srgbClr val="000000"/>
              </a:solidFill>
              <a:cs typeface="Arial"/>
            </a:endParaRPr>
          </a:p>
          <a:p>
            <a:pPr marL="0" indent="0" defTabSz="910365" eaLnBrk="1" hangingPunct="1">
              <a:lnSpc>
                <a:spcPct val="80000"/>
              </a:lnSpc>
              <a:buNone/>
              <a:defRPr/>
            </a:pPr>
            <a:r>
              <a:rPr kumimoji="0" lang="en-US" altLang="ko-KR" sz="3000" b="1" kern="0" dirty="0">
                <a:solidFill>
                  <a:srgbClr val="000000"/>
                </a:solidFill>
                <a:cs typeface="Arial"/>
              </a:rPr>
              <a:t>   </a:t>
            </a:r>
            <a:r>
              <a:rPr kumimoji="0" lang="ko-KR" altLang="en-US" sz="3000" b="1" kern="0" dirty="0">
                <a:solidFill>
                  <a:srgbClr val="000000"/>
                </a:solidFill>
                <a:cs typeface="Arial"/>
              </a:rPr>
              <a:t>저하되는 </a:t>
            </a:r>
            <a:r>
              <a:rPr kumimoji="0" lang="ko-KR" altLang="en-US" sz="3000" b="1" kern="0" dirty="0">
                <a:solidFill>
                  <a:srgbClr val="FF0000"/>
                </a:solidFill>
                <a:cs typeface="Arial"/>
              </a:rPr>
              <a:t>근교퇴화</a:t>
            </a:r>
            <a:r>
              <a:rPr kumimoji="0" lang="ko-KR" altLang="en-US" sz="3000" b="1" kern="0" dirty="0">
                <a:solidFill>
                  <a:srgbClr val="000000"/>
                </a:solidFill>
                <a:cs typeface="Arial"/>
              </a:rPr>
              <a:t>현상이 강하게 나타남</a:t>
            </a:r>
            <a:r>
              <a:rPr kumimoji="0" lang="en-US" altLang="ko-KR" sz="3000" b="1" kern="0" dirty="0">
                <a:solidFill>
                  <a:srgbClr val="000000"/>
                </a:solidFill>
                <a:cs typeface="Arial"/>
              </a:rPr>
              <a:t>.</a:t>
            </a:r>
            <a:endParaRPr kumimoji="0" lang="ko-KR" altLang="en-US" sz="3000" b="1" kern="0" dirty="0">
              <a:solidFill>
                <a:srgbClr val="000000"/>
              </a:solidFill>
              <a:cs typeface="Arial"/>
            </a:endParaRPr>
          </a:p>
          <a:p>
            <a:pPr marL="341390" indent="-341390" defTabSz="910365" eaLnBrk="1" hangingPunct="1">
              <a:lnSpc>
                <a:spcPct val="80000"/>
              </a:lnSpc>
              <a:defRPr/>
            </a:pPr>
            <a:endParaRPr kumimoji="0" lang="en-US" altLang="ko-KR" sz="3000" b="1" kern="0" dirty="0">
              <a:solidFill>
                <a:srgbClr val="000000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44530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AutoShape 4"/>
          <p:cNvSpPr>
            <a:spLocks noChangeArrowheads="1"/>
          </p:cNvSpPr>
          <p:nvPr/>
        </p:nvSpPr>
        <p:spPr bwMode="gray">
          <a:xfrm>
            <a:off x="504825" y="1601793"/>
            <a:ext cx="9685338" cy="806450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28575">
            <a:solidFill>
              <a:schemeClr val="accent2"/>
            </a:solidFill>
            <a:round/>
            <a:headEnd/>
            <a:tailEnd/>
          </a:ln>
        </p:spPr>
        <p:txBody>
          <a:bodyPr wrap="none" lIns="103849" tIns="51925" rIns="103849" bIns="51925" anchor="ctr"/>
          <a:lstStyle/>
          <a:p>
            <a:pPr algn="ctr"/>
            <a:r>
              <a:rPr lang="ko-KR" altLang="en-US" sz="3700" b="1">
                <a:latin typeface="굴림" pitchFamily="50" charset="-127"/>
              </a:rPr>
              <a:t>도체중 </a:t>
            </a:r>
            <a:r>
              <a:rPr lang="en-US" altLang="ko-KR" sz="3700" b="1">
                <a:latin typeface="굴림" pitchFamily="50" charset="-127"/>
              </a:rPr>
              <a:t>-14.8kg , </a:t>
            </a:r>
            <a:r>
              <a:rPr lang="ko-KR" altLang="en-US" sz="3700" b="1">
                <a:latin typeface="굴림" pitchFamily="50" charset="-127"/>
              </a:rPr>
              <a:t>근내지방도 </a:t>
            </a:r>
            <a:r>
              <a:rPr lang="en-US" altLang="ko-KR" sz="3700" b="1">
                <a:latin typeface="굴림" pitchFamily="50" charset="-127"/>
              </a:rPr>
              <a:t>-0.05 </a:t>
            </a:r>
            <a:r>
              <a:rPr lang="ko-KR" altLang="en-US" sz="3700" b="1">
                <a:latin typeface="굴림" pitchFamily="50" charset="-127"/>
              </a:rPr>
              <a:t>감소</a:t>
            </a:r>
            <a:endParaRPr lang="ko-KR" altLang="en-US" sz="3700" b="1" dirty="0">
              <a:latin typeface="굴림" pitchFamily="50" charset="-127"/>
            </a:endParaRPr>
          </a:p>
        </p:txBody>
      </p:sp>
      <p:grpSp>
        <p:nvGrpSpPr>
          <p:cNvPr id="2" name="그룹 18"/>
          <p:cNvGrpSpPr/>
          <p:nvPr/>
        </p:nvGrpSpPr>
        <p:grpSpPr>
          <a:xfrm>
            <a:off x="505877" y="1049138"/>
            <a:ext cx="5301190" cy="567057"/>
            <a:chOff x="739949" y="1840062"/>
            <a:chExt cx="4876800" cy="500062"/>
          </a:xfrm>
          <a:solidFill>
            <a:schemeClr val="accent4">
              <a:lumMod val="75000"/>
            </a:schemeClr>
          </a:solidFill>
        </p:grpSpPr>
        <p:sp>
          <p:nvSpPr>
            <p:cNvPr id="179" name="AutoShape 10"/>
            <p:cNvSpPr>
              <a:spLocks noChangeArrowheads="1"/>
            </p:cNvSpPr>
            <p:nvPr/>
          </p:nvSpPr>
          <p:spPr bwMode="ltGray">
            <a:xfrm>
              <a:off x="739949" y="1840062"/>
              <a:ext cx="4876800" cy="500062"/>
            </a:xfrm>
            <a:prstGeom prst="roundRect">
              <a:avLst>
                <a:gd name="adj" fmla="val 17509"/>
              </a:avLst>
            </a:prstGeom>
            <a:solidFill>
              <a:schemeClr val="accent4">
                <a:lumMod val="75000"/>
              </a:scheme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anchor="ctr"/>
            <a:lstStyle/>
            <a:p>
              <a:pPr>
                <a:defRPr/>
              </a:pPr>
              <a:endParaRPr lang="ko-KR" altLang="en-US"/>
            </a:p>
          </p:txBody>
        </p:sp>
        <p:grpSp>
          <p:nvGrpSpPr>
            <p:cNvPr id="3" name="Group 11"/>
            <p:cNvGrpSpPr>
              <a:grpSpLocks/>
            </p:cNvGrpSpPr>
            <p:nvPr/>
          </p:nvGrpSpPr>
          <p:grpSpPr bwMode="auto">
            <a:xfrm>
              <a:off x="752649" y="1855934"/>
              <a:ext cx="4857750" cy="461961"/>
              <a:chOff x="744" y="1407"/>
              <a:chExt cx="3988" cy="444"/>
            </a:xfrm>
            <a:grpFill/>
          </p:grpSpPr>
          <p:sp>
            <p:nvSpPr>
              <p:cNvPr id="182" name="AutoShape 12"/>
              <p:cNvSpPr>
                <a:spLocks noChangeArrowheads="1"/>
              </p:cNvSpPr>
              <p:nvPr/>
            </p:nvSpPr>
            <p:spPr bwMode="ltGray">
              <a:xfrm>
                <a:off x="744" y="1736"/>
                <a:ext cx="3988" cy="115"/>
              </a:xfrm>
              <a:prstGeom prst="roundRect">
                <a:avLst>
                  <a:gd name="adj" fmla="val 50000"/>
                </a:avLst>
              </a:prstGeom>
              <a:grpFill/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ko-KR" altLang="en-US"/>
              </a:p>
            </p:txBody>
          </p:sp>
          <p:sp>
            <p:nvSpPr>
              <p:cNvPr id="183" name="AutoShape 13"/>
              <p:cNvSpPr>
                <a:spLocks noChangeArrowheads="1"/>
              </p:cNvSpPr>
              <p:nvPr/>
            </p:nvSpPr>
            <p:spPr bwMode="ltGray">
              <a:xfrm>
                <a:off x="744" y="1407"/>
                <a:ext cx="3988" cy="115"/>
              </a:xfrm>
              <a:prstGeom prst="roundRect">
                <a:avLst>
                  <a:gd name="adj" fmla="val 50000"/>
                </a:avLst>
              </a:prstGeom>
              <a:grpFill/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ko-KR" altLang="en-US"/>
              </a:p>
            </p:txBody>
          </p:sp>
        </p:grpSp>
        <p:sp>
          <p:nvSpPr>
            <p:cNvPr id="181" name="Rectangle 23"/>
            <p:cNvSpPr>
              <a:spLocks noChangeArrowheads="1"/>
            </p:cNvSpPr>
            <p:nvPr/>
          </p:nvSpPr>
          <p:spPr bwMode="black">
            <a:xfrm>
              <a:off x="883965" y="1844824"/>
              <a:ext cx="4655929" cy="448870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chemeClr val="tx1"/>
              </a:outerShdw>
            </a:effectLst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  <a:buClr>
                  <a:srgbClr val="1F3F5F"/>
                </a:buClr>
                <a:buFontTx/>
                <a:buBlip>
                  <a:blip r:embed="rId2"/>
                </a:buBlip>
                <a:defRPr/>
              </a:pPr>
              <a:r>
                <a:rPr lang="en-US" altLang="ko-KR" sz="270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lang="ko-KR" altLang="en-US" sz="270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근친계수</a:t>
              </a:r>
              <a:r>
                <a:rPr lang="en-US" altLang="ko-KR" sz="270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10% </a:t>
              </a:r>
              <a:r>
                <a:rPr lang="ko-KR" altLang="en-US" sz="270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이상</a:t>
              </a:r>
              <a:endParaRPr lang="en-US" altLang="ko-KR" sz="2700" dirty="0"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endParaRPr>
            </a:p>
          </p:txBody>
        </p:sp>
      </p:grpSp>
      <p:sp>
        <p:nvSpPr>
          <p:cNvPr id="77828" name="AutoShape 4"/>
          <p:cNvSpPr>
            <a:spLocks noChangeArrowheads="1"/>
          </p:cNvSpPr>
          <p:nvPr/>
        </p:nvSpPr>
        <p:spPr bwMode="gray">
          <a:xfrm>
            <a:off x="166688" y="3433791"/>
            <a:ext cx="5095875" cy="3887787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28575">
            <a:solidFill>
              <a:schemeClr val="accent2"/>
            </a:solidFill>
            <a:round/>
            <a:headEnd/>
            <a:tailEnd/>
          </a:ln>
        </p:spPr>
        <p:txBody>
          <a:bodyPr wrap="none" lIns="103849" tIns="51925" rIns="103849" bIns="51925" anchor="ctr"/>
          <a:lstStyle/>
          <a:p>
            <a:pPr>
              <a:buFont typeface="Arial" pitchFamily="34" charset="0"/>
              <a:buChar char="•"/>
            </a:pPr>
            <a:r>
              <a:rPr lang="ko-KR" altLang="en-US" sz="1800" b="1">
                <a:latin typeface="굴림" pitchFamily="50" charset="-127"/>
              </a:rPr>
              <a:t> 거세우 평균도체중 </a:t>
            </a:r>
            <a:r>
              <a:rPr lang="en-US" altLang="ko-KR" sz="1800" b="1">
                <a:latin typeface="굴림" pitchFamily="50" charset="-127"/>
              </a:rPr>
              <a:t>: 430kg</a:t>
            </a:r>
            <a:endParaRPr lang="en-US" altLang="ko-KR" sz="1800" b="1" dirty="0">
              <a:latin typeface="굴림" pitchFamily="50" charset="-127"/>
            </a:endParaRPr>
          </a:p>
          <a:p>
            <a:pPr>
              <a:buFont typeface="Arial" pitchFamily="34" charset="0"/>
              <a:buChar char="•"/>
            </a:pPr>
            <a:r>
              <a:rPr lang="ko-KR" altLang="en-US" sz="1800" b="1">
                <a:latin typeface="굴림" pitchFamily="50" charset="-127"/>
              </a:rPr>
              <a:t> 거세우 평균경락가격 </a:t>
            </a:r>
            <a:r>
              <a:rPr lang="en-US" altLang="ko-KR" sz="1800" b="1">
                <a:latin typeface="굴림" pitchFamily="50" charset="-127"/>
              </a:rPr>
              <a:t>: 16,822</a:t>
            </a:r>
            <a:r>
              <a:rPr lang="ko-KR" altLang="en-US" sz="1800" b="1" dirty="0">
                <a:latin typeface="굴림" pitchFamily="50" charset="-127"/>
              </a:rPr>
              <a:t>원</a:t>
            </a:r>
            <a:r>
              <a:rPr lang="en-US" altLang="ko-KR" sz="1800" b="1" dirty="0">
                <a:latin typeface="굴림" pitchFamily="50" charset="-127"/>
              </a:rPr>
              <a:t>(15</a:t>
            </a:r>
            <a:r>
              <a:rPr lang="ko-KR" altLang="en-US" sz="1800" b="1" dirty="0" err="1">
                <a:latin typeface="굴림" pitchFamily="50" charset="-127"/>
              </a:rPr>
              <a:t>년말</a:t>
            </a:r>
            <a:r>
              <a:rPr lang="en-US" altLang="ko-KR" sz="1800" b="1" dirty="0">
                <a:latin typeface="굴림" pitchFamily="50" charset="-127"/>
              </a:rPr>
              <a:t>)</a:t>
            </a:r>
          </a:p>
          <a:p>
            <a:pPr>
              <a:buFont typeface="Arial" pitchFamily="34" charset="0"/>
              <a:buChar char="•"/>
            </a:pPr>
            <a:endParaRPr lang="en-US" altLang="ko-KR" sz="1800" b="1" dirty="0">
              <a:latin typeface="굴림" pitchFamily="50" charset="-127"/>
            </a:endParaRPr>
          </a:p>
          <a:p>
            <a:pPr>
              <a:buFont typeface="Arial" pitchFamily="34" charset="0"/>
              <a:buChar char="•"/>
            </a:pPr>
            <a:endParaRPr lang="en-US" altLang="ko-KR" sz="1800" b="1" dirty="0">
              <a:latin typeface="굴림" pitchFamily="50" charset="-127"/>
            </a:endParaRPr>
          </a:p>
          <a:p>
            <a:pPr>
              <a:buFont typeface="Arial" pitchFamily="34" charset="0"/>
              <a:buChar char="•"/>
            </a:pPr>
            <a:endParaRPr lang="en-US" altLang="ko-KR" sz="1800" b="1" dirty="0">
              <a:latin typeface="굴림" pitchFamily="50" charset="-127"/>
            </a:endParaRPr>
          </a:p>
          <a:p>
            <a:pPr>
              <a:buFont typeface="Arial" pitchFamily="34" charset="0"/>
              <a:buChar char="•"/>
            </a:pPr>
            <a:r>
              <a:rPr lang="ko-KR" altLang="en-US" sz="1800" b="1">
                <a:latin typeface="굴림" pitchFamily="50" charset="-127"/>
              </a:rPr>
              <a:t> 근친아닐때</a:t>
            </a:r>
            <a:endParaRPr lang="en-US" altLang="ko-KR" sz="1800" b="1" dirty="0">
              <a:latin typeface="굴림" pitchFamily="50" charset="-127"/>
            </a:endParaRPr>
          </a:p>
          <a:p>
            <a:r>
              <a:rPr lang="en-US" altLang="ko-KR" sz="1800" b="1">
                <a:latin typeface="굴림" pitchFamily="50" charset="-127"/>
              </a:rPr>
              <a:t>  430kg * 16,822</a:t>
            </a:r>
            <a:r>
              <a:rPr lang="ko-KR" altLang="en-US" sz="1800" b="1">
                <a:latin typeface="굴림" pitchFamily="50" charset="-127"/>
              </a:rPr>
              <a:t>원 </a:t>
            </a:r>
            <a:r>
              <a:rPr lang="en-US" altLang="ko-KR" sz="1800" b="1">
                <a:latin typeface="굴림" pitchFamily="50" charset="-127"/>
              </a:rPr>
              <a:t>= 7,233</a:t>
            </a:r>
            <a:r>
              <a:rPr lang="ko-KR" altLang="en-US" sz="1800" b="1" dirty="0">
                <a:latin typeface="굴림" pitchFamily="50" charset="-127"/>
              </a:rPr>
              <a:t>천원</a:t>
            </a:r>
            <a:endParaRPr lang="en-US" altLang="ko-KR" sz="1800" b="1" dirty="0">
              <a:latin typeface="굴림" pitchFamily="50" charset="-127"/>
            </a:endParaRPr>
          </a:p>
          <a:p>
            <a:endParaRPr lang="en-US" altLang="ko-KR" sz="1800" b="1" dirty="0">
              <a:latin typeface="굴림" pitchFamily="50" charset="-127"/>
            </a:endParaRPr>
          </a:p>
          <a:p>
            <a:pPr>
              <a:buFont typeface="Arial" pitchFamily="34" charset="0"/>
              <a:buChar char="•"/>
            </a:pPr>
            <a:r>
              <a:rPr lang="ko-KR" altLang="en-US" sz="1800" b="1">
                <a:latin typeface="굴림" pitchFamily="50" charset="-127"/>
              </a:rPr>
              <a:t> 근친</a:t>
            </a:r>
            <a:r>
              <a:rPr lang="en-US" altLang="ko-KR" sz="1800" b="1" dirty="0">
                <a:latin typeface="굴림" pitchFamily="50" charset="-127"/>
              </a:rPr>
              <a:t>10%</a:t>
            </a:r>
            <a:r>
              <a:rPr lang="ko-KR" altLang="en-US" sz="1800" b="1" dirty="0" err="1">
                <a:latin typeface="굴림" pitchFamily="50" charset="-127"/>
              </a:rPr>
              <a:t>이상일때</a:t>
            </a:r>
            <a:endParaRPr lang="en-US" altLang="ko-KR" sz="1800" b="1" dirty="0">
              <a:latin typeface="굴림" pitchFamily="50" charset="-127"/>
            </a:endParaRPr>
          </a:p>
          <a:p>
            <a:r>
              <a:rPr lang="en-US" altLang="ko-KR" sz="1800" b="1">
                <a:latin typeface="굴림" pitchFamily="50" charset="-127"/>
              </a:rPr>
              <a:t>  (430-14.8kg) * 16,822</a:t>
            </a:r>
            <a:r>
              <a:rPr lang="ko-KR" altLang="en-US" sz="1800" b="1">
                <a:latin typeface="굴림" pitchFamily="50" charset="-127"/>
              </a:rPr>
              <a:t>원 </a:t>
            </a:r>
            <a:r>
              <a:rPr lang="en-US" altLang="ko-KR" sz="1800" b="1">
                <a:latin typeface="굴림" pitchFamily="50" charset="-127"/>
              </a:rPr>
              <a:t>= 6,984</a:t>
            </a:r>
            <a:r>
              <a:rPr lang="ko-KR" altLang="en-US" sz="1800" b="1" dirty="0">
                <a:latin typeface="굴림" pitchFamily="50" charset="-127"/>
              </a:rPr>
              <a:t>천원</a:t>
            </a:r>
            <a:endParaRPr lang="en-US" altLang="ko-KR" sz="1800" b="1" dirty="0">
              <a:latin typeface="굴림" pitchFamily="50" charset="-127"/>
            </a:endParaRPr>
          </a:p>
          <a:p>
            <a:endParaRPr lang="en-US" altLang="ko-KR" sz="1800" b="1" dirty="0">
              <a:latin typeface="굴림" pitchFamily="50" charset="-127"/>
            </a:endParaRPr>
          </a:p>
          <a:p>
            <a:pPr>
              <a:buFont typeface="Arial" pitchFamily="34" charset="0"/>
              <a:buChar char="•"/>
            </a:pPr>
            <a:r>
              <a:rPr lang="ko-KR" altLang="en-US" sz="1800" b="1">
                <a:latin typeface="굴림" pitchFamily="50" charset="-127"/>
              </a:rPr>
              <a:t>차이</a:t>
            </a:r>
            <a:r>
              <a:rPr lang="en-US" altLang="ko-KR" sz="1800" b="1">
                <a:latin typeface="굴림" pitchFamily="50" charset="-127"/>
              </a:rPr>
              <a:t>  </a:t>
            </a:r>
            <a:r>
              <a:rPr lang="en-US" altLang="ko-KR" sz="3700" b="1">
                <a:solidFill>
                  <a:srgbClr val="C00000"/>
                </a:solidFill>
                <a:latin typeface="굴림" pitchFamily="50" charset="-127"/>
              </a:rPr>
              <a:t>-</a:t>
            </a:r>
            <a:r>
              <a:rPr lang="en-US" altLang="ko-KR" sz="3700" b="1" dirty="0">
                <a:solidFill>
                  <a:srgbClr val="C00000"/>
                </a:solidFill>
                <a:latin typeface="굴림" pitchFamily="50" charset="-127"/>
              </a:rPr>
              <a:t>248,966</a:t>
            </a:r>
            <a:r>
              <a:rPr lang="ko-KR" altLang="en-US" sz="3700" b="1" dirty="0">
                <a:solidFill>
                  <a:srgbClr val="C00000"/>
                </a:solidFill>
                <a:latin typeface="굴림" pitchFamily="50" charset="-127"/>
              </a:rPr>
              <a:t>원</a:t>
            </a:r>
            <a:endParaRPr lang="ko-KR" altLang="en-US" sz="1800" b="1" dirty="0">
              <a:solidFill>
                <a:srgbClr val="C00000"/>
              </a:solidFill>
              <a:latin typeface="굴림" pitchFamily="50" charset="-127"/>
            </a:endParaRPr>
          </a:p>
        </p:txBody>
      </p:sp>
      <p:grpSp>
        <p:nvGrpSpPr>
          <p:cNvPr id="4" name="그룹 18"/>
          <p:cNvGrpSpPr>
            <a:grpSpLocks/>
          </p:cNvGrpSpPr>
          <p:nvPr/>
        </p:nvGrpSpPr>
        <p:grpSpPr bwMode="auto">
          <a:xfrm>
            <a:off x="166718" y="2714626"/>
            <a:ext cx="5133975" cy="566737"/>
            <a:chOff x="739949" y="1840062"/>
            <a:chExt cx="4876800" cy="500062"/>
          </a:xfrm>
        </p:grpSpPr>
        <p:sp>
          <p:nvSpPr>
            <p:cNvPr id="77840" name="AutoShape 10"/>
            <p:cNvSpPr>
              <a:spLocks noChangeArrowheads="1"/>
            </p:cNvSpPr>
            <p:nvPr/>
          </p:nvSpPr>
          <p:spPr bwMode="ltGray">
            <a:xfrm>
              <a:off x="739949" y="1840062"/>
              <a:ext cx="4876800" cy="500062"/>
            </a:xfrm>
            <a:prstGeom prst="roundRect">
              <a:avLst>
                <a:gd name="adj" fmla="val 17509"/>
              </a:avLst>
            </a:pr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grpSp>
          <p:nvGrpSpPr>
            <p:cNvPr id="5" name="Group 11"/>
            <p:cNvGrpSpPr>
              <a:grpSpLocks/>
            </p:cNvGrpSpPr>
            <p:nvPr/>
          </p:nvGrpSpPr>
          <p:grpSpPr bwMode="auto">
            <a:xfrm>
              <a:off x="752649" y="1855934"/>
              <a:ext cx="4857750" cy="461961"/>
              <a:chOff x="744" y="1407"/>
              <a:chExt cx="3988" cy="444"/>
            </a:xfrm>
          </p:grpSpPr>
          <p:sp>
            <p:nvSpPr>
              <p:cNvPr id="189" name="AutoShape 12"/>
              <p:cNvSpPr>
                <a:spLocks noChangeArrowheads="1"/>
              </p:cNvSpPr>
              <p:nvPr/>
            </p:nvSpPr>
            <p:spPr bwMode="ltGray">
              <a:xfrm>
                <a:off x="741" y="1736"/>
                <a:ext cx="3991" cy="113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gamma/>
                      <a:tint val="19216"/>
                      <a:invGamma/>
                    </a:scheme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ko-KR" altLang="en-US"/>
              </a:p>
            </p:txBody>
          </p:sp>
          <p:sp>
            <p:nvSpPr>
              <p:cNvPr id="190" name="AutoShape 13"/>
              <p:cNvSpPr>
                <a:spLocks noChangeArrowheads="1"/>
              </p:cNvSpPr>
              <p:nvPr/>
            </p:nvSpPr>
            <p:spPr bwMode="ltGray">
              <a:xfrm>
                <a:off x="741" y="1407"/>
                <a:ext cx="3991" cy="114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chemeClr val="accent2">
                      <a:gamma/>
                      <a:tint val="15686"/>
                      <a:invGamma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ko-KR" altLang="en-US"/>
              </a:p>
            </p:txBody>
          </p:sp>
        </p:grpSp>
        <p:sp>
          <p:nvSpPr>
            <p:cNvPr id="89106" name="Rectangle 23"/>
            <p:cNvSpPr>
              <a:spLocks noChangeArrowheads="1"/>
            </p:cNvSpPr>
            <p:nvPr/>
          </p:nvSpPr>
          <p:spPr bwMode="black">
            <a:xfrm>
              <a:off x="884715" y="1844265"/>
              <a:ext cx="4103207" cy="4496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rgbClr val="000000"/>
              </a:outerShdw>
            </a:effectLst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  <a:buClr>
                  <a:srgbClr val="1F3F5F"/>
                </a:buClr>
                <a:buFontTx/>
                <a:buBlip>
                  <a:blip r:embed="rId3"/>
                </a:buBlip>
                <a:defRPr/>
              </a:pPr>
              <a:r>
                <a:rPr lang="en-US" altLang="ko-KR" sz="270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lang="ko-KR" altLang="en-US" sz="270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도체중 손실액</a:t>
              </a:r>
              <a:r>
                <a:rPr lang="en-US" altLang="ko-KR" sz="27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(1</a:t>
              </a:r>
              <a:r>
                <a:rPr lang="ko-KR" altLang="en-US" sz="27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두</a:t>
              </a:r>
              <a:r>
                <a:rPr lang="en-US" altLang="ko-KR" sz="27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</a:p>
          </p:txBody>
        </p:sp>
      </p:grpSp>
      <p:sp>
        <p:nvSpPr>
          <p:cNvPr id="77830" name="AutoShape 4"/>
          <p:cNvSpPr>
            <a:spLocks noChangeArrowheads="1"/>
          </p:cNvSpPr>
          <p:nvPr/>
        </p:nvSpPr>
        <p:spPr bwMode="gray">
          <a:xfrm>
            <a:off x="5430838" y="3433791"/>
            <a:ext cx="5095875" cy="3887787"/>
          </a:xfrm>
          <a:prstGeom prst="roundRect">
            <a:avLst>
              <a:gd name="adj" fmla="val 16667"/>
            </a:avLst>
          </a:prstGeom>
          <a:solidFill>
            <a:srgbClr val="FFFFFF"/>
          </a:solidFill>
          <a:ln w="28575">
            <a:solidFill>
              <a:schemeClr val="accent2"/>
            </a:solidFill>
            <a:round/>
            <a:headEnd/>
            <a:tailEnd/>
          </a:ln>
        </p:spPr>
        <p:txBody>
          <a:bodyPr wrap="none" lIns="103849" tIns="51925" rIns="103849" bIns="51925" anchor="ctr"/>
          <a:lstStyle/>
          <a:p>
            <a:pPr>
              <a:buFont typeface="Arial" pitchFamily="34" charset="0"/>
              <a:buChar char="•"/>
            </a:pPr>
            <a:r>
              <a:rPr lang="ko-KR" altLang="en-US" sz="1800" b="1">
                <a:latin typeface="굴림" pitchFamily="50" charset="-127"/>
              </a:rPr>
              <a:t> 거세우 </a:t>
            </a:r>
            <a:r>
              <a:rPr lang="en-US" altLang="ko-KR" sz="1800" b="1">
                <a:latin typeface="굴림" pitchFamily="50" charset="-127"/>
              </a:rPr>
              <a:t>1++</a:t>
            </a:r>
            <a:r>
              <a:rPr lang="ko-KR" altLang="en-US" sz="1800" b="1">
                <a:latin typeface="굴림" pitchFamily="50" charset="-127"/>
              </a:rPr>
              <a:t>평균경락가격 </a:t>
            </a:r>
            <a:r>
              <a:rPr lang="en-US" altLang="ko-KR" sz="1800" b="1">
                <a:latin typeface="굴림" pitchFamily="50" charset="-127"/>
              </a:rPr>
              <a:t>: 18,956</a:t>
            </a:r>
            <a:r>
              <a:rPr lang="ko-KR" altLang="en-US" sz="1800" b="1" dirty="0">
                <a:latin typeface="굴림" pitchFamily="50" charset="-127"/>
              </a:rPr>
              <a:t>원</a:t>
            </a:r>
            <a:endParaRPr lang="en-US" altLang="ko-KR" sz="1800" b="1" dirty="0">
              <a:latin typeface="굴림" pitchFamily="50" charset="-127"/>
            </a:endParaRPr>
          </a:p>
          <a:p>
            <a:pPr>
              <a:buFont typeface="Arial" pitchFamily="34" charset="0"/>
              <a:buChar char="•"/>
            </a:pPr>
            <a:r>
              <a:rPr lang="ko-KR" altLang="en-US" sz="1800" b="1">
                <a:latin typeface="굴림" pitchFamily="50" charset="-127"/>
              </a:rPr>
              <a:t> 거세우 </a:t>
            </a:r>
            <a:r>
              <a:rPr lang="en-US" altLang="ko-KR" sz="1800" b="1">
                <a:latin typeface="굴림" pitchFamily="50" charset="-127"/>
              </a:rPr>
              <a:t>3</a:t>
            </a:r>
            <a:r>
              <a:rPr lang="ko-KR" altLang="en-US" sz="1800" b="1">
                <a:latin typeface="굴림" pitchFamily="50" charset="-127"/>
              </a:rPr>
              <a:t>    평균경락가격 </a:t>
            </a:r>
            <a:r>
              <a:rPr lang="en-US" altLang="ko-KR" sz="1800" b="1">
                <a:latin typeface="굴림" pitchFamily="50" charset="-127"/>
              </a:rPr>
              <a:t>: 12,534</a:t>
            </a:r>
            <a:r>
              <a:rPr lang="ko-KR" altLang="en-US" sz="1800" b="1" dirty="0">
                <a:latin typeface="굴림" pitchFamily="50" charset="-127"/>
              </a:rPr>
              <a:t>원</a:t>
            </a:r>
            <a:endParaRPr lang="en-US" altLang="ko-KR" sz="1800" b="1" dirty="0">
              <a:latin typeface="굴림" pitchFamily="50" charset="-127"/>
            </a:endParaRPr>
          </a:p>
          <a:p>
            <a:pPr>
              <a:buFont typeface="Arial" pitchFamily="34" charset="0"/>
              <a:buChar char="•"/>
            </a:pPr>
            <a:r>
              <a:rPr lang="ko-KR" altLang="en-US" sz="1800" b="1">
                <a:latin typeface="굴림" pitchFamily="50" charset="-127"/>
              </a:rPr>
              <a:t> 등급간 차이 </a:t>
            </a:r>
            <a:r>
              <a:rPr lang="en-US" altLang="ko-KR" sz="1800" b="1">
                <a:latin typeface="굴림" pitchFamily="50" charset="-127"/>
              </a:rPr>
              <a:t>: 6,422</a:t>
            </a:r>
            <a:r>
              <a:rPr lang="ko-KR" altLang="en-US" sz="1800" b="1" dirty="0">
                <a:latin typeface="굴림" pitchFamily="50" charset="-127"/>
              </a:rPr>
              <a:t>원</a:t>
            </a:r>
            <a:endParaRPr lang="en-US" altLang="ko-KR" sz="1800" b="1" dirty="0">
              <a:latin typeface="굴림" pitchFamily="50" charset="-127"/>
            </a:endParaRPr>
          </a:p>
          <a:p>
            <a:pPr>
              <a:buFont typeface="Arial" pitchFamily="34" charset="0"/>
              <a:buChar char="•"/>
            </a:pPr>
            <a:r>
              <a:rPr lang="ko-KR" altLang="en-US" sz="1800" b="1">
                <a:latin typeface="굴림" pitchFamily="50" charset="-127"/>
              </a:rPr>
              <a:t> 근내지방도 </a:t>
            </a:r>
            <a:r>
              <a:rPr lang="en-US" altLang="ko-KR" sz="1800" b="1">
                <a:latin typeface="굴림" pitchFamily="50" charset="-127"/>
              </a:rPr>
              <a:t>9</a:t>
            </a:r>
            <a:r>
              <a:rPr lang="ko-KR" altLang="en-US" sz="1800" b="1">
                <a:latin typeface="굴림" pitchFamily="50" charset="-127"/>
              </a:rPr>
              <a:t>단계로  계산 </a:t>
            </a:r>
            <a:r>
              <a:rPr lang="en-US" altLang="ko-KR" sz="1800" b="1">
                <a:latin typeface="굴림" pitchFamily="50" charset="-127"/>
              </a:rPr>
              <a:t>: 380</a:t>
            </a:r>
            <a:r>
              <a:rPr lang="ko-KR" altLang="en-US" sz="1800" b="1" dirty="0">
                <a:latin typeface="굴림" pitchFamily="50" charset="-127"/>
              </a:rPr>
              <a:t>원</a:t>
            </a:r>
            <a:endParaRPr lang="en-US" altLang="ko-KR" sz="1800" b="1" dirty="0">
              <a:latin typeface="굴림" pitchFamily="50" charset="-127"/>
            </a:endParaRPr>
          </a:p>
          <a:p>
            <a:pPr>
              <a:buFont typeface="Arial" pitchFamily="34" charset="0"/>
              <a:buChar char="•"/>
            </a:pPr>
            <a:endParaRPr lang="en-US" altLang="ko-KR" sz="1800" b="1" dirty="0">
              <a:latin typeface="굴림" pitchFamily="50" charset="-127"/>
            </a:endParaRPr>
          </a:p>
          <a:p>
            <a:pPr>
              <a:buFont typeface="Arial" pitchFamily="34" charset="0"/>
              <a:buChar char="•"/>
            </a:pPr>
            <a:r>
              <a:rPr lang="ko-KR" altLang="en-US" sz="1800" b="1">
                <a:latin typeface="굴림" pitchFamily="50" charset="-127"/>
              </a:rPr>
              <a:t> 근친아닐때</a:t>
            </a:r>
            <a:endParaRPr lang="en-US" altLang="ko-KR" sz="1800" b="1" dirty="0">
              <a:latin typeface="굴림" pitchFamily="50" charset="-127"/>
            </a:endParaRPr>
          </a:p>
          <a:p>
            <a:r>
              <a:rPr lang="en-US" altLang="ko-KR" sz="1800" b="1">
                <a:latin typeface="굴림" pitchFamily="50" charset="-127"/>
              </a:rPr>
              <a:t>  430kg * 18,956</a:t>
            </a:r>
            <a:r>
              <a:rPr lang="ko-KR" altLang="en-US" sz="1800" b="1">
                <a:latin typeface="굴림" pitchFamily="50" charset="-127"/>
              </a:rPr>
              <a:t>원 </a:t>
            </a:r>
            <a:r>
              <a:rPr lang="en-US" altLang="ko-KR" sz="1800" b="1">
                <a:latin typeface="굴림" pitchFamily="50" charset="-127"/>
              </a:rPr>
              <a:t>= 7,233</a:t>
            </a:r>
            <a:r>
              <a:rPr lang="ko-KR" altLang="en-US" sz="1800" b="1" dirty="0">
                <a:latin typeface="굴림" pitchFamily="50" charset="-127"/>
              </a:rPr>
              <a:t>천원</a:t>
            </a:r>
            <a:endParaRPr lang="en-US" altLang="ko-KR" sz="1800" b="1" dirty="0">
              <a:latin typeface="굴림" pitchFamily="50" charset="-127"/>
            </a:endParaRPr>
          </a:p>
          <a:p>
            <a:endParaRPr lang="en-US" altLang="ko-KR" sz="1800" b="1" dirty="0">
              <a:latin typeface="굴림" pitchFamily="50" charset="-127"/>
            </a:endParaRPr>
          </a:p>
          <a:p>
            <a:pPr>
              <a:buFont typeface="Arial" pitchFamily="34" charset="0"/>
              <a:buChar char="•"/>
            </a:pPr>
            <a:r>
              <a:rPr lang="ko-KR" altLang="en-US" sz="1800" b="1">
                <a:latin typeface="굴림" pitchFamily="50" charset="-127"/>
              </a:rPr>
              <a:t> 근친</a:t>
            </a:r>
            <a:r>
              <a:rPr lang="en-US" altLang="ko-KR" sz="1800" b="1" dirty="0">
                <a:latin typeface="굴림" pitchFamily="50" charset="-127"/>
              </a:rPr>
              <a:t>10%</a:t>
            </a:r>
            <a:r>
              <a:rPr lang="ko-KR" altLang="en-US" sz="1800" b="1" dirty="0" err="1">
                <a:latin typeface="굴림" pitchFamily="50" charset="-127"/>
              </a:rPr>
              <a:t>이상일때</a:t>
            </a:r>
            <a:endParaRPr lang="en-US" altLang="ko-KR" sz="1800" b="1" dirty="0">
              <a:latin typeface="굴림" pitchFamily="50" charset="-127"/>
            </a:endParaRPr>
          </a:p>
          <a:p>
            <a:r>
              <a:rPr lang="en-US" altLang="ko-KR" sz="1800" b="1">
                <a:latin typeface="굴림" pitchFamily="50" charset="-127"/>
              </a:rPr>
              <a:t>  430kg * (</a:t>
            </a:r>
            <a:r>
              <a:rPr lang="en-US" altLang="ko-KR" sz="1800" b="1" dirty="0">
                <a:latin typeface="굴림" pitchFamily="50" charset="-127"/>
              </a:rPr>
              <a:t>18,956-380</a:t>
            </a:r>
            <a:r>
              <a:rPr lang="ko-KR" altLang="en-US" sz="1800" b="1">
                <a:latin typeface="굴림" pitchFamily="50" charset="-127"/>
              </a:rPr>
              <a:t>원</a:t>
            </a:r>
            <a:r>
              <a:rPr lang="en-US" altLang="ko-KR" sz="1800" b="1">
                <a:latin typeface="굴림" pitchFamily="50" charset="-127"/>
              </a:rPr>
              <a:t>)</a:t>
            </a:r>
            <a:r>
              <a:rPr lang="ko-KR" altLang="en-US" sz="1800" b="1">
                <a:latin typeface="굴림" pitchFamily="50" charset="-127"/>
              </a:rPr>
              <a:t> </a:t>
            </a:r>
            <a:r>
              <a:rPr lang="en-US" altLang="ko-KR" sz="1800" b="1">
                <a:latin typeface="굴림" pitchFamily="50" charset="-127"/>
              </a:rPr>
              <a:t>= 6,818,337</a:t>
            </a:r>
            <a:r>
              <a:rPr lang="ko-KR" altLang="en-US" sz="1800" b="1" dirty="0">
                <a:latin typeface="굴림" pitchFamily="50" charset="-127"/>
              </a:rPr>
              <a:t>원</a:t>
            </a:r>
            <a:endParaRPr lang="en-US" altLang="ko-KR" sz="1800" b="1" dirty="0">
              <a:latin typeface="굴림" pitchFamily="50" charset="-127"/>
            </a:endParaRPr>
          </a:p>
          <a:p>
            <a:endParaRPr lang="en-US" altLang="ko-KR" sz="1800" b="1" dirty="0">
              <a:latin typeface="굴림" pitchFamily="50" charset="-127"/>
            </a:endParaRPr>
          </a:p>
          <a:p>
            <a:pPr>
              <a:buFont typeface="Arial" pitchFamily="34" charset="0"/>
              <a:buChar char="•"/>
            </a:pPr>
            <a:r>
              <a:rPr lang="ko-KR" altLang="en-US" sz="1800" b="1">
                <a:latin typeface="굴림" pitchFamily="50" charset="-127"/>
              </a:rPr>
              <a:t>차이</a:t>
            </a:r>
            <a:r>
              <a:rPr lang="en-US" altLang="ko-KR" sz="1800" b="1">
                <a:latin typeface="굴림" pitchFamily="50" charset="-127"/>
              </a:rPr>
              <a:t>  </a:t>
            </a:r>
            <a:r>
              <a:rPr lang="en-US" altLang="ko-KR" sz="3700" b="1">
                <a:solidFill>
                  <a:srgbClr val="C00000"/>
                </a:solidFill>
                <a:latin typeface="굴림" pitchFamily="50" charset="-127"/>
              </a:rPr>
              <a:t>-</a:t>
            </a:r>
            <a:r>
              <a:rPr lang="en-US" altLang="ko-KR" sz="3700" b="1" dirty="0">
                <a:solidFill>
                  <a:srgbClr val="C00000"/>
                </a:solidFill>
                <a:latin typeface="굴림" pitchFamily="50" charset="-127"/>
              </a:rPr>
              <a:t>167,508</a:t>
            </a:r>
            <a:r>
              <a:rPr lang="ko-KR" altLang="en-US" sz="3700" b="1" dirty="0">
                <a:solidFill>
                  <a:srgbClr val="C00000"/>
                </a:solidFill>
                <a:latin typeface="굴림" pitchFamily="50" charset="-127"/>
              </a:rPr>
              <a:t>원</a:t>
            </a:r>
            <a:endParaRPr lang="ko-KR" altLang="en-US" sz="1800" b="1" dirty="0">
              <a:solidFill>
                <a:srgbClr val="C00000"/>
              </a:solidFill>
              <a:latin typeface="굴림" pitchFamily="50" charset="-127"/>
            </a:endParaRPr>
          </a:p>
        </p:txBody>
      </p:sp>
      <p:grpSp>
        <p:nvGrpSpPr>
          <p:cNvPr id="6" name="그룹 18"/>
          <p:cNvGrpSpPr>
            <a:grpSpLocks/>
          </p:cNvGrpSpPr>
          <p:nvPr/>
        </p:nvGrpSpPr>
        <p:grpSpPr bwMode="auto">
          <a:xfrm>
            <a:off x="5430868" y="2714626"/>
            <a:ext cx="5133975" cy="566737"/>
            <a:chOff x="739949" y="1840062"/>
            <a:chExt cx="4876800" cy="500062"/>
          </a:xfrm>
        </p:grpSpPr>
        <p:sp>
          <p:nvSpPr>
            <p:cNvPr id="77835" name="AutoShape 10"/>
            <p:cNvSpPr>
              <a:spLocks noChangeArrowheads="1"/>
            </p:cNvSpPr>
            <p:nvPr/>
          </p:nvSpPr>
          <p:spPr bwMode="ltGray">
            <a:xfrm>
              <a:off x="739949" y="1840062"/>
              <a:ext cx="4876800" cy="500062"/>
            </a:xfrm>
            <a:prstGeom prst="roundRect">
              <a:avLst>
                <a:gd name="adj" fmla="val 17509"/>
              </a:avLst>
            </a:pr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endParaRPr lang="ko-KR" altLang="en-US"/>
            </a:p>
          </p:txBody>
        </p:sp>
        <p:grpSp>
          <p:nvGrpSpPr>
            <p:cNvPr id="7" name="Group 11"/>
            <p:cNvGrpSpPr>
              <a:grpSpLocks/>
            </p:cNvGrpSpPr>
            <p:nvPr/>
          </p:nvGrpSpPr>
          <p:grpSpPr bwMode="auto">
            <a:xfrm>
              <a:off x="752649" y="1855934"/>
              <a:ext cx="4857750" cy="461961"/>
              <a:chOff x="744" y="1407"/>
              <a:chExt cx="3988" cy="444"/>
            </a:xfrm>
          </p:grpSpPr>
          <p:sp>
            <p:nvSpPr>
              <p:cNvPr id="196" name="AutoShape 12"/>
              <p:cNvSpPr>
                <a:spLocks noChangeArrowheads="1"/>
              </p:cNvSpPr>
              <p:nvPr/>
            </p:nvSpPr>
            <p:spPr bwMode="ltGray">
              <a:xfrm>
                <a:off x="741" y="1736"/>
                <a:ext cx="3991" cy="113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chemeClr val="accent2">
                      <a:alpha val="0"/>
                    </a:schemeClr>
                  </a:gs>
                  <a:gs pos="100000">
                    <a:schemeClr val="accent2">
                      <a:gamma/>
                      <a:tint val="19216"/>
                      <a:invGamma/>
                    </a:scheme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ko-KR" altLang="en-US"/>
              </a:p>
            </p:txBody>
          </p:sp>
          <p:sp>
            <p:nvSpPr>
              <p:cNvPr id="197" name="AutoShape 13"/>
              <p:cNvSpPr>
                <a:spLocks noChangeArrowheads="1"/>
              </p:cNvSpPr>
              <p:nvPr/>
            </p:nvSpPr>
            <p:spPr bwMode="ltGray">
              <a:xfrm>
                <a:off x="741" y="1407"/>
                <a:ext cx="3991" cy="114"/>
              </a:xfrm>
              <a:prstGeom prst="roundRect">
                <a:avLst>
                  <a:gd name="adj" fmla="val 50000"/>
                </a:avLst>
              </a:prstGeom>
              <a:gradFill rotWithShape="1">
                <a:gsLst>
                  <a:gs pos="0">
                    <a:schemeClr val="accent2">
                      <a:gamma/>
                      <a:tint val="15686"/>
                      <a:invGamma/>
                    </a:schemeClr>
                  </a:gs>
                  <a:gs pos="100000">
                    <a:schemeClr val="accent2">
                      <a:alpha val="0"/>
                    </a:schemeClr>
                  </a:gs>
                </a:gsLst>
                <a:lin ang="5400000" scaled="1"/>
              </a:gradFill>
              <a:ln w="9525">
                <a:noFill/>
                <a:round/>
                <a:headEnd/>
                <a:tailEnd/>
              </a:ln>
              <a:effectLst/>
            </p:spPr>
            <p:txBody>
              <a:bodyPr wrap="none" anchor="ctr"/>
              <a:lstStyle/>
              <a:p>
                <a:pPr>
                  <a:defRPr/>
                </a:pPr>
                <a:endParaRPr lang="ko-KR" altLang="en-US"/>
              </a:p>
            </p:txBody>
          </p:sp>
        </p:grpSp>
        <p:sp>
          <p:nvSpPr>
            <p:cNvPr id="89101" name="Rectangle 23"/>
            <p:cNvSpPr>
              <a:spLocks noChangeArrowheads="1"/>
            </p:cNvSpPr>
            <p:nvPr/>
          </p:nvSpPr>
          <p:spPr bwMode="black">
            <a:xfrm>
              <a:off x="884715" y="1844265"/>
              <a:ext cx="4615919" cy="44963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>
              <a:outerShdw dist="17961" dir="2700000" algn="ctr" rotWithShape="0">
                <a:srgbClr val="000000"/>
              </a:outerShdw>
            </a:effectLst>
          </p:spPr>
          <p:txBody>
            <a:bodyPr>
              <a:spAutoFit/>
            </a:bodyPr>
            <a:lstStyle/>
            <a:p>
              <a:pPr>
                <a:spcBef>
                  <a:spcPct val="50000"/>
                </a:spcBef>
                <a:buClr>
                  <a:srgbClr val="1F3F5F"/>
                </a:buClr>
                <a:buFontTx/>
                <a:buBlip>
                  <a:blip r:embed="rId3"/>
                </a:buBlip>
                <a:defRPr/>
              </a:pPr>
              <a:r>
                <a:rPr lang="en-US" altLang="ko-KR" sz="270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 </a:t>
              </a:r>
              <a:r>
                <a:rPr lang="ko-KR" altLang="en-US" sz="270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근내지방도 손실액</a:t>
              </a:r>
              <a:r>
                <a:rPr lang="en-US" altLang="ko-KR" sz="27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(1</a:t>
              </a:r>
              <a:r>
                <a:rPr lang="ko-KR" altLang="en-US" sz="27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두</a:t>
              </a:r>
              <a:r>
                <a:rPr lang="en-US" altLang="ko-KR" sz="2700" dirty="0">
                  <a:solidFill>
                    <a:srgbClr val="FFFFFF"/>
                  </a:solidFill>
                  <a:latin typeface="맑은 고딕" pitchFamily="50" charset="-127"/>
                  <a:ea typeface="맑은 고딕" pitchFamily="50" charset="-127"/>
                </a:rPr>
                <a:t>)</a:t>
              </a:r>
            </a:p>
          </p:txBody>
        </p:sp>
      </p:grpSp>
      <p:graphicFrame>
        <p:nvGraphicFramePr>
          <p:cNvPr id="25" name="표 24"/>
          <p:cNvGraphicFramePr>
            <a:graphicFrameLocks noGrp="1"/>
          </p:cNvGraphicFramePr>
          <p:nvPr/>
        </p:nvGraphicFramePr>
        <p:xfrm>
          <a:off x="0" y="0"/>
          <a:ext cx="10693400" cy="757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7238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T="45672" marB="4567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26" name="Text Box 8"/>
          <p:cNvSpPr txBox="1">
            <a:spLocks noChangeArrowheads="1"/>
          </p:cNvSpPr>
          <p:nvPr/>
        </p:nvSpPr>
        <p:spPr bwMode="auto">
          <a:xfrm>
            <a:off x="-8895" y="134938"/>
            <a:ext cx="10639905" cy="492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286633" tIns="0" rIns="0" bIns="0">
            <a:spAutoFit/>
          </a:bodyPr>
          <a:lstStyle/>
          <a:p>
            <a:pPr>
              <a:defRPr/>
            </a:pPr>
            <a:r>
              <a:rPr lang="ko-KR" alt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근교피해 </a:t>
            </a:r>
            <a:r>
              <a:rPr lang="en-US" altLang="ko-KR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(</a:t>
            </a:r>
            <a:r>
              <a:rPr lang="ko-KR" alt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불량유전자에 의한 경제적 손실</a:t>
            </a:r>
            <a:r>
              <a:rPr lang="en-US" altLang="ko-KR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)</a:t>
            </a:r>
            <a:endParaRPr lang="ko-KR" altLang="en-US" sz="32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450221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6034" name="Text Box 2"/>
          <p:cNvSpPr txBox="1">
            <a:spLocks noChangeArrowheads="1"/>
          </p:cNvSpPr>
          <p:nvPr/>
        </p:nvSpPr>
        <p:spPr bwMode="auto">
          <a:xfrm>
            <a:off x="462293" y="208300"/>
            <a:ext cx="9011417" cy="674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3922" tIns="51961" rIns="103922" bIns="51961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 latinLnBrk="0">
              <a:defRPr/>
            </a:pPr>
            <a:r>
              <a:rPr kumimoji="0" lang="en-US" altLang="ko-KR" sz="3700" b="1" spc="57" dirty="0">
                <a:ln w="11430"/>
                <a:solidFill>
                  <a:srgbClr val="00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맑은 고딕" pitchFamily="50" charset="-127"/>
                <a:ea typeface="맑은 고딕" pitchFamily="50" charset="-127"/>
              </a:rPr>
              <a:t>§ </a:t>
            </a:r>
            <a:r>
              <a:rPr kumimoji="0" lang="ko-KR" altLang="en-US" sz="3700" b="1" spc="57" dirty="0">
                <a:ln w="11430"/>
                <a:solidFill>
                  <a:srgbClr val="00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맑은 고딕" pitchFamily="50" charset="-127"/>
                <a:ea typeface="맑은 고딕" pitchFamily="50" charset="-127"/>
              </a:rPr>
              <a:t>근친교배에 따른 피해는</a:t>
            </a:r>
            <a:r>
              <a:rPr kumimoji="0" lang="en-US" altLang="ko-KR" sz="3700" b="1" spc="57" dirty="0">
                <a:ln w="11430"/>
                <a:solidFill>
                  <a:srgbClr val="00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맑은 고딕" pitchFamily="50" charset="-127"/>
                <a:ea typeface="맑은 고딕" pitchFamily="50" charset="-127"/>
              </a:rPr>
              <a:t>?????? </a:t>
            </a:r>
          </a:p>
        </p:txBody>
      </p:sp>
      <p:graphicFrame>
        <p:nvGraphicFramePr>
          <p:cNvPr id="556035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80232782"/>
              </p:ext>
            </p:extLst>
          </p:nvPr>
        </p:nvGraphicFramePr>
        <p:xfrm>
          <a:off x="560664" y="1788799"/>
          <a:ext cx="9768866" cy="5159862"/>
        </p:xfrm>
        <a:graphic>
          <a:graphicData uri="http://schemas.openxmlformats.org/drawingml/2006/table">
            <a:tbl>
              <a:tblPr/>
              <a:tblGrid>
                <a:gridCol w="3200594"/>
                <a:gridCol w="1073053"/>
                <a:gridCol w="1743248"/>
                <a:gridCol w="2008725"/>
                <a:gridCol w="1743246"/>
              </a:tblGrid>
              <a:tr h="871646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형질</a:t>
                      </a:r>
                    </a:p>
                  </a:txBody>
                  <a:tcPr marL="106934" marR="106934" marT="50408" marB="50408" anchor="ctr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26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단위</a:t>
                      </a:r>
                    </a:p>
                  </a:txBody>
                  <a:tcPr marL="106934" marR="106934" marT="50408" marB="5040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6.25%</a:t>
                      </a:r>
                    </a:p>
                  </a:txBody>
                  <a:tcPr marL="106934" marR="106934" marT="50408" marB="5040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2.5%</a:t>
                      </a:r>
                    </a:p>
                  </a:txBody>
                  <a:tcPr marL="106934" marR="106934" marT="50408" marB="5040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2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5%</a:t>
                      </a:r>
                    </a:p>
                  </a:txBody>
                  <a:tcPr marL="106934" marR="106934" marT="50408" marB="5040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</a:tr>
              <a:tr h="428821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  </a:t>
                      </a:r>
                      <a:r>
                        <a:rPr kumimoji="1" lang="ko-KR" altLang="en-US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유 량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2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  생시 체중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2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  일년 시 체중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2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  </a:t>
                      </a:r>
                      <a:r>
                        <a:rPr kumimoji="1" lang="ko-KR" altLang="en-US" sz="26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공태기간</a:t>
                      </a:r>
                      <a:endParaRPr kumimoji="1" lang="ko-KR" altLang="en-US" sz="2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2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   폐 사 율</a:t>
                      </a:r>
                    </a:p>
                    <a:p>
                      <a:pPr marL="0" marR="0" lvl="0" indent="0" algn="l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(</a:t>
                      </a:r>
                      <a:r>
                        <a:rPr kumimoji="1" lang="ko-KR" altLang="en-US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비근친 </a:t>
                      </a:r>
                      <a:r>
                        <a:rPr kumimoji="1" lang="en-US" altLang="ko-KR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00 </a:t>
                      </a:r>
                      <a:r>
                        <a:rPr kumimoji="1" lang="ko-KR" altLang="en-US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기준</a:t>
                      </a:r>
                      <a:r>
                        <a:rPr kumimoji="1" lang="en-US" altLang="ko-KR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)</a:t>
                      </a:r>
                    </a:p>
                  </a:txBody>
                  <a:tcPr marL="106934" marR="106934" marT="50408" marB="50408" anchor="ctr" horzOverflow="overflow">
                    <a:lnL cap="flat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Kg</a:t>
                      </a: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2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Kg</a:t>
                      </a: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2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kg</a:t>
                      </a: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2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ko-KR" altLang="en-US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일</a:t>
                      </a: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ko-KR" altLang="en-US" sz="2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%</a:t>
                      </a: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2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6934" marR="106934" marT="50408" marB="5040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238 </a:t>
                      </a: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2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0.7</a:t>
                      </a: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2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4.5</a:t>
                      </a: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2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2.5</a:t>
                      </a: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2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12</a:t>
                      </a: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2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hlink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6934" marR="106934" marT="50408" marB="5040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566</a:t>
                      </a: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2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1.4</a:t>
                      </a: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2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11.4</a:t>
                      </a: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2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25</a:t>
                      </a: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2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25</a:t>
                      </a: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2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hlink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6934" marR="106934" marT="50408" marB="5040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1,133</a:t>
                      </a: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2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2.7</a:t>
                      </a: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2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-27.3</a:t>
                      </a: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2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50</a:t>
                      </a: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2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1" lang="en-US" altLang="ko-KR" sz="26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0000"/>
                          </a:solidFill>
                          <a:effectLst/>
                          <a:latin typeface="맑은 고딕" pitchFamily="50" charset="-127"/>
                          <a:ea typeface="맑은 고딕" pitchFamily="50" charset="-127"/>
                        </a:rPr>
                        <a:t>150</a:t>
                      </a:r>
                    </a:p>
                    <a:p>
                      <a:pPr marL="0" marR="0" lvl="0" indent="0" algn="ctr" defTabSz="914400" rtl="0" eaLnBrk="1" fontAlgn="base" latinLnBrk="1" hangingPunct="1">
                        <a:lnSpc>
                          <a:spcPct val="8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1" lang="en-US" altLang="ko-KR" sz="26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hlink"/>
                        </a:solidFill>
                        <a:effectLst/>
                        <a:latin typeface="맑은 고딕" pitchFamily="50" charset="-127"/>
                        <a:ea typeface="맑은 고딕" pitchFamily="50" charset="-127"/>
                      </a:endParaRPr>
                    </a:p>
                  </a:txBody>
                  <a:tcPr marL="106934" marR="106934" marT="50408" marB="50408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1464" name="Text Box 24"/>
          <p:cNvSpPr txBox="1">
            <a:spLocks noChangeArrowheads="1"/>
          </p:cNvSpPr>
          <p:nvPr/>
        </p:nvSpPr>
        <p:spPr bwMode="auto">
          <a:xfrm>
            <a:off x="577383" y="1148200"/>
            <a:ext cx="3380614" cy="520435"/>
          </a:xfrm>
          <a:prstGeom prst="rect">
            <a:avLst/>
          </a:prstGeom>
          <a:solidFill>
            <a:srgbClr val="0070C0"/>
          </a:solidFill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none" lIns="103922" tIns="51961" rIns="103922" bIns="51961">
            <a:spAutoFit/>
          </a:bodyPr>
          <a:lstStyle/>
          <a:p>
            <a:pPr latinLnBrk="0">
              <a:defRPr/>
            </a:pPr>
            <a:r>
              <a:rPr kumimoji="0" lang="ko-KR" altLang="en-US" sz="2700" b="1" dirty="0">
                <a:ln w="1905"/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근친계수 </a:t>
            </a:r>
            <a:r>
              <a:rPr kumimoji="0" lang="en-US" altLang="ko-KR" sz="2700" b="1" dirty="0">
                <a:ln w="1905"/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1% </a:t>
            </a:r>
            <a:r>
              <a:rPr kumimoji="0" lang="ko-KR" altLang="en-US" sz="2700" b="1" dirty="0" err="1">
                <a:ln w="1905"/>
                <a:solidFill>
                  <a:srgbClr val="FFFFFF"/>
                </a:solidFill>
                <a:latin typeface="맑은 고딕" pitchFamily="50" charset="-127"/>
                <a:ea typeface="맑은 고딕" pitchFamily="50" charset="-127"/>
              </a:rPr>
              <a:t>상승시</a:t>
            </a:r>
            <a:endParaRPr kumimoji="0" lang="ko-KR" altLang="en-US" sz="2700" b="1" dirty="0">
              <a:ln w="1905"/>
              <a:solidFill>
                <a:srgbClr val="FFFFFF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5" name="AutoShape 28" descr="한우"/>
          <p:cNvSpPr>
            <a:spLocks noChangeArrowheads="1"/>
          </p:cNvSpPr>
          <p:nvPr/>
        </p:nvSpPr>
        <p:spPr bwMode="auto">
          <a:xfrm>
            <a:off x="9367889" y="199535"/>
            <a:ext cx="1050775" cy="943408"/>
          </a:xfrm>
          <a:prstGeom prst="roundRect">
            <a:avLst>
              <a:gd name="adj" fmla="val 8977"/>
            </a:avLst>
          </a:prstGeom>
          <a:blipFill dpi="0" rotWithShape="0">
            <a:blip r:embed="rId2" cstate="screen"/>
            <a:srcRect/>
            <a:stretch>
              <a:fillRect/>
            </a:stretch>
          </a:blipFill>
          <a:ln w="9525">
            <a:solidFill>
              <a:srgbClr val="7C7B3E"/>
            </a:solidFill>
            <a:round/>
            <a:headEnd/>
            <a:tailEnd/>
          </a:ln>
          <a:effectLst>
            <a:outerShdw dist="35921" dir="2700000" algn="ctr" rotWithShape="0">
              <a:schemeClr val="bg1">
                <a:lumMod val="50000"/>
              </a:schemeClr>
            </a:outerShdw>
          </a:effectLst>
        </p:spPr>
        <p:txBody>
          <a:bodyPr wrap="none" lIns="103922" tIns="51961" rIns="103922" bIns="53190" anchor="ctr"/>
          <a:lstStyle/>
          <a:p>
            <a:pPr algn="r" latinLnBrk="0">
              <a:lnSpc>
                <a:spcPct val="130000"/>
              </a:lnSpc>
              <a:spcBef>
                <a:spcPct val="20000"/>
              </a:spcBef>
              <a:defRPr/>
            </a:pPr>
            <a:endParaRPr kumimoji="0" lang="ko-KR" altLang="en-US" sz="2100">
              <a:solidFill>
                <a:srgbClr val="000000"/>
              </a:solidFill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58114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60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560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560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0" y="0"/>
          <a:ext cx="10693400" cy="757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7238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T="45672" marB="4567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79876" name="Rectangle 1"/>
          <p:cNvSpPr>
            <a:spLocks noChangeArrowheads="1"/>
          </p:cNvSpPr>
          <p:nvPr/>
        </p:nvSpPr>
        <p:spPr bwMode="auto">
          <a:xfrm>
            <a:off x="17" y="121097"/>
            <a:ext cx="183890" cy="215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024" tIns="45513" rIns="91024" bIns="45513" anchor="ctr">
            <a:spAutoFit/>
          </a:bodyPr>
          <a:lstStyle/>
          <a:p>
            <a:endParaRPr lang="ko-KR" altLang="en-US"/>
          </a:p>
        </p:txBody>
      </p:sp>
      <p:sp>
        <p:nvSpPr>
          <p:cNvPr id="79877" name="Rectangle 2"/>
          <p:cNvSpPr>
            <a:spLocks noChangeArrowheads="1"/>
          </p:cNvSpPr>
          <p:nvPr/>
        </p:nvSpPr>
        <p:spPr bwMode="auto">
          <a:xfrm>
            <a:off x="17" y="121097"/>
            <a:ext cx="183890" cy="215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024" tIns="45513" rIns="91024" bIns="45513" anchor="ctr">
            <a:spAutoFit/>
          </a:bodyPr>
          <a:lstStyle/>
          <a:p>
            <a:endParaRPr lang="ko-KR" altLang="en-US"/>
          </a:p>
        </p:txBody>
      </p:sp>
      <p:sp>
        <p:nvSpPr>
          <p:cNvPr id="6" name="AutoShape 17" descr="그림1"/>
          <p:cNvSpPr>
            <a:spLocks noChangeArrowheads="1"/>
          </p:cNvSpPr>
          <p:nvPr/>
        </p:nvSpPr>
        <p:spPr bwMode="auto">
          <a:xfrm>
            <a:off x="1071565" y="3016277"/>
            <a:ext cx="9045574" cy="1439863"/>
          </a:xfrm>
          <a:prstGeom prst="roundRect">
            <a:avLst>
              <a:gd name="adj" fmla="val 16667"/>
            </a:avLst>
          </a:prstGeom>
          <a:solidFill>
            <a:srgbClr val="0000FF"/>
          </a:solidFill>
          <a:ln w="9525">
            <a:noFill/>
            <a:round/>
            <a:headEnd/>
            <a:tailEnd/>
          </a:ln>
        </p:spPr>
        <p:txBody>
          <a:bodyPr wrap="none" lIns="1164640" tIns="45513" rIns="91024" bIns="45513" anchor="ctr"/>
          <a:lstStyle/>
          <a:p>
            <a:r>
              <a:rPr lang="ko-KR" altLang="en-US" sz="4000" b="1" dirty="0">
                <a:solidFill>
                  <a:schemeClr val="bg1"/>
                </a:solidFill>
                <a:latin typeface="HY헤드라인M" pitchFamily="18" charset="-127"/>
                <a:ea typeface="HY헤드라인M" pitchFamily="18" charset="-127"/>
              </a:rPr>
              <a:t>  암소 유전능력평가 결과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0" y="0"/>
          <a:ext cx="10693400" cy="757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7238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T="45672" marB="4567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116740" name="Rectangle 1"/>
          <p:cNvSpPr>
            <a:spLocks noChangeArrowheads="1"/>
          </p:cNvSpPr>
          <p:nvPr/>
        </p:nvSpPr>
        <p:spPr bwMode="auto">
          <a:xfrm>
            <a:off x="17" y="121106"/>
            <a:ext cx="183858" cy="215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08" tIns="45505" rIns="91008" bIns="45505" anchor="ctr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ko-KR" altLang="en-US" sz="800">
              <a:solidFill>
                <a:schemeClr val="tx1"/>
              </a:solidFill>
              <a:latin typeface="Trebuchet MS" pitchFamily="34" charset="0"/>
            </a:endParaRPr>
          </a:p>
        </p:txBody>
      </p:sp>
      <p:sp>
        <p:nvSpPr>
          <p:cNvPr id="116741" name="Rectangle 2"/>
          <p:cNvSpPr>
            <a:spLocks noChangeArrowheads="1"/>
          </p:cNvSpPr>
          <p:nvPr/>
        </p:nvSpPr>
        <p:spPr bwMode="auto">
          <a:xfrm>
            <a:off x="17" y="121106"/>
            <a:ext cx="183858" cy="215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08" tIns="45505" rIns="91008" bIns="45505" anchor="ctr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ko-KR" altLang="en-US" sz="800">
              <a:solidFill>
                <a:schemeClr val="tx1"/>
              </a:solidFill>
              <a:latin typeface="Trebuchet MS" pitchFamily="34" charset="0"/>
            </a:endParaRPr>
          </a:p>
        </p:txBody>
      </p:sp>
      <p:pic>
        <p:nvPicPr>
          <p:cNvPr id="116742" name="_x101754312" descr="EMB00000b68be8d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6501" y="2339979"/>
            <a:ext cx="8423274" cy="216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3"/>
          <p:cNvSpPr>
            <a:spLocks noChangeArrowheads="1"/>
          </p:cNvSpPr>
          <p:nvPr/>
        </p:nvSpPr>
        <p:spPr bwMode="auto">
          <a:xfrm>
            <a:off x="1574816" y="1190984"/>
            <a:ext cx="7273925" cy="649287"/>
          </a:xfrm>
          <a:prstGeom prst="rect">
            <a:avLst/>
          </a:prstGeom>
          <a:solidFill>
            <a:srgbClr val="92D050"/>
          </a:solidFill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lIns="91008" tIns="45505" rIns="91008" bIns="45505" anchor="ctr"/>
          <a:lstStyle/>
          <a:p>
            <a:pPr>
              <a:defRPr/>
            </a:pPr>
            <a:endParaRPr lang="ko-KR" altLang="en-US"/>
          </a:p>
        </p:txBody>
      </p:sp>
      <p:sp>
        <p:nvSpPr>
          <p:cNvPr id="10" name="Rectangle 4"/>
          <p:cNvSpPr txBox="1">
            <a:spLocks noChangeArrowheads="1"/>
          </p:cNvSpPr>
          <p:nvPr/>
        </p:nvSpPr>
        <p:spPr bwMode="auto">
          <a:xfrm>
            <a:off x="1790685" y="1170343"/>
            <a:ext cx="6958012" cy="633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7961" dir="2700000" algn="ctr" rotWithShape="0">
              <a:schemeClr val="bg1"/>
            </a:outerShdw>
          </a:effectLst>
        </p:spPr>
        <p:txBody>
          <a:bodyPr lIns="91008" tIns="45505" rIns="91008" bIns="45505" anchor="ctr"/>
          <a:lstStyle/>
          <a:p>
            <a:pPr>
              <a:defRPr/>
            </a:pPr>
            <a:r>
              <a:rPr kumimoji="0" lang="ko-KR" altLang="en-US" sz="3700" b="1" kern="0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HY헤드라인M" pitchFamily="18" charset="-127"/>
                <a:ea typeface="HY헤드라인M" pitchFamily="18" charset="-127"/>
                <a:cs typeface="+mj-cs"/>
              </a:rPr>
              <a:t>유전능력</a:t>
            </a:r>
            <a:r>
              <a:rPr kumimoji="0" lang="en-US" altLang="ko-KR" sz="3700" b="1" kern="0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HY헤드라인M" pitchFamily="18" charset="-127"/>
                <a:ea typeface="HY헤드라인M" pitchFamily="18" charset="-127"/>
                <a:cs typeface="+mj-cs"/>
              </a:rPr>
              <a:t>(</a:t>
            </a:r>
            <a:r>
              <a:rPr kumimoji="0" lang="ko-KR" altLang="en-US" sz="3700" b="1" kern="0" dirty="0" err="1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HY헤드라인M" pitchFamily="18" charset="-127"/>
                <a:ea typeface="HY헤드라인M" pitchFamily="18" charset="-127"/>
                <a:cs typeface="+mj-cs"/>
              </a:rPr>
              <a:t>육종가</a:t>
            </a:r>
            <a:r>
              <a:rPr kumimoji="0" lang="en-US" altLang="ko-KR" sz="3700" b="1" kern="0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HY헤드라인M" pitchFamily="18" charset="-127"/>
                <a:ea typeface="HY헤드라인M" pitchFamily="18" charset="-127"/>
                <a:cs typeface="+mj-cs"/>
              </a:rPr>
              <a:t>)</a:t>
            </a:r>
            <a:r>
              <a:rPr kumimoji="0" lang="ko-KR" altLang="en-US" sz="3700" b="1" kern="0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HY헤드라인M" pitchFamily="18" charset="-127"/>
                <a:ea typeface="HY헤드라인M" pitchFamily="18" charset="-127"/>
                <a:cs typeface="+mj-cs"/>
              </a:rPr>
              <a:t>이란</a:t>
            </a:r>
            <a:r>
              <a:rPr kumimoji="0" lang="en-US" altLang="ko-KR" sz="3700" b="1" kern="0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HY헤드라인M" pitchFamily="18" charset="-127"/>
                <a:ea typeface="HY헤드라인M" pitchFamily="18" charset="-127"/>
                <a:cs typeface="+mj-cs"/>
              </a:rPr>
              <a:t>? </a:t>
            </a:r>
            <a:endParaRPr kumimoji="0" lang="ko-KR" altLang="en-US" sz="3700" b="1" kern="0" dirty="0">
              <a:ln w="17780" cmpd="sng">
                <a:solidFill>
                  <a:srgbClr val="FFFFFF"/>
                </a:solidFill>
                <a:prstDash val="solid"/>
                <a:miter lim="800000"/>
              </a:ln>
              <a:gradFill rotWithShape="1">
                <a:gsLst>
                  <a:gs pos="0">
                    <a:srgbClr val="000000">
                      <a:tint val="92000"/>
                      <a:shade val="100000"/>
                      <a:satMod val="150000"/>
                    </a:srgbClr>
                  </a:gs>
                  <a:gs pos="49000">
                    <a:srgbClr val="000000">
                      <a:tint val="89000"/>
                      <a:shade val="90000"/>
                      <a:satMod val="150000"/>
                    </a:srgbClr>
                  </a:gs>
                  <a:gs pos="50000">
                    <a:srgbClr val="000000">
                      <a:tint val="100000"/>
                      <a:shade val="75000"/>
                      <a:satMod val="150000"/>
                    </a:srgbClr>
                  </a:gs>
                  <a:gs pos="95000">
                    <a:srgbClr val="000000">
                      <a:shade val="47000"/>
                      <a:satMod val="150000"/>
                    </a:srgbClr>
                  </a:gs>
                  <a:gs pos="100000">
                    <a:srgbClr val="000000">
                      <a:shade val="39000"/>
                      <a:satMod val="150000"/>
                    </a:srgbClr>
                  </a:gs>
                </a:gsLst>
                <a:lin ang="5400000"/>
              </a:gradFill>
              <a:effectLst>
                <a:outerShdw blurRad="50800" algn="tl" rotWithShape="0">
                  <a:srgbClr val="000000"/>
                </a:outerShdw>
              </a:effectLst>
              <a:latin typeface="HY헤드라인M" pitchFamily="18" charset="-127"/>
              <a:ea typeface="HY헤드라인M" pitchFamily="18" charset="-127"/>
              <a:cs typeface="+mj-cs"/>
            </a:endParaRPr>
          </a:p>
        </p:txBody>
      </p:sp>
      <p:sp>
        <p:nvSpPr>
          <p:cNvPr id="11" name="직사각형 10"/>
          <p:cNvSpPr/>
          <p:nvPr/>
        </p:nvSpPr>
        <p:spPr bwMode="auto">
          <a:xfrm>
            <a:off x="1116014" y="4873625"/>
            <a:ext cx="2025650" cy="2192338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91008" tIns="45505" rIns="91008" bIns="45505" anchor="ctr"/>
          <a:lstStyle/>
          <a:p>
            <a:pPr algn="ctr" latinLnBrk="0">
              <a:defRPr/>
            </a:pPr>
            <a:r>
              <a:rPr kumimoji="0" lang="ko-KR" altLang="en-US" sz="2400" dirty="0" err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도체중</a:t>
            </a:r>
            <a:endParaRPr kumimoji="0" lang="en-US" altLang="ko-KR" sz="2400" dirty="0">
              <a:solidFill>
                <a:schemeClr val="tx1"/>
              </a:solidFill>
              <a:latin typeface="HY헤드라인M" pitchFamily="18" charset="-127"/>
              <a:ea typeface="HY헤드라인M" pitchFamily="18" charset="-127"/>
            </a:endParaRPr>
          </a:p>
          <a:p>
            <a:pPr algn="ctr" latinLnBrk="0">
              <a:defRPr/>
            </a:pPr>
            <a:r>
              <a:rPr kumimoji="0" lang="ko-KR" altLang="en-US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등심단면적</a:t>
            </a:r>
            <a:endParaRPr kumimoji="0" lang="en-US" altLang="ko-KR" sz="2400" dirty="0">
              <a:solidFill>
                <a:schemeClr val="tx1"/>
              </a:solidFill>
              <a:latin typeface="HY헤드라인M" pitchFamily="18" charset="-127"/>
              <a:ea typeface="HY헤드라인M" pitchFamily="18" charset="-127"/>
            </a:endParaRPr>
          </a:p>
          <a:p>
            <a:pPr algn="ctr" latinLnBrk="0">
              <a:defRPr/>
            </a:pPr>
            <a:r>
              <a:rPr kumimoji="0" lang="ko-KR" altLang="en-US" sz="2400" dirty="0" err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등지방두께</a:t>
            </a:r>
            <a:endParaRPr kumimoji="0" lang="en-US" altLang="ko-KR" sz="2400" dirty="0">
              <a:solidFill>
                <a:schemeClr val="tx1"/>
              </a:solidFill>
              <a:latin typeface="HY헤드라인M" pitchFamily="18" charset="-127"/>
              <a:ea typeface="HY헤드라인M" pitchFamily="18" charset="-127"/>
            </a:endParaRPr>
          </a:p>
          <a:p>
            <a:pPr algn="ctr" latinLnBrk="0">
              <a:defRPr/>
            </a:pPr>
            <a:r>
              <a:rPr kumimoji="0" lang="ko-KR" altLang="en-US" sz="2400" dirty="0" err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근내지방도</a:t>
            </a:r>
            <a:endParaRPr kumimoji="0" lang="en-US" altLang="ko-KR" sz="2400" dirty="0">
              <a:solidFill>
                <a:schemeClr val="tx1"/>
              </a:solidFill>
              <a:latin typeface="HY헤드라인M" pitchFamily="18" charset="-127"/>
              <a:ea typeface="HY헤드라인M" pitchFamily="18" charset="-127"/>
            </a:endParaRPr>
          </a:p>
          <a:p>
            <a:pPr algn="ctr" latinLnBrk="0">
              <a:defRPr/>
            </a:pPr>
            <a:r>
              <a:rPr kumimoji="0" lang="ko-KR" altLang="en-US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체형성적</a:t>
            </a:r>
            <a:endParaRPr kumimoji="0" lang="en-US" altLang="ko-KR" sz="2400" dirty="0">
              <a:solidFill>
                <a:schemeClr val="tx1"/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12" name="직사각형 11"/>
          <p:cNvSpPr/>
          <p:nvPr/>
        </p:nvSpPr>
        <p:spPr bwMode="auto">
          <a:xfrm>
            <a:off x="7011988" y="4860925"/>
            <a:ext cx="3060700" cy="2520106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91008" tIns="45505" rIns="91008" bIns="45505" anchor="ctr"/>
          <a:lstStyle/>
          <a:p>
            <a:pPr marL="284395" indent="-284395" latinLnBrk="0">
              <a:buFont typeface="Wingdings" pitchFamily="2" charset="2"/>
              <a:buChar char="v"/>
              <a:defRPr/>
            </a:pPr>
            <a:r>
              <a:rPr kumimoji="0" lang="ko-KR" altLang="en-US" sz="2400" dirty="0">
                <a:solidFill>
                  <a:srgbClr val="FF0000"/>
                </a:solidFill>
                <a:latin typeface="HY헤드라인M" pitchFamily="18" charset="-127"/>
                <a:ea typeface="HY헤드라인M" pitchFamily="18" charset="-127"/>
              </a:rPr>
              <a:t>일시적 효과</a:t>
            </a:r>
            <a:r>
              <a:rPr kumimoji="0" lang="en-US" altLang="ko-KR" sz="2400" dirty="0">
                <a:solidFill>
                  <a:srgbClr val="FF0000"/>
                </a:solidFill>
                <a:latin typeface="HY헤드라인M" pitchFamily="18" charset="-127"/>
                <a:ea typeface="HY헤드라인M" pitchFamily="18" charset="-127"/>
              </a:rPr>
              <a:t>(</a:t>
            </a:r>
            <a:r>
              <a:rPr kumimoji="0" lang="ko-KR" altLang="en-US" sz="2400" dirty="0">
                <a:solidFill>
                  <a:srgbClr val="FF0000"/>
                </a:solidFill>
                <a:latin typeface="HY헤드라인M" pitchFamily="18" charset="-127"/>
                <a:ea typeface="HY헤드라인M" pitchFamily="18" charset="-127"/>
              </a:rPr>
              <a:t>전달</a:t>
            </a:r>
            <a:r>
              <a:rPr kumimoji="0" lang="en-US" altLang="ko-KR" sz="2400" dirty="0">
                <a:solidFill>
                  <a:srgbClr val="FF0000"/>
                </a:solidFill>
                <a:latin typeface="HY헤드라인M" pitchFamily="18" charset="-127"/>
                <a:ea typeface="HY헤드라인M" pitchFamily="18" charset="-127"/>
              </a:rPr>
              <a:t>x)</a:t>
            </a:r>
          </a:p>
          <a:p>
            <a:pPr marL="284395" indent="-284395" latinLnBrk="0">
              <a:buFont typeface="Wingdings" pitchFamily="2" charset="2"/>
              <a:buChar char="v"/>
              <a:defRPr/>
            </a:pPr>
            <a:r>
              <a:rPr kumimoji="0" lang="ko-KR" altLang="en-US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개체</a:t>
            </a:r>
            <a:endParaRPr kumimoji="0" lang="en-US" altLang="ko-KR" sz="2400" dirty="0">
              <a:solidFill>
                <a:schemeClr val="tx1"/>
              </a:solidFill>
              <a:latin typeface="HY헤드라인M" pitchFamily="18" charset="-127"/>
              <a:ea typeface="HY헤드라인M" pitchFamily="18" charset="-127"/>
            </a:endParaRPr>
          </a:p>
          <a:p>
            <a:pPr latinLnBrk="0">
              <a:defRPr/>
            </a:pPr>
            <a:r>
              <a:rPr kumimoji="0" lang="ko-KR" altLang="en-US" sz="21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 </a:t>
            </a:r>
            <a:r>
              <a:rPr kumimoji="0" lang="en-US" altLang="ko-KR" sz="21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- </a:t>
            </a:r>
            <a:r>
              <a:rPr kumimoji="0" lang="ko-KR" altLang="en-US" sz="2100" dirty="0" err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월령</a:t>
            </a:r>
            <a:r>
              <a:rPr kumimoji="0" lang="en-US" altLang="ko-KR" sz="21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kumimoji="0" lang="ko-KR" altLang="en-US" sz="2100" dirty="0" err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산차</a:t>
            </a:r>
            <a:r>
              <a:rPr kumimoji="0" lang="en-US" altLang="ko-KR" sz="21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kumimoji="0" lang="ko-KR" altLang="en-US" sz="21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성별 등</a:t>
            </a:r>
            <a:endParaRPr kumimoji="0" lang="en-US" altLang="ko-KR" sz="2100" dirty="0">
              <a:solidFill>
                <a:schemeClr val="tx1"/>
              </a:solidFill>
              <a:latin typeface="HY헤드라인M" pitchFamily="18" charset="-127"/>
              <a:ea typeface="HY헤드라인M" pitchFamily="18" charset="-127"/>
            </a:endParaRPr>
          </a:p>
          <a:p>
            <a:pPr latinLnBrk="0">
              <a:defRPr/>
            </a:pPr>
            <a:endParaRPr kumimoji="0" lang="en-US" altLang="ko-KR" sz="1000" dirty="0">
              <a:solidFill>
                <a:schemeClr val="tx1"/>
              </a:solidFill>
              <a:latin typeface="HY헤드라인M" pitchFamily="18" charset="-127"/>
              <a:ea typeface="HY헤드라인M" pitchFamily="18" charset="-127"/>
            </a:endParaRPr>
          </a:p>
          <a:p>
            <a:pPr marL="284395" indent="-284395" latinLnBrk="0">
              <a:buFont typeface="Wingdings" pitchFamily="2" charset="2"/>
              <a:buChar char="v"/>
              <a:defRPr/>
            </a:pPr>
            <a:r>
              <a:rPr kumimoji="0" lang="ko-KR" altLang="en-US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사양관리</a:t>
            </a:r>
            <a:endParaRPr kumimoji="0" lang="en-US" altLang="ko-KR" sz="2400" dirty="0">
              <a:solidFill>
                <a:schemeClr val="tx1"/>
              </a:solidFill>
              <a:latin typeface="HY헤드라인M" pitchFamily="18" charset="-127"/>
              <a:ea typeface="HY헤드라인M" pitchFamily="18" charset="-127"/>
            </a:endParaRPr>
          </a:p>
          <a:p>
            <a:pPr marL="284395" indent="-284395" latinLnBrk="0">
              <a:buFont typeface="Wingdings" pitchFamily="2" charset="2"/>
              <a:buChar char="v"/>
              <a:defRPr/>
            </a:pPr>
            <a:r>
              <a:rPr kumimoji="0" lang="ko-KR" altLang="en-US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사료영양</a:t>
            </a:r>
            <a:endParaRPr kumimoji="0" lang="en-US" altLang="ko-KR" sz="2400" dirty="0">
              <a:solidFill>
                <a:schemeClr val="tx1"/>
              </a:solidFill>
              <a:latin typeface="HY헤드라인M" pitchFamily="18" charset="-127"/>
              <a:ea typeface="HY헤드라인M" pitchFamily="18" charset="-127"/>
            </a:endParaRPr>
          </a:p>
          <a:p>
            <a:pPr marL="284395" indent="-284395" latinLnBrk="0">
              <a:buFont typeface="Wingdings" pitchFamily="2" charset="2"/>
              <a:buChar char="v"/>
              <a:defRPr/>
            </a:pPr>
            <a:r>
              <a:rPr kumimoji="0" lang="ko-KR" altLang="en-US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우사환경</a:t>
            </a:r>
            <a:endParaRPr kumimoji="0" lang="en-US" altLang="ko-KR" sz="2100" dirty="0">
              <a:solidFill>
                <a:schemeClr val="tx1"/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13" name="Text Box 8"/>
          <p:cNvSpPr txBox="1">
            <a:spLocks noChangeArrowheads="1"/>
          </p:cNvSpPr>
          <p:nvPr/>
        </p:nvSpPr>
        <p:spPr bwMode="auto">
          <a:xfrm>
            <a:off x="3" y="217493"/>
            <a:ext cx="6877050" cy="446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86683" tIns="0" rIns="0" bIns="0">
            <a:spAutoFit/>
          </a:bodyPr>
          <a:lstStyle/>
          <a:p>
            <a:pPr>
              <a:defRPr/>
            </a:pPr>
            <a:r>
              <a:rPr lang="ko-KR" altLang="en-US" sz="29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유전능력이란</a:t>
            </a:r>
            <a:r>
              <a:rPr lang="en-US" altLang="ko-KR" sz="29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?</a:t>
            </a:r>
            <a:endParaRPr lang="ko-KR" altLang="en-US" sz="29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14" name="Rectangle 124"/>
          <p:cNvSpPr>
            <a:spLocks noChangeArrowheads="1"/>
          </p:cNvSpPr>
          <p:nvPr/>
        </p:nvSpPr>
        <p:spPr bwMode="auto">
          <a:xfrm>
            <a:off x="4841874" y="4050661"/>
            <a:ext cx="1152525" cy="655638"/>
          </a:xfrm>
          <a:prstGeom prst="rect">
            <a:avLst/>
          </a:prstGeom>
          <a:gradFill rotWithShape="0">
            <a:gsLst>
              <a:gs pos="0">
                <a:srgbClr val="CC9900"/>
              </a:gs>
              <a:gs pos="50000">
                <a:srgbClr val="FFFFFF"/>
              </a:gs>
              <a:gs pos="100000">
                <a:srgbClr val="CC9900"/>
              </a:gs>
            </a:gsLst>
            <a:lin ang="5400000" scaled="1"/>
          </a:gradFill>
          <a:ln w="57150" cmpd="thinThick">
            <a:solidFill>
              <a:srgbClr val="6633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040" tIns="45521" rIns="91040" bIns="45521" anchor="ctr"/>
          <a:lstStyle>
            <a:lvl1pPr algn="l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algn="l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algn="l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algn="l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algn="l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/>
            <a:r>
              <a:rPr lang="en-US" altLang="ko-KR" sz="2900" dirty="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</a:rPr>
              <a:t>30%</a:t>
            </a:r>
          </a:p>
        </p:txBody>
      </p:sp>
      <p:sp>
        <p:nvSpPr>
          <p:cNvPr id="15" name="Rectangle 124"/>
          <p:cNvSpPr>
            <a:spLocks noChangeArrowheads="1"/>
          </p:cNvSpPr>
          <p:nvPr/>
        </p:nvSpPr>
        <p:spPr bwMode="auto">
          <a:xfrm>
            <a:off x="7966075" y="4054946"/>
            <a:ext cx="1152525" cy="655638"/>
          </a:xfrm>
          <a:prstGeom prst="rect">
            <a:avLst/>
          </a:prstGeom>
          <a:gradFill rotWithShape="0">
            <a:gsLst>
              <a:gs pos="0">
                <a:srgbClr val="CC9900"/>
              </a:gs>
              <a:gs pos="50000">
                <a:srgbClr val="FFFFFF"/>
              </a:gs>
              <a:gs pos="100000">
                <a:srgbClr val="CC9900"/>
              </a:gs>
            </a:gsLst>
            <a:lin ang="5400000" scaled="1"/>
          </a:gradFill>
          <a:ln w="57150" cmpd="thinThick">
            <a:solidFill>
              <a:srgbClr val="6633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040" tIns="45521" rIns="91040" bIns="45521" anchor="ctr"/>
          <a:lstStyle>
            <a:lvl1pPr algn="l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algn="l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algn="l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algn="l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algn="l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/>
            <a:r>
              <a:rPr lang="en-US" altLang="ko-KR" sz="2900" dirty="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</a:rPr>
              <a:t>70%</a:t>
            </a:r>
          </a:p>
        </p:txBody>
      </p:sp>
      <p:sp>
        <p:nvSpPr>
          <p:cNvPr id="16" name="직사각형 15"/>
          <p:cNvSpPr/>
          <p:nvPr/>
        </p:nvSpPr>
        <p:spPr bwMode="auto">
          <a:xfrm>
            <a:off x="3887787" y="4854381"/>
            <a:ext cx="3060700" cy="2076600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91008" tIns="45505" rIns="91008" bIns="45505" anchor="ctr"/>
          <a:lstStyle/>
          <a:p>
            <a:pPr marL="284395" indent="-284395" latinLnBrk="0">
              <a:buFont typeface="Wingdings" pitchFamily="2" charset="2"/>
              <a:buChar char="v"/>
              <a:defRPr/>
            </a:pPr>
            <a:r>
              <a:rPr kumimoji="0" lang="en-US" altLang="ko-KR" sz="2400" dirty="0">
                <a:solidFill>
                  <a:srgbClr val="FF0000"/>
                </a:solidFill>
                <a:latin typeface="HY헤드라인M" pitchFamily="18" charset="-127"/>
                <a:ea typeface="HY헤드라인M" pitchFamily="18" charset="-127"/>
              </a:rPr>
              <a:t>60</a:t>
            </a:r>
            <a:r>
              <a:rPr kumimoji="0" lang="ko-KR" altLang="en-US" sz="2400" dirty="0">
                <a:solidFill>
                  <a:srgbClr val="FF0000"/>
                </a:solidFill>
                <a:latin typeface="HY헤드라인M" pitchFamily="18" charset="-127"/>
                <a:ea typeface="HY헤드라인M" pitchFamily="18" charset="-127"/>
              </a:rPr>
              <a:t>개 </a:t>
            </a:r>
            <a:r>
              <a:rPr kumimoji="0" lang="ko-KR" altLang="en-US" sz="2400" dirty="0" err="1">
                <a:solidFill>
                  <a:srgbClr val="FF0000"/>
                </a:solidFill>
                <a:latin typeface="HY헤드라인M" pitchFamily="18" charset="-127"/>
                <a:ea typeface="HY헤드라인M" pitchFamily="18" charset="-127"/>
              </a:rPr>
              <a:t>염색체안에</a:t>
            </a:r>
            <a:r>
              <a:rPr kumimoji="0" lang="ko-KR" altLang="en-US" sz="2400" dirty="0">
                <a:solidFill>
                  <a:srgbClr val="FF0000"/>
                </a:solidFill>
                <a:latin typeface="HY헤드라인M" pitchFamily="18" charset="-127"/>
                <a:ea typeface="HY헤드라인M" pitchFamily="18" charset="-127"/>
              </a:rPr>
              <a:t> 각 </a:t>
            </a:r>
            <a:r>
              <a:rPr kumimoji="0" lang="en-US" altLang="ko-KR" sz="2400" dirty="0">
                <a:solidFill>
                  <a:srgbClr val="FF0000"/>
                </a:solidFill>
                <a:latin typeface="HY헤드라인M" pitchFamily="18" charset="-127"/>
                <a:ea typeface="HY헤드라인M" pitchFamily="18" charset="-127"/>
              </a:rPr>
              <a:t>DNA</a:t>
            </a:r>
            <a:r>
              <a:rPr kumimoji="0" lang="ko-KR" altLang="en-US" sz="2400" dirty="0">
                <a:solidFill>
                  <a:srgbClr val="FF0000"/>
                </a:solidFill>
                <a:latin typeface="HY헤드라인M" pitchFamily="18" charset="-127"/>
                <a:ea typeface="HY헤드라인M" pitchFamily="18" charset="-127"/>
              </a:rPr>
              <a:t> 효과의 합</a:t>
            </a:r>
            <a:endParaRPr kumimoji="0" lang="en-US" altLang="ko-KR" sz="2400" dirty="0">
              <a:solidFill>
                <a:srgbClr val="FF0000"/>
              </a:solidFill>
              <a:latin typeface="HY헤드라인M" pitchFamily="18" charset="-127"/>
              <a:ea typeface="HY헤드라인M" pitchFamily="18" charset="-127"/>
            </a:endParaRPr>
          </a:p>
          <a:p>
            <a:pPr marL="284395" indent="-284395" latinLnBrk="0">
              <a:buFont typeface="Wingdings" pitchFamily="2" charset="2"/>
              <a:buChar char="v"/>
              <a:defRPr/>
            </a:pPr>
            <a:r>
              <a:rPr kumimoji="0" lang="ko-KR" altLang="en-US" sz="2400" dirty="0">
                <a:solidFill>
                  <a:srgbClr val="FF0000"/>
                </a:solidFill>
                <a:latin typeface="HY헤드라인M" pitchFamily="18" charset="-127"/>
                <a:ea typeface="HY헤드라인M" pitchFamily="18" charset="-127"/>
              </a:rPr>
              <a:t>영구적 효과</a:t>
            </a:r>
            <a:endParaRPr kumimoji="0" lang="en-US" altLang="ko-KR" sz="2400" dirty="0">
              <a:solidFill>
                <a:srgbClr val="FF0000"/>
              </a:solidFill>
              <a:latin typeface="HY헤드라인M" pitchFamily="18" charset="-127"/>
              <a:ea typeface="HY헤드라인M" pitchFamily="18" charset="-127"/>
            </a:endParaRPr>
          </a:p>
          <a:p>
            <a:pPr marL="284395" indent="-284395" latinLnBrk="0">
              <a:buFont typeface="Wingdings" pitchFamily="2" charset="2"/>
              <a:buChar char="v"/>
              <a:defRPr/>
            </a:pPr>
            <a:r>
              <a:rPr kumimoji="0" lang="ko-KR" altLang="en-US" sz="2400" dirty="0" err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번식우</a:t>
            </a:r>
            <a:r>
              <a:rPr kumimoji="0" lang="ko-KR" altLang="en-US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 후대에 능력을 </a:t>
            </a:r>
            <a:r>
              <a:rPr kumimoji="0" lang="ko-KR" altLang="en-US" sz="2400" dirty="0" err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대물림해줌</a:t>
            </a:r>
            <a:endParaRPr kumimoji="0" lang="en-US" altLang="ko-KR" sz="2400" dirty="0">
              <a:solidFill>
                <a:schemeClr val="tx1"/>
              </a:solidFill>
              <a:latin typeface="HY헤드라인M" pitchFamily="18" charset="-127"/>
              <a:ea typeface="HY헤드라인M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6053250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Rectangle 3"/>
          <p:cNvSpPr>
            <a:spLocks noChangeArrowheads="1"/>
          </p:cNvSpPr>
          <p:nvPr/>
        </p:nvSpPr>
        <p:spPr bwMode="auto">
          <a:xfrm>
            <a:off x="417742" y="418350"/>
            <a:ext cx="10104563" cy="715869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lIns="103831" tIns="51916" rIns="103831" bIns="51916" anchor="ctr"/>
          <a:lstStyle/>
          <a:p>
            <a:pPr>
              <a:defRPr/>
            </a:pPr>
            <a:endParaRPr lang="ko-KR" altLang="en-US"/>
          </a:p>
        </p:txBody>
      </p:sp>
      <p:sp>
        <p:nvSpPr>
          <p:cNvPr id="124933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914400" y="382588"/>
            <a:ext cx="10067925" cy="6985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ko-KR" altLang="en-US" sz="4100" b="0" dirty="0">
                <a:solidFill>
                  <a:srgbClr val="FFFFFF"/>
                </a:solidFill>
                <a:latin typeface="HY헤드라인M" pitchFamily="18" charset="-127"/>
                <a:ea typeface="HY헤드라인M" pitchFamily="18" charset="-127"/>
              </a:rPr>
              <a:t>한우 개량의 비중도</a:t>
            </a:r>
          </a:p>
        </p:txBody>
      </p:sp>
      <p:sp>
        <p:nvSpPr>
          <p:cNvPr id="29" name="Text Box 2"/>
          <p:cNvSpPr txBox="1">
            <a:spLocks noChangeArrowheads="1"/>
          </p:cNvSpPr>
          <p:nvPr/>
        </p:nvSpPr>
        <p:spPr bwMode="auto">
          <a:xfrm>
            <a:off x="180345" y="5918906"/>
            <a:ext cx="10521950" cy="997398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103831" tIns="51916" rIns="103831" bIns="51916">
            <a:spAutoFit/>
          </a:bodyPr>
          <a:lstStyle/>
          <a:p>
            <a:pPr algn="ctr" eaLnBrk="0" latinLnBrk="0" hangingPunct="0"/>
            <a:r>
              <a:rPr kumimoji="0" lang="ko-KR" altLang="en-US" sz="2900" dirty="0">
                <a:solidFill>
                  <a:srgbClr val="FF0000"/>
                </a:solidFill>
                <a:latin typeface="HY견고딕" pitchFamily="18" charset="-127"/>
                <a:ea typeface="HY견고딕" pitchFamily="18" charset="-127"/>
              </a:rPr>
              <a:t>번식우의 기본적인 자질</a:t>
            </a:r>
            <a:r>
              <a:rPr kumimoji="0" lang="en-US" altLang="ko-KR" sz="2900" dirty="0">
                <a:solidFill>
                  <a:srgbClr val="FF0000"/>
                </a:solidFill>
                <a:latin typeface="HY견고딕" pitchFamily="18" charset="-127"/>
                <a:ea typeface="HY견고딕" pitchFamily="18" charset="-127"/>
              </a:rPr>
              <a:t>(</a:t>
            </a:r>
            <a:r>
              <a:rPr kumimoji="0" lang="ko-KR" altLang="en-US" sz="2900" dirty="0">
                <a:solidFill>
                  <a:srgbClr val="FF0000"/>
                </a:solidFill>
                <a:latin typeface="HY견고딕" pitchFamily="18" charset="-127"/>
                <a:ea typeface="HY견고딕" pitchFamily="18" charset="-127"/>
              </a:rPr>
              <a:t>그릇</a:t>
            </a:r>
            <a:r>
              <a:rPr kumimoji="0" lang="en-US" altLang="ko-KR" sz="2900" dirty="0">
                <a:solidFill>
                  <a:srgbClr val="FF0000"/>
                </a:solidFill>
                <a:latin typeface="HY견고딕" pitchFamily="18" charset="-127"/>
                <a:ea typeface="HY견고딕" pitchFamily="18" charset="-127"/>
              </a:rPr>
              <a:t>)</a:t>
            </a:r>
            <a:r>
              <a:rPr kumimoji="0" lang="ko-KR" altLang="en-US" sz="2900" dirty="0">
                <a:solidFill>
                  <a:srgbClr val="FF0000"/>
                </a:solidFill>
                <a:latin typeface="HY견고딕" pitchFamily="18" charset="-127"/>
                <a:ea typeface="HY견고딕" pitchFamily="18" charset="-127"/>
              </a:rPr>
              <a:t>이 우수해야 </a:t>
            </a:r>
            <a:endParaRPr kumimoji="0" lang="en-US" altLang="ko-KR" sz="2900" dirty="0">
              <a:solidFill>
                <a:srgbClr val="FF0000"/>
              </a:solidFill>
              <a:latin typeface="HY견고딕" pitchFamily="18" charset="-127"/>
              <a:ea typeface="HY견고딕" pitchFamily="18" charset="-127"/>
            </a:endParaRPr>
          </a:p>
          <a:p>
            <a:pPr algn="ctr" eaLnBrk="0" latinLnBrk="0" hangingPunct="0"/>
            <a:r>
              <a:rPr kumimoji="0" lang="ko-KR" altLang="en-US" sz="2900" dirty="0">
                <a:solidFill>
                  <a:srgbClr val="FF0000"/>
                </a:solidFill>
                <a:latin typeface="HY견고딕" pitchFamily="18" charset="-127"/>
                <a:ea typeface="HY견고딕" pitchFamily="18" charset="-127"/>
              </a:rPr>
              <a:t>투자한 </a:t>
            </a:r>
            <a:r>
              <a:rPr kumimoji="0" lang="ko-KR" altLang="en-US" sz="2900" dirty="0" err="1">
                <a:solidFill>
                  <a:srgbClr val="FF0000"/>
                </a:solidFill>
                <a:latin typeface="HY견고딕" pitchFamily="18" charset="-127"/>
                <a:ea typeface="HY견고딕" pitchFamily="18" charset="-127"/>
              </a:rPr>
              <a:t>좋은사료</a:t>
            </a:r>
            <a:r>
              <a:rPr kumimoji="0" lang="en-US" altLang="ko-KR" sz="2900" dirty="0">
                <a:solidFill>
                  <a:srgbClr val="FF0000"/>
                </a:solidFill>
                <a:latin typeface="HY견고딕" pitchFamily="18" charset="-127"/>
                <a:ea typeface="HY견고딕" pitchFamily="18" charset="-127"/>
              </a:rPr>
              <a:t>, </a:t>
            </a:r>
            <a:r>
              <a:rPr kumimoji="0" lang="ko-KR" altLang="en-US" sz="2900" dirty="0">
                <a:solidFill>
                  <a:srgbClr val="FF0000"/>
                </a:solidFill>
                <a:latin typeface="HY견고딕" pitchFamily="18" charset="-127"/>
                <a:ea typeface="HY견고딕" pitchFamily="18" charset="-127"/>
              </a:rPr>
              <a:t>사양관리노력 만큼의 능력이 발휘된다</a:t>
            </a:r>
            <a:r>
              <a:rPr kumimoji="0" lang="en-US" altLang="ko-KR" sz="2900" dirty="0">
                <a:solidFill>
                  <a:srgbClr val="FF0000"/>
                </a:solidFill>
                <a:latin typeface="HY견고딕" pitchFamily="18" charset="-127"/>
                <a:ea typeface="HY견고딕" pitchFamily="18" charset="-127"/>
              </a:rPr>
              <a:t>!</a:t>
            </a:r>
          </a:p>
        </p:txBody>
      </p:sp>
      <p:grpSp>
        <p:nvGrpSpPr>
          <p:cNvPr id="64" name="Group 15"/>
          <p:cNvGrpSpPr>
            <a:grpSpLocks/>
          </p:cNvGrpSpPr>
          <p:nvPr/>
        </p:nvGrpSpPr>
        <p:grpSpPr bwMode="auto">
          <a:xfrm>
            <a:off x="1639648" y="1739079"/>
            <a:ext cx="1691303" cy="1511300"/>
            <a:chOff x="1186" y="1831"/>
            <a:chExt cx="1088" cy="952"/>
          </a:xfrm>
        </p:grpSpPr>
        <p:sp>
          <p:nvSpPr>
            <p:cNvPr id="65" name="Oval 16"/>
            <p:cNvSpPr>
              <a:spLocks noChangeArrowheads="1"/>
            </p:cNvSpPr>
            <p:nvPr/>
          </p:nvSpPr>
          <p:spPr bwMode="gray">
            <a:xfrm>
              <a:off x="1646" y="2108"/>
              <a:ext cx="167" cy="401"/>
            </a:xfrm>
            <a:prstGeom prst="ellipse">
              <a:avLst/>
            </a:prstGeom>
            <a:gradFill rotWithShape="1">
              <a:gsLst>
                <a:gs pos="0">
                  <a:srgbClr val="99CC00">
                    <a:gamma/>
                    <a:tint val="0"/>
                    <a:invGamma/>
                  </a:srgbClr>
                </a:gs>
                <a:gs pos="50000">
                  <a:srgbClr val="99CC00"/>
                </a:gs>
                <a:gs pos="100000">
                  <a:srgbClr val="99CC00">
                    <a:gamma/>
                    <a:tint val="0"/>
                    <a:invGamma/>
                  </a:srgb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algn="ctr" defTabSz="910365" fontAlgn="auto" latinLnBrk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800" kern="0">
                <a:solidFill>
                  <a:srgbClr val="333399"/>
                </a:solidFill>
                <a:ea typeface="태 나무" pitchFamily="18" charset="-127"/>
              </a:endParaRPr>
            </a:p>
          </p:txBody>
        </p:sp>
        <p:sp>
          <p:nvSpPr>
            <p:cNvPr id="66" name="Oval 17"/>
            <p:cNvSpPr>
              <a:spLocks noChangeArrowheads="1"/>
            </p:cNvSpPr>
            <p:nvPr/>
          </p:nvSpPr>
          <p:spPr bwMode="gray">
            <a:xfrm>
              <a:off x="1646" y="2108"/>
              <a:ext cx="167" cy="401"/>
            </a:xfrm>
            <a:prstGeom prst="ellipse">
              <a:avLst/>
            </a:prstGeom>
            <a:gradFill rotWithShape="1">
              <a:gsLst>
                <a:gs pos="0">
                  <a:srgbClr val="99CC00">
                    <a:alpha val="32001"/>
                  </a:srgbClr>
                </a:gs>
                <a:gs pos="100000">
                  <a:srgbClr val="99CC00">
                    <a:gamma/>
                    <a:shade val="0"/>
                    <a:invGamma/>
                    <a:alpha val="89999"/>
                  </a:srgb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algn="ctr" defTabSz="910365" fontAlgn="auto" latinLnBrk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800" kern="0">
                <a:solidFill>
                  <a:srgbClr val="333399"/>
                </a:solidFill>
                <a:ea typeface="태 나무" pitchFamily="18" charset="-127"/>
              </a:endParaRPr>
            </a:p>
          </p:txBody>
        </p:sp>
        <p:sp>
          <p:nvSpPr>
            <p:cNvPr id="67" name="Oval 18"/>
            <p:cNvSpPr>
              <a:spLocks noChangeArrowheads="1"/>
            </p:cNvSpPr>
            <p:nvPr/>
          </p:nvSpPr>
          <p:spPr bwMode="gray">
            <a:xfrm>
              <a:off x="1186" y="2107"/>
              <a:ext cx="1087" cy="403"/>
            </a:xfrm>
            <a:prstGeom prst="ellipse">
              <a:avLst/>
            </a:prstGeom>
            <a:gradFill rotWithShape="1">
              <a:gsLst>
                <a:gs pos="0">
                  <a:srgbClr val="99CC00">
                    <a:gamma/>
                    <a:shade val="54118"/>
                    <a:invGamma/>
                  </a:srgbClr>
                </a:gs>
                <a:gs pos="50000">
                  <a:srgbClr val="99CC00"/>
                </a:gs>
                <a:gs pos="100000">
                  <a:srgbClr val="99CC00">
                    <a:gamma/>
                    <a:shade val="54118"/>
                    <a:invGamma/>
                  </a:srgbClr>
                </a:gs>
              </a:gsLst>
              <a:lin ang="189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pPr algn="ctr" defTabSz="910365" fontAlgn="auto" latinLnBrk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800" kern="0">
                <a:solidFill>
                  <a:srgbClr val="333399"/>
                </a:solidFill>
                <a:ea typeface="태 나무" pitchFamily="18" charset="-127"/>
              </a:endParaRPr>
            </a:p>
          </p:txBody>
        </p:sp>
        <p:sp>
          <p:nvSpPr>
            <p:cNvPr id="68" name="Oval 19"/>
            <p:cNvSpPr>
              <a:spLocks noChangeArrowheads="1"/>
            </p:cNvSpPr>
            <p:nvPr/>
          </p:nvSpPr>
          <p:spPr bwMode="gray">
            <a:xfrm>
              <a:off x="1187" y="2109"/>
              <a:ext cx="1087" cy="403"/>
            </a:xfrm>
            <a:prstGeom prst="ellipse">
              <a:avLst/>
            </a:prstGeom>
            <a:gradFill rotWithShape="1">
              <a:gsLst>
                <a:gs pos="0">
                  <a:srgbClr val="99CC00">
                    <a:gamma/>
                    <a:shade val="63529"/>
                    <a:invGamma/>
                  </a:srgbClr>
                </a:gs>
                <a:gs pos="100000">
                  <a:srgbClr val="99CC00">
                    <a:alpha val="0"/>
                  </a:srgb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pPr algn="ctr" defTabSz="910365" fontAlgn="auto" latinLnBrk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800" kern="0">
                <a:solidFill>
                  <a:srgbClr val="333399"/>
                </a:solidFill>
                <a:ea typeface="태 나무" pitchFamily="18" charset="-127"/>
              </a:endParaRPr>
            </a:p>
          </p:txBody>
        </p:sp>
        <p:sp>
          <p:nvSpPr>
            <p:cNvPr id="69" name="Oval 20"/>
            <p:cNvSpPr>
              <a:spLocks noChangeArrowheads="1"/>
            </p:cNvSpPr>
            <p:nvPr/>
          </p:nvSpPr>
          <p:spPr bwMode="gray">
            <a:xfrm>
              <a:off x="1240" y="2107"/>
              <a:ext cx="979" cy="403"/>
            </a:xfrm>
            <a:prstGeom prst="ellipse">
              <a:avLst/>
            </a:prstGeom>
            <a:solidFill>
              <a:srgbClr val="33333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pPr algn="ctr" defTabSz="910365" fontAlgn="auto" latinLnBrk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800" kern="0">
                <a:solidFill>
                  <a:srgbClr val="333399"/>
                </a:solidFill>
                <a:ea typeface="태 나무" pitchFamily="18" charset="-127"/>
              </a:endParaRPr>
            </a:p>
          </p:txBody>
        </p:sp>
        <p:grpSp>
          <p:nvGrpSpPr>
            <p:cNvPr id="70" name="Group 21"/>
            <p:cNvGrpSpPr>
              <a:grpSpLocks/>
            </p:cNvGrpSpPr>
            <p:nvPr/>
          </p:nvGrpSpPr>
          <p:grpSpPr bwMode="auto">
            <a:xfrm>
              <a:off x="1256" y="1831"/>
              <a:ext cx="947" cy="952"/>
              <a:chOff x="4166" y="1706"/>
              <a:chExt cx="1252" cy="1252"/>
            </a:xfrm>
          </p:grpSpPr>
          <p:sp>
            <p:nvSpPr>
              <p:cNvPr id="72" name="Oval 22"/>
              <p:cNvSpPr>
                <a:spLocks noChangeArrowheads="1"/>
              </p:cNvSpPr>
              <p:nvPr/>
            </p:nvSpPr>
            <p:spPr bwMode="gray">
              <a:xfrm>
                <a:off x="4166" y="1706"/>
                <a:ext cx="1252" cy="1252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shade val="46275"/>
                      <a:invGamma/>
                    </a:srgbClr>
                  </a:gs>
                  <a:gs pos="100000">
                    <a:srgbClr val="D6E1E2"/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pPr algn="ctr" defTabSz="910365" fontAlgn="auto" latinLnBrk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 kern="0">
                  <a:solidFill>
                    <a:srgbClr val="333399"/>
                  </a:solidFill>
                  <a:ea typeface="태 나무" pitchFamily="18" charset="-127"/>
                </a:endParaRPr>
              </a:p>
            </p:txBody>
          </p:sp>
          <p:sp>
            <p:nvSpPr>
              <p:cNvPr id="73" name="Oval 23"/>
              <p:cNvSpPr>
                <a:spLocks noChangeArrowheads="1"/>
              </p:cNvSpPr>
              <p:nvPr/>
            </p:nvSpPr>
            <p:spPr bwMode="gray">
              <a:xfrm>
                <a:off x="4182" y="1713"/>
                <a:ext cx="1222" cy="1221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alpha val="0"/>
                    </a:srgbClr>
                  </a:gs>
                  <a:gs pos="100000">
                    <a:srgbClr val="D6E1E2">
                      <a:gamma/>
                      <a:tint val="34902"/>
                      <a:invGamma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pPr algn="ctr" defTabSz="910365" fontAlgn="auto" latinLnBrk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 kern="0">
                  <a:solidFill>
                    <a:srgbClr val="333399"/>
                  </a:solidFill>
                  <a:ea typeface="태 나무" pitchFamily="18" charset="-127"/>
                </a:endParaRPr>
              </a:p>
            </p:txBody>
          </p:sp>
          <p:sp>
            <p:nvSpPr>
              <p:cNvPr id="74" name="Oval 24"/>
              <p:cNvSpPr>
                <a:spLocks noChangeArrowheads="1"/>
              </p:cNvSpPr>
              <p:nvPr/>
            </p:nvSpPr>
            <p:spPr bwMode="gray">
              <a:xfrm>
                <a:off x="4195" y="1725"/>
                <a:ext cx="1162" cy="1141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shade val="79216"/>
                      <a:invGamma/>
                    </a:srgbClr>
                  </a:gs>
                  <a:gs pos="100000">
                    <a:srgbClr val="D6E1E2">
                      <a:alpha val="48000"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pPr algn="ctr" defTabSz="910365" fontAlgn="auto" latinLnBrk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 kern="0">
                  <a:solidFill>
                    <a:srgbClr val="333399"/>
                  </a:solidFill>
                  <a:ea typeface="태 나무" pitchFamily="18" charset="-127"/>
                </a:endParaRPr>
              </a:p>
            </p:txBody>
          </p:sp>
          <p:sp>
            <p:nvSpPr>
              <p:cNvPr id="75" name="Oval 25"/>
              <p:cNvSpPr>
                <a:spLocks noChangeArrowheads="1"/>
              </p:cNvSpPr>
              <p:nvPr/>
            </p:nvSpPr>
            <p:spPr bwMode="gray">
              <a:xfrm>
                <a:off x="4263" y="1757"/>
                <a:ext cx="1033" cy="926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tint val="0"/>
                      <a:invGamma/>
                    </a:srgbClr>
                  </a:gs>
                  <a:gs pos="100000">
                    <a:srgbClr val="D6E1E2">
                      <a:alpha val="38000"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pPr algn="ctr" defTabSz="910365" fontAlgn="auto" latinLnBrk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 kern="0">
                  <a:solidFill>
                    <a:srgbClr val="333399"/>
                  </a:solidFill>
                  <a:ea typeface="태 나무" pitchFamily="18" charset="-127"/>
                </a:endParaRPr>
              </a:p>
            </p:txBody>
          </p:sp>
        </p:grpSp>
        <p:sp>
          <p:nvSpPr>
            <p:cNvPr id="71" name="Text Box 26"/>
            <p:cNvSpPr txBox="1">
              <a:spLocks noChangeArrowheads="1"/>
            </p:cNvSpPr>
            <p:nvPr/>
          </p:nvSpPr>
          <p:spPr bwMode="gray">
            <a:xfrm>
              <a:off x="1649" y="2027"/>
              <a:ext cx="119" cy="4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ctr" defTabSz="910365" eaLnBrk="0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ko-KR" sz="4000" kern="0">
                <a:solidFill>
                  <a:srgbClr val="FF0000"/>
                </a:solidFill>
                <a:latin typeface="HY견고딕" pitchFamily="18" charset="-127"/>
                <a:ea typeface="HY견고딕" pitchFamily="18" charset="-127"/>
              </a:endParaRPr>
            </a:p>
          </p:txBody>
        </p:sp>
      </p:grpSp>
      <p:grpSp>
        <p:nvGrpSpPr>
          <p:cNvPr id="76" name="Group 81"/>
          <p:cNvGrpSpPr>
            <a:grpSpLocks/>
          </p:cNvGrpSpPr>
          <p:nvPr/>
        </p:nvGrpSpPr>
        <p:grpSpPr bwMode="auto">
          <a:xfrm>
            <a:off x="5849204" y="3826642"/>
            <a:ext cx="1727200" cy="1511300"/>
            <a:chOff x="1186" y="1831"/>
            <a:chExt cx="1088" cy="952"/>
          </a:xfrm>
        </p:grpSpPr>
        <p:sp>
          <p:nvSpPr>
            <p:cNvPr id="77" name="Oval 82"/>
            <p:cNvSpPr>
              <a:spLocks noChangeArrowheads="1"/>
            </p:cNvSpPr>
            <p:nvPr/>
          </p:nvSpPr>
          <p:spPr bwMode="gray">
            <a:xfrm>
              <a:off x="1648" y="2108"/>
              <a:ext cx="164" cy="401"/>
            </a:xfrm>
            <a:prstGeom prst="ellipse">
              <a:avLst/>
            </a:prstGeom>
            <a:gradFill rotWithShape="1">
              <a:gsLst>
                <a:gs pos="0">
                  <a:srgbClr val="99CC00">
                    <a:gamma/>
                    <a:tint val="0"/>
                    <a:invGamma/>
                  </a:srgbClr>
                </a:gs>
                <a:gs pos="50000">
                  <a:srgbClr val="99CC00"/>
                </a:gs>
                <a:gs pos="100000">
                  <a:srgbClr val="99CC00">
                    <a:gamma/>
                    <a:tint val="0"/>
                    <a:invGamma/>
                  </a:srgb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algn="ctr" defTabSz="910365" fontAlgn="auto" latinLnBrk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800" kern="0">
                <a:solidFill>
                  <a:srgbClr val="333399"/>
                </a:solidFill>
                <a:ea typeface="태 나무" pitchFamily="18" charset="-127"/>
              </a:endParaRPr>
            </a:p>
          </p:txBody>
        </p:sp>
        <p:sp>
          <p:nvSpPr>
            <p:cNvPr id="78" name="Oval 83"/>
            <p:cNvSpPr>
              <a:spLocks noChangeArrowheads="1"/>
            </p:cNvSpPr>
            <p:nvPr/>
          </p:nvSpPr>
          <p:spPr bwMode="gray">
            <a:xfrm>
              <a:off x="1648" y="2108"/>
              <a:ext cx="164" cy="401"/>
            </a:xfrm>
            <a:prstGeom prst="ellipse">
              <a:avLst/>
            </a:prstGeom>
            <a:gradFill rotWithShape="1">
              <a:gsLst>
                <a:gs pos="0">
                  <a:srgbClr val="FF0000">
                    <a:alpha val="32001"/>
                  </a:srgbClr>
                </a:gs>
                <a:gs pos="100000">
                  <a:srgbClr val="FF0000">
                    <a:gamma/>
                    <a:shade val="0"/>
                    <a:invGamma/>
                    <a:alpha val="89999"/>
                  </a:srgb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algn="ctr" defTabSz="910365" fontAlgn="auto" latinLnBrk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800" kern="0">
                <a:solidFill>
                  <a:srgbClr val="333399"/>
                </a:solidFill>
                <a:ea typeface="태 나무" pitchFamily="18" charset="-127"/>
              </a:endParaRPr>
            </a:p>
          </p:txBody>
        </p:sp>
        <p:sp>
          <p:nvSpPr>
            <p:cNvPr id="79" name="Oval 84"/>
            <p:cNvSpPr>
              <a:spLocks noChangeArrowheads="1"/>
            </p:cNvSpPr>
            <p:nvPr/>
          </p:nvSpPr>
          <p:spPr bwMode="gray">
            <a:xfrm>
              <a:off x="1186" y="2107"/>
              <a:ext cx="1087" cy="403"/>
            </a:xfrm>
            <a:prstGeom prst="ellipse">
              <a:avLst/>
            </a:prstGeom>
            <a:gradFill rotWithShape="1">
              <a:gsLst>
                <a:gs pos="0">
                  <a:srgbClr val="99CC00">
                    <a:gamma/>
                    <a:shade val="54118"/>
                    <a:invGamma/>
                  </a:srgbClr>
                </a:gs>
                <a:gs pos="50000">
                  <a:srgbClr val="99CC00"/>
                </a:gs>
                <a:gs pos="100000">
                  <a:srgbClr val="99CC00">
                    <a:gamma/>
                    <a:shade val="54118"/>
                    <a:invGamma/>
                  </a:srgbClr>
                </a:gs>
              </a:gsLst>
              <a:lin ang="189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pPr algn="ctr" defTabSz="910365" fontAlgn="auto" latinLnBrk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800" kern="0">
                <a:solidFill>
                  <a:srgbClr val="333399"/>
                </a:solidFill>
                <a:ea typeface="태 나무" pitchFamily="18" charset="-127"/>
              </a:endParaRPr>
            </a:p>
          </p:txBody>
        </p:sp>
        <p:sp>
          <p:nvSpPr>
            <p:cNvPr id="80" name="Oval 85"/>
            <p:cNvSpPr>
              <a:spLocks noChangeArrowheads="1"/>
            </p:cNvSpPr>
            <p:nvPr/>
          </p:nvSpPr>
          <p:spPr bwMode="gray">
            <a:xfrm>
              <a:off x="1187" y="2109"/>
              <a:ext cx="1087" cy="403"/>
            </a:xfrm>
            <a:prstGeom prst="ellipse">
              <a:avLst/>
            </a:prstGeom>
            <a:solidFill>
              <a:srgbClr val="0000FF">
                <a:alpha val="0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pPr algn="ctr" defTabSz="910365" fontAlgn="auto" latinLnBrk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800" kern="0">
                <a:solidFill>
                  <a:srgbClr val="333399"/>
                </a:solidFill>
                <a:ea typeface="태 나무" pitchFamily="18" charset="-127"/>
              </a:endParaRPr>
            </a:p>
          </p:txBody>
        </p:sp>
        <p:sp>
          <p:nvSpPr>
            <p:cNvPr id="81" name="Oval 86"/>
            <p:cNvSpPr>
              <a:spLocks noChangeArrowheads="1"/>
            </p:cNvSpPr>
            <p:nvPr/>
          </p:nvSpPr>
          <p:spPr bwMode="gray">
            <a:xfrm>
              <a:off x="1240" y="2107"/>
              <a:ext cx="979" cy="403"/>
            </a:xfrm>
            <a:prstGeom prst="ellipse">
              <a:avLst/>
            </a:prstGeom>
            <a:gradFill rotWithShape="1">
              <a:gsLst>
                <a:gs pos="0">
                  <a:srgbClr val="FF0000"/>
                </a:gs>
                <a:gs pos="50000">
                  <a:srgbClr val="FFFFFF"/>
                </a:gs>
                <a:gs pos="100000">
                  <a:srgbClr val="FF0000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pPr algn="ctr" defTabSz="910365" fontAlgn="auto" latinLnBrk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800" kern="0">
                <a:solidFill>
                  <a:srgbClr val="333399"/>
                </a:solidFill>
                <a:ea typeface="태 나무" pitchFamily="18" charset="-127"/>
              </a:endParaRPr>
            </a:p>
          </p:txBody>
        </p:sp>
        <p:grpSp>
          <p:nvGrpSpPr>
            <p:cNvPr id="82" name="Group 87"/>
            <p:cNvGrpSpPr>
              <a:grpSpLocks/>
            </p:cNvGrpSpPr>
            <p:nvPr/>
          </p:nvGrpSpPr>
          <p:grpSpPr bwMode="auto">
            <a:xfrm>
              <a:off x="1256" y="1831"/>
              <a:ext cx="947" cy="952"/>
              <a:chOff x="4166" y="1706"/>
              <a:chExt cx="1252" cy="1252"/>
            </a:xfrm>
          </p:grpSpPr>
          <p:sp>
            <p:nvSpPr>
              <p:cNvPr id="84" name="Oval 88"/>
              <p:cNvSpPr>
                <a:spLocks noChangeArrowheads="1"/>
              </p:cNvSpPr>
              <p:nvPr/>
            </p:nvSpPr>
            <p:spPr bwMode="gray">
              <a:xfrm>
                <a:off x="4166" y="1706"/>
                <a:ext cx="1252" cy="1252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shade val="46275"/>
                      <a:invGamma/>
                    </a:srgbClr>
                  </a:gs>
                  <a:gs pos="100000">
                    <a:srgbClr val="D6E1E2"/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pPr algn="ctr" defTabSz="910365" fontAlgn="auto" latinLnBrk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 kern="0">
                  <a:solidFill>
                    <a:srgbClr val="333399"/>
                  </a:solidFill>
                  <a:ea typeface="태 나무" pitchFamily="18" charset="-127"/>
                </a:endParaRPr>
              </a:p>
            </p:txBody>
          </p:sp>
          <p:sp>
            <p:nvSpPr>
              <p:cNvPr id="85" name="Oval 89"/>
              <p:cNvSpPr>
                <a:spLocks noChangeArrowheads="1"/>
              </p:cNvSpPr>
              <p:nvPr/>
            </p:nvSpPr>
            <p:spPr bwMode="gray">
              <a:xfrm>
                <a:off x="4182" y="1713"/>
                <a:ext cx="1222" cy="1221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alpha val="0"/>
                    </a:srgbClr>
                  </a:gs>
                  <a:gs pos="100000">
                    <a:srgbClr val="D6E1E2">
                      <a:gamma/>
                      <a:tint val="34902"/>
                      <a:invGamma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pPr algn="ctr" defTabSz="910365" fontAlgn="auto" latinLnBrk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 kern="0">
                  <a:solidFill>
                    <a:srgbClr val="333399"/>
                  </a:solidFill>
                  <a:ea typeface="태 나무" pitchFamily="18" charset="-127"/>
                </a:endParaRPr>
              </a:p>
            </p:txBody>
          </p:sp>
          <p:sp>
            <p:nvSpPr>
              <p:cNvPr id="86" name="Oval 90"/>
              <p:cNvSpPr>
                <a:spLocks noChangeArrowheads="1"/>
              </p:cNvSpPr>
              <p:nvPr/>
            </p:nvSpPr>
            <p:spPr bwMode="gray">
              <a:xfrm>
                <a:off x="4195" y="1725"/>
                <a:ext cx="1162" cy="1141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shade val="79216"/>
                      <a:invGamma/>
                    </a:srgbClr>
                  </a:gs>
                  <a:gs pos="100000">
                    <a:srgbClr val="D6E1E2">
                      <a:alpha val="48000"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pPr algn="ctr" defTabSz="910365" fontAlgn="auto" latinLnBrk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 kern="0">
                  <a:solidFill>
                    <a:srgbClr val="333399"/>
                  </a:solidFill>
                  <a:ea typeface="태 나무" pitchFamily="18" charset="-127"/>
                </a:endParaRPr>
              </a:p>
            </p:txBody>
          </p:sp>
          <p:sp>
            <p:nvSpPr>
              <p:cNvPr id="87" name="Oval 91"/>
              <p:cNvSpPr>
                <a:spLocks noChangeArrowheads="1"/>
              </p:cNvSpPr>
              <p:nvPr/>
            </p:nvSpPr>
            <p:spPr bwMode="gray">
              <a:xfrm>
                <a:off x="4263" y="1757"/>
                <a:ext cx="1033" cy="926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tint val="0"/>
                      <a:invGamma/>
                    </a:srgbClr>
                  </a:gs>
                  <a:gs pos="100000">
                    <a:srgbClr val="D6E1E2">
                      <a:alpha val="38000"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pPr algn="ctr" defTabSz="910365" fontAlgn="auto" latinLnBrk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 kern="0">
                  <a:solidFill>
                    <a:srgbClr val="333399"/>
                  </a:solidFill>
                  <a:ea typeface="태 나무" pitchFamily="18" charset="-127"/>
                </a:endParaRPr>
              </a:p>
            </p:txBody>
          </p:sp>
        </p:grpSp>
        <p:sp>
          <p:nvSpPr>
            <p:cNvPr id="83" name="Text Box 92"/>
            <p:cNvSpPr txBox="1">
              <a:spLocks noChangeArrowheads="1"/>
            </p:cNvSpPr>
            <p:nvPr/>
          </p:nvSpPr>
          <p:spPr bwMode="gray">
            <a:xfrm>
              <a:off x="1651" y="2027"/>
              <a:ext cx="116" cy="4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ctr" defTabSz="910365" eaLnBrk="0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ko-KR" sz="4000" kern="0">
                <a:solidFill>
                  <a:srgbClr val="FF0000"/>
                </a:solidFill>
                <a:latin typeface="HY견고딕" pitchFamily="18" charset="-127"/>
                <a:ea typeface="HY견고딕" pitchFamily="18" charset="-127"/>
              </a:endParaRPr>
            </a:p>
          </p:txBody>
        </p:sp>
      </p:grpSp>
      <p:grpSp>
        <p:nvGrpSpPr>
          <p:cNvPr id="88" name="Group 93"/>
          <p:cNvGrpSpPr>
            <a:grpSpLocks/>
          </p:cNvGrpSpPr>
          <p:nvPr/>
        </p:nvGrpSpPr>
        <p:grpSpPr bwMode="auto">
          <a:xfrm>
            <a:off x="1601052" y="3826642"/>
            <a:ext cx="1727200" cy="1511300"/>
            <a:chOff x="1186" y="1831"/>
            <a:chExt cx="1088" cy="952"/>
          </a:xfrm>
        </p:grpSpPr>
        <p:sp>
          <p:nvSpPr>
            <p:cNvPr id="89" name="Oval 94"/>
            <p:cNvSpPr>
              <a:spLocks noChangeArrowheads="1"/>
            </p:cNvSpPr>
            <p:nvPr/>
          </p:nvSpPr>
          <p:spPr bwMode="gray">
            <a:xfrm>
              <a:off x="1648" y="2108"/>
              <a:ext cx="164" cy="401"/>
            </a:xfrm>
            <a:prstGeom prst="ellipse">
              <a:avLst/>
            </a:prstGeom>
            <a:gradFill rotWithShape="1">
              <a:gsLst>
                <a:gs pos="0">
                  <a:srgbClr val="99CC00">
                    <a:gamma/>
                    <a:tint val="0"/>
                    <a:invGamma/>
                  </a:srgbClr>
                </a:gs>
                <a:gs pos="50000">
                  <a:srgbClr val="99CC00"/>
                </a:gs>
                <a:gs pos="100000">
                  <a:srgbClr val="99CC00">
                    <a:gamma/>
                    <a:tint val="0"/>
                    <a:invGamma/>
                  </a:srgb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algn="ctr" defTabSz="910365" fontAlgn="auto" latinLnBrk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800" kern="0">
                <a:solidFill>
                  <a:srgbClr val="333399"/>
                </a:solidFill>
                <a:ea typeface="태 나무" pitchFamily="18" charset="-127"/>
              </a:endParaRPr>
            </a:p>
          </p:txBody>
        </p:sp>
        <p:sp>
          <p:nvSpPr>
            <p:cNvPr id="90" name="Oval 95"/>
            <p:cNvSpPr>
              <a:spLocks noChangeArrowheads="1"/>
            </p:cNvSpPr>
            <p:nvPr/>
          </p:nvSpPr>
          <p:spPr bwMode="gray">
            <a:xfrm>
              <a:off x="1648" y="2108"/>
              <a:ext cx="164" cy="401"/>
            </a:xfrm>
            <a:prstGeom prst="ellipse">
              <a:avLst/>
            </a:prstGeom>
            <a:solidFill>
              <a:srgbClr val="FFFF00">
                <a:alpha val="32001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rgbClr val="0033CC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algn="ctr" defTabSz="910365" fontAlgn="auto" latinLnBrk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800" kern="0">
                <a:solidFill>
                  <a:srgbClr val="333399"/>
                </a:solidFill>
                <a:ea typeface="태 나무" pitchFamily="18" charset="-127"/>
              </a:endParaRPr>
            </a:p>
          </p:txBody>
        </p:sp>
        <p:sp>
          <p:nvSpPr>
            <p:cNvPr id="91" name="Oval 96"/>
            <p:cNvSpPr>
              <a:spLocks noChangeArrowheads="1"/>
            </p:cNvSpPr>
            <p:nvPr/>
          </p:nvSpPr>
          <p:spPr bwMode="gray">
            <a:xfrm>
              <a:off x="1186" y="2107"/>
              <a:ext cx="1087" cy="403"/>
            </a:xfrm>
            <a:prstGeom prst="ellipse">
              <a:avLst/>
            </a:prstGeom>
            <a:gradFill rotWithShape="1">
              <a:gsLst>
                <a:gs pos="0">
                  <a:srgbClr val="99CC00">
                    <a:gamma/>
                    <a:shade val="54118"/>
                    <a:invGamma/>
                  </a:srgbClr>
                </a:gs>
                <a:gs pos="50000">
                  <a:srgbClr val="99CC00"/>
                </a:gs>
                <a:gs pos="100000">
                  <a:srgbClr val="99CC00">
                    <a:gamma/>
                    <a:shade val="54118"/>
                    <a:invGamma/>
                  </a:srgbClr>
                </a:gs>
              </a:gsLst>
              <a:lin ang="189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pPr algn="ctr" defTabSz="910365" fontAlgn="auto" latinLnBrk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800" kern="0">
                <a:solidFill>
                  <a:srgbClr val="333399"/>
                </a:solidFill>
                <a:ea typeface="태 나무" pitchFamily="18" charset="-127"/>
              </a:endParaRPr>
            </a:p>
          </p:txBody>
        </p:sp>
        <p:sp>
          <p:nvSpPr>
            <p:cNvPr id="92" name="Oval 97"/>
            <p:cNvSpPr>
              <a:spLocks noChangeArrowheads="1"/>
            </p:cNvSpPr>
            <p:nvPr/>
          </p:nvSpPr>
          <p:spPr bwMode="gray">
            <a:xfrm>
              <a:off x="1187" y="2109"/>
              <a:ext cx="1087" cy="403"/>
            </a:xfrm>
            <a:prstGeom prst="ellipse">
              <a:avLst/>
            </a:prstGeom>
            <a:gradFill rotWithShape="1">
              <a:gsLst>
                <a:gs pos="0">
                  <a:srgbClr val="99CC00">
                    <a:gamma/>
                    <a:shade val="63529"/>
                    <a:invGamma/>
                  </a:srgbClr>
                </a:gs>
                <a:gs pos="100000">
                  <a:srgbClr val="99CC00">
                    <a:alpha val="0"/>
                  </a:srgb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pPr algn="ctr" defTabSz="910365" fontAlgn="auto" latinLnBrk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800" kern="0">
                <a:solidFill>
                  <a:srgbClr val="333399"/>
                </a:solidFill>
                <a:ea typeface="태 나무" pitchFamily="18" charset="-127"/>
              </a:endParaRPr>
            </a:p>
          </p:txBody>
        </p:sp>
        <p:sp>
          <p:nvSpPr>
            <p:cNvPr id="93" name="Oval 98"/>
            <p:cNvSpPr>
              <a:spLocks noChangeArrowheads="1"/>
            </p:cNvSpPr>
            <p:nvPr/>
          </p:nvSpPr>
          <p:spPr bwMode="gray">
            <a:xfrm>
              <a:off x="1240" y="2107"/>
              <a:ext cx="979" cy="403"/>
            </a:xfrm>
            <a:prstGeom prst="ellipse">
              <a:avLst/>
            </a:prstGeom>
            <a:solidFill>
              <a:srgbClr val="33333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pPr algn="ctr" defTabSz="910365" fontAlgn="auto" latinLnBrk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800" kern="0">
                <a:solidFill>
                  <a:srgbClr val="333399"/>
                </a:solidFill>
                <a:ea typeface="태 나무" pitchFamily="18" charset="-127"/>
              </a:endParaRPr>
            </a:p>
          </p:txBody>
        </p:sp>
        <p:grpSp>
          <p:nvGrpSpPr>
            <p:cNvPr id="94" name="Group 99"/>
            <p:cNvGrpSpPr>
              <a:grpSpLocks/>
            </p:cNvGrpSpPr>
            <p:nvPr/>
          </p:nvGrpSpPr>
          <p:grpSpPr bwMode="auto">
            <a:xfrm>
              <a:off x="1256" y="1831"/>
              <a:ext cx="947" cy="952"/>
              <a:chOff x="4166" y="1706"/>
              <a:chExt cx="1252" cy="1252"/>
            </a:xfrm>
          </p:grpSpPr>
          <p:sp>
            <p:nvSpPr>
              <p:cNvPr id="96" name="Oval 100"/>
              <p:cNvSpPr>
                <a:spLocks noChangeArrowheads="1"/>
              </p:cNvSpPr>
              <p:nvPr/>
            </p:nvSpPr>
            <p:spPr bwMode="gray">
              <a:xfrm>
                <a:off x="4166" y="1706"/>
                <a:ext cx="1252" cy="1252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shade val="46275"/>
                      <a:invGamma/>
                    </a:srgbClr>
                  </a:gs>
                  <a:gs pos="100000">
                    <a:srgbClr val="D6E1E2"/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pPr algn="ctr" defTabSz="910365" fontAlgn="auto" latinLnBrk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 kern="0">
                  <a:solidFill>
                    <a:srgbClr val="333399"/>
                  </a:solidFill>
                  <a:ea typeface="태 나무" pitchFamily="18" charset="-127"/>
                </a:endParaRPr>
              </a:p>
            </p:txBody>
          </p:sp>
          <p:sp>
            <p:nvSpPr>
              <p:cNvPr id="97" name="Oval 101"/>
              <p:cNvSpPr>
                <a:spLocks noChangeArrowheads="1"/>
              </p:cNvSpPr>
              <p:nvPr/>
            </p:nvSpPr>
            <p:spPr bwMode="gray">
              <a:xfrm>
                <a:off x="4182" y="1713"/>
                <a:ext cx="1222" cy="1221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alpha val="0"/>
                    </a:srgbClr>
                  </a:gs>
                  <a:gs pos="100000">
                    <a:srgbClr val="D6E1E2">
                      <a:gamma/>
                      <a:tint val="34902"/>
                      <a:invGamma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pPr algn="ctr" defTabSz="910365" fontAlgn="auto" latinLnBrk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 kern="0">
                  <a:solidFill>
                    <a:srgbClr val="333399"/>
                  </a:solidFill>
                  <a:ea typeface="태 나무" pitchFamily="18" charset="-127"/>
                </a:endParaRPr>
              </a:p>
            </p:txBody>
          </p:sp>
          <p:sp>
            <p:nvSpPr>
              <p:cNvPr id="98" name="Oval 102"/>
              <p:cNvSpPr>
                <a:spLocks noChangeArrowheads="1"/>
              </p:cNvSpPr>
              <p:nvPr/>
            </p:nvSpPr>
            <p:spPr bwMode="gray">
              <a:xfrm>
                <a:off x="4195" y="1725"/>
                <a:ext cx="1162" cy="1141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shade val="79216"/>
                      <a:invGamma/>
                    </a:srgbClr>
                  </a:gs>
                  <a:gs pos="100000">
                    <a:srgbClr val="D6E1E2">
                      <a:alpha val="48000"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pPr algn="ctr" defTabSz="910365" fontAlgn="auto" latinLnBrk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 kern="0">
                  <a:solidFill>
                    <a:srgbClr val="333399"/>
                  </a:solidFill>
                  <a:ea typeface="태 나무" pitchFamily="18" charset="-127"/>
                </a:endParaRPr>
              </a:p>
            </p:txBody>
          </p:sp>
          <p:sp>
            <p:nvSpPr>
              <p:cNvPr id="99" name="Oval 103"/>
              <p:cNvSpPr>
                <a:spLocks noChangeArrowheads="1"/>
              </p:cNvSpPr>
              <p:nvPr/>
            </p:nvSpPr>
            <p:spPr bwMode="gray">
              <a:xfrm>
                <a:off x="4263" y="1757"/>
                <a:ext cx="1033" cy="926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tint val="0"/>
                      <a:invGamma/>
                    </a:srgbClr>
                  </a:gs>
                  <a:gs pos="100000">
                    <a:srgbClr val="D6E1E2">
                      <a:alpha val="38000"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pPr algn="ctr" defTabSz="910365" fontAlgn="auto" latinLnBrk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 kern="0">
                  <a:solidFill>
                    <a:srgbClr val="333399"/>
                  </a:solidFill>
                  <a:ea typeface="태 나무" pitchFamily="18" charset="-127"/>
                </a:endParaRPr>
              </a:p>
            </p:txBody>
          </p:sp>
        </p:grpSp>
        <p:sp>
          <p:nvSpPr>
            <p:cNvPr id="95" name="Text Box 104"/>
            <p:cNvSpPr txBox="1">
              <a:spLocks noChangeArrowheads="1"/>
            </p:cNvSpPr>
            <p:nvPr/>
          </p:nvSpPr>
          <p:spPr bwMode="gray">
            <a:xfrm>
              <a:off x="1651" y="2027"/>
              <a:ext cx="116" cy="4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ctr" defTabSz="910365" eaLnBrk="0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ko-KR" sz="4000" kern="0">
                <a:solidFill>
                  <a:srgbClr val="FF0000"/>
                </a:solidFill>
                <a:latin typeface="HY견고딕" pitchFamily="18" charset="-127"/>
                <a:ea typeface="HY견고딕" pitchFamily="18" charset="-127"/>
              </a:endParaRPr>
            </a:p>
          </p:txBody>
        </p:sp>
      </p:grpSp>
      <p:grpSp>
        <p:nvGrpSpPr>
          <p:cNvPr id="100" name="Group 105"/>
          <p:cNvGrpSpPr>
            <a:grpSpLocks/>
          </p:cNvGrpSpPr>
          <p:nvPr/>
        </p:nvGrpSpPr>
        <p:grpSpPr bwMode="auto">
          <a:xfrm>
            <a:off x="5777762" y="1739079"/>
            <a:ext cx="1727199" cy="1511300"/>
            <a:chOff x="1186" y="1831"/>
            <a:chExt cx="1088" cy="952"/>
          </a:xfrm>
        </p:grpSpPr>
        <p:sp>
          <p:nvSpPr>
            <p:cNvPr id="101" name="Oval 106"/>
            <p:cNvSpPr>
              <a:spLocks noChangeArrowheads="1"/>
            </p:cNvSpPr>
            <p:nvPr/>
          </p:nvSpPr>
          <p:spPr bwMode="gray">
            <a:xfrm>
              <a:off x="1648" y="2108"/>
              <a:ext cx="164" cy="401"/>
            </a:xfrm>
            <a:prstGeom prst="ellipse">
              <a:avLst/>
            </a:prstGeom>
            <a:gradFill rotWithShape="1">
              <a:gsLst>
                <a:gs pos="0">
                  <a:srgbClr val="99CC00">
                    <a:gamma/>
                    <a:tint val="0"/>
                    <a:invGamma/>
                  </a:srgbClr>
                </a:gs>
                <a:gs pos="50000">
                  <a:srgbClr val="99CC00"/>
                </a:gs>
                <a:gs pos="100000">
                  <a:srgbClr val="99CC00">
                    <a:gamma/>
                    <a:tint val="0"/>
                    <a:invGamma/>
                  </a:srgb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algn="ctr" defTabSz="910365" fontAlgn="auto" latinLnBrk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800" kern="0">
                <a:solidFill>
                  <a:srgbClr val="333399"/>
                </a:solidFill>
                <a:ea typeface="태 나무" pitchFamily="18" charset="-127"/>
              </a:endParaRPr>
            </a:p>
          </p:txBody>
        </p:sp>
        <p:sp>
          <p:nvSpPr>
            <p:cNvPr id="102" name="Oval 107"/>
            <p:cNvSpPr>
              <a:spLocks noChangeArrowheads="1"/>
            </p:cNvSpPr>
            <p:nvPr/>
          </p:nvSpPr>
          <p:spPr bwMode="gray">
            <a:xfrm>
              <a:off x="1648" y="2108"/>
              <a:ext cx="164" cy="401"/>
            </a:xfrm>
            <a:prstGeom prst="ellipse">
              <a:avLst/>
            </a:prstGeom>
            <a:solidFill>
              <a:srgbClr val="FF0000">
                <a:alpha val="32001"/>
              </a:srgb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wrap="none" anchor="ctr">
              <a:spAutoFit/>
            </a:bodyPr>
            <a:lstStyle/>
            <a:p>
              <a:pPr algn="ctr" defTabSz="910365" fontAlgn="auto" latinLnBrk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800" kern="0">
                <a:solidFill>
                  <a:srgbClr val="333399"/>
                </a:solidFill>
                <a:ea typeface="태 나무" pitchFamily="18" charset="-127"/>
              </a:endParaRPr>
            </a:p>
          </p:txBody>
        </p:sp>
        <p:sp>
          <p:nvSpPr>
            <p:cNvPr id="103" name="Oval 108"/>
            <p:cNvSpPr>
              <a:spLocks noChangeArrowheads="1"/>
            </p:cNvSpPr>
            <p:nvPr/>
          </p:nvSpPr>
          <p:spPr bwMode="gray">
            <a:xfrm>
              <a:off x="1186" y="2107"/>
              <a:ext cx="1087" cy="403"/>
            </a:xfrm>
            <a:prstGeom prst="ellipse">
              <a:avLst/>
            </a:prstGeom>
            <a:gradFill rotWithShape="1">
              <a:gsLst>
                <a:gs pos="0">
                  <a:srgbClr val="99CC00">
                    <a:gamma/>
                    <a:shade val="54118"/>
                    <a:invGamma/>
                  </a:srgbClr>
                </a:gs>
                <a:gs pos="50000">
                  <a:srgbClr val="99CC00"/>
                </a:gs>
                <a:gs pos="100000">
                  <a:srgbClr val="99CC00">
                    <a:gamma/>
                    <a:shade val="54118"/>
                    <a:invGamma/>
                  </a:srgbClr>
                </a:gs>
              </a:gsLst>
              <a:lin ang="189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pPr algn="ctr" defTabSz="910365" fontAlgn="auto" latinLnBrk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800" kern="0">
                <a:solidFill>
                  <a:srgbClr val="333399"/>
                </a:solidFill>
                <a:ea typeface="태 나무" pitchFamily="18" charset="-127"/>
              </a:endParaRPr>
            </a:p>
          </p:txBody>
        </p:sp>
        <p:sp>
          <p:nvSpPr>
            <p:cNvPr id="104" name="Oval 109"/>
            <p:cNvSpPr>
              <a:spLocks noChangeArrowheads="1"/>
            </p:cNvSpPr>
            <p:nvPr/>
          </p:nvSpPr>
          <p:spPr bwMode="gray">
            <a:xfrm>
              <a:off x="1187" y="2109"/>
              <a:ext cx="1087" cy="403"/>
            </a:xfrm>
            <a:prstGeom prst="ellipse">
              <a:avLst/>
            </a:prstGeom>
            <a:gradFill rotWithShape="1">
              <a:gsLst>
                <a:gs pos="0">
                  <a:srgbClr val="99CC00">
                    <a:gamma/>
                    <a:shade val="63529"/>
                    <a:invGamma/>
                  </a:srgbClr>
                </a:gs>
                <a:gs pos="100000">
                  <a:srgbClr val="99CC00">
                    <a:alpha val="0"/>
                  </a:srgbClr>
                </a:gs>
              </a:gsLst>
              <a:lin ang="27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pPr algn="ctr" defTabSz="910365" fontAlgn="auto" latinLnBrk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800" kern="0">
                <a:solidFill>
                  <a:srgbClr val="333399"/>
                </a:solidFill>
                <a:ea typeface="태 나무" pitchFamily="18" charset="-127"/>
              </a:endParaRPr>
            </a:p>
          </p:txBody>
        </p:sp>
        <p:sp>
          <p:nvSpPr>
            <p:cNvPr id="105" name="Oval 110"/>
            <p:cNvSpPr>
              <a:spLocks noChangeArrowheads="1"/>
            </p:cNvSpPr>
            <p:nvPr/>
          </p:nvSpPr>
          <p:spPr bwMode="gray">
            <a:xfrm>
              <a:off x="1240" y="2107"/>
              <a:ext cx="979" cy="403"/>
            </a:xfrm>
            <a:prstGeom prst="ellipse">
              <a:avLst/>
            </a:prstGeom>
            <a:solidFill>
              <a:srgbClr val="333333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38100" algn="ctr">
                  <a:solidFill>
                    <a:schemeClr val="bg1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109250" dir="3267739" algn="ctr" rotWithShape="0">
                      <a:srgbClr val="808080">
                        <a:alpha val="50000"/>
                      </a:srgbClr>
                    </a:outerShdw>
                  </a:effectLst>
                </a14:hiddenEffects>
              </a:ext>
            </a:extLst>
          </p:spPr>
          <p:txBody>
            <a:bodyPr anchor="ctr">
              <a:spAutoFit/>
            </a:bodyPr>
            <a:lstStyle/>
            <a:p>
              <a:pPr algn="ctr" defTabSz="910365" fontAlgn="auto" latinLnBrk="0">
                <a:lnSpc>
                  <a:spcPct val="13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en-US" sz="1800" kern="0">
                <a:solidFill>
                  <a:srgbClr val="333399"/>
                </a:solidFill>
                <a:ea typeface="태 나무" pitchFamily="18" charset="-127"/>
              </a:endParaRPr>
            </a:p>
          </p:txBody>
        </p:sp>
        <p:grpSp>
          <p:nvGrpSpPr>
            <p:cNvPr id="106" name="Group 111"/>
            <p:cNvGrpSpPr>
              <a:grpSpLocks/>
            </p:cNvGrpSpPr>
            <p:nvPr/>
          </p:nvGrpSpPr>
          <p:grpSpPr bwMode="auto">
            <a:xfrm>
              <a:off x="1256" y="1831"/>
              <a:ext cx="947" cy="952"/>
              <a:chOff x="4166" y="1706"/>
              <a:chExt cx="1252" cy="1252"/>
            </a:xfrm>
          </p:grpSpPr>
          <p:sp>
            <p:nvSpPr>
              <p:cNvPr id="108" name="Oval 112"/>
              <p:cNvSpPr>
                <a:spLocks noChangeArrowheads="1"/>
              </p:cNvSpPr>
              <p:nvPr/>
            </p:nvSpPr>
            <p:spPr bwMode="gray">
              <a:xfrm>
                <a:off x="4166" y="1706"/>
                <a:ext cx="1252" cy="1252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shade val="46275"/>
                      <a:invGamma/>
                    </a:srgbClr>
                  </a:gs>
                  <a:gs pos="100000">
                    <a:srgbClr val="D6E1E2"/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pPr algn="ctr" defTabSz="910365" fontAlgn="auto" latinLnBrk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 kern="0">
                  <a:solidFill>
                    <a:srgbClr val="333399"/>
                  </a:solidFill>
                  <a:ea typeface="태 나무" pitchFamily="18" charset="-127"/>
                </a:endParaRPr>
              </a:p>
            </p:txBody>
          </p:sp>
          <p:sp>
            <p:nvSpPr>
              <p:cNvPr id="109" name="Oval 113"/>
              <p:cNvSpPr>
                <a:spLocks noChangeArrowheads="1"/>
              </p:cNvSpPr>
              <p:nvPr/>
            </p:nvSpPr>
            <p:spPr bwMode="gray">
              <a:xfrm>
                <a:off x="4182" y="1713"/>
                <a:ext cx="1222" cy="1221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alpha val="0"/>
                    </a:srgbClr>
                  </a:gs>
                  <a:gs pos="100000">
                    <a:srgbClr val="D6E1E2">
                      <a:gamma/>
                      <a:tint val="34902"/>
                      <a:invGamma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pPr algn="ctr" defTabSz="910365" fontAlgn="auto" latinLnBrk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 kern="0">
                  <a:solidFill>
                    <a:srgbClr val="333399"/>
                  </a:solidFill>
                  <a:ea typeface="태 나무" pitchFamily="18" charset="-127"/>
                </a:endParaRPr>
              </a:p>
            </p:txBody>
          </p:sp>
          <p:sp>
            <p:nvSpPr>
              <p:cNvPr id="110" name="Oval 114"/>
              <p:cNvSpPr>
                <a:spLocks noChangeArrowheads="1"/>
              </p:cNvSpPr>
              <p:nvPr/>
            </p:nvSpPr>
            <p:spPr bwMode="gray">
              <a:xfrm>
                <a:off x="4195" y="1725"/>
                <a:ext cx="1162" cy="1141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shade val="79216"/>
                      <a:invGamma/>
                    </a:srgbClr>
                  </a:gs>
                  <a:gs pos="100000">
                    <a:srgbClr val="D6E1E2">
                      <a:alpha val="48000"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pPr algn="ctr" defTabSz="910365" fontAlgn="auto" latinLnBrk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 kern="0">
                  <a:solidFill>
                    <a:srgbClr val="333399"/>
                  </a:solidFill>
                  <a:ea typeface="태 나무" pitchFamily="18" charset="-127"/>
                </a:endParaRPr>
              </a:p>
            </p:txBody>
          </p:sp>
          <p:sp>
            <p:nvSpPr>
              <p:cNvPr id="111" name="Oval 115"/>
              <p:cNvSpPr>
                <a:spLocks noChangeArrowheads="1"/>
              </p:cNvSpPr>
              <p:nvPr/>
            </p:nvSpPr>
            <p:spPr bwMode="gray">
              <a:xfrm>
                <a:off x="4263" y="1757"/>
                <a:ext cx="1033" cy="926"/>
              </a:xfrm>
              <a:prstGeom prst="ellipse">
                <a:avLst/>
              </a:prstGeom>
              <a:gradFill rotWithShape="1">
                <a:gsLst>
                  <a:gs pos="0">
                    <a:srgbClr val="D6E1E2">
                      <a:gamma/>
                      <a:tint val="0"/>
                      <a:invGamma/>
                    </a:srgbClr>
                  </a:gs>
                  <a:gs pos="100000">
                    <a:srgbClr val="D6E1E2">
                      <a:alpha val="38000"/>
                    </a:srgbClr>
                  </a:gs>
                </a:gsLst>
                <a:lin ang="5400000" scaled="1"/>
              </a:gra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w="9525" algn="ctr">
                    <a:solidFill>
                      <a:schemeClr val="tx1"/>
                    </a:solidFill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eaVert" wrap="none" anchor="ctr"/>
              <a:lstStyle/>
              <a:p>
                <a:pPr algn="ctr" defTabSz="910365" fontAlgn="auto" latinLnBrk="0">
                  <a:lnSpc>
                    <a:spcPct val="130000"/>
                  </a:lnSpc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kumimoji="0" lang="ko-KR" altLang="en-US" sz="1800" kern="0">
                  <a:solidFill>
                    <a:srgbClr val="333399"/>
                  </a:solidFill>
                  <a:ea typeface="태 나무" pitchFamily="18" charset="-127"/>
                </a:endParaRPr>
              </a:p>
            </p:txBody>
          </p:sp>
        </p:grpSp>
        <p:sp>
          <p:nvSpPr>
            <p:cNvPr id="107" name="Text Box 116"/>
            <p:cNvSpPr txBox="1">
              <a:spLocks noChangeArrowheads="1"/>
            </p:cNvSpPr>
            <p:nvPr/>
          </p:nvSpPr>
          <p:spPr bwMode="gray">
            <a:xfrm>
              <a:off x="1651" y="2027"/>
              <a:ext cx="116" cy="48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 algn="ctr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>
              <a:spAutoFit/>
            </a:bodyPr>
            <a:lstStyle/>
            <a:p>
              <a:pPr algn="ctr" defTabSz="910365" eaLnBrk="0" fontAlgn="auto" latinLnBrk="0" hangingPunct="0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endParaRPr kumimoji="0" lang="ko-KR" altLang="ko-KR" sz="4000" kern="0">
                <a:solidFill>
                  <a:srgbClr val="FF0000"/>
                </a:solidFill>
                <a:latin typeface="HY견고딕" pitchFamily="18" charset="-127"/>
                <a:ea typeface="HY견고딕" pitchFamily="18" charset="-127"/>
              </a:endParaRPr>
            </a:p>
          </p:txBody>
        </p:sp>
      </p:grpSp>
      <p:sp>
        <p:nvSpPr>
          <p:cNvPr id="112" name="Rectangle 117"/>
          <p:cNvSpPr>
            <a:spLocks noChangeArrowheads="1"/>
          </p:cNvSpPr>
          <p:nvPr/>
        </p:nvSpPr>
        <p:spPr bwMode="auto">
          <a:xfrm>
            <a:off x="3477475" y="2108969"/>
            <a:ext cx="1706563" cy="685800"/>
          </a:xfrm>
          <a:prstGeom prst="rect">
            <a:avLst/>
          </a:prstGeom>
          <a:gradFill rotWithShape="1">
            <a:gsLst>
              <a:gs pos="0">
                <a:srgbClr val="0033CC"/>
              </a:gs>
              <a:gs pos="50000">
                <a:srgbClr val="FFFFFF"/>
              </a:gs>
              <a:gs pos="100000">
                <a:srgbClr val="0033CC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040" tIns="45521" rIns="91040" bIns="45521" anchor="ctr"/>
          <a:lstStyle/>
          <a:p>
            <a:pPr algn="ctr" eaLnBrk="0" latinLnBrk="0" hangingPunct="0"/>
            <a:r>
              <a:rPr kumimoji="0" lang="ko-KR" altLang="en-US" sz="4000">
                <a:solidFill>
                  <a:srgbClr val="FF0000"/>
                </a:solidFill>
                <a:latin typeface="HY견고딕" pitchFamily="18" charset="-127"/>
                <a:ea typeface="HY견고딕" pitchFamily="18" charset="-127"/>
              </a:rPr>
              <a:t>개량</a:t>
            </a:r>
          </a:p>
        </p:txBody>
      </p:sp>
      <p:sp>
        <p:nvSpPr>
          <p:cNvPr id="113" name="Rectangle 121"/>
          <p:cNvSpPr>
            <a:spLocks noChangeArrowheads="1"/>
          </p:cNvSpPr>
          <p:nvPr/>
        </p:nvSpPr>
        <p:spPr bwMode="auto">
          <a:xfrm>
            <a:off x="7654191" y="2108969"/>
            <a:ext cx="1706562" cy="685800"/>
          </a:xfrm>
          <a:prstGeom prst="rect">
            <a:avLst/>
          </a:prstGeom>
          <a:gradFill rotWithShape="1">
            <a:gsLst>
              <a:gs pos="0">
                <a:srgbClr val="0000FF"/>
              </a:gs>
              <a:gs pos="50000">
                <a:srgbClr val="FFFFFF"/>
              </a:gs>
              <a:gs pos="100000">
                <a:srgbClr val="0000FF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040" tIns="45521" rIns="91040" bIns="45521" anchor="ctr"/>
          <a:lstStyle/>
          <a:p>
            <a:pPr algn="ctr" eaLnBrk="0" latinLnBrk="0" hangingPunct="0"/>
            <a:r>
              <a:rPr kumimoji="0" lang="ko-KR" altLang="en-US" sz="4000">
                <a:solidFill>
                  <a:srgbClr val="CC00CC"/>
                </a:solidFill>
                <a:latin typeface="HY견고딕" pitchFamily="18" charset="-127"/>
                <a:ea typeface="HY견고딕" pitchFamily="18" charset="-127"/>
              </a:rPr>
              <a:t>사료</a:t>
            </a:r>
          </a:p>
        </p:txBody>
      </p:sp>
      <p:sp>
        <p:nvSpPr>
          <p:cNvPr id="114" name="Rectangle 122"/>
          <p:cNvSpPr>
            <a:spLocks noChangeArrowheads="1"/>
          </p:cNvSpPr>
          <p:nvPr/>
        </p:nvSpPr>
        <p:spPr bwMode="auto">
          <a:xfrm>
            <a:off x="3456842" y="4236222"/>
            <a:ext cx="1706562" cy="685800"/>
          </a:xfrm>
          <a:prstGeom prst="rect">
            <a:avLst/>
          </a:prstGeom>
          <a:gradFill rotWithShape="1">
            <a:gsLst>
              <a:gs pos="0">
                <a:srgbClr val="0000FF"/>
              </a:gs>
              <a:gs pos="50000">
                <a:srgbClr val="FFFFFF"/>
              </a:gs>
              <a:gs pos="100000">
                <a:srgbClr val="0000FF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040" tIns="45521" rIns="91040" bIns="45521" anchor="ctr"/>
          <a:lstStyle/>
          <a:p>
            <a:pPr algn="ctr" eaLnBrk="0" latinLnBrk="0" hangingPunct="0"/>
            <a:r>
              <a:rPr kumimoji="0" lang="ko-KR" altLang="en-US" sz="4000">
                <a:solidFill>
                  <a:srgbClr val="008000"/>
                </a:solidFill>
                <a:latin typeface="HY견고딕" pitchFamily="18" charset="-127"/>
                <a:ea typeface="HY견고딕" pitchFamily="18" charset="-127"/>
              </a:rPr>
              <a:t>사양</a:t>
            </a:r>
          </a:p>
        </p:txBody>
      </p:sp>
      <p:sp>
        <p:nvSpPr>
          <p:cNvPr id="115" name="Rectangle 123"/>
          <p:cNvSpPr>
            <a:spLocks noChangeArrowheads="1"/>
          </p:cNvSpPr>
          <p:nvPr/>
        </p:nvSpPr>
        <p:spPr bwMode="auto">
          <a:xfrm>
            <a:off x="7704988" y="4236222"/>
            <a:ext cx="1706562" cy="685800"/>
          </a:xfrm>
          <a:prstGeom prst="rect">
            <a:avLst/>
          </a:prstGeom>
          <a:gradFill rotWithShape="1">
            <a:gsLst>
              <a:gs pos="0">
                <a:srgbClr val="0000FF"/>
              </a:gs>
              <a:gs pos="50000">
                <a:srgbClr val="FFFFFF"/>
              </a:gs>
              <a:gs pos="100000">
                <a:srgbClr val="0000FF"/>
              </a:gs>
            </a:gsLst>
            <a:lin ang="540000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040" tIns="45521" rIns="91040" bIns="45521" anchor="ctr"/>
          <a:lstStyle/>
          <a:p>
            <a:pPr algn="ctr" eaLnBrk="0" latinLnBrk="0" hangingPunct="0"/>
            <a:r>
              <a:rPr kumimoji="0" lang="ko-KR" altLang="en-US" sz="4000">
                <a:solidFill>
                  <a:srgbClr val="0000FF"/>
                </a:solidFill>
                <a:latin typeface="HY견고딕" pitchFamily="18" charset="-127"/>
                <a:ea typeface="HY견고딕" pitchFamily="18" charset="-127"/>
              </a:rPr>
              <a:t>환경</a:t>
            </a:r>
          </a:p>
        </p:txBody>
      </p:sp>
      <p:sp>
        <p:nvSpPr>
          <p:cNvPr id="116" name="Rectangle 124"/>
          <p:cNvSpPr>
            <a:spLocks noChangeArrowheads="1"/>
          </p:cNvSpPr>
          <p:nvPr/>
        </p:nvSpPr>
        <p:spPr bwMode="auto">
          <a:xfrm>
            <a:off x="1943950" y="2147068"/>
            <a:ext cx="1152525" cy="655638"/>
          </a:xfrm>
          <a:prstGeom prst="rect">
            <a:avLst/>
          </a:prstGeom>
          <a:gradFill rotWithShape="0">
            <a:gsLst>
              <a:gs pos="0">
                <a:srgbClr val="CC9900"/>
              </a:gs>
              <a:gs pos="50000">
                <a:srgbClr val="FFFFFF"/>
              </a:gs>
              <a:gs pos="100000">
                <a:srgbClr val="CC9900"/>
              </a:gs>
            </a:gsLst>
            <a:lin ang="5400000" scaled="1"/>
          </a:gradFill>
          <a:ln w="57150" cmpd="thinThick">
            <a:solidFill>
              <a:srgbClr val="6633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040" tIns="45521" rIns="91040" bIns="45521" anchor="ctr"/>
          <a:lstStyle>
            <a:lvl1pPr algn="l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algn="l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algn="l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algn="l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algn="l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/>
            <a:r>
              <a:rPr lang="en-US" altLang="ko-KR" sz="2900" dirty="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</a:rPr>
              <a:t>30%</a:t>
            </a:r>
          </a:p>
        </p:txBody>
      </p:sp>
      <p:sp>
        <p:nvSpPr>
          <p:cNvPr id="117" name="Rectangle 125"/>
          <p:cNvSpPr>
            <a:spLocks noChangeArrowheads="1"/>
          </p:cNvSpPr>
          <p:nvPr/>
        </p:nvSpPr>
        <p:spPr bwMode="auto">
          <a:xfrm>
            <a:off x="1872513" y="4236218"/>
            <a:ext cx="1152525" cy="655638"/>
          </a:xfrm>
          <a:prstGeom prst="rect">
            <a:avLst/>
          </a:prstGeom>
          <a:gradFill rotWithShape="0">
            <a:gsLst>
              <a:gs pos="0">
                <a:srgbClr val="CC9900"/>
              </a:gs>
              <a:gs pos="50000">
                <a:srgbClr val="FFFFFF"/>
              </a:gs>
              <a:gs pos="100000">
                <a:srgbClr val="CC9900"/>
              </a:gs>
            </a:gsLst>
            <a:lin ang="5400000" scaled="1"/>
          </a:gradFill>
          <a:ln w="57150" cmpd="thinThick">
            <a:solidFill>
              <a:srgbClr val="6633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040" tIns="45521" rIns="91040" bIns="45521" anchor="ctr"/>
          <a:lstStyle>
            <a:lvl1pPr algn="l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algn="l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algn="l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algn="l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algn="l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/>
            <a:r>
              <a:rPr lang="en-US" altLang="ko-KR" sz="290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</a:rPr>
              <a:t>40%</a:t>
            </a:r>
          </a:p>
        </p:txBody>
      </p:sp>
      <p:sp>
        <p:nvSpPr>
          <p:cNvPr id="118" name="Rectangle 126"/>
          <p:cNvSpPr>
            <a:spLocks noChangeArrowheads="1"/>
          </p:cNvSpPr>
          <p:nvPr/>
        </p:nvSpPr>
        <p:spPr bwMode="auto">
          <a:xfrm>
            <a:off x="6047638" y="2147068"/>
            <a:ext cx="1152525" cy="655638"/>
          </a:xfrm>
          <a:prstGeom prst="rect">
            <a:avLst/>
          </a:prstGeom>
          <a:gradFill rotWithShape="0">
            <a:gsLst>
              <a:gs pos="0">
                <a:srgbClr val="CC9900"/>
              </a:gs>
              <a:gs pos="50000">
                <a:srgbClr val="FFFFFF"/>
              </a:gs>
              <a:gs pos="100000">
                <a:srgbClr val="CC9900"/>
              </a:gs>
            </a:gsLst>
            <a:lin ang="5400000" scaled="1"/>
          </a:gradFill>
          <a:ln w="57150" cmpd="thinThick">
            <a:solidFill>
              <a:srgbClr val="6633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040" tIns="45521" rIns="91040" bIns="45521" anchor="ctr"/>
          <a:lstStyle>
            <a:lvl1pPr algn="l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algn="l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algn="l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algn="l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algn="l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/>
            <a:r>
              <a:rPr lang="en-US" altLang="ko-KR" sz="2900" dirty="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</a:rPr>
              <a:t>20%</a:t>
            </a:r>
          </a:p>
        </p:txBody>
      </p:sp>
      <p:sp>
        <p:nvSpPr>
          <p:cNvPr id="119" name="Rectangle 127"/>
          <p:cNvSpPr>
            <a:spLocks noChangeArrowheads="1"/>
          </p:cNvSpPr>
          <p:nvPr/>
        </p:nvSpPr>
        <p:spPr bwMode="auto">
          <a:xfrm>
            <a:off x="6120664" y="4236218"/>
            <a:ext cx="1152525" cy="655638"/>
          </a:xfrm>
          <a:prstGeom prst="rect">
            <a:avLst/>
          </a:prstGeom>
          <a:gradFill rotWithShape="0">
            <a:gsLst>
              <a:gs pos="0">
                <a:srgbClr val="CC9900"/>
              </a:gs>
              <a:gs pos="50000">
                <a:srgbClr val="FFFFFF"/>
              </a:gs>
              <a:gs pos="100000">
                <a:srgbClr val="CC9900"/>
              </a:gs>
            </a:gsLst>
            <a:lin ang="5400000" scaled="1"/>
          </a:gradFill>
          <a:ln w="57150" cmpd="thinThick">
            <a:solidFill>
              <a:srgbClr val="6633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1040" tIns="45521" rIns="91040" bIns="45521" anchor="ctr"/>
          <a:lstStyle>
            <a:lvl1pPr algn="l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1pPr>
            <a:lvl2pPr algn="l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2pPr>
            <a:lvl3pPr algn="l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3pPr>
            <a:lvl4pPr algn="l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4pPr>
            <a:lvl5pPr algn="l"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굴림" pitchFamily="50" charset="-127"/>
                <a:ea typeface="굴림" pitchFamily="50" charset="-127"/>
              </a:defRPr>
            </a:lvl9pPr>
          </a:lstStyle>
          <a:p>
            <a:pPr algn="ctr"/>
            <a:r>
              <a:rPr lang="en-US" altLang="ko-KR" sz="290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</a:rPr>
              <a:t>10%</a:t>
            </a:r>
          </a:p>
        </p:txBody>
      </p:sp>
    </p:spTree>
    <p:extLst>
      <p:ext uri="{BB962C8B-B14F-4D97-AF65-F5344CB8AC3E}">
        <p14:creationId xmlns:p14="http://schemas.microsoft.com/office/powerpoint/2010/main" val="299512647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0" y="0"/>
          <a:ext cx="10693400" cy="7580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8032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6" y="121088"/>
            <a:ext cx="183923" cy="215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040" tIns="45521" rIns="91040" bIns="45521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16" y="121088"/>
            <a:ext cx="183923" cy="215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040" tIns="45521" rIns="91040" bIns="45521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8" name="Rectangle 101"/>
          <p:cNvSpPr>
            <a:spLocks noChangeArrowheads="1"/>
          </p:cNvSpPr>
          <p:nvPr/>
        </p:nvSpPr>
        <p:spPr bwMode="auto">
          <a:xfrm>
            <a:off x="-8895" y="159188"/>
            <a:ext cx="5652120" cy="641356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rgbClr val="99CCFF"/>
              </a:gs>
            </a:gsLst>
            <a:path path="shape">
              <a:fillToRect l="50000" t="50000" r="50000" b="50000"/>
            </a:path>
          </a:gradFill>
          <a:ln w="9525" algn="ctr">
            <a:noFill/>
            <a:miter lim="800000"/>
            <a:headEnd/>
            <a:tailEnd/>
          </a:ln>
          <a:effectLst/>
          <a:scene3d>
            <a:camera prst="legacyObliqueTopRight"/>
            <a:lightRig rig="legacyFlat3" dir="b"/>
          </a:scene3d>
          <a:sp3d extrusionH="430200" prstMaterial="legacyMatte">
            <a:bevelT w="13500" h="13500" prst="angle"/>
            <a:bevelB w="13500" h="13500" prst="angle"/>
            <a:extrusionClr>
              <a:srgbClr val="99CCFF"/>
            </a:extrusionClr>
          </a:sp3d>
        </p:spPr>
        <p:txBody>
          <a:bodyPr anchor="ctr" anchorCtr="1">
            <a:flatTx/>
          </a:bodyPr>
          <a:lstStyle/>
          <a:p>
            <a:pPr marL="180975" algn="l">
              <a:defRPr/>
            </a:pPr>
            <a:r>
              <a:rPr lang="ko-KR" altLang="en-US" sz="3200" dirty="0" err="1">
                <a:latin typeface="HY견고딕" pitchFamily="18" charset="-127"/>
                <a:ea typeface="HY견고딕" pitchFamily="18" charset="-127"/>
              </a:rPr>
              <a:t>고능력</a:t>
            </a:r>
            <a:r>
              <a:rPr lang="ko-KR" altLang="en-US" sz="3200" dirty="0">
                <a:latin typeface="HY견고딕" pitchFamily="18" charset="-127"/>
                <a:ea typeface="HY견고딕" pitchFamily="18" charset="-127"/>
              </a:rPr>
              <a:t> 암소축군 </a:t>
            </a:r>
            <a:r>
              <a:rPr lang="ko-KR" altLang="en-US" sz="3200" dirty="0" smtClean="0">
                <a:latin typeface="HY견고딕" pitchFamily="18" charset="-127"/>
                <a:ea typeface="HY견고딕" pitchFamily="18" charset="-127"/>
              </a:rPr>
              <a:t>조성사업   </a:t>
            </a:r>
            <a:endParaRPr lang="ko-KR" altLang="en-US" sz="3200" dirty="0">
              <a:solidFill>
                <a:srgbClr val="FFFFFF"/>
              </a:solidFill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9" name="모서리가 둥근 직사각형 8"/>
          <p:cNvSpPr/>
          <p:nvPr/>
        </p:nvSpPr>
        <p:spPr>
          <a:xfrm>
            <a:off x="184845" y="990321"/>
            <a:ext cx="10270755" cy="5751047"/>
          </a:xfrm>
          <a:prstGeom prst="roundRect">
            <a:avLst/>
          </a:prstGeom>
          <a:noFill/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>
              <a:lnSpc>
                <a:spcPts val="3000"/>
              </a:lnSpc>
            </a:pPr>
            <a:r>
              <a:rPr kumimoji="1" lang="en-US" altLang="ko-KR" sz="2000" b="1" dirty="0" smtClean="0">
                <a:latin typeface="HY중고딕" pitchFamily="18" charset="-127"/>
                <a:ea typeface="HY중고딕" pitchFamily="18" charset="-127"/>
                <a:cs typeface="굴림" pitchFamily="50" charset="-127"/>
              </a:rPr>
              <a:t> </a:t>
            </a:r>
            <a:r>
              <a:rPr kumimoji="1" lang="ko-KR" altLang="ko-KR" sz="2800" b="1" dirty="0" smtClean="0">
                <a:latin typeface="HY견고딕" pitchFamily="18" charset="-127"/>
                <a:ea typeface="HY견고딕" pitchFamily="18" charset="-127"/>
                <a:cs typeface="굴림" pitchFamily="50" charset="-127"/>
              </a:rPr>
              <a:t> </a:t>
            </a:r>
            <a:r>
              <a:rPr kumimoji="1" lang="en-US" altLang="ko-KR" sz="2800" b="1" dirty="0" smtClean="0">
                <a:latin typeface="HY견고딕" pitchFamily="18" charset="-127"/>
                <a:ea typeface="HY견고딕" pitchFamily="18" charset="-127"/>
                <a:cs typeface="굴림" pitchFamily="50" charset="-127"/>
              </a:rPr>
              <a:t>    </a:t>
            </a:r>
            <a:r>
              <a:rPr lang="ko-KR" altLang="en-US" sz="2800" b="1" dirty="0" smtClean="0">
                <a:latin typeface="HY견고딕" pitchFamily="18" charset="-127"/>
                <a:ea typeface="HY견고딕" pitchFamily="18" charset="-127"/>
              </a:rPr>
              <a:t>목 적</a:t>
            </a:r>
            <a:endParaRPr lang="en-US" altLang="ko-KR" sz="2800" b="1" dirty="0" smtClean="0">
              <a:latin typeface="HY견고딕" pitchFamily="18" charset="-127"/>
              <a:ea typeface="HY견고딕" pitchFamily="18" charset="-127"/>
            </a:endParaRPr>
          </a:p>
          <a:p>
            <a:pPr>
              <a:lnSpc>
                <a:spcPts val="3000"/>
              </a:lnSpc>
            </a:pPr>
            <a:r>
              <a:rPr lang="en-US" altLang="ko-KR" sz="2000" b="1" dirty="0" smtClean="0">
                <a:latin typeface="HY견고딕" pitchFamily="18" charset="-127"/>
                <a:ea typeface="HY견고딕" pitchFamily="18" charset="-127"/>
              </a:rPr>
              <a:t>       </a:t>
            </a:r>
            <a:r>
              <a:rPr lang="ko-KR" altLang="en-US" sz="2000" dirty="0" smtClean="0">
                <a:latin typeface="HY중고딕" pitchFamily="18" charset="-127"/>
                <a:ea typeface="HY중고딕" pitchFamily="18" charset="-127"/>
              </a:rPr>
              <a:t>전북 </a:t>
            </a:r>
            <a:r>
              <a:rPr lang="ko-KR" altLang="en-US" sz="2000" dirty="0" err="1" smtClean="0">
                <a:latin typeface="HY중고딕" pitchFamily="18" charset="-127"/>
                <a:ea typeface="HY중고딕" pitchFamily="18" charset="-127"/>
              </a:rPr>
              <a:t>고능력</a:t>
            </a:r>
            <a:r>
              <a:rPr lang="ko-KR" altLang="en-US" sz="2000" dirty="0" smtClean="0">
                <a:latin typeface="HY중고딕" pitchFamily="18" charset="-127"/>
                <a:ea typeface="HY중고딕" pitchFamily="18" charset="-127"/>
              </a:rPr>
              <a:t> 암소를 선발 구축하여</a:t>
            </a:r>
            <a:r>
              <a:rPr lang="en-US" altLang="ko-KR" sz="2000" dirty="0" smtClean="0">
                <a:latin typeface="HY중고딕" pitchFamily="18" charset="-127"/>
                <a:ea typeface="HY중고딕" pitchFamily="18" charset="-127"/>
              </a:rPr>
              <a:t>, </a:t>
            </a:r>
            <a:r>
              <a:rPr lang="ko-KR" altLang="en-US" sz="2000" dirty="0" smtClean="0">
                <a:latin typeface="HY중고딕" pitchFamily="18" charset="-127"/>
                <a:ea typeface="HY중고딕" pitchFamily="18" charset="-127"/>
              </a:rPr>
              <a:t>고품질 송아지 생산으로 </a:t>
            </a:r>
            <a:r>
              <a:rPr lang="en-US" altLang="ko-KR" sz="2000" dirty="0" smtClean="0">
                <a:latin typeface="HY중고딕" pitchFamily="18" charset="-127"/>
                <a:ea typeface="HY중고딕" pitchFamily="18" charset="-127"/>
              </a:rPr>
              <a:t> </a:t>
            </a:r>
          </a:p>
          <a:p>
            <a:pPr>
              <a:lnSpc>
                <a:spcPts val="3000"/>
              </a:lnSpc>
            </a:pPr>
            <a:r>
              <a:rPr lang="en-US" altLang="ko-KR" sz="2000" dirty="0" smtClean="0">
                <a:latin typeface="HY중고딕" pitchFamily="18" charset="-127"/>
                <a:ea typeface="HY중고딕" pitchFamily="18" charset="-127"/>
              </a:rPr>
              <a:t>       </a:t>
            </a:r>
            <a:r>
              <a:rPr lang="ko-KR" altLang="en-US" sz="2000" dirty="0" smtClean="0">
                <a:latin typeface="HY중고딕" pitchFamily="18" charset="-127"/>
                <a:ea typeface="HY중고딕" pitchFamily="18" charset="-127"/>
              </a:rPr>
              <a:t>전북 한우만의 차별성과 개량의 성과를 극대화하여 농가소득 향상</a:t>
            </a:r>
            <a:endParaRPr lang="en-US" altLang="ko-KR" sz="2000" dirty="0" smtClean="0">
              <a:latin typeface="HY중고딕" pitchFamily="18" charset="-127"/>
              <a:ea typeface="HY중고딕" pitchFamily="18" charset="-127"/>
            </a:endParaRPr>
          </a:p>
          <a:p>
            <a:pPr>
              <a:lnSpc>
                <a:spcPts val="3000"/>
              </a:lnSpc>
            </a:pPr>
            <a:endParaRPr lang="ko-KR" altLang="en-US" sz="2000" dirty="0" smtClean="0">
              <a:latin typeface="HY견고딕" pitchFamily="18" charset="-127"/>
              <a:ea typeface="HY견고딕" pitchFamily="18" charset="-127"/>
            </a:endParaRPr>
          </a:p>
          <a:p>
            <a:pPr>
              <a:lnSpc>
                <a:spcPts val="3000"/>
              </a:lnSpc>
            </a:pPr>
            <a:r>
              <a:rPr lang="en-US" altLang="ko-KR" sz="2000" b="1" dirty="0" smtClean="0">
                <a:latin typeface="HY견고딕" pitchFamily="18" charset="-127"/>
                <a:ea typeface="HY견고딕" pitchFamily="18" charset="-127"/>
              </a:rPr>
              <a:t> </a:t>
            </a:r>
            <a:r>
              <a:rPr lang="en-US" altLang="ko-KR" sz="2800" b="1" dirty="0" smtClean="0">
                <a:latin typeface="HY견고딕" pitchFamily="18" charset="-127"/>
                <a:ea typeface="HY견고딕" pitchFamily="18" charset="-127"/>
              </a:rPr>
              <a:t>     </a:t>
            </a:r>
            <a:r>
              <a:rPr lang="ko-KR" altLang="en-US" sz="2800" b="1" dirty="0" smtClean="0">
                <a:latin typeface="HY견고딕" pitchFamily="18" charset="-127"/>
                <a:ea typeface="HY견고딕" pitchFamily="18" charset="-127"/>
              </a:rPr>
              <a:t>추 진 현 황</a:t>
            </a:r>
            <a:endParaRPr lang="en-US" altLang="ko-KR" sz="2800" b="1" dirty="0" smtClean="0">
              <a:latin typeface="HY견고딕" pitchFamily="18" charset="-127"/>
              <a:ea typeface="HY견고딕" pitchFamily="18" charset="-127"/>
            </a:endParaRPr>
          </a:p>
          <a:p>
            <a:pPr>
              <a:lnSpc>
                <a:spcPts val="3000"/>
              </a:lnSpc>
            </a:pPr>
            <a:r>
              <a:rPr lang="en-US" altLang="ko-KR" sz="2000" dirty="0" smtClean="0">
                <a:latin typeface="HY중고딕" pitchFamily="18" charset="-127"/>
                <a:ea typeface="HY중고딕" pitchFamily="18" charset="-127"/>
              </a:rPr>
              <a:t>        </a:t>
            </a:r>
            <a:r>
              <a:rPr lang="en-US" altLang="ko-KR" sz="1800" dirty="0" smtClean="0">
                <a:latin typeface="HY중고딕" pitchFamily="18" charset="-127"/>
                <a:ea typeface="HY중고딕" pitchFamily="18" charset="-127"/>
              </a:rPr>
              <a:t>- 4</a:t>
            </a:r>
            <a:r>
              <a:rPr lang="ko-KR" altLang="en-US" sz="1800" dirty="0" smtClean="0">
                <a:latin typeface="HY중고딕" pitchFamily="18" charset="-127"/>
                <a:ea typeface="HY중고딕" pitchFamily="18" charset="-127"/>
              </a:rPr>
              <a:t>개 분석기관 및 추진협의회를 통한 </a:t>
            </a:r>
            <a:r>
              <a:rPr lang="en-US" altLang="ko-KR" sz="1800" dirty="0" smtClean="0">
                <a:latin typeface="HY중고딕" pitchFamily="18" charset="-127"/>
                <a:ea typeface="HY중고딕" pitchFamily="18" charset="-127"/>
              </a:rPr>
              <a:t>3</a:t>
            </a:r>
            <a:r>
              <a:rPr lang="ko-KR" altLang="en-US" sz="1800" dirty="0" err="1" smtClean="0">
                <a:latin typeface="HY중고딕" pitchFamily="18" charset="-127"/>
                <a:ea typeface="HY중고딕" pitchFamily="18" charset="-127"/>
              </a:rPr>
              <a:t>년차</a:t>
            </a:r>
            <a:r>
              <a:rPr lang="ko-KR" altLang="en-US" sz="1800" dirty="0" smtClean="0">
                <a:latin typeface="HY중고딕" pitchFamily="18" charset="-127"/>
                <a:ea typeface="HY중고딕" pitchFamily="18" charset="-127"/>
              </a:rPr>
              <a:t> 선발조건 변경추진</a:t>
            </a:r>
            <a:r>
              <a:rPr lang="en-US" altLang="ko-KR" sz="1800" dirty="0" smtClean="0">
                <a:latin typeface="HY중고딕" pitchFamily="18" charset="-127"/>
                <a:ea typeface="HY중고딕" pitchFamily="18" charset="-127"/>
              </a:rPr>
              <a:t> </a:t>
            </a:r>
          </a:p>
          <a:p>
            <a:pPr>
              <a:lnSpc>
                <a:spcPts val="3000"/>
              </a:lnSpc>
            </a:pPr>
            <a:r>
              <a:rPr lang="en-US" altLang="ko-KR" sz="1800" dirty="0" smtClean="0">
                <a:latin typeface="HY중고딕" pitchFamily="18" charset="-127"/>
                <a:ea typeface="HY중고딕" pitchFamily="18" charset="-127"/>
              </a:rPr>
              <a:t>          1</a:t>
            </a:r>
            <a:r>
              <a:rPr lang="ko-KR" altLang="en-US" sz="1800" dirty="0" smtClean="0">
                <a:latin typeface="HY중고딕" pitchFamily="18" charset="-127"/>
                <a:ea typeface="HY중고딕" pitchFamily="18" charset="-127"/>
              </a:rPr>
              <a:t>차년도 </a:t>
            </a:r>
            <a:r>
              <a:rPr lang="en-US" altLang="ko-KR" sz="1800" dirty="0" smtClean="0">
                <a:latin typeface="HY중고딕" pitchFamily="18" charset="-127"/>
                <a:ea typeface="HY중고딕" pitchFamily="18" charset="-127"/>
              </a:rPr>
              <a:t>: </a:t>
            </a:r>
            <a:r>
              <a:rPr lang="ko-KR" altLang="en-US" sz="1800" dirty="0" smtClean="0">
                <a:latin typeface="HY중고딕" pitchFamily="18" charset="-127"/>
                <a:ea typeface="HY중고딕" pitchFamily="18" charset="-127"/>
              </a:rPr>
              <a:t>유전능력 상위 </a:t>
            </a:r>
            <a:r>
              <a:rPr lang="en-US" altLang="ko-KR" sz="1800" dirty="0" smtClean="0">
                <a:latin typeface="HY중고딕" pitchFamily="18" charset="-127"/>
                <a:ea typeface="HY중고딕" pitchFamily="18" charset="-127"/>
              </a:rPr>
              <a:t>30%</a:t>
            </a:r>
            <a:endParaRPr lang="ko-KR" altLang="en-US" sz="1800" dirty="0" smtClean="0">
              <a:latin typeface="HY중고딕" pitchFamily="18" charset="-127"/>
              <a:ea typeface="HY중고딕" pitchFamily="18" charset="-127"/>
            </a:endParaRPr>
          </a:p>
          <a:p>
            <a:pPr>
              <a:lnSpc>
                <a:spcPts val="3000"/>
              </a:lnSpc>
            </a:pPr>
            <a:r>
              <a:rPr lang="en-US" altLang="ko-KR" sz="1800" dirty="0" smtClean="0">
                <a:latin typeface="HY중고딕" pitchFamily="18" charset="-127"/>
                <a:ea typeface="HY중고딕" pitchFamily="18" charset="-127"/>
              </a:rPr>
              <a:t>          2</a:t>
            </a:r>
            <a:r>
              <a:rPr lang="ko-KR" altLang="en-US" sz="1800" dirty="0" smtClean="0">
                <a:latin typeface="HY중고딕" pitchFamily="18" charset="-127"/>
                <a:ea typeface="HY중고딕" pitchFamily="18" charset="-127"/>
              </a:rPr>
              <a:t>차년도</a:t>
            </a:r>
            <a:r>
              <a:rPr lang="en-US" altLang="ko-KR" sz="1800" dirty="0" smtClean="0">
                <a:latin typeface="HY중고딕" pitchFamily="18" charset="-127"/>
                <a:ea typeface="HY중고딕" pitchFamily="18" charset="-127"/>
              </a:rPr>
              <a:t>(</a:t>
            </a:r>
            <a:r>
              <a:rPr lang="ko-KR" altLang="en-US" sz="1800" dirty="0" smtClean="0">
                <a:latin typeface="HY중고딕" pitchFamily="18" charset="-127"/>
                <a:ea typeface="HY중고딕" pitchFamily="18" charset="-127"/>
              </a:rPr>
              <a:t>현행</a:t>
            </a:r>
            <a:r>
              <a:rPr lang="en-US" altLang="ko-KR" sz="1800" dirty="0" smtClean="0">
                <a:latin typeface="HY중고딕" pitchFamily="18" charset="-127"/>
                <a:ea typeface="HY중고딕" pitchFamily="18" charset="-127"/>
              </a:rPr>
              <a:t>) : </a:t>
            </a:r>
            <a:r>
              <a:rPr lang="ko-KR" altLang="en-US" sz="1800" dirty="0" err="1" smtClean="0">
                <a:latin typeface="HY중고딕" pitchFamily="18" charset="-127"/>
                <a:ea typeface="HY중고딕" pitchFamily="18" charset="-127"/>
              </a:rPr>
              <a:t>고등등록우</a:t>
            </a:r>
            <a:r>
              <a:rPr lang="en-US" altLang="ko-KR" sz="1800" dirty="0" smtClean="0">
                <a:latin typeface="HY중고딕" pitchFamily="18" charset="-127"/>
                <a:ea typeface="HY중고딕" pitchFamily="18" charset="-127"/>
              </a:rPr>
              <a:t>, </a:t>
            </a:r>
            <a:r>
              <a:rPr lang="ko-KR" altLang="en-US" sz="1800" dirty="0" smtClean="0">
                <a:latin typeface="HY중고딕" pitchFamily="18" charset="-127"/>
                <a:ea typeface="HY중고딕" pitchFamily="18" charset="-127"/>
              </a:rPr>
              <a:t>혈통지수 상위 </a:t>
            </a:r>
            <a:r>
              <a:rPr lang="en-US" altLang="ko-KR" sz="1800" dirty="0" smtClean="0">
                <a:latin typeface="HY중고딕" pitchFamily="18" charset="-127"/>
                <a:ea typeface="HY중고딕" pitchFamily="18" charset="-127"/>
              </a:rPr>
              <a:t>30%(</a:t>
            </a:r>
            <a:r>
              <a:rPr lang="ko-KR" altLang="en-US" sz="1800" dirty="0" smtClean="0">
                <a:latin typeface="HY중고딕" pitchFamily="18" charset="-127"/>
                <a:ea typeface="HY중고딕" pitchFamily="18" charset="-127"/>
              </a:rPr>
              <a:t>개체 및 어미 선형심사 </a:t>
            </a:r>
            <a:r>
              <a:rPr lang="en-US" altLang="ko-KR" sz="1800" dirty="0" smtClean="0">
                <a:latin typeface="HY중고딕" pitchFamily="18" charset="-127"/>
                <a:ea typeface="HY중고딕" pitchFamily="18" charset="-127"/>
              </a:rPr>
              <a:t>79</a:t>
            </a:r>
            <a:r>
              <a:rPr lang="ko-KR" altLang="en-US" sz="1800" dirty="0" smtClean="0">
                <a:latin typeface="HY중고딕" pitchFamily="18" charset="-127"/>
                <a:ea typeface="HY중고딕" pitchFamily="18" charset="-127"/>
              </a:rPr>
              <a:t>점</a:t>
            </a:r>
            <a:r>
              <a:rPr lang="en-US" altLang="ko-KR" sz="1800" dirty="0" smtClean="0">
                <a:latin typeface="HY중고딕" pitchFamily="18" charset="-127"/>
                <a:ea typeface="HY중고딕" pitchFamily="18" charset="-127"/>
              </a:rPr>
              <a:t>), </a:t>
            </a:r>
            <a:endParaRPr lang="ko-KR" altLang="en-US" sz="1800" dirty="0" smtClean="0">
              <a:latin typeface="HY중고딕" pitchFamily="18" charset="-127"/>
              <a:ea typeface="HY중고딕" pitchFamily="18" charset="-127"/>
            </a:endParaRPr>
          </a:p>
          <a:p>
            <a:pPr>
              <a:lnSpc>
                <a:spcPts val="3000"/>
              </a:lnSpc>
            </a:pPr>
            <a:r>
              <a:rPr lang="ko-KR" altLang="en-US" sz="1800" dirty="0" smtClean="0">
                <a:latin typeface="HY중고딕" pitchFamily="18" charset="-127"/>
                <a:ea typeface="HY중고딕" pitchFamily="18" charset="-127"/>
              </a:rPr>
              <a:t>                            후대도축성적</a:t>
            </a:r>
            <a:r>
              <a:rPr lang="en-US" altLang="ko-KR" sz="1800" dirty="0" smtClean="0">
                <a:latin typeface="HY중고딕" pitchFamily="18" charset="-127"/>
                <a:ea typeface="HY중고딕" pitchFamily="18" charset="-127"/>
              </a:rPr>
              <a:t>( </a:t>
            </a:r>
            <a:r>
              <a:rPr lang="ko-KR" altLang="en-US" sz="1800" dirty="0" err="1" smtClean="0">
                <a:latin typeface="HY중고딕" pitchFamily="18" charset="-127"/>
                <a:ea typeface="HY중고딕" pitchFamily="18" charset="-127"/>
              </a:rPr>
              <a:t>도체중</a:t>
            </a:r>
            <a:r>
              <a:rPr lang="ko-KR" altLang="en-US" sz="1800" dirty="0" smtClean="0">
                <a:latin typeface="HY중고딕" pitchFamily="18" charset="-127"/>
                <a:ea typeface="HY중고딕" pitchFamily="18" charset="-127"/>
              </a:rPr>
              <a:t> </a:t>
            </a:r>
            <a:r>
              <a:rPr lang="en-US" altLang="ko-KR" sz="1800" dirty="0" smtClean="0">
                <a:latin typeface="HY중고딕" pitchFamily="18" charset="-127"/>
                <a:ea typeface="HY중고딕" pitchFamily="18" charset="-127"/>
              </a:rPr>
              <a:t>450kg, </a:t>
            </a:r>
            <a:r>
              <a:rPr lang="ko-KR" altLang="en-US" sz="1800" dirty="0" smtClean="0">
                <a:latin typeface="HY중고딕" pitchFamily="18" charset="-127"/>
                <a:ea typeface="HY중고딕" pitchFamily="18" charset="-127"/>
              </a:rPr>
              <a:t>등심단면적 </a:t>
            </a:r>
            <a:r>
              <a:rPr lang="en-US" altLang="ko-KR" sz="1800" dirty="0" smtClean="0">
                <a:latin typeface="HY중고딕" pitchFamily="18" charset="-127"/>
                <a:ea typeface="HY중고딕" pitchFamily="18" charset="-127"/>
              </a:rPr>
              <a:t>100㎠, </a:t>
            </a:r>
            <a:r>
              <a:rPr lang="ko-KR" altLang="en-US" sz="1800" dirty="0" smtClean="0">
                <a:latin typeface="HY중고딕" pitchFamily="18" charset="-127"/>
                <a:ea typeface="HY중고딕" pitchFamily="18" charset="-127"/>
              </a:rPr>
              <a:t>육질등급 </a:t>
            </a:r>
            <a:r>
              <a:rPr lang="en-US" altLang="ko-KR" sz="1800" dirty="0" smtClean="0">
                <a:latin typeface="HY중고딕" pitchFamily="18" charset="-127"/>
                <a:ea typeface="HY중고딕" pitchFamily="18" charset="-127"/>
              </a:rPr>
              <a:t>1+</a:t>
            </a:r>
            <a:r>
              <a:rPr lang="ko-KR" altLang="en-US" sz="1800" dirty="0" smtClean="0">
                <a:latin typeface="HY중고딕" pitchFamily="18" charset="-127"/>
                <a:ea typeface="HY중고딕" pitchFamily="18" charset="-127"/>
              </a:rPr>
              <a:t>이상</a:t>
            </a:r>
            <a:r>
              <a:rPr lang="en-US" altLang="ko-KR" sz="1800" dirty="0" smtClean="0">
                <a:latin typeface="HY중고딕" pitchFamily="18" charset="-127"/>
                <a:ea typeface="HY중고딕" pitchFamily="18" charset="-127"/>
              </a:rPr>
              <a:t>)</a:t>
            </a:r>
            <a:r>
              <a:rPr lang="ko-KR" altLang="en-US" sz="1800" dirty="0" smtClean="0">
                <a:latin typeface="HY중고딕" pitchFamily="18" charset="-127"/>
                <a:ea typeface="HY중고딕" pitchFamily="18" charset="-127"/>
              </a:rPr>
              <a:t> </a:t>
            </a:r>
          </a:p>
          <a:p>
            <a:pPr>
              <a:lnSpc>
                <a:spcPts val="3000"/>
              </a:lnSpc>
            </a:pPr>
            <a:r>
              <a:rPr lang="en-US" altLang="ko-KR" sz="1800" dirty="0" smtClean="0">
                <a:latin typeface="HY중고딕" pitchFamily="18" charset="-127"/>
                <a:ea typeface="HY중고딕" pitchFamily="18" charset="-127"/>
              </a:rPr>
              <a:t>          </a:t>
            </a:r>
            <a:r>
              <a:rPr lang="en-US" altLang="ko-KR" sz="1800" b="1" dirty="0" smtClean="0">
                <a:latin typeface="HY중고딕" pitchFamily="18" charset="-127"/>
                <a:ea typeface="HY중고딕" pitchFamily="18" charset="-127"/>
              </a:rPr>
              <a:t>3</a:t>
            </a:r>
            <a:r>
              <a:rPr lang="ko-KR" altLang="en-US" sz="1800" b="1" dirty="0" smtClean="0">
                <a:latin typeface="HY중고딕" pitchFamily="18" charset="-127"/>
                <a:ea typeface="HY중고딕" pitchFamily="18" charset="-127"/>
              </a:rPr>
              <a:t>차년도</a:t>
            </a:r>
            <a:r>
              <a:rPr lang="en-US" altLang="ko-KR" sz="1800" b="1" dirty="0" smtClean="0">
                <a:latin typeface="HY중고딕" pitchFamily="18" charset="-127"/>
                <a:ea typeface="HY중고딕" pitchFamily="18" charset="-127"/>
              </a:rPr>
              <a:t>(2018</a:t>
            </a:r>
            <a:r>
              <a:rPr lang="ko-KR" altLang="en-US" sz="1800" b="1" dirty="0" smtClean="0">
                <a:latin typeface="HY중고딕" pitchFamily="18" charset="-127"/>
                <a:ea typeface="HY중고딕" pitchFamily="18" charset="-127"/>
              </a:rPr>
              <a:t>년</a:t>
            </a:r>
            <a:r>
              <a:rPr lang="en-US" altLang="ko-KR" sz="1800" b="1" dirty="0" smtClean="0">
                <a:latin typeface="HY중고딕" pitchFamily="18" charset="-127"/>
                <a:ea typeface="HY중고딕" pitchFamily="18" charset="-127"/>
              </a:rPr>
              <a:t>) </a:t>
            </a:r>
            <a:r>
              <a:rPr lang="ko-KR" altLang="en-US" sz="1800" b="1" dirty="0" smtClean="0">
                <a:latin typeface="HY중고딕" pitchFamily="18" charset="-127"/>
                <a:ea typeface="HY중고딕" pitchFamily="18" charset="-127"/>
              </a:rPr>
              <a:t>개선안 </a:t>
            </a:r>
            <a:r>
              <a:rPr lang="en-US" altLang="ko-KR" sz="1800" b="1" dirty="0" smtClean="0">
                <a:latin typeface="HY중고딕" pitchFamily="18" charset="-127"/>
                <a:ea typeface="HY중고딕" pitchFamily="18" charset="-127"/>
              </a:rPr>
              <a:t>: </a:t>
            </a:r>
            <a:r>
              <a:rPr lang="ko-KR" altLang="en-US" sz="1800" b="1" dirty="0" smtClean="0">
                <a:latin typeface="HY중고딕" pitchFamily="18" charset="-127"/>
                <a:ea typeface="HY중고딕" pitchFamily="18" charset="-127"/>
              </a:rPr>
              <a:t>누적</a:t>
            </a:r>
            <a:r>
              <a:rPr lang="en-US" altLang="ko-KR" sz="1800" b="1" dirty="0" smtClean="0">
                <a:latin typeface="HY중고딕" pitchFamily="18" charset="-127"/>
                <a:ea typeface="HY중고딕" pitchFamily="18" charset="-127"/>
              </a:rPr>
              <a:t>32,000</a:t>
            </a:r>
            <a:r>
              <a:rPr lang="ko-KR" altLang="en-US" sz="1800" b="1" dirty="0" smtClean="0">
                <a:latin typeface="HY중고딕" pitchFamily="18" charset="-127"/>
                <a:ea typeface="HY중고딕" pitchFamily="18" charset="-127"/>
              </a:rPr>
              <a:t>두 선발 </a:t>
            </a:r>
          </a:p>
          <a:p>
            <a:pPr>
              <a:lnSpc>
                <a:spcPts val="3000"/>
              </a:lnSpc>
            </a:pPr>
            <a:r>
              <a:rPr lang="ko-KR" altLang="en-US" sz="1800" b="1" dirty="0" smtClean="0">
                <a:latin typeface="HY중고딕" pitchFamily="18" charset="-127"/>
                <a:ea typeface="HY중고딕" pitchFamily="18" charset="-127"/>
              </a:rPr>
              <a:t>             </a:t>
            </a:r>
            <a:r>
              <a:rPr lang="en-US" altLang="ko-KR" sz="1800" b="1" dirty="0" smtClean="0">
                <a:latin typeface="HY중고딕" pitchFamily="18" charset="-127"/>
                <a:ea typeface="HY중고딕" pitchFamily="18" charset="-127"/>
              </a:rPr>
              <a:t>- </a:t>
            </a:r>
            <a:r>
              <a:rPr lang="ko-KR" altLang="en-US" sz="1800" b="1" dirty="0" smtClean="0">
                <a:latin typeface="HY중고딕" pitchFamily="18" charset="-127"/>
                <a:ea typeface="HY중고딕" pitchFamily="18" charset="-127"/>
              </a:rPr>
              <a:t>현장검정 </a:t>
            </a:r>
            <a:r>
              <a:rPr lang="ko-KR" altLang="en-US" sz="1800" b="1" dirty="0" err="1" smtClean="0">
                <a:latin typeface="HY중고딕" pitchFamily="18" charset="-127"/>
                <a:ea typeface="HY중고딕" pitchFamily="18" charset="-127"/>
              </a:rPr>
              <a:t>육종가</a:t>
            </a:r>
            <a:r>
              <a:rPr lang="ko-KR" altLang="en-US" sz="1800" b="1" dirty="0" smtClean="0">
                <a:latin typeface="HY중고딕" pitchFamily="18" charset="-127"/>
                <a:ea typeface="HY중고딕" pitchFamily="18" charset="-127"/>
              </a:rPr>
              <a:t> 지수 상위 </a:t>
            </a:r>
            <a:r>
              <a:rPr lang="en-US" altLang="ko-KR" sz="1800" b="1" dirty="0" smtClean="0">
                <a:latin typeface="HY중고딕" pitchFamily="18" charset="-127"/>
                <a:ea typeface="HY중고딕" pitchFamily="18" charset="-127"/>
              </a:rPr>
              <a:t>25% </a:t>
            </a:r>
            <a:r>
              <a:rPr lang="ko-KR" altLang="en-US" sz="1800" b="1" dirty="0" smtClean="0">
                <a:latin typeface="HY중고딕" pitchFamily="18" charset="-127"/>
                <a:ea typeface="HY중고딕" pitchFamily="18" charset="-127"/>
              </a:rPr>
              <a:t>이내</a:t>
            </a:r>
            <a:r>
              <a:rPr lang="en-US" altLang="ko-KR" sz="1800" b="1" dirty="0" smtClean="0">
                <a:latin typeface="HY중고딕" pitchFamily="18" charset="-127"/>
                <a:ea typeface="HY중고딕" pitchFamily="18" charset="-127"/>
              </a:rPr>
              <a:t>,  </a:t>
            </a:r>
            <a:r>
              <a:rPr lang="ko-KR" altLang="en-US" sz="1800" b="1" dirty="0" smtClean="0">
                <a:latin typeface="HY중고딕" pitchFamily="18" charset="-127"/>
                <a:ea typeface="HY중고딕" pitchFamily="18" charset="-127"/>
              </a:rPr>
              <a:t>선형심사 종합점수 표현형 </a:t>
            </a:r>
            <a:r>
              <a:rPr lang="en-US" altLang="ko-KR" sz="1800" b="1" dirty="0" smtClean="0">
                <a:latin typeface="HY중고딕" pitchFamily="18" charset="-127"/>
                <a:ea typeface="HY중고딕" pitchFamily="18" charset="-127"/>
              </a:rPr>
              <a:t>: 80</a:t>
            </a:r>
            <a:r>
              <a:rPr lang="ko-KR" altLang="en-US" sz="1800" b="1" dirty="0" err="1" smtClean="0">
                <a:latin typeface="HY중고딕" pitchFamily="18" charset="-127"/>
                <a:ea typeface="HY중고딕" pitchFamily="18" charset="-127"/>
              </a:rPr>
              <a:t>점이상</a:t>
            </a:r>
            <a:endParaRPr lang="ko-KR" altLang="en-US" sz="1800" b="1" dirty="0" smtClean="0">
              <a:latin typeface="HY중고딕" pitchFamily="18" charset="-127"/>
              <a:ea typeface="HY중고딕" pitchFamily="18" charset="-127"/>
            </a:endParaRPr>
          </a:p>
          <a:p>
            <a:pPr>
              <a:lnSpc>
                <a:spcPts val="3000"/>
              </a:lnSpc>
            </a:pPr>
            <a:r>
              <a:rPr lang="en-US" altLang="ko-KR" sz="1800" b="1" dirty="0" smtClean="0">
                <a:latin typeface="HY중고딕" pitchFamily="18" charset="-127"/>
                <a:ea typeface="HY중고딕" pitchFamily="18" charset="-127"/>
              </a:rPr>
              <a:t>             - </a:t>
            </a:r>
            <a:r>
              <a:rPr lang="ko-KR" altLang="en-US" sz="1800" b="1" dirty="0" err="1" smtClean="0">
                <a:latin typeface="HY중고딕" pitchFamily="18" charset="-127"/>
                <a:ea typeface="HY중고딕" pitchFamily="18" charset="-127"/>
              </a:rPr>
              <a:t>후대축</a:t>
            </a:r>
            <a:r>
              <a:rPr lang="ko-KR" altLang="en-US" sz="1800" b="1" dirty="0" smtClean="0">
                <a:latin typeface="HY중고딕" pitchFamily="18" charset="-127"/>
                <a:ea typeface="HY중고딕" pitchFamily="18" charset="-127"/>
              </a:rPr>
              <a:t> 도축성적 아래 기준 이상 </a:t>
            </a:r>
          </a:p>
          <a:p>
            <a:pPr>
              <a:lnSpc>
                <a:spcPts val="3000"/>
              </a:lnSpc>
            </a:pPr>
            <a:r>
              <a:rPr lang="en-US" altLang="ko-KR" sz="1800" b="1" dirty="0" smtClean="0">
                <a:latin typeface="HY중고딕" pitchFamily="18" charset="-127"/>
                <a:ea typeface="HY중고딕" pitchFamily="18" charset="-127"/>
              </a:rPr>
              <a:t>                (</a:t>
            </a:r>
            <a:r>
              <a:rPr lang="ko-KR" altLang="en-US" sz="1800" b="1" dirty="0" err="1" smtClean="0">
                <a:latin typeface="HY중고딕" pitchFamily="18" charset="-127"/>
                <a:ea typeface="HY중고딕" pitchFamily="18" charset="-127"/>
              </a:rPr>
              <a:t>도체중</a:t>
            </a:r>
            <a:r>
              <a:rPr lang="ko-KR" altLang="en-US" sz="1800" b="1" dirty="0" smtClean="0">
                <a:latin typeface="HY중고딕" pitchFamily="18" charset="-127"/>
                <a:ea typeface="HY중고딕" pitchFamily="18" charset="-127"/>
              </a:rPr>
              <a:t> </a:t>
            </a:r>
            <a:r>
              <a:rPr lang="en-US" altLang="ko-KR" sz="1800" b="1" dirty="0" smtClean="0">
                <a:latin typeface="HY중고딕" pitchFamily="18" charset="-127"/>
                <a:ea typeface="HY중고딕" pitchFamily="18" charset="-127"/>
              </a:rPr>
              <a:t>450kg, </a:t>
            </a:r>
            <a:r>
              <a:rPr lang="ko-KR" altLang="en-US" sz="1800" b="1" dirty="0" smtClean="0">
                <a:latin typeface="HY중고딕" pitchFamily="18" charset="-127"/>
                <a:ea typeface="HY중고딕" pitchFamily="18" charset="-127"/>
              </a:rPr>
              <a:t>등심단면적 </a:t>
            </a:r>
            <a:r>
              <a:rPr lang="en-US" altLang="ko-KR" sz="1800" b="1" dirty="0" smtClean="0">
                <a:latin typeface="HY중고딕" pitchFamily="18" charset="-127"/>
                <a:ea typeface="HY중고딕" pitchFamily="18" charset="-127"/>
              </a:rPr>
              <a:t>100㎠, </a:t>
            </a:r>
            <a:r>
              <a:rPr lang="ko-KR" altLang="en-US" sz="1800" b="1" dirty="0" smtClean="0">
                <a:latin typeface="HY중고딕" pitchFamily="18" charset="-127"/>
                <a:ea typeface="HY중고딕" pitchFamily="18" charset="-127"/>
              </a:rPr>
              <a:t>육질등급 </a:t>
            </a:r>
            <a:r>
              <a:rPr lang="en-US" altLang="ko-KR" sz="1800" b="1" dirty="0" smtClean="0">
                <a:latin typeface="HY중고딕" pitchFamily="18" charset="-127"/>
                <a:ea typeface="HY중고딕" pitchFamily="18" charset="-127"/>
              </a:rPr>
              <a:t>1++</a:t>
            </a:r>
            <a:r>
              <a:rPr lang="ko-KR" altLang="en-US" sz="1800" b="1" dirty="0" smtClean="0">
                <a:latin typeface="HY중고딕" pitchFamily="18" charset="-127"/>
                <a:ea typeface="HY중고딕" pitchFamily="18" charset="-127"/>
              </a:rPr>
              <a:t>이상</a:t>
            </a:r>
            <a:r>
              <a:rPr lang="en-US" altLang="ko-KR" sz="1800" b="1" dirty="0" smtClean="0">
                <a:latin typeface="HY중고딕" pitchFamily="18" charset="-127"/>
                <a:ea typeface="HY중고딕" pitchFamily="18" charset="-127"/>
              </a:rPr>
              <a:t>)</a:t>
            </a:r>
            <a:endParaRPr lang="ko-KR" altLang="en-US" sz="1800" b="1" dirty="0" smtClean="0">
              <a:latin typeface="HY중고딕" pitchFamily="18" charset="-127"/>
              <a:ea typeface="HY중고딕" pitchFamily="18" charset="-127"/>
            </a:endParaRPr>
          </a:p>
        </p:txBody>
      </p:sp>
      <p:grpSp>
        <p:nvGrpSpPr>
          <p:cNvPr id="10" name="Group 11"/>
          <p:cNvGrpSpPr>
            <a:grpSpLocks/>
          </p:cNvGrpSpPr>
          <p:nvPr/>
        </p:nvGrpSpPr>
        <p:grpSpPr bwMode="auto">
          <a:xfrm>
            <a:off x="798618" y="2925536"/>
            <a:ext cx="381000" cy="381000"/>
            <a:chOff x="2078" y="1680"/>
            <a:chExt cx="1615" cy="1615"/>
          </a:xfrm>
        </p:grpSpPr>
        <p:sp>
          <p:nvSpPr>
            <p:cNvPr id="11" name="Oval 12"/>
            <p:cNvSpPr>
              <a:spLocks noChangeArrowheads="1"/>
            </p:cNvSpPr>
            <p:nvPr/>
          </p:nvSpPr>
          <p:spPr bwMode="gray">
            <a:xfrm>
              <a:off x="2078" y="1680"/>
              <a:ext cx="1615" cy="1615"/>
            </a:xfrm>
            <a:prstGeom prst="ellipse">
              <a:avLst/>
            </a:prstGeom>
            <a:gradFill rotWithShape="1">
              <a:gsLst>
                <a:gs pos="0">
                  <a:srgbClr val="767676"/>
                </a:gs>
                <a:gs pos="50000">
                  <a:srgbClr val="FFFFFF"/>
                </a:gs>
                <a:gs pos="100000">
                  <a:srgbClr val="767676"/>
                </a:gs>
              </a:gsLst>
              <a:lin ang="5400000" scaled="1"/>
            </a:gradFill>
            <a:ln w="5715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latinLnBrk="0"/>
              <a:endParaRPr kumimoji="0" lang="ko-KR" altLang="en-US"/>
            </a:p>
          </p:txBody>
        </p:sp>
        <p:sp>
          <p:nvSpPr>
            <p:cNvPr id="12" name="Oval 13"/>
            <p:cNvSpPr>
              <a:spLocks noChangeArrowheads="1"/>
            </p:cNvSpPr>
            <p:nvPr/>
          </p:nvSpPr>
          <p:spPr bwMode="gray">
            <a:xfrm>
              <a:off x="2170" y="1771"/>
              <a:ext cx="1430" cy="1430"/>
            </a:xfrm>
            <a:prstGeom prst="ellipse">
              <a:avLst/>
            </a:prstGeom>
            <a:gradFill rotWithShape="1">
              <a:gsLst>
                <a:gs pos="0">
                  <a:srgbClr val="A2A2A2"/>
                </a:gs>
                <a:gs pos="50000">
                  <a:srgbClr val="FFFFFF"/>
                </a:gs>
                <a:gs pos="100000">
                  <a:srgbClr val="A2A2A2"/>
                </a:gs>
              </a:gsLst>
              <a:lin ang="0" scaled="1"/>
            </a:gra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latinLnBrk="0"/>
              <a:endParaRPr kumimoji="0" lang="ko-KR" altLang="en-US"/>
            </a:p>
          </p:txBody>
        </p:sp>
        <p:sp>
          <p:nvSpPr>
            <p:cNvPr id="13" name="Oval 14"/>
            <p:cNvSpPr>
              <a:spLocks noChangeArrowheads="1"/>
            </p:cNvSpPr>
            <p:nvPr/>
          </p:nvSpPr>
          <p:spPr bwMode="gray">
            <a:xfrm>
              <a:off x="2253" y="1855"/>
              <a:ext cx="1265" cy="1265"/>
            </a:xfrm>
            <a:prstGeom prst="ellipse">
              <a:avLst/>
            </a:prstGeom>
            <a:gradFill rotWithShape="1">
              <a:gsLst>
                <a:gs pos="0">
                  <a:schemeClr val="hlink">
                    <a:gamma/>
                    <a:tint val="0"/>
                    <a:invGamma/>
                  </a:schemeClr>
                </a:gs>
                <a:gs pos="50000">
                  <a:schemeClr val="hlink"/>
                </a:gs>
                <a:gs pos="100000">
                  <a:schemeClr val="hlink">
                    <a:gamma/>
                    <a:tint val="0"/>
                    <a:invGamma/>
                  </a:schemeClr>
                </a:gs>
              </a:gsLst>
              <a:lin ang="27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latinLnBrk="0">
                <a:defRPr/>
              </a:pPr>
              <a:endParaRPr kumimoji="0" lang="ko-KR" altLang="en-US"/>
            </a:p>
          </p:txBody>
        </p:sp>
        <p:sp>
          <p:nvSpPr>
            <p:cNvPr id="14" name="Oval 15"/>
            <p:cNvSpPr>
              <a:spLocks noChangeArrowheads="1"/>
            </p:cNvSpPr>
            <p:nvPr/>
          </p:nvSpPr>
          <p:spPr bwMode="gray">
            <a:xfrm>
              <a:off x="2253" y="1855"/>
              <a:ext cx="1265" cy="1265"/>
            </a:xfrm>
            <a:prstGeom prst="ellipse">
              <a:avLst/>
            </a:prstGeom>
            <a:gradFill rotWithShape="1">
              <a:gsLst>
                <a:gs pos="0">
                  <a:schemeClr val="hlink">
                    <a:gamma/>
                    <a:shade val="0"/>
                    <a:invGamma/>
                  </a:schemeClr>
                </a:gs>
                <a:gs pos="100000">
                  <a:schemeClr val="hlink"/>
                </a:gs>
              </a:gsLst>
              <a:lin ang="27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latinLnBrk="0">
                <a:defRPr/>
              </a:pPr>
              <a:endParaRPr kumimoji="0" lang="ko-KR" altLang="en-US"/>
            </a:p>
          </p:txBody>
        </p:sp>
        <p:sp>
          <p:nvSpPr>
            <p:cNvPr id="15" name="Oval 16"/>
            <p:cNvSpPr>
              <a:spLocks noChangeArrowheads="1"/>
            </p:cNvSpPr>
            <p:nvPr/>
          </p:nvSpPr>
          <p:spPr bwMode="gray">
            <a:xfrm>
              <a:off x="2334" y="1936"/>
              <a:ext cx="1097" cy="1104"/>
            </a:xfrm>
            <a:prstGeom prst="ellipse">
              <a:avLst/>
            </a:prstGeom>
            <a:gradFill rotWithShape="1">
              <a:gsLst>
                <a:gs pos="0">
                  <a:schemeClr val="hlink">
                    <a:gamma/>
                    <a:shade val="54118"/>
                    <a:invGamma/>
                  </a:schemeClr>
                </a:gs>
                <a:gs pos="50000">
                  <a:schemeClr val="hlink"/>
                </a:gs>
                <a:gs pos="100000">
                  <a:schemeClr val="hlink">
                    <a:gamma/>
                    <a:shade val="54118"/>
                    <a:invGamma/>
                  </a:schemeClr>
                </a:gs>
              </a:gsLst>
              <a:lin ang="189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anchor="ctr">
              <a:spAutoFit/>
            </a:bodyPr>
            <a:lstStyle/>
            <a:p>
              <a:pPr latinLnBrk="0">
                <a:defRPr/>
              </a:pPr>
              <a:endParaRPr kumimoji="0" lang="ko-KR" altLang="en-US"/>
            </a:p>
          </p:txBody>
        </p:sp>
        <p:sp>
          <p:nvSpPr>
            <p:cNvPr id="16" name="Oval 17"/>
            <p:cNvSpPr>
              <a:spLocks noChangeArrowheads="1"/>
            </p:cNvSpPr>
            <p:nvPr/>
          </p:nvSpPr>
          <p:spPr bwMode="gray">
            <a:xfrm>
              <a:off x="2334" y="1936"/>
              <a:ext cx="1097" cy="1104"/>
            </a:xfrm>
            <a:prstGeom prst="ellipse">
              <a:avLst/>
            </a:prstGeom>
            <a:gradFill rotWithShape="1">
              <a:gsLst>
                <a:gs pos="0">
                  <a:schemeClr val="hlink"/>
                </a:gs>
                <a:gs pos="100000">
                  <a:schemeClr val="hlink">
                    <a:gamma/>
                    <a:shade val="48627"/>
                    <a:invGamma/>
                  </a:schemeClr>
                </a:gs>
              </a:gsLst>
              <a:lin ang="27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anchor="ctr">
              <a:spAutoFit/>
            </a:bodyPr>
            <a:lstStyle/>
            <a:p>
              <a:pPr latinLnBrk="0">
                <a:defRPr/>
              </a:pPr>
              <a:endParaRPr kumimoji="0" lang="ko-KR" altLang="en-US"/>
            </a:p>
          </p:txBody>
        </p:sp>
      </p:grpSp>
      <p:grpSp>
        <p:nvGrpSpPr>
          <p:cNvPr id="17" name="Group 11"/>
          <p:cNvGrpSpPr>
            <a:grpSpLocks/>
          </p:cNvGrpSpPr>
          <p:nvPr/>
        </p:nvGrpSpPr>
        <p:grpSpPr bwMode="auto">
          <a:xfrm>
            <a:off x="757333" y="1395366"/>
            <a:ext cx="381000" cy="381000"/>
            <a:chOff x="2078" y="1680"/>
            <a:chExt cx="1615" cy="1615"/>
          </a:xfrm>
        </p:grpSpPr>
        <p:sp>
          <p:nvSpPr>
            <p:cNvPr id="18" name="Oval 12"/>
            <p:cNvSpPr>
              <a:spLocks noChangeArrowheads="1"/>
            </p:cNvSpPr>
            <p:nvPr/>
          </p:nvSpPr>
          <p:spPr bwMode="gray">
            <a:xfrm>
              <a:off x="2078" y="1680"/>
              <a:ext cx="1615" cy="1615"/>
            </a:xfrm>
            <a:prstGeom prst="ellipse">
              <a:avLst/>
            </a:prstGeom>
            <a:gradFill rotWithShape="1">
              <a:gsLst>
                <a:gs pos="0">
                  <a:srgbClr val="767676"/>
                </a:gs>
                <a:gs pos="50000">
                  <a:srgbClr val="FFFFFF"/>
                </a:gs>
                <a:gs pos="100000">
                  <a:srgbClr val="767676"/>
                </a:gs>
              </a:gsLst>
              <a:lin ang="5400000" scaled="1"/>
            </a:gradFill>
            <a:ln w="5715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latinLnBrk="0"/>
              <a:endParaRPr kumimoji="0" lang="ko-KR" altLang="en-US"/>
            </a:p>
          </p:txBody>
        </p:sp>
        <p:sp>
          <p:nvSpPr>
            <p:cNvPr id="19" name="Oval 13"/>
            <p:cNvSpPr>
              <a:spLocks noChangeArrowheads="1"/>
            </p:cNvSpPr>
            <p:nvPr/>
          </p:nvSpPr>
          <p:spPr bwMode="gray">
            <a:xfrm>
              <a:off x="2170" y="1771"/>
              <a:ext cx="1430" cy="1430"/>
            </a:xfrm>
            <a:prstGeom prst="ellipse">
              <a:avLst/>
            </a:prstGeom>
            <a:gradFill rotWithShape="1">
              <a:gsLst>
                <a:gs pos="0">
                  <a:srgbClr val="A2A2A2"/>
                </a:gs>
                <a:gs pos="50000">
                  <a:srgbClr val="FFFFFF"/>
                </a:gs>
                <a:gs pos="100000">
                  <a:srgbClr val="A2A2A2"/>
                </a:gs>
              </a:gsLst>
              <a:lin ang="0" scaled="1"/>
            </a:gra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latinLnBrk="0"/>
              <a:endParaRPr kumimoji="0" lang="ko-KR" altLang="en-US"/>
            </a:p>
          </p:txBody>
        </p:sp>
        <p:sp>
          <p:nvSpPr>
            <p:cNvPr id="20" name="Oval 14"/>
            <p:cNvSpPr>
              <a:spLocks noChangeArrowheads="1"/>
            </p:cNvSpPr>
            <p:nvPr/>
          </p:nvSpPr>
          <p:spPr bwMode="gray">
            <a:xfrm>
              <a:off x="2253" y="1855"/>
              <a:ext cx="1265" cy="1265"/>
            </a:xfrm>
            <a:prstGeom prst="ellipse">
              <a:avLst/>
            </a:prstGeom>
            <a:gradFill rotWithShape="1">
              <a:gsLst>
                <a:gs pos="0">
                  <a:schemeClr val="hlink">
                    <a:gamma/>
                    <a:tint val="0"/>
                    <a:invGamma/>
                  </a:schemeClr>
                </a:gs>
                <a:gs pos="50000">
                  <a:schemeClr val="hlink"/>
                </a:gs>
                <a:gs pos="100000">
                  <a:schemeClr val="hlink">
                    <a:gamma/>
                    <a:tint val="0"/>
                    <a:invGamma/>
                  </a:schemeClr>
                </a:gs>
              </a:gsLst>
              <a:lin ang="27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latinLnBrk="0">
                <a:defRPr/>
              </a:pPr>
              <a:endParaRPr kumimoji="0" lang="ko-KR" altLang="en-US"/>
            </a:p>
          </p:txBody>
        </p:sp>
        <p:sp>
          <p:nvSpPr>
            <p:cNvPr id="21" name="Oval 15"/>
            <p:cNvSpPr>
              <a:spLocks noChangeArrowheads="1"/>
            </p:cNvSpPr>
            <p:nvPr/>
          </p:nvSpPr>
          <p:spPr bwMode="gray">
            <a:xfrm>
              <a:off x="2253" y="1855"/>
              <a:ext cx="1265" cy="1265"/>
            </a:xfrm>
            <a:prstGeom prst="ellipse">
              <a:avLst/>
            </a:prstGeom>
            <a:gradFill rotWithShape="1">
              <a:gsLst>
                <a:gs pos="0">
                  <a:schemeClr val="hlink">
                    <a:gamma/>
                    <a:shade val="0"/>
                    <a:invGamma/>
                  </a:schemeClr>
                </a:gs>
                <a:gs pos="100000">
                  <a:schemeClr val="hlink"/>
                </a:gs>
              </a:gsLst>
              <a:lin ang="27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latinLnBrk="0">
                <a:defRPr/>
              </a:pPr>
              <a:endParaRPr kumimoji="0" lang="ko-KR" altLang="en-US"/>
            </a:p>
          </p:txBody>
        </p:sp>
        <p:sp>
          <p:nvSpPr>
            <p:cNvPr id="22" name="Oval 16"/>
            <p:cNvSpPr>
              <a:spLocks noChangeArrowheads="1"/>
            </p:cNvSpPr>
            <p:nvPr/>
          </p:nvSpPr>
          <p:spPr bwMode="gray">
            <a:xfrm>
              <a:off x="2334" y="1936"/>
              <a:ext cx="1097" cy="1104"/>
            </a:xfrm>
            <a:prstGeom prst="ellipse">
              <a:avLst/>
            </a:prstGeom>
            <a:gradFill rotWithShape="1">
              <a:gsLst>
                <a:gs pos="0">
                  <a:schemeClr val="hlink">
                    <a:gamma/>
                    <a:shade val="54118"/>
                    <a:invGamma/>
                  </a:schemeClr>
                </a:gs>
                <a:gs pos="50000">
                  <a:schemeClr val="hlink"/>
                </a:gs>
                <a:gs pos="100000">
                  <a:schemeClr val="hlink">
                    <a:gamma/>
                    <a:shade val="54118"/>
                    <a:invGamma/>
                  </a:schemeClr>
                </a:gs>
              </a:gsLst>
              <a:lin ang="189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anchor="ctr">
              <a:spAutoFit/>
            </a:bodyPr>
            <a:lstStyle/>
            <a:p>
              <a:pPr latinLnBrk="0">
                <a:defRPr/>
              </a:pPr>
              <a:endParaRPr kumimoji="0" lang="ko-KR" altLang="en-US"/>
            </a:p>
          </p:txBody>
        </p:sp>
        <p:sp>
          <p:nvSpPr>
            <p:cNvPr id="23" name="Oval 17"/>
            <p:cNvSpPr>
              <a:spLocks noChangeArrowheads="1"/>
            </p:cNvSpPr>
            <p:nvPr/>
          </p:nvSpPr>
          <p:spPr bwMode="gray">
            <a:xfrm>
              <a:off x="2334" y="1936"/>
              <a:ext cx="1097" cy="1104"/>
            </a:xfrm>
            <a:prstGeom prst="ellipse">
              <a:avLst/>
            </a:prstGeom>
            <a:gradFill rotWithShape="1">
              <a:gsLst>
                <a:gs pos="0">
                  <a:schemeClr val="hlink"/>
                </a:gs>
                <a:gs pos="100000">
                  <a:schemeClr val="hlink">
                    <a:gamma/>
                    <a:shade val="48627"/>
                    <a:invGamma/>
                  </a:schemeClr>
                </a:gs>
              </a:gsLst>
              <a:lin ang="27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anchor="ctr">
              <a:spAutoFit/>
            </a:bodyPr>
            <a:lstStyle/>
            <a:p>
              <a:pPr latinLnBrk="0">
                <a:defRPr/>
              </a:pPr>
              <a:endParaRPr kumimoji="0" lang="ko-KR" altLang="en-US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786" name="Rectangle 4"/>
          <p:cNvSpPr>
            <a:spLocks noChangeArrowheads="1"/>
          </p:cNvSpPr>
          <p:nvPr/>
        </p:nvSpPr>
        <p:spPr bwMode="auto">
          <a:xfrm>
            <a:off x="810215" y="972596"/>
            <a:ext cx="8076754" cy="14306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2857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96" tIns="45449" rIns="90896" bIns="45449" anchor="ctr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 typeface="Wingdings" pitchFamily="2" charset="2"/>
              <a:buChar char="Ø"/>
            </a:pPr>
            <a:r>
              <a:rPr lang="en-US" altLang="ko-KR" sz="2900" b="1" dirty="0">
                <a:solidFill>
                  <a:srgbClr val="660066"/>
                </a:solidFill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2900" b="1" dirty="0">
                <a:solidFill>
                  <a:srgbClr val="660066"/>
                </a:solidFill>
                <a:latin typeface="HY헤드라인M" pitchFamily="18" charset="-127"/>
                <a:ea typeface="HY헤드라인M" pitchFamily="18" charset="-127"/>
              </a:rPr>
              <a:t>주요 </a:t>
            </a:r>
            <a:r>
              <a:rPr lang="ko-KR" altLang="en-US" sz="2900" b="1" dirty="0" err="1">
                <a:solidFill>
                  <a:srgbClr val="660066"/>
                </a:solidFill>
                <a:latin typeface="HY헤드라인M" pitchFamily="18" charset="-127"/>
                <a:ea typeface="HY헤드라인M" pitchFamily="18" charset="-127"/>
              </a:rPr>
              <a:t>도체형질별</a:t>
            </a:r>
            <a:r>
              <a:rPr lang="ko-KR" altLang="en-US" sz="2900" b="1" dirty="0">
                <a:solidFill>
                  <a:srgbClr val="660066"/>
                </a:solidFill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2900" b="1" dirty="0" err="1">
                <a:solidFill>
                  <a:srgbClr val="660066"/>
                </a:solidFill>
                <a:latin typeface="HY헤드라인M" pitchFamily="18" charset="-127"/>
                <a:ea typeface="HY헤드라인M" pitchFamily="18" charset="-127"/>
              </a:rPr>
              <a:t>유전력</a:t>
            </a:r>
            <a:endParaRPr lang="en-US" altLang="ko-KR" sz="2900" b="1" dirty="0">
              <a:solidFill>
                <a:srgbClr val="660066"/>
              </a:solidFill>
              <a:latin typeface="HY헤드라인M" pitchFamily="18" charset="-127"/>
              <a:ea typeface="HY헤드라인M" pitchFamily="18" charset="-127"/>
            </a:endParaRPr>
          </a:p>
          <a:p>
            <a:pPr eaLnBrk="1" hangingPunct="1">
              <a:spcBef>
                <a:spcPct val="0"/>
              </a:spcBef>
              <a:buFont typeface="Wingdings" pitchFamily="2" charset="2"/>
              <a:buChar char="Ø"/>
            </a:pPr>
            <a:r>
              <a:rPr lang="en-US" altLang="ko-KR" sz="2900" b="1" dirty="0">
                <a:solidFill>
                  <a:srgbClr val="660066"/>
                </a:solidFill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2900" b="1" dirty="0">
                <a:solidFill>
                  <a:srgbClr val="660066"/>
                </a:solidFill>
                <a:latin typeface="HY헤드라인M" pitchFamily="18" charset="-127"/>
                <a:ea typeface="HY헤드라인M" pitchFamily="18" charset="-127"/>
              </a:rPr>
              <a:t>환경요인</a:t>
            </a:r>
            <a:r>
              <a:rPr lang="en-US" altLang="ko-KR" sz="2900" b="1" dirty="0">
                <a:solidFill>
                  <a:srgbClr val="660066"/>
                </a:solidFill>
                <a:latin typeface="HY헤드라인M" pitchFamily="18" charset="-127"/>
                <a:ea typeface="HY헤드라인M" pitchFamily="18" charset="-127"/>
              </a:rPr>
              <a:t>(</a:t>
            </a:r>
            <a:r>
              <a:rPr lang="ko-KR" altLang="en-US" sz="2900" b="1" dirty="0">
                <a:solidFill>
                  <a:srgbClr val="660066"/>
                </a:solidFill>
                <a:latin typeface="HY헤드라인M" pitchFamily="18" charset="-127"/>
                <a:ea typeface="HY헤드라인M" pitchFamily="18" charset="-127"/>
              </a:rPr>
              <a:t>사양관리</a:t>
            </a:r>
            <a:r>
              <a:rPr lang="en-US" altLang="ko-KR" sz="2900" b="1" dirty="0">
                <a:solidFill>
                  <a:srgbClr val="660066"/>
                </a:solidFill>
                <a:latin typeface="HY헤드라인M" pitchFamily="18" charset="-127"/>
                <a:ea typeface="HY헤드라인M" pitchFamily="18" charset="-127"/>
              </a:rPr>
              <a:t>)</a:t>
            </a:r>
            <a:r>
              <a:rPr lang="ko-KR" altLang="en-US" sz="2900" b="1" dirty="0">
                <a:solidFill>
                  <a:srgbClr val="660066"/>
                </a:solidFill>
                <a:latin typeface="HY헤드라인M" pitchFamily="18" charset="-127"/>
                <a:ea typeface="HY헤드라인M" pitchFamily="18" charset="-127"/>
              </a:rPr>
              <a:t>은 </a:t>
            </a:r>
            <a:r>
              <a:rPr lang="ko-KR" altLang="en-US" sz="2900" b="1" dirty="0" err="1">
                <a:solidFill>
                  <a:srgbClr val="660066"/>
                </a:solidFill>
                <a:latin typeface="HY헤드라인M" pitchFamily="18" charset="-127"/>
                <a:ea typeface="HY헤드라인M" pitchFamily="18" charset="-127"/>
              </a:rPr>
              <a:t>전달안됨</a:t>
            </a:r>
            <a:r>
              <a:rPr lang="en-US" altLang="ko-KR" sz="2900" b="1" dirty="0">
                <a:solidFill>
                  <a:srgbClr val="660066"/>
                </a:solidFill>
                <a:latin typeface="HY헤드라인M" pitchFamily="18" charset="-127"/>
                <a:ea typeface="HY헤드라인M" pitchFamily="18" charset="-127"/>
              </a:rPr>
              <a:t>, </a:t>
            </a:r>
          </a:p>
          <a:p>
            <a:pPr eaLnBrk="1" hangingPunct="1">
              <a:spcBef>
                <a:spcPct val="0"/>
              </a:spcBef>
              <a:buFont typeface="Wingdings" pitchFamily="2" charset="2"/>
              <a:buChar char="Ø"/>
            </a:pPr>
            <a:r>
              <a:rPr lang="en-US" altLang="ko-KR" sz="2900" b="1" dirty="0">
                <a:solidFill>
                  <a:srgbClr val="660066"/>
                </a:solidFill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2900" b="1" dirty="0">
                <a:solidFill>
                  <a:srgbClr val="660066"/>
                </a:solidFill>
                <a:latin typeface="HY헤드라인M" pitchFamily="18" charset="-127"/>
                <a:ea typeface="HY헤드라인M" pitchFamily="18" charset="-127"/>
              </a:rPr>
              <a:t>유전능력만이 다음</a:t>
            </a:r>
            <a:r>
              <a:rPr lang="en-US" altLang="ko-KR" sz="2900" b="1" dirty="0">
                <a:solidFill>
                  <a:srgbClr val="660066"/>
                </a:solidFill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2900" b="1" dirty="0">
                <a:solidFill>
                  <a:srgbClr val="660066"/>
                </a:solidFill>
                <a:latin typeface="HY헤드라인M" pitchFamily="18" charset="-127"/>
                <a:ea typeface="HY헤드라인M" pitchFamily="18" charset="-127"/>
              </a:rPr>
              <a:t>후대에 전달됨</a:t>
            </a:r>
            <a:r>
              <a:rPr lang="en-US" altLang="ko-KR" sz="2900" b="1" dirty="0">
                <a:solidFill>
                  <a:srgbClr val="660066"/>
                </a:solidFill>
                <a:latin typeface="HY헤드라인M" pitchFamily="18" charset="-127"/>
                <a:ea typeface="HY헤드라인M" pitchFamily="18" charset="-127"/>
              </a:rPr>
              <a:t>(</a:t>
            </a:r>
            <a:r>
              <a:rPr lang="ko-KR" altLang="en-US" sz="2900" b="1" dirty="0">
                <a:solidFill>
                  <a:srgbClr val="660066"/>
                </a:solidFill>
                <a:latin typeface="HY헤드라인M" pitchFamily="18" charset="-127"/>
                <a:ea typeface="HY헤드라인M" pitchFamily="18" charset="-127"/>
              </a:rPr>
              <a:t>매우 중요</a:t>
            </a:r>
            <a:r>
              <a:rPr lang="en-US" altLang="ko-KR" sz="2900" b="1" dirty="0">
                <a:solidFill>
                  <a:srgbClr val="660066"/>
                </a:solidFill>
                <a:latin typeface="HY헤드라인M" pitchFamily="18" charset="-127"/>
                <a:ea typeface="HY헤드라인M" pitchFamily="18" charset="-127"/>
              </a:rPr>
              <a:t>).</a:t>
            </a:r>
            <a:r>
              <a:rPr lang="ko-KR" altLang="en-US" sz="2900" b="1" dirty="0">
                <a:solidFill>
                  <a:srgbClr val="660066"/>
                </a:solidFill>
                <a:latin typeface="HY헤드라인M" pitchFamily="18" charset="-127"/>
                <a:ea typeface="HY헤드라인M" pitchFamily="18" charset="-127"/>
              </a:rPr>
              <a:t> </a:t>
            </a:r>
          </a:p>
        </p:txBody>
      </p:sp>
      <p:graphicFrame>
        <p:nvGraphicFramePr>
          <p:cNvPr id="7" name="표 6"/>
          <p:cNvGraphicFramePr>
            <a:graphicFrameLocks noGrp="1"/>
          </p:cNvGraphicFramePr>
          <p:nvPr/>
        </p:nvGraphicFramePr>
        <p:xfrm>
          <a:off x="0" y="0"/>
          <a:ext cx="10693400" cy="757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7238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T="45672" marB="4567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118808" name="Rectangle 1"/>
          <p:cNvSpPr>
            <a:spLocks noChangeArrowheads="1"/>
          </p:cNvSpPr>
          <p:nvPr/>
        </p:nvSpPr>
        <p:spPr bwMode="auto">
          <a:xfrm>
            <a:off x="21" y="121168"/>
            <a:ext cx="183632" cy="2148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96" tIns="45449" rIns="90896" bIns="45449" anchor="ctr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ko-KR" altLang="en-US" sz="800">
              <a:solidFill>
                <a:srgbClr val="000000"/>
              </a:solidFill>
              <a:latin typeface="Trebuchet MS" pitchFamily="34" charset="0"/>
            </a:endParaRPr>
          </a:p>
        </p:txBody>
      </p:sp>
      <p:sp>
        <p:nvSpPr>
          <p:cNvPr id="118809" name="Rectangle 2"/>
          <p:cNvSpPr>
            <a:spLocks noChangeArrowheads="1"/>
          </p:cNvSpPr>
          <p:nvPr/>
        </p:nvSpPr>
        <p:spPr bwMode="auto">
          <a:xfrm>
            <a:off x="21" y="121168"/>
            <a:ext cx="183632" cy="2148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96" tIns="45449" rIns="90896" bIns="45449" anchor="ctr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ko-KR" altLang="en-US" sz="800">
              <a:solidFill>
                <a:srgbClr val="000000"/>
              </a:solidFill>
              <a:latin typeface="Trebuchet MS" pitchFamily="34" charset="0"/>
            </a:endParaRPr>
          </a:p>
        </p:txBody>
      </p:sp>
      <p:sp>
        <p:nvSpPr>
          <p:cNvPr id="10" name="Text Box 8"/>
          <p:cNvSpPr txBox="1">
            <a:spLocks noChangeArrowheads="1"/>
          </p:cNvSpPr>
          <p:nvPr/>
        </p:nvSpPr>
        <p:spPr bwMode="auto">
          <a:xfrm>
            <a:off x="3" y="217493"/>
            <a:ext cx="6877050" cy="446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86280" tIns="0" rIns="0" bIns="0">
            <a:spAutoFit/>
          </a:bodyPr>
          <a:lstStyle/>
          <a:p>
            <a:pPr>
              <a:defRPr/>
            </a:pPr>
            <a:r>
              <a:rPr lang="ko-KR" altLang="en-US" sz="29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유전능력이란</a:t>
            </a:r>
            <a:r>
              <a:rPr lang="en-US" altLang="ko-KR" sz="29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?</a:t>
            </a:r>
            <a:endParaRPr lang="ko-KR" altLang="en-US" sz="29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itchFamily="18" charset="-127"/>
              <a:ea typeface="HY견고딕" pitchFamily="18" charset="-127"/>
            </a:endParaRPr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6261" y="2484487"/>
            <a:ext cx="7920880" cy="48255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483257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>
            <a:spLocks noChangeArrowheads="1"/>
          </p:cNvSpPr>
          <p:nvPr/>
        </p:nvSpPr>
        <p:spPr bwMode="auto">
          <a:xfrm>
            <a:off x="101186" y="1116251"/>
            <a:ext cx="10474333" cy="12685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032" tIns="52017" rIns="104032" bIns="52017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defTabSz="1041952" eaLnBrk="1" fontAlgn="auto" hangingPunct="1">
              <a:lnSpc>
                <a:spcPct val="14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Char char="q"/>
            </a:pPr>
            <a:r>
              <a:rPr lang="ko-KR" altLang="en-US" sz="2700" b="1" dirty="0">
                <a:solidFill>
                  <a:srgbClr val="008000"/>
                </a:solidFill>
                <a:latin typeface="HY헤드라인M" pitchFamily="18" charset="-127"/>
                <a:ea typeface="HY헤드라인M" pitchFamily="18" charset="-127"/>
              </a:rPr>
              <a:t> 선발</a:t>
            </a:r>
            <a:r>
              <a:rPr lang="ko-KR" altLang="en-US" sz="2700" b="1" dirty="0">
                <a:solidFill>
                  <a:srgbClr val="0000CC"/>
                </a:solidFill>
                <a:latin typeface="HY헤드라인M" pitchFamily="18" charset="-127"/>
                <a:ea typeface="HY헤드라인M" pitchFamily="18" charset="-127"/>
              </a:rPr>
              <a:t> : 우수 종축을 이용하여 다음 세대 가축의 유전적 조성을 </a:t>
            </a:r>
            <a:endParaRPr lang="en-US" altLang="ko-KR" sz="2700" b="1" dirty="0">
              <a:solidFill>
                <a:srgbClr val="0000CC"/>
              </a:solidFill>
              <a:latin typeface="HY헤드라인M" pitchFamily="18" charset="-127"/>
              <a:ea typeface="HY헤드라인M" pitchFamily="18" charset="-127"/>
            </a:endParaRPr>
          </a:p>
          <a:p>
            <a:pPr defTabSz="1041952" eaLnBrk="1" fontAlgn="auto" hangingPunct="1">
              <a:lnSpc>
                <a:spcPct val="140000"/>
              </a:lnSpc>
              <a:spcBef>
                <a:spcPct val="0"/>
              </a:spcBef>
              <a:spcAft>
                <a:spcPts val="0"/>
              </a:spcAft>
              <a:buNone/>
            </a:pPr>
            <a:r>
              <a:rPr lang="en-US" altLang="ko-KR" sz="2700" b="1" dirty="0">
                <a:solidFill>
                  <a:srgbClr val="0000CC"/>
                </a:solidFill>
                <a:latin typeface="HY헤드라인M" pitchFamily="18" charset="-127"/>
                <a:ea typeface="HY헤드라인M" pitchFamily="18" charset="-127"/>
              </a:rPr>
              <a:t>             </a:t>
            </a:r>
            <a:r>
              <a:rPr lang="ko-KR" altLang="en-US" sz="2700" b="1" dirty="0">
                <a:solidFill>
                  <a:srgbClr val="0000CC"/>
                </a:solidFill>
                <a:latin typeface="HY헤드라인M" pitchFamily="18" charset="-127"/>
                <a:ea typeface="HY헤드라인M" pitchFamily="18" charset="-127"/>
              </a:rPr>
              <a:t>인간의 목적에 보다 적합하도록 변화시키기 위한 것</a:t>
            </a:r>
          </a:p>
        </p:txBody>
      </p:sp>
      <p:sp>
        <p:nvSpPr>
          <p:cNvPr id="7" name="Rectangle 4"/>
          <p:cNvSpPr>
            <a:spLocks noChangeArrowheads="1"/>
          </p:cNvSpPr>
          <p:nvPr/>
        </p:nvSpPr>
        <p:spPr bwMode="auto">
          <a:xfrm>
            <a:off x="101202" y="2426195"/>
            <a:ext cx="10158731" cy="6868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032" tIns="52017" rIns="104032" bIns="52017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defTabSz="1041952" eaLnBrk="1" fontAlgn="auto" hangingPunct="1">
              <a:lnSpc>
                <a:spcPct val="140000"/>
              </a:lnSpc>
              <a:spcBef>
                <a:spcPct val="0"/>
              </a:spcBef>
              <a:spcAft>
                <a:spcPts val="0"/>
              </a:spcAft>
              <a:buFont typeface="Wingdings" pitchFamily="2" charset="2"/>
              <a:buChar char="q"/>
            </a:pPr>
            <a:r>
              <a:rPr lang="ko-KR" altLang="en-US" sz="2700" b="1" dirty="0">
                <a:solidFill>
                  <a:srgbClr val="008000"/>
                </a:solidFill>
                <a:latin typeface="HY헤드라인M" pitchFamily="18" charset="-127"/>
                <a:ea typeface="HY헤드라인M" pitchFamily="18" charset="-127"/>
              </a:rPr>
              <a:t> 도태</a:t>
            </a:r>
            <a:r>
              <a:rPr lang="ko-KR" altLang="en-US" sz="2700" b="1" dirty="0">
                <a:solidFill>
                  <a:srgbClr val="0000CC"/>
                </a:solidFill>
                <a:latin typeface="HY헤드라인M" pitchFamily="18" charset="-127"/>
                <a:ea typeface="HY헤드라인M" pitchFamily="18" charset="-127"/>
              </a:rPr>
              <a:t> : 육종 목표에 벗어나는 개체를 없애는 것</a:t>
            </a:r>
          </a:p>
        </p:txBody>
      </p:sp>
      <p:graphicFrame>
        <p:nvGraphicFramePr>
          <p:cNvPr id="21" name="다이어그램 20"/>
          <p:cNvGraphicFramePr/>
          <p:nvPr>
            <p:extLst>
              <p:ext uri="{D42A27DB-BD31-4B8C-83A1-F6EECF244321}">
                <p14:modId xmlns:p14="http://schemas.microsoft.com/office/powerpoint/2010/main" val="855559476"/>
              </p:ext>
            </p:extLst>
          </p:nvPr>
        </p:nvGraphicFramePr>
        <p:xfrm>
          <a:off x="546055" y="3365648"/>
          <a:ext cx="4994907" cy="356533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22" name="다이어그램 21"/>
          <p:cNvGraphicFramePr/>
          <p:nvPr>
            <p:extLst>
              <p:ext uri="{D42A27DB-BD31-4B8C-83A1-F6EECF244321}">
                <p14:modId xmlns:p14="http://schemas.microsoft.com/office/powerpoint/2010/main" val="555271513"/>
              </p:ext>
            </p:extLst>
          </p:nvPr>
        </p:nvGraphicFramePr>
        <p:xfrm>
          <a:off x="5166404" y="3254353"/>
          <a:ext cx="4911658" cy="363015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11" name="표 10"/>
          <p:cNvGraphicFramePr>
            <a:graphicFrameLocks noGrp="1"/>
          </p:cNvGraphicFramePr>
          <p:nvPr/>
        </p:nvGraphicFramePr>
        <p:xfrm>
          <a:off x="0" y="0"/>
          <a:ext cx="10693400" cy="757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7238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T="45672" marB="4567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12" name="Text Box 8"/>
          <p:cNvSpPr txBox="1">
            <a:spLocks noChangeArrowheads="1"/>
          </p:cNvSpPr>
          <p:nvPr/>
        </p:nvSpPr>
        <p:spPr bwMode="auto">
          <a:xfrm>
            <a:off x="3" y="217493"/>
            <a:ext cx="6877050" cy="446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86683" tIns="0" rIns="0" bIns="0">
            <a:spAutoFit/>
          </a:bodyPr>
          <a:lstStyle/>
          <a:p>
            <a:pPr>
              <a:defRPr/>
            </a:pPr>
            <a:r>
              <a:rPr lang="ko-KR" altLang="en-US" sz="2900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농가개량시</a:t>
            </a:r>
            <a:r>
              <a:rPr lang="ko-KR" altLang="en-US" sz="29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 가장 중요한 것</a:t>
            </a:r>
          </a:p>
        </p:txBody>
      </p:sp>
    </p:spTree>
    <p:extLst>
      <p:ext uri="{BB962C8B-B14F-4D97-AF65-F5344CB8AC3E}">
        <p14:creationId xmlns:p14="http://schemas.microsoft.com/office/powerpoint/2010/main" val="641072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970" name="Picture 2" descr="C:\Users\greatman\Desktop\한우캐릭터이미지사진\hanwoo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46249" y="2114556"/>
            <a:ext cx="876300" cy="760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3971" name="Picture 2" descr="C:\Users\greatman\Desktop\한우캐릭터이미지사진\hanwoo1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715126" y="1720850"/>
            <a:ext cx="2538412" cy="275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3972" name="Picture 2" descr="C:\Users\greatman\Desktop\한우캐릭터이미지사진\hanwoo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20904" y="3059113"/>
            <a:ext cx="701675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3973" name="Picture 2" descr="C:\Users\greatman\Desktop\한우캐릭터이미지사진\hanwoo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40068" y="3400425"/>
            <a:ext cx="701675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3974" name="Picture 2" descr="C:\Users\greatman\Desktop\한우캐릭터이미지사진\hanwoo1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73350" y="1957388"/>
            <a:ext cx="1233488" cy="133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6" name="꺾인 연결선 15"/>
          <p:cNvCxnSpPr/>
          <p:nvPr/>
        </p:nvCxnSpPr>
        <p:spPr bwMode="auto">
          <a:xfrm>
            <a:off x="3906838" y="2625752"/>
            <a:ext cx="2808288" cy="473075"/>
          </a:xfrm>
          <a:prstGeom prst="bentConnector3">
            <a:avLst>
              <a:gd name="adj1" fmla="val 50000"/>
            </a:avLst>
          </a:prstGeom>
          <a:ln>
            <a:headEnd type="none" w="med" len="med"/>
            <a:tailEnd type="arrow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8" name="타원 17"/>
          <p:cNvSpPr/>
          <p:nvPr/>
        </p:nvSpPr>
        <p:spPr bwMode="auto">
          <a:xfrm>
            <a:off x="2589213" y="1878013"/>
            <a:ext cx="1336675" cy="1497012"/>
          </a:xfrm>
          <a:prstGeom prst="ellipse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103831" tIns="51916" rIns="103831" bIns="51916"/>
          <a:lstStyle/>
          <a:p>
            <a:pPr marL="389353" indent="-389353">
              <a:defRPr/>
            </a:pPr>
            <a:endParaRPr lang="ko-KR" altLang="en-US">
              <a:solidFill>
                <a:schemeClr val="tx1"/>
              </a:solidFill>
            </a:endParaRPr>
          </a:p>
        </p:txBody>
      </p:sp>
      <p:pic>
        <p:nvPicPr>
          <p:cNvPr id="83977" name="Picture 2" descr="C:\Users\greatman\Desktop\한우캐릭터이미지사진\hanwoo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59205" y="3375030"/>
            <a:ext cx="701675" cy="760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3978" name="Picture 2" descr="C:\Users\greatman\Desktop\한우캐릭터이미지사진\hanwoo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10029" y="1404942"/>
            <a:ext cx="701675" cy="762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3979" name="Picture 2" descr="C:\Users\greatman\Desktop\한우캐릭터이미지사진\hanwoo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924205" y="1090614"/>
            <a:ext cx="701675" cy="760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3980" name="Picture 2" descr="C:\Users\greatman\Desktop\한우캐릭터이미지사진\hanwoo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138392" y="1274769"/>
            <a:ext cx="701675" cy="7604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Text Box 2"/>
          <p:cNvSpPr txBox="1">
            <a:spLocks noChangeArrowheads="1"/>
          </p:cNvSpPr>
          <p:nvPr/>
        </p:nvSpPr>
        <p:spPr bwMode="auto">
          <a:xfrm>
            <a:off x="80963" y="4737127"/>
            <a:ext cx="10521950" cy="2598297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103831" tIns="51916" rIns="103831" bIns="51916">
            <a:spAutoFit/>
          </a:bodyPr>
          <a:lstStyle/>
          <a:p>
            <a:pPr marL="455098" indent="-455098">
              <a:lnSpc>
                <a:spcPct val="150000"/>
              </a:lnSpc>
              <a:buClr>
                <a:srgbClr val="FF9900"/>
              </a:buClr>
              <a:buFontTx/>
              <a:buChar char="-"/>
              <a:defRPr/>
            </a:pPr>
            <a:r>
              <a:rPr lang="ko-KR" altLang="en-US" sz="2700" dirty="0">
                <a:latin typeface="HY견고딕" pitchFamily="18" charset="-127"/>
                <a:ea typeface="HY견고딕" pitchFamily="18" charset="-127"/>
              </a:rPr>
              <a:t>좋은 정액을 쓰는 것보다 </a:t>
            </a:r>
            <a:r>
              <a:rPr lang="ko-KR" altLang="en-US" sz="2700" dirty="0" err="1">
                <a:latin typeface="HY견고딕" pitchFamily="18" charset="-127"/>
                <a:ea typeface="HY견고딕" pitchFamily="18" charset="-127"/>
              </a:rPr>
              <a:t>우리집</a:t>
            </a:r>
            <a:r>
              <a:rPr lang="ko-KR" altLang="en-US" sz="2700" dirty="0">
                <a:latin typeface="HY견고딕" pitchFamily="18" charset="-127"/>
                <a:ea typeface="HY견고딕" pitchFamily="18" charset="-127"/>
              </a:rPr>
              <a:t> 암소 중 </a:t>
            </a:r>
            <a:r>
              <a:rPr lang="ko-KR" altLang="en-US" sz="2700" dirty="0" err="1">
                <a:latin typeface="HY견고딕" pitchFamily="18" charset="-127"/>
                <a:ea typeface="HY견고딕" pitchFamily="18" charset="-127"/>
              </a:rPr>
              <a:t>고능력</a:t>
            </a:r>
            <a:r>
              <a:rPr lang="ko-KR" altLang="en-US" sz="2700" dirty="0">
                <a:latin typeface="HY견고딕" pitchFamily="18" charset="-127"/>
                <a:ea typeface="HY견고딕" pitchFamily="18" charset="-127"/>
              </a:rPr>
              <a:t> 암소를 </a:t>
            </a:r>
            <a:r>
              <a:rPr lang="ko-KR" altLang="en-US" sz="2700" dirty="0" err="1">
                <a:latin typeface="HY견고딕" pitchFamily="18" charset="-127"/>
                <a:ea typeface="HY견고딕" pitchFamily="18" charset="-127"/>
              </a:rPr>
              <a:t>후보축으로</a:t>
            </a:r>
            <a:r>
              <a:rPr lang="ko-KR" altLang="en-US" sz="2700" dirty="0">
                <a:latin typeface="HY견고딕" pitchFamily="18" charset="-127"/>
                <a:ea typeface="HY견고딕" pitchFamily="18" charset="-127"/>
              </a:rPr>
              <a:t> 사용하여 송아지를 생산하는 것이 </a:t>
            </a:r>
            <a:r>
              <a:rPr lang="ko-KR" altLang="en-US" sz="2700" dirty="0" err="1">
                <a:latin typeface="HY견고딕" pitchFamily="18" charset="-127"/>
                <a:ea typeface="HY견고딕" pitchFamily="18" charset="-127"/>
              </a:rPr>
              <a:t>지속적수익</a:t>
            </a:r>
            <a:r>
              <a:rPr lang="ko-KR" altLang="en-US" sz="2700" dirty="0">
                <a:latin typeface="HY견고딕" pitchFamily="18" charset="-127"/>
                <a:ea typeface="HY견고딕" pitchFamily="18" charset="-127"/>
              </a:rPr>
              <a:t> 창출</a:t>
            </a:r>
            <a:endParaRPr lang="en-US" altLang="ko-KR" sz="2700" dirty="0">
              <a:latin typeface="HY견고딕" pitchFamily="18" charset="-127"/>
              <a:ea typeface="HY견고딕" pitchFamily="18" charset="-127"/>
            </a:endParaRPr>
          </a:p>
          <a:p>
            <a:pPr marL="455098" indent="-455098">
              <a:lnSpc>
                <a:spcPct val="150000"/>
              </a:lnSpc>
              <a:buClr>
                <a:srgbClr val="FF9900"/>
              </a:buClr>
              <a:buFontTx/>
              <a:buChar char="-"/>
              <a:defRPr/>
            </a:pPr>
            <a:r>
              <a:rPr lang="ko-KR" altLang="en-US" sz="2700" dirty="0">
                <a:latin typeface="HY견고딕" pitchFamily="18" charset="-127"/>
                <a:ea typeface="HY견고딕" pitchFamily="18" charset="-127"/>
              </a:rPr>
              <a:t>나머지 암소의 후대</a:t>
            </a:r>
            <a:r>
              <a:rPr lang="en-US" altLang="ko-KR" sz="2700" dirty="0">
                <a:latin typeface="HY견고딕" pitchFamily="18" charset="-127"/>
                <a:ea typeface="HY견고딕" pitchFamily="18" charset="-127"/>
              </a:rPr>
              <a:t>(</a:t>
            </a:r>
            <a:r>
              <a:rPr lang="ko-KR" altLang="en-US" sz="2700" dirty="0">
                <a:latin typeface="HY견고딕" pitchFamily="18" charset="-127"/>
                <a:ea typeface="HY견고딕" pitchFamily="18" charset="-127"/>
              </a:rPr>
              <a:t>암소</a:t>
            </a:r>
            <a:r>
              <a:rPr lang="en-US" altLang="ko-KR" sz="2700" dirty="0">
                <a:latin typeface="HY견고딕" pitchFamily="18" charset="-127"/>
                <a:ea typeface="HY견고딕" pitchFamily="18" charset="-127"/>
              </a:rPr>
              <a:t>)</a:t>
            </a:r>
            <a:r>
              <a:rPr lang="ko-KR" altLang="en-US" sz="2700" dirty="0">
                <a:latin typeface="HY견고딕" pitchFamily="18" charset="-127"/>
                <a:ea typeface="HY견고딕" pitchFamily="18" charset="-127"/>
              </a:rPr>
              <a:t>를 다시 번식에 이용하면 암소의</a:t>
            </a:r>
            <a:endParaRPr lang="en-US" altLang="ko-KR" sz="2700" dirty="0">
              <a:latin typeface="HY견고딕" pitchFamily="18" charset="-127"/>
              <a:ea typeface="HY견고딕" pitchFamily="18" charset="-127"/>
            </a:endParaRPr>
          </a:p>
          <a:p>
            <a:pPr marL="455098" indent="-455098">
              <a:lnSpc>
                <a:spcPct val="150000"/>
              </a:lnSpc>
              <a:buClr>
                <a:srgbClr val="FF9900"/>
              </a:buClr>
              <a:buFontTx/>
              <a:buChar char="-"/>
              <a:defRPr/>
            </a:pPr>
            <a:r>
              <a:rPr lang="ko-KR" altLang="en-US" sz="2700" dirty="0">
                <a:latin typeface="HY견고딕" pitchFamily="18" charset="-127"/>
                <a:ea typeface="HY견고딕" pitchFamily="18" charset="-127"/>
              </a:rPr>
              <a:t>유전능력만큼 </a:t>
            </a:r>
            <a:r>
              <a:rPr lang="ko-KR" altLang="en-US" sz="2700" dirty="0" err="1">
                <a:latin typeface="HY견고딕" pitchFamily="18" charset="-127"/>
                <a:ea typeface="HY견고딕" pitchFamily="18" charset="-127"/>
              </a:rPr>
              <a:t>우리집</a:t>
            </a:r>
            <a:r>
              <a:rPr lang="ko-KR" altLang="en-US" sz="2700" dirty="0">
                <a:latin typeface="HY견고딕" pitchFamily="18" charset="-127"/>
                <a:ea typeface="HY견고딕" pitchFamily="18" charset="-127"/>
              </a:rPr>
              <a:t> 소들 능력이 증가한다</a:t>
            </a:r>
            <a:r>
              <a:rPr lang="en-US" altLang="ko-KR" sz="2700" dirty="0">
                <a:latin typeface="HY견고딕" pitchFamily="18" charset="-127"/>
                <a:ea typeface="HY견고딕" pitchFamily="18" charset="-127"/>
              </a:rPr>
              <a:t>.</a:t>
            </a:r>
            <a:endParaRPr lang="ko-KR" altLang="en-US" sz="2700" dirty="0">
              <a:latin typeface="HY견고딕" pitchFamily="18" charset="-127"/>
              <a:ea typeface="HY견고딕" pitchFamily="18" charset="-127"/>
            </a:endParaRPr>
          </a:p>
        </p:txBody>
      </p:sp>
      <p:graphicFrame>
        <p:nvGraphicFramePr>
          <p:cNvPr id="17" name="표 16"/>
          <p:cNvGraphicFramePr>
            <a:graphicFrameLocks noGrp="1"/>
          </p:cNvGraphicFramePr>
          <p:nvPr/>
        </p:nvGraphicFramePr>
        <p:xfrm>
          <a:off x="0" y="0"/>
          <a:ext cx="10693400" cy="757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7238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T="45672" marB="4567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19" name="Text Box 8"/>
          <p:cNvSpPr txBox="1">
            <a:spLocks noChangeArrowheads="1"/>
          </p:cNvSpPr>
          <p:nvPr/>
        </p:nvSpPr>
        <p:spPr bwMode="auto">
          <a:xfrm>
            <a:off x="3" y="217493"/>
            <a:ext cx="6877050" cy="446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86683" tIns="0" rIns="0" bIns="0">
            <a:spAutoFit/>
          </a:bodyPr>
          <a:lstStyle/>
          <a:p>
            <a:pPr>
              <a:defRPr/>
            </a:pPr>
            <a:r>
              <a:rPr lang="ko-KR" altLang="en-US" sz="29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선발</a:t>
            </a:r>
          </a:p>
        </p:txBody>
      </p:sp>
      <p:sp>
        <p:nvSpPr>
          <p:cNvPr id="83985" name="Rectangle 1"/>
          <p:cNvSpPr>
            <a:spLocks noChangeArrowheads="1"/>
          </p:cNvSpPr>
          <p:nvPr/>
        </p:nvSpPr>
        <p:spPr bwMode="auto">
          <a:xfrm>
            <a:off x="17" y="121097"/>
            <a:ext cx="183890" cy="215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024" tIns="45513" rIns="91024" bIns="45513" anchor="ctr">
            <a:spAutoFit/>
          </a:bodyPr>
          <a:lstStyle/>
          <a:p>
            <a:endParaRPr lang="ko-KR" altLang="en-US"/>
          </a:p>
        </p:txBody>
      </p:sp>
      <p:sp>
        <p:nvSpPr>
          <p:cNvPr id="21" name="Rectangle 2"/>
          <p:cNvSpPr>
            <a:spLocks noChangeArrowheads="1"/>
          </p:cNvSpPr>
          <p:nvPr/>
        </p:nvSpPr>
        <p:spPr bwMode="auto">
          <a:xfrm>
            <a:off x="0" y="-33333"/>
            <a:ext cx="184150" cy="446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86683" tIns="0" rIns="0" bIns="0">
            <a:spAutoFit/>
          </a:bodyPr>
          <a:lstStyle/>
          <a:p>
            <a:pPr>
              <a:defRPr/>
            </a:pPr>
            <a:endParaRPr lang="ko-KR" altLang="en-US" sz="29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itchFamily="18" charset="-127"/>
              <a:ea typeface="HY견고딕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7195591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Rectangle 3"/>
          <p:cNvSpPr>
            <a:spLocks noChangeArrowheads="1"/>
          </p:cNvSpPr>
          <p:nvPr/>
        </p:nvSpPr>
        <p:spPr bwMode="auto">
          <a:xfrm>
            <a:off x="417742" y="418350"/>
            <a:ext cx="10104563" cy="715869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lIns="103831" tIns="51916" rIns="103831" bIns="51916" anchor="ctr"/>
          <a:lstStyle/>
          <a:p>
            <a:pPr>
              <a:defRPr/>
            </a:pPr>
            <a:endParaRPr lang="ko-KR" altLang="en-US"/>
          </a:p>
        </p:txBody>
      </p:sp>
      <p:sp>
        <p:nvSpPr>
          <p:cNvPr id="124933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914400" y="382588"/>
            <a:ext cx="10067925" cy="6985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ko-KR" altLang="en-US" sz="4100" b="0" dirty="0" err="1">
                <a:solidFill>
                  <a:srgbClr val="FFFFFF"/>
                </a:solidFill>
                <a:latin typeface="HY헤드라인M" pitchFamily="18" charset="-127"/>
                <a:ea typeface="HY헤드라인M" pitchFamily="18" charset="-127"/>
              </a:rPr>
              <a:t>저능력</a:t>
            </a:r>
            <a:r>
              <a:rPr lang="ko-KR" altLang="en-US" sz="4100" b="0" dirty="0">
                <a:solidFill>
                  <a:srgbClr val="FFFFFF"/>
                </a:solidFill>
                <a:latin typeface="HY헤드라인M" pitchFamily="18" charset="-127"/>
                <a:ea typeface="HY헤드라인M" pitchFamily="18" charset="-127"/>
              </a:rPr>
              <a:t> 암소 도태 </a:t>
            </a:r>
            <a:r>
              <a:rPr lang="en-US" altLang="ko-KR" sz="4100" b="0" dirty="0">
                <a:solidFill>
                  <a:srgbClr val="FFFFFF"/>
                </a:solidFill>
                <a:latin typeface="HY헤드라인M" pitchFamily="18" charset="-127"/>
                <a:ea typeface="HY헤드라인M" pitchFamily="18" charset="-127"/>
              </a:rPr>
              <a:t>-&gt; </a:t>
            </a:r>
            <a:r>
              <a:rPr lang="ko-KR" altLang="en-US" sz="4100" b="0" dirty="0">
                <a:solidFill>
                  <a:srgbClr val="FFFFFF"/>
                </a:solidFill>
                <a:latin typeface="HY헤드라인M" pitchFamily="18" charset="-127"/>
                <a:ea typeface="HY헤드라인M" pitchFamily="18" charset="-127"/>
              </a:rPr>
              <a:t>불량 유전자 제거</a:t>
            </a:r>
            <a:r>
              <a:rPr lang="en-US" altLang="ko-KR" sz="4100" b="0" dirty="0">
                <a:solidFill>
                  <a:srgbClr val="FFFFFF"/>
                </a:solidFill>
                <a:latin typeface="HY헤드라인M" pitchFamily="18" charset="-127"/>
                <a:ea typeface="HY헤드라인M" pitchFamily="18" charset="-127"/>
              </a:rPr>
              <a:t> </a:t>
            </a:r>
            <a:endParaRPr lang="ko-KR" altLang="en-US" sz="4100" b="0" dirty="0">
              <a:solidFill>
                <a:srgbClr val="FFFFFF"/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pic>
        <p:nvPicPr>
          <p:cNvPr id="124934" name="Picture 2" descr="C:\Users\greatman\Desktop\한우캐릭터이미지사진\hanwoo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4717" y="2025652"/>
            <a:ext cx="768350" cy="835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4935" name="Picture 3" descr="C:\Users\greatman\Desktop\한우캐릭터이미지사진\hanwoo2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263" y="2074867"/>
            <a:ext cx="658812" cy="842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4936" name="Picture 2" descr="C:\Users\greatman\Desktop\한우캐릭터이미지사진\hanwoo1.jp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6590" y="2451100"/>
            <a:ext cx="768350" cy="835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8" name="직선 연결선 77"/>
          <p:cNvCxnSpPr/>
          <p:nvPr/>
        </p:nvCxnSpPr>
        <p:spPr bwMode="auto">
          <a:xfrm>
            <a:off x="1408113" y="2497139"/>
            <a:ext cx="546100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124938" name="Picture 3" descr="C:\Users\greatman\Desktop\한우캐릭터이미지사진\hanwoo2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6263" y="3625849"/>
            <a:ext cx="658812" cy="844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4939" name="Picture 2" descr="C:\Users\greatman\Desktop\한우캐릭터이미지사진\hanwoo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4213" y="3400430"/>
            <a:ext cx="1343025" cy="146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07" name="직선 연결선 106"/>
          <p:cNvCxnSpPr/>
          <p:nvPr/>
        </p:nvCxnSpPr>
        <p:spPr bwMode="auto">
          <a:xfrm>
            <a:off x="1377979" y="4130675"/>
            <a:ext cx="544513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24941" name="TextBox 5"/>
          <p:cNvSpPr txBox="1">
            <a:spLocks noChangeArrowheads="1"/>
          </p:cNvSpPr>
          <p:nvPr/>
        </p:nvSpPr>
        <p:spPr bwMode="auto">
          <a:xfrm>
            <a:off x="3408363" y="2265363"/>
            <a:ext cx="2205037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24" tIns="45513" rIns="91024" bIns="45513">
            <a:spAutoFit/>
          </a:bodyPr>
          <a:lstStyle/>
          <a:p>
            <a:r>
              <a:rPr lang="ko-KR" altLang="en-US" sz="1600" dirty="0">
                <a:latin typeface="HY견고딕" pitchFamily="18" charset="-127"/>
                <a:ea typeface="HY견고딕" pitchFamily="18" charset="-127"/>
              </a:rPr>
              <a:t>후대 평균 </a:t>
            </a:r>
            <a:r>
              <a:rPr lang="ko-KR" altLang="en-US" sz="1600" dirty="0" err="1">
                <a:latin typeface="HY견고딕" pitchFamily="18" charset="-127"/>
                <a:ea typeface="HY견고딕" pitchFamily="18" charset="-127"/>
              </a:rPr>
              <a:t>도체중</a:t>
            </a:r>
            <a:r>
              <a:rPr lang="ko-KR" altLang="en-US" sz="1600" dirty="0">
                <a:latin typeface="HY견고딕" pitchFamily="18" charset="-127"/>
                <a:ea typeface="HY견고딕" pitchFamily="18" charset="-127"/>
              </a:rPr>
              <a:t> </a:t>
            </a:r>
            <a:endParaRPr lang="en-US" altLang="ko-KR" sz="1600" dirty="0">
              <a:latin typeface="HY견고딕" pitchFamily="18" charset="-127"/>
              <a:ea typeface="HY견고딕" pitchFamily="18" charset="-127"/>
            </a:endParaRPr>
          </a:p>
          <a:p>
            <a:r>
              <a:rPr lang="ko-KR" altLang="en-US" sz="1600" dirty="0" err="1">
                <a:latin typeface="HY견고딕" pitchFamily="18" charset="-127"/>
                <a:ea typeface="HY견고딕" pitchFamily="18" charset="-127"/>
              </a:rPr>
              <a:t>육종가</a:t>
            </a:r>
            <a:r>
              <a:rPr lang="ko-KR" altLang="en-US" sz="1600" dirty="0">
                <a:latin typeface="HY견고딕" pitchFamily="18" charset="-127"/>
                <a:ea typeface="HY견고딕" pitchFamily="18" charset="-127"/>
              </a:rPr>
              <a:t> </a:t>
            </a:r>
            <a:r>
              <a:rPr lang="en-US" altLang="ko-KR" sz="1600" dirty="0">
                <a:latin typeface="HY견고딕" pitchFamily="18" charset="-127"/>
                <a:ea typeface="HY견고딕" pitchFamily="18" charset="-127"/>
              </a:rPr>
              <a:t>-20kg</a:t>
            </a:r>
            <a:endParaRPr lang="ko-KR" altLang="en-US" sz="1600" dirty="0"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124942" name="TextBox 107"/>
          <p:cNvSpPr txBox="1">
            <a:spLocks noChangeArrowheads="1"/>
          </p:cNvSpPr>
          <p:nvPr/>
        </p:nvSpPr>
        <p:spPr bwMode="auto">
          <a:xfrm>
            <a:off x="3427413" y="3898900"/>
            <a:ext cx="2205037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24" tIns="45513" rIns="91024" bIns="45513">
            <a:spAutoFit/>
          </a:bodyPr>
          <a:lstStyle/>
          <a:p>
            <a:r>
              <a:rPr lang="ko-KR" altLang="en-US" sz="1600" dirty="0">
                <a:latin typeface="HY견고딕" pitchFamily="18" charset="-127"/>
                <a:ea typeface="HY견고딕" pitchFamily="18" charset="-127"/>
              </a:rPr>
              <a:t>후대 평균 </a:t>
            </a:r>
            <a:r>
              <a:rPr lang="ko-KR" altLang="en-US" sz="1600" dirty="0" err="1">
                <a:latin typeface="HY견고딕" pitchFamily="18" charset="-127"/>
                <a:ea typeface="HY견고딕" pitchFamily="18" charset="-127"/>
              </a:rPr>
              <a:t>도체중</a:t>
            </a:r>
            <a:r>
              <a:rPr lang="ko-KR" altLang="en-US" sz="1600" dirty="0">
                <a:latin typeface="HY견고딕" pitchFamily="18" charset="-127"/>
                <a:ea typeface="HY견고딕" pitchFamily="18" charset="-127"/>
              </a:rPr>
              <a:t> </a:t>
            </a:r>
            <a:endParaRPr lang="en-US" altLang="ko-KR" sz="1600" dirty="0">
              <a:latin typeface="HY견고딕" pitchFamily="18" charset="-127"/>
              <a:ea typeface="HY견고딕" pitchFamily="18" charset="-127"/>
            </a:endParaRPr>
          </a:p>
          <a:p>
            <a:r>
              <a:rPr lang="ko-KR" altLang="en-US" sz="1600" dirty="0" err="1">
                <a:latin typeface="HY견고딕" pitchFamily="18" charset="-127"/>
                <a:ea typeface="HY견고딕" pitchFamily="18" charset="-127"/>
              </a:rPr>
              <a:t>육종가</a:t>
            </a:r>
            <a:r>
              <a:rPr lang="ko-KR" altLang="en-US" sz="1600" dirty="0">
                <a:latin typeface="HY견고딕" pitchFamily="18" charset="-127"/>
                <a:ea typeface="HY견고딕" pitchFamily="18" charset="-127"/>
              </a:rPr>
              <a:t> </a:t>
            </a:r>
            <a:r>
              <a:rPr lang="en-US" altLang="ko-KR" sz="1600" dirty="0">
                <a:latin typeface="HY견고딕" pitchFamily="18" charset="-127"/>
                <a:ea typeface="HY견고딕" pitchFamily="18" charset="-127"/>
              </a:rPr>
              <a:t>+40kg</a:t>
            </a:r>
            <a:endParaRPr lang="ko-KR" altLang="en-US" sz="1600" dirty="0">
              <a:latin typeface="HY견고딕" pitchFamily="18" charset="-127"/>
              <a:ea typeface="HY견고딕" pitchFamily="18" charset="-127"/>
            </a:endParaRPr>
          </a:p>
        </p:txBody>
      </p:sp>
      <p:pic>
        <p:nvPicPr>
          <p:cNvPr id="124943" name="Picture 2" descr="C:\Users\greatman\Desktop\한우캐릭터이미지사진\hanwoo1.jp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EFFFB"/>
              </a:clrFrom>
              <a:clrTo>
                <a:srgbClr val="FEFFF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14500" y="4222777"/>
            <a:ext cx="1343025" cy="1458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4944" name="TextBox 109"/>
          <p:cNvSpPr txBox="1">
            <a:spLocks noChangeArrowheads="1"/>
          </p:cNvSpPr>
          <p:nvPr/>
        </p:nvSpPr>
        <p:spPr bwMode="auto">
          <a:xfrm>
            <a:off x="756190" y="6031393"/>
            <a:ext cx="5130570" cy="4616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024" tIns="45513" rIns="91024" bIns="45513">
            <a:spAutoFit/>
          </a:bodyPr>
          <a:lstStyle/>
          <a:p>
            <a:r>
              <a:rPr lang="ko-KR" altLang="en-US" sz="1800" dirty="0">
                <a:latin typeface="HY견고딕" pitchFamily="18" charset="-127"/>
                <a:ea typeface="HY견고딕" pitchFamily="18" charset="-127"/>
              </a:rPr>
              <a:t>농장 평균 </a:t>
            </a:r>
            <a:r>
              <a:rPr lang="en-US" altLang="ko-KR" sz="1800" dirty="0">
                <a:latin typeface="HY견고딕" pitchFamily="18" charset="-127"/>
                <a:ea typeface="HY견고딕" pitchFamily="18" charset="-127"/>
              </a:rPr>
              <a:t>= (-20+40) / 2 = </a:t>
            </a:r>
            <a:r>
              <a:rPr lang="en-US" altLang="ko-KR" sz="2400" dirty="0">
                <a:latin typeface="HY견고딕" pitchFamily="18" charset="-127"/>
                <a:ea typeface="HY견고딕" pitchFamily="18" charset="-127"/>
              </a:rPr>
              <a:t>20</a:t>
            </a:r>
            <a:r>
              <a:rPr lang="en-US" altLang="ko-KR" sz="1800" dirty="0">
                <a:latin typeface="HY견고딕" pitchFamily="18" charset="-127"/>
                <a:ea typeface="HY견고딕" pitchFamily="18" charset="-127"/>
              </a:rPr>
              <a:t>kg</a:t>
            </a:r>
            <a:endParaRPr lang="ko-KR" altLang="en-US" sz="1800" dirty="0">
              <a:latin typeface="HY견고딕" pitchFamily="18" charset="-127"/>
              <a:ea typeface="HY견고딕" pitchFamily="18" charset="-127"/>
            </a:endParaRPr>
          </a:p>
        </p:txBody>
      </p:sp>
      <p:pic>
        <p:nvPicPr>
          <p:cNvPr id="124945" name="Picture 2" descr="C:\Users\greatman\Desktop\한우캐릭터이미지사진\hanwoo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4088" y="2025652"/>
            <a:ext cx="768350" cy="835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4946" name="Picture 3" descr="C:\Users\greatman\Desktop\한우캐릭터이미지사진\hanwoo2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5638" y="2074867"/>
            <a:ext cx="658812" cy="842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4947" name="Picture 2" descr="C:\Users\greatman\Desktop\한우캐릭터이미지사진\hanwoo1.jp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5966" y="2451100"/>
            <a:ext cx="768350" cy="835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4" name="직선 연결선 113"/>
          <p:cNvCxnSpPr/>
          <p:nvPr/>
        </p:nvCxnSpPr>
        <p:spPr bwMode="auto">
          <a:xfrm>
            <a:off x="6569105" y="2497139"/>
            <a:ext cx="544513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pic>
        <p:nvPicPr>
          <p:cNvPr id="124949" name="Picture 3" descr="C:\Users\greatman\Desktop\한우캐릭터이미지사진\hanwoo2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35638" y="3625849"/>
            <a:ext cx="658812" cy="844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4950" name="Picture 2" descr="C:\Users\greatman\Desktop\한우캐릭터이미지사진\hanwoo1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13588" y="3400430"/>
            <a:ext cx="1344612" cy="1460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7" name="직선 연결선 116"/>
          <p:cNvCxnSpPr/>
          <p:nvPr/>
        </p:nvCxnSpPr>
        <p:spPr bwMode="auto">
          <a:xfrm>
            <a:off x="6537354" y="4130675"/>
            <a:ext cx="544513" cy="0"/>
          </a:xfrm>
          <a:prstGeom prst="line">
            <a:avLst/>
          </a:prstGeom>
          <a:ln>
            <a:headEnd type="none" w="med" len="med"/>
            <a:tailEnd type="none" w="med" len="med"/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sp>
        <p:nvSpPr>
          <p:cNvPr id="124952" name="TextBox 117"/>
          <p:cNvSpPr txBox="1">
            <a:spLocks noChangeArrowheads="1"/>
          </p:cNvSpPr>
          <p:nvPr/>
        </p:nvSpPr>
        <p:spPr bwMode="auto">
          <a:xfrm>
            <a:off x="8567738" y="2265390"/>
            <a:ext cx="2205037" cy="5847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24" tIns="45513" rIns="91024" bIns="45513">
            <a:spAutoFit/>
          </a:bodyPr>
          <a:lstStyle/>
          <a:p>
            <a:r>
              <a:rPr lang="ko-KR" altLang="en-US" sz="1600" dirty="0">
                <a:latin typeface="HY견고딕" pitchFamily="18" charset="-127"/>
                <a:ea typeface="HY견고딕" pitchFamily="18" charset="-127"/>
              </a:rPr>
              <a:t>후대 평균 </a:t>
            </a:r>
            <a:r>
              <a:rPr lang="ko-KR" altLang="en-US" sz="1600" dirty="0" err="1">
                <a:latin typeface="HY견고딕" pitchFamily="18" charset="-127"/>
                <a:ea typeface="HY견고딕" pitchFamily="18" charset="-127"/>
              </a:rPr>
              <a:t>도체중</a:t>
            </a:r>
            <a:r>
              <a:rPr lang="ko-KR" altLang="en-US" sz="1600" dirty="0">
                <a:latin typeface="HY견고딕" pitchFamily="18" charset="-127"/>
                <a:ea typeface="HY견고딕" pitchFamily="18" charset="-127"/>
              </a:rPr>
              <a:t> </a:t>
            </a:r>
            <a:endParaRPr lang="en-US" altLang="ko-KR" sz="1600" dirty="0">
              <a:latin typeface="HY견고딕" pitchFamily="18" charset="-127"/>
              <a:ea typeface="HY견고딕" pitchFamily="18" charset="-127"/>
            </a:endParaRPr>
          </a:p>
          <a:p>
            <a:r>
              <a:rPr lang="ko-KR" altLang="en-US" sz="1600" dirty="0" err="1">
                <a:latin typeface="HY견고딕" pitchFamily="18" charset="-127"/>
                <a:ea typeface="HY견고딕" pitchFamily="18" charset="-127"/>
              </a:rPr>
              <a:t>육종가</a:t>
            </a:r>
            <a:r>
              <a:rPr lang="ko-KR" altLang="en-US" sz="1600" dirty="0">
                <a:latin typeface="HY견고딕" pitchFamily="18" charset="-127"/>
                <a:ea typeface="HY견고딕" pitchFamily="18" charset="-127"/>
              </a:rPr>
              <a:t> </a:t>
            </a:r>
            <a:r>
              <a:rPr lang="en-US" altLang="ko-KR" sz="1600" dirty="0">
                <a:latin typeface="HY견고딕" pitchFamily="18" charset="-127"/>
                <a:ea typeface="HY견고딕" pitchFamily="18" charset="-127"/>
              </a:rPr>
              <a:t>-20kg</a:t>
            </a:r>
            <a:endParaRPr lang="ko-KR" altLang="en-US" sz="1600" dirty="0"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124953" name="TextBox 118"/>
          <p:cNvSpPr txBox="1">
            <a:spLocks noChangeArrowheads="1"/>
          </p:cNvSpPr>
          <p:nvPr/>
        </p:nvSpPr>
        <p:spPr bwMode="auto">
          <a:xfrm>
            <a:off x="8586788" y="3898900"/>
            <a:ext cx="2205037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24" tIns="45513" rIns="91024" bIns="45513">
            <a:spAutoFit/>
          </a:bodyPr>
          <a:lstStyle/>
          <a:p>
            <a:r>
              <a:rPr lang="ko-KR" altLang="en-US" sz="1600" dirty="0">
                <a:latin typeface="HY견고딕" pitchFamily="18" charset="-127"/>
                <a:ea typeface="HY견고딕" pitchFamily="18" charset="-127"/>
              </a:rPr>
              <a:t>후대 평균 </a:t>
            </a:r>
            <a:r>
              <a:rPr lang="ko-KR" altLang="en-US" sz="1600" dirty="0" err="1">
                <a:latin typeface="HY견고딕" pitchFamily="18" charset="-127"/>
                <a:ea typeface="HY견고딕" pitchFamily="18" charset="-127"/>
              </a:rPr>
              <a:t>도체중</a:t>
            </a:r>
            <a:endParaRPr lang="en-US" altLang="ko-KR" sz="1600" dirty="0">
              <a:latin typeface="HY견고딕" pitchFamily="18" charset="-127"/>
              <a:ea typeface="HY견고딕" pitchFamily="18" charset="-127"/>
            </a:endParaRPr>
          </a:p>
          <a:p>
            <a:r>
              <a:rPr lang="ko-KR" altLang="en-US" sz="1600" dirty="0" err="1">
                <a:latin typeface="HY견고딕" pitchFamily="18" charset="-127"/>
                <a:ea typeface="HY견고딕" pitchFamily="18" charset="-127"/>
              </a:rPr>
              <a:t>육종가</a:t>
            </a:r>
            <a:r>
              <a:rPr lang="ko-KR" altLang="en-US" sz="1600" dirty="0">
                <a:latin typeface="HY견고딕" pitchFamily="18" charset="-127"/>
                <a:ea typeface="HY견고딕" pitchFamily="18" charset="-127"/>
              </a:rPr>
              <a:t> </a:t>
            </a:r>
            <a:r>
              <a:rPr lang="en-US" altLang="ko-KR" sz="1600" dirty="0">
                <a:latin typeface="HY견고딕" pitchFamily="18" charset="-127"/>
                <a:ea typeface="HY견고딕" pitchFamily="18" charset="-127"/>
              </a:rPr>
              <a:t>+40kg</a:t>
            </a:r>
            <a:endParaRPr lang="ko-KR" altLang="en-US" sz="1600" dirty="0">
              <a:latin typeface="HY견고딕" pitchFamily="18" charset="-127"/>
              <a:ea typeface="HY견고딕" pitchFamily="18" charset="-127"/>
            </a:endParaRPr>
          </a:p>
        </p:txBody>
      </p:sp>
      <p:pic>
        <p:nvPicPr>
          <p:cNvPr id="124954" name="Picture 2" descr="C:\Users\greatman\Desktop\한우캐릭터이미지사진\hanwoo1.jp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EFFFB"/>
              </a:clrFrom>
              <a:clrTo>
                <a:srgbClr val="FEFFFB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3875" y="4222777"/>
            <a:ext cx="1343025" cy="14589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1" name="TextBox 120"/>
          <p:cNvSpPr txBox="1"/>
          <p:nvPr/>
        </p:nvSpPr>
        <p:spPr>
          <a:xfrm>
            <a:off x="1881343" y="6863261"/>
            <a:ext cx="7650851" cy="41508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square" lIns="91024" tIns="45513" rIns="91024" bIns="45513">
            <a:spAutoFit/>
          </a:bodyPr>
          <a:lstStyle/>
          <a:p>
            <a:pPr algn="ctr">
              <a:defRPr/>
            </a:pPr>
            <a:r>
              <a:rPr lang="ko-KR" altLang="en-US" sz="2100" dirty="0" err="1">
                <a:latin typeface="HY견고딕" panose="02030600000101010101" pitchFamily="18" charset="-127"/>
                <a:ea typeface="HY견고딕" panose="02030600000101010101" pitchFamily="18" charset="-127"/>
              </a:rPr>
              <a:t>저능력우</a:t>
            </a:r>
            <a:r>
              <a:rPr lang="ko-KR" altLang="en-US" sz="2100" dirty="0">
                <a:latin typeface="HY견고딕" panose="02030600000101010101" pitchFamily="18" charset="-127"/>
                <a:ea typeface="HY견고딕" panose="02030600000101010101" pitchFamily="18" charset="-127"/>
              </a:rPr>
              <a:t> 도태에 의한 유전능력 </a:t>
            </a:r>
            <a:r>
              <a:rPr lang="ko-KR" altLang="en-US" sz="2100" dirty="0" err="1">
                <a:latin typeface="HY견고딕" panose="02030600000101010101" pitchFamily="18" charset="-127"/>
                <a:ea typeface="HY견고딕" panose="02030600000101010101" pitchFamily="18" charset="-127"/>
              </a:rPr>
              <a:t>증가량</a:t>
            </a:r>
            <a:r>
              <a:rPr lang="ko-KR" altLang="en-US" sz="2100" dirty="0">
                <a:latin typeface="HY견고딕" panose="02030600000101010101" pitchFamily="18" charset="-127"/>
                <a:ea typeface="HY견고딕" panose="02030600000101010101" pitchFamily="18" charset="-127"/>
              </a:rPr>
              <a:t> </a:t>
            </a:r>
            <a:r>
              <a:rPr lang="en-US" altLang="ko-KR" sz="2100" dirty="0">
                <a:latin typeface="HY견고딕" panose="02030600000101010101" pitchFamily="18" charset="-127"/>
                <a:ea typeface="HY견고딕" panose="02030600000101010101" pitchFamily="18" charset="-127"/>
              </a:rPr>
              <a:t>= 20 – 40 = 20kg</a:t>
            </a:r>
            <a:endParaRPr lang="ko-KR" altLang="en-US" sz="2100" dirty="0"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7" name="곱셈 기호 6"/>
          <p:cNvSpPr/>
          <p:nvPr/>
        </p:nvSpPr>
        <p:spPr bwMode="auto">
          <a:xfrm>
            <a:off x="4232304" y="1620840"/>
            <a:ext cx="6964363" cy="1779589"/>
          </a:xfrm>
          <a:prstGeom prst="mathMultiply">
            <a:avLst/>
          </a:prstGeom>
          <a:noFill/>
          <a:ln w="28575" cap="flat" cmpd="sng" algn="ctr">
            <a:solidFill>
              <a:srgbClr val="FF0000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lIns="91024" tIns="45513" rIns="91024" bIns="45513">
            <a:noAutofit/>
          </a:bodyPr>
          <a:lstStyle/>
          <a:p>
            <a:pPr marL="455098" indent="-455098">
              <a:defRPr/>
            </a:pPr>
            <a:endParaRPr lang="ko-KR" altLang="en-US" sz="700"/>
          </a:p>
        </p:txBody>
      </p:sp>
      <p:sp>
        <p:nvSpPr>
          <p:cNvPr id="124957" name="TextBox 132"/>
          <p:cNvSpPr txBox="1">
            <a:spLocks noChangeArrowheads="1"/>
          </p:cNvSpPr>
          <p:nvPr/>
        </p:nvSpPr>
        <p:spPr bwMode="auto">
          <a:xfrm>
            <a:off x="6741855" y="5985892"/>
            <a:ext cx="3330370" cy="4150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024" tIns="45513" rIns="91024" bIns="45513">
            <a:spAutoFit/>
          </a:bodyPr>
          <a:lstStyle/>
          <a:p>
            <a:r>
              <a:rPr lang="ko-KR" altLang="en-US" sz="1800" dirty="0">
                <a:latin typeface="HY견고딕" pitchFamily="18" charset="-127"/>
                <a:ea typeface="HY견고딕" pitchFamily="18" charset="-127"/>
              </a:rPr>
              <a:t>농장 평균 </a:t>
            </a:r>
            <a:r>
              <a:rPr lang="en-US" altLang="ko-KR" sz="1800" dirty="0">
                <a:latin typeface="HY견고딕" pitchFamily="18" charset="-127"/>
                <a:ea typeface="HY견고딕" pitchFamily="18" charset="-127"/>
              </a:rPr>
              <a:t>= </a:t>
            </a:r>
            <a:r>
              <a:rPr lang="en-US" altLang="ko-KR" sz="2100" dirty="0">
                <a:latin typeface="HY견고딕" pitchFamily="18" charset="-127"/>
                <a:ea typeface="HY견고딕" pitchFamily="18" charset="-127"/>
              </a:rPr>
              <a:t>40</a:t>
            </a:r>
            <a:r>
              <a:rPr lang="en-US" altLang="ko-KR" sz="1800" dirty="0">
                <a:latin typeface="HY견고딕" pitchFamily="18" charset="-127"/>
                <a:ea typeface="HY견고딕" pitchFamily="18" charset="-127"/>
              </a:rPr>
              <a:t>kg</a:t>
            </a:r>
            <a:endParaRPr lang="ko-KR" altLang="en-US" sz="1800" dirty="0">
              <a:latin typeface="HY견고딕" pitchFamily="18" charset="-127"/>
              <a:ea typeface="HY견고딕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8344394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994" name="Text Box 2"/>
          <p:cNvSpPr txBox="1">
            <a:spLocks noChangeArrowheads="1"/>
          </p:cNvSpPr>
          <p:nvPr/>
        </p:nvSpPr>
        <p:spPr bwMode="auto">
          <a:xfrm>
            <a:off x="1085850" y="2024091"/>
            <a:ext cx="9172575" cy="3221037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103831" tIns="51916" rIns="103831" bIns="51916">
            <a:spAutoFit/>
          </a:bodyPr>
          <a:lstStyle/>
          <a:p>
            <a:pPr marL="518411" indent="-518411">
              <a:lnSpc>
                <a:spcPct val="150000"/>
              </a:lnSpc>
              <a:buClr>
                <a:srgbClr val="FF9900"/>
              </a:buClr>
              <a:buFontTx/>
              <a:buAutoNum type="arabicPeriod"/>
            </a:pPr>
            <a:r>
              <a:rPr lang="ko-KR" altLang="en-US" sz="2700" dirty="0">
                <a:latin typeface="HY견고딕" pitchFamily="18" charset="-127"/>
                <a:ea typeface="HY견고딕" pitchFamily="18" charset="-127"/>
              </a:rPr>
              <a:t>번식능력</a:t>
            </a:r>
            <a:r>
              <a:rPr lang="en-US" altLang="ko-KR" sz="2700" dirty="0">
                <a:latin typeface="HY견고딕" pitchFamily="18" charset="-127"/>
                <a:ea typeface="HY견고딕" pitchFamily="18" charset="-127"/>
              </a:rPr>
              <a:t>(</a:t>
            </a:r>
            <a:r>
              <a:rPr lang="ko-KR" altLang="en-US" sz="2700" err="1">
                <a:latin typeface="HY견고딕" pitchFamily="18" charset="-127"/>
                <a:ea typeface="HY견고딕" pitchFamily="18" charset="-127"/>
              </a:rPr>
              <a:t>수태율</a:t>
            </a:r>
            <a:r>
              <a:rPr lang="en-US" altLang="ko-KR" sz="2700">
                <a:latin typeface="HY견고딕" pitchFamily="18" charset="-127"/>
                <a:ea typeface="HY견고딕" pitchFamily="18" charset="-127"/>
              </a:rPr>
              <a:t>, </a:t>
            </a:r>
            <a:r>
              <a:rPr lang="ko-KR" altLang="en-US" sz="2700">
                <a:latin typeface="HY견고딕" pitchFamily="18" charset="-127"/>
                <a:ea typeface="HY견고딕" pitchFamily="18" charset="-127"/>
              </a:rPr>
              <a:t>포유능력</a:t>
            </a:r>
            <a:r>
              <a:rPr lang="en-US" altLang="ko-KR" sz="2700">
                <a:latin typeface="HY견고딕" pitchFamily="18" charset="-127"/>
                <a:ea typeface="HY견고딕" pitchFamily="18" charset="-127"/>
              </a:rPr>
              <a:t>)</a:t>
            </a:r>
            <a:r>
              <a:rPr lang="ko-KR" altLang="en-US" sz="2700">
                <a:latin typeface="HY견고딕" pitchFamily="18" charset="-127"/>
                <a:ea typeface="HY견고딕" pitchFamily="18" charset="-127"/>
              </a:rPr>
              <a:t>을 보고 선발</a:t>
            </a:r>
            <a:r>
              <a:rPr lang="en-US" altLang="ko-KR" sz="2700" dirty="0">
                <a:latin typeface="HY견고딕" pitchFamily="18" charset="-127"/>
                <a:ea typeface="HY견고딕" pitchFamily="18" charset="-127"/>
              </a:rPr>
              <a:t>(</a:t>
            </a:r>
            <a:r>
              <a:rPr lang="ko-KR" altLang="en-US" sz="2700">
                <a:latin typeface="HY견고딕" pitchFamily="18" charset="-127"/>
                <a:ea typeface="HY견고딕" pitchFamily="18" charset="-127"/>
              </a:rPr>
              <a:t>초기</a:t>
            </a:r>
            <a:r>
              <a:rPr lang="en-US" altLang="ko-KR" sz="2700">
                <a:latin typeface="HY견고딕" pitchFamily="18" charset="-127"/>
                <a:ea typeface="HY견고딕" pitchFamily="18" charset="-127"/>
              </a:rPr>
              <a:t>) </a:t>
            </a:r>
            <a:endParaRPr lang="en-US" altLang="ko-KR" sz="2700" dirty="0">
              <a:latin typeface="HY견고딕" pitchFamily="18" charset="-127"/>
              <a:ea typeface="HY견고딕" pitchFamily="18" charset="-127"/>
            </a:endParaRPr>
          </a:p>
          <a:p>
            <a:pPr marL="518411" indent="-518411">
              <a:lnSpc>
                <a:spcPct val="150000"/>
              </a:lnSpc>
              <a:buClr>
                <a:srgbClr val="FF9900"/>
              </a:buClr>
              <a:buFontTx/>
              <a:buAutoNum type="arabicPeriod"/>
            </a:pPr>
            <a:r>
              <a:rPr lang="ko-KR" altLang="en-US" sz="2700">
                <a:latin typeface="HY견고딕" pitchFamily="18" charset="-127"/>
                <a:ea typeface="HY견고딕" pitchFamily="18" charset="-127"/>
              </a:rPr>
              <a:t>외모를 보고 선발 </a:t>
            </a:r>
            <a:r>
              <a:rPr lang="en-US" altLang="ko-KR" sz="2700">
                <a:latin typeface="HY견고딕" pitchFamily="18" charset="-127"/>
                <a:ea typeface="HY견고딕" pitchFamily="18" charset="-127"/>
              </a:rPr>
              <a:t>(</a:t>
            </a:r>
            <a:r>
              <a:rPr lang="ko-KR" altLang="en-US" sz="2700">
                <a:latin typeface="HY견고딕" pitchFamily="18" charset="-127"/>
                <a:ea typeface="HY견고딕" pitchFamily="18" charset="-127"/>
              </a:rPr>
              <a:t>암소나 후대의 체형</a:t>
            </a:r>
            <a:r>
              <a:rPr lang="en-US" altLang="ko-KR" sz="2700" dirty="0">
                <a:latin typeface="HY견고딕" pitchFamily="18" charset="-127"/>
                <a:ea typeface="HY견고딕" pitchFamily="18" charset="-127"/>
              </a:rPr>
              <a:t>)</a:t>
            </a:r>
          </a:p>
          <a:p>
            <a:pPr marL="518411" indent="-518411">
              <a:lnSpc>
                <a:spcPct val="150000"/>
              </a:lnSpc>
              <a:buClr>
                <a:srgbClr val="FF9900"/>
              </a:buClr>
              <a:buFont typeface="Wingdings" pitchFamily="2" charset="2"/>
              <a:buAutoNum type="arabicPeriod"/>
            </a:pPr>
            <a:r>
              <a:rPr lang="ko-KR" altLang="en-US" sz="2700">
                <a:latin typeface="HY견고딕" pitchFamily="18" charset="-127"/>
                <a:ea typeface="HY견고딕" pitchFamily="18" charset="-127"/>
              </a:rPr>
              <a:t>외모 </a:t>
            </a:r>
            <a:r>
              <a:rPr lang="en-US" altLang="ko-KR" sz="2700">
                <a:latin typeface="HY견고딕" pitchFamily="18" charset="-127"/>
                <a:ea typeface="HY견고딕" pitchFamily="18" charset="-127"/>
              </a:rPr>
              <a:t>+ </a:t>
            </a:r>
            <a:r>
              <a:rPr lang="ko-KR" altLang="en-US" sz="2700">
                <a:latin typeface="HY견고딕" pitchFamily="18" charset="-127"/>
                <a:ea typeface="HY견고딕" pitchFamily="18" charset="-127"/>
              </a:rPr>
              <a:t>혈통</a:t>
            </a:r>
            <a:r>
              <a:rPr lang="en-US" altLang="ko-KR" sz="2700" dirty="0">
                <a:latin typeface="HY견고딕" pitchFamily="18" charset="-127"/>
                <a:ea typeface="HY견고딕" pitchFamily="18" charset="-127"/>
              </a:rPr>
              <a:t>(</a:t>
            </a:r>
            <a:r>
              <a:rPr lang="ko-KR" altLang="en-US" sz="2700" dirty="0">
                <a:latin typeface="HY견고딕" pitchFamily="18" charset="-127"/>
                <a:ea typeface="HY견고딕" pitchFamily="18" charset="-127"/>
              </a:rPr>
              <a:t>족보</a:t>
            </a:r>
            <a:r>
              <a:rPr lang="en-US" altLang="ko-KR" sz="2700">
                <a:latin typeface="HY견고딕" pitchFamily="18" charset="-127"/>
                <a:ea typeface="HY견고딕" pitchFamily="18" charset="-127"/>
              </a:rPr>
              <a:t>)</a:t>
            </a:r>
            <a:r>
              <a:rPr lang="ko-KR" altLang="en-US" sz="2700">
                <a:latin typeface="HY견고딕" pitchFamily="18" charset="-127"/>
                <a:ea typeface="HY견고딕" pitchFamily="18" charset="-127"/>
              </a:rPr>
              <a:t>을 보고 선발</a:t>
            </a:r>
            <a:endParaRPr lang="en-US" altLang="ko-KR" sz="2700" dirty="0">
              <a:latin typeface="HY견고딕" pitchFamily="18" charset="-127"/>
              <a:ea typeface="HY견고딕" pitchFamily="18" charset="-127"/>
            </a:endParaRPr>
          </a:p>
          <a:p>
            <a:pPr marL="518411" indent="-518411">
              <a:lnSpc>
                <a:spcPct val="150000"/>
              </a:lnSpc>
              <a:buClr>
                <a:srgbClr val="FF9900"/>
              </a:buClr>
              <a:buFont typeface="Wingdings" pitchFamily="2" charset="2"/>
              <a:buAutoNum type="arabicPeriod"/>
            </a:pPr>
            <a:r>
              <a:rPr lang="ko-KR" altLang="en-US" sz="2700">
                <a:latin typeface="HY견고딕" pitchFamily="18" charset="-127"/>
                <a:ea typeface="HY견고딕" pitchFamily="18" charset="-127"/>
              </a:rPr>
              <a:t>유전능력을 활용한 선발</a:t>
            </a:r>
            <a:r>
              <a:rPr lang="en-US" altLang="ko-KR" sz="2700" dirty="0">
                <a:latin typeface="HY견고딕" pitchFamily="18" charset="-127"/>
                <a:ea typeface="HY견고딕" pitchFamily="18" charset="-127"/>
              </a:rPr>
              <a:t>(</a:t>
            </a:r>
            <a:r>
              <a:rPr lang="ko-KR" altLang="en-US" sz="2700" err="1">
                <a:latin typeface="HY견고딕" pitchFamily="18" charset="-127"/>
                <a:ea typeface="HY견고딕" pitchFamily="18" charset="-127"/>
              </a:rPr>
              <a:t>미경산우</a:t>
            </a:r>
            <a:r>
              <a:rPr lang="en-US" altLang="ko-KR" sz="2700">
                <a:latin typeface="HY견고딕" pitchFamily="18" charset="-127"/>
                <a:ea typeface="HY견고딕" pitchFamily="18" charset="-127"/>
              </a:rPr>
              <a:t>, </a:t>
            </a:r>
            <a:r>
              <a:rPr lang="ko-KR" altLang="en-US" sz="2700">
                <a:latin typeface="HY견고딕" pitchFamily="18" charset="-127"/>
                <a:ea typeface="HY견고딕" pitchFamily="18" charset="-127"/>
              </a:rPr>
              <a:t>후대 미검정</a:t>
            </a:r>
            <a:r>
              <a:rPr lang="en-US" altLang="ko-KR" sz="2700" dirty="0">
                <a:latin typeface="HY견고딕" pitchFamily="18" charset="-127"/>
                <a:ea typeface="HY견고딕" pitchFamily="18" charset="-127"/>
              </a:rPr>
              <a:t>)</a:t>
            </a:r>
          </a:p>
          <a:p>
            <a:pPr marL="518411" indent="-518411">
              <a:lnSpc>
                <a:spcPct val="150000"/>
              </a:lnSpc>
              <a:buClr>
                <a:srgbClr val="FF9900"/>
              </a:buClr>
              <a:buFont typeface="Wingdings" pitchFamily="2" charset="2"/>
              <a:buAutoNum type="arabicPeriod"/>
            </a:pPr>
            <a:r>
              <a:rPr lang="ko-KR" altLang="en-US" sz="2700" dirty="0">
                <a:latin typeface="HY견고딕" pitchFamily="18" charset="-127"/>
                <a:ea typeface="HY견고딕" pitchFamily="18" charset="-127"/>
              </a:rPr>
              <a:t>추가</a:t>
            </a:r>
            <a:r>
              <a:rPr lang="en-US" altLang="ko-KR" sz="2700">
                <a:latin typeface="HY견고딕" pitchFamily="18" charset="-127"/>
                <a:ea typeface="HY견고딕" pitchFamily="18" charset="-127"/>
              </a:rPr>
              <a:t>(</a:t>
            </a:r>
            <a:r>
              <a:rPr lang="ko-KR" altLang="en-US" sz="2700">
                <a:latin typeface="HY견고딕" pitchFamily="18" charset="-127"/>
                <a:ea typeface="HY견고딕" pitchFamily="18" charset="-127"/>
              </a:rPr>
              <a:t>키우기 편한 소</a:t>
            </a:r>
            <a:r>
              <a:rPr lang="en-US" altLang="ko-KR" sz="2700" dirty="0">
                <a:latin typeface="HY견고딕" pitchFamily="18" charset="-127"/>
                <a:ea typeface="HY견고딕" pitchFamily="18" charset="-127"/>
              </a:rPr>
              <a:t>(</a:t>
            </a:r>
            <a:r>
              <a:rPr lang="ko-KR" altLang="en-US" sz="2700">
                <a:latin typeface="HY견고딕" pitchFamily="18" charset="-127"/>
                <a:ea typeface="HY견고딕" pitchFamily="18" charset="-127"/>
              </a:rPr>
              <a:t>성격</a:t>
            </a:r>
            <a:r>
              <a:rPr lang="en-US" altLang="ko-KR" sz="2700">
                <a:latin typeface="HY견고딕" pitchFamily="18" charset="-127"/>
                <a:ea typeface="HY견고딕" pitchFamily="18" charset="-127"/>
              </a:rPr>
              <a:t>), </a:t>
            </a:r>
            <a:r>
              <a:rPr lang="ko-KR" altLang="en-US" sz="2700">
                <a:latin typeface="HY견고딕" pitchFamily="18" charset="-127"/>
                <a:ea typeface="HY견고딕" pitchFamily="18" charset="-127"/>
              </a:rPr>
              <a:t>질병이 잘 안걸리는 소</a:t>
            </a:r>
            <a:r>
              <a:rPr lang="en-US" altLang="ko-KR" sz="2700" dirty="0">
                <a:latin typeface="HY견고딕" pitchFamily="18" charset="-127"/>
                <a:ea typeface="HY견고딕" pitchFamily="18" charset="-127"/>
              </a:rPr>
              <a:t>)</a:t>
            </a:r>
            <a:endParaRPr lang="ko-KR" altLang="en-US" sz="2700" dirty="0"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64518" name="Rectangle 3"/>
          <p:cNvSpPr>
            <a:spLocks noChangeArrowheads="1"/>
          </p:cNvSpPr>
          <p:nvPr/>
        </p:nvSpPr>
        <p:spPr bwMode="auto">
          <a:xfrm>
            <a:off x="751880" y="978204"/>
            <a:ext cx="9273182" cy="7158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104554" tIns="52278" rIns="104554" bIns="52278" anchor="ctr"/>
          <a:lstStyle/>
          <a:p>
            <a:pPr>
              <a:defRPr/>
            </a:pPr>
            <a:r>
              <a:rPr lang="ko-KR" altLang="en-US" sz="320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HY견고딕" pitchFamily="18" charset="-127"/>
                <a:ea typeface="HY견고딕" pitchFamily="18" charset="-127"/>
              </a:rPr>
              <a:t>선발 방법</a:t>
            </a:r>
            <a:endParaRPr lang="en-US" altLang="ko-KR" sz="3200" dirty="0">
              <a:solidFill>
                <a:srgbClr val="0070C0"/>
              </a:solidFill>
              <a:latin typeface="Arial" pitchFamily="34" charset="0"/>
            </a:endParaRPr>
          </a:p>
        </p:txBody>
      </p:sp>
      <p:sp>
        <p:nvSpPr>
          <p:cNvPr id="23558" name="Text Box 4"/>
          <p:cNvSpPr txBox="1">
            <a:spLocks noChangeArrowheads="1"/>
          </p:cNvSpPr>
          <p:nvPr/>
        </p:nvSpPr>
        <p:spPr bwMode="auto">
          <a:xfrm>
            <a:off x="126151" y="5756428"/>
            <a:ext cx="10441159" cy="1582634"/>
          </a:xfrm>
          <a:prstGeom prst="rect">
            <a:avLst/>
          </a:prstGeom>
          <a:noFill/>
          <a:ln w="25400">
            <a:solidFill>
              <a:schemeClr val="tx1"/>
            </a:solidFill>
            <a:miter lim="800000"/>
            <a:headEnd/>
            <a:tailEnd/>
          </a:ln>
        </p:spPr>
        <p:txBody>
          <a:bodyPr lIns="103831" tIns="51916" rIns="103831" bIns="51916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ko-KR" altLang="en-US" sz="3200" b="1">
                <a:ln w="1905"/>
                <a:solidFill>
                  <a:srgbClr val="C0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HY헤드라인M" pitchFamily="18" charset="-127"/>
                <a:ea typeface="HY헤드라인M" pitchFamily="18" charset="-127"/>
              </a:rPr>
              <a:t>  가장 확실한 선발 방법</a:t>
            </a:r>
            <a:endParaRPr lang="en-US" altLang="ko-KR" sz="3200" b="1" dirty="0">
              <a:ln w="1905"/>
              <a:solidFill>
                <a:srgbClr val="C0000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HY헤드라인M" pitchFamily="18" charset="-127"/>
              <a:ea typeface="HY헤드라인M" pitchFamily="18" charset="-127"/>
            </a:endParaRPr>
          </a:p>
          <a:p>
            <a:pPr>
              <a:lnSpc>
                <a:spcPct val="150000"/>
              </a:lnSpc>
              <a:defRPr/>
            </a:pPr>
            <a:r>
              <a:rPr lang="ko-KR" altLang="en-US" sz="3200" b="1">
                <a:ln w="1905"/>
                <a:solidFill>
                  <a:srgbClr val="C0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HY헤드라인M" pitchFamily="18" charset="-127"/>
                <a:ea typeface="HY헤드라인M" pitchFamily="18" charset="-127"/>
              </a:rPr>
              <a:t>      </a:t>
            </a:r>
            <a:r>
              <a:rPr lang="en-US" altLang="ko-KR" sz="3200" b="1">
                <a:ln w="1905"/>
                <a:solidFill>
                  <a:srgbClr val="C0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HY헤드라인M" pitchFamily="18" charset="-127"/>
                <a:ea typeface="HY헤드라인M" pitchFamily="18" charset="-127"/>
              </a:rPr>
              <a:t>= </a:t>
            </a:r>
            <a:r>
              <a:rPr lang="ko-KR" altLang="en-US" sz="3200" b="1">
                <a:ln w="1905"/>
                <a:solidFill>
                  <a:srgbClr val="C0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HY헤드라인M" pitchFamily="18" charset="-127"/>
                <a:ea typeface="HY헤드라인M" pitchFamily="18" charset="-127"/>
              </a:rPr>
              <a:t>번식 </a:t>
            </a:r>
            <a:r>
              <a:rPr lang="en-US" altLang="ko-KR" sz="3200" b="1">
                <a:ln w="1905"/>
                <a:solidFill>
                  <a:srgbClr val="C0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HY헤드라인M" pitchFamily="18" charset="-127"/>
                <a:ea typeface="HY헤드라인M" pitchFamily="18" charset="-127"/>
              </a:rPr>
              <a:t>+ </a:t>
            </a:r>
            <a:r>
              <a:rPr lang="ko-KR" altLang="en-US" sz="3200" b="1">
                <a:ln w="1905"/>
                <a:solidFill>
                  <a:srgbClr val="C0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HY헤드라인M" pitchFamily="18" charset="-127"/>
                <a:ea typeface="HY헤드라인M" pitchFamily="18" charset="-127"/>
              </a:rPr>
              <a:t>외모 </a:t>
            </a:r>
            <a:r>
              <a:rPr lang="en-US" altLang="ko-KR" sz="3200" b="1">
                <a:ln w="1905"/>
                <a:solidFill>
                  <a:srgbClr val="C0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HY헤드라인M" pitchFamily="18" charset="-127"/>
                <a:ea typeface="HY헤드라인M" pitchFamily="18" charset="-127"/>
              </a:rPr>
              <a:t>+ </a:t>
            </a:r>
            <a:r>
              <a:rPr lang="ko-KR" altLang="en-US" sz="3200" b="1">
                <a:ln w="1905"/>
                <a:solidFill>
                  <a:srgbClr val="C0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HY헤드라인M" pitchFamily="18" charset="-127"/>
                <a:ea typeface="HY헤드라인M" pitchFamily="18" charset="-127"/>
              </a:rPr>
              <a:t>혈통 </a:t>
            </a:r>
            <a:r>
              <a:rPr lang="en-US" altLang="ko-KR" sz="3200" b="1">
                <a:ln w="1905"/>
                <a:solidFill>
                  <a:srgbClr val="C0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HY헤드라인M" pitchFamily="18" charset="-127"/>
                <a:ea typeface="HY헤드라인M" pitchFamily="18" charset="-127"/>
              </a:rPr>
              <a:t>+ </a:t>
            </a:r>
            <a:r>
              <a:rPr lang="ko-KR" altLang="en-US" sz="3200" b="1">
                <a:ln w="1905"/>
                <a:solidFill>
                  <a:srgbClr val="C0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HY헤드라인M" pitchFamily="18" charset="-127"/>
                <a:ea typeface="HY헤드라인M" pitchFamily="18" charset="-127"/>
              </a:rPr>
              <a:t>유전능력 </a:t>
            </a:r>
            <a:r>
              <a:rPr lang="en-US" altLang="ko-KR" sz="3200" b="1">
                <a:ln w="1905"/>
                <a:solidFill>
                  <a:srgbClr val="C0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HY헤드라인M" pitchFamily="18" charset="-127"/>
                <a:ea typeface="HY헤드라인M" pitchFamily="18" charset="-127"/>
              </a:rPr>
              <a:t>+ </a:t>
            </a:r>
            <a:r>
              <a:rPr lang="ko-KR" altLang="en-US" sz="3200" b="1">
                <a:ln w="1905"/>
                <a:solidFill>
                  <a:srgbClr val="C0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HY헤드라인M" pitchFamily="18" charset="-127"/>
                <a:ea typeface="HY헤드라인M" pitchFamily="18" charset="-127"/>
              </a:rPr>
              <a:t>후대도축성적</a:t>
            </a:r>
            <a:endParaRPr lang="el-GR" altLang="en-US" sz="3200" b="1" dirty="0">
              <a:ln w="1905"/>
              <a:solidFill>
                <a:srgbClr val="C0000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latin typeface="HY헤드라인M" pitchFamily="18" charset="-127"/>
              <a:ea typeface="HY헤드라인M" pitchFamily="18" charset="-127"/>
              <a:cs typeface="Times New Roman" pitchFamily="18" charset="0"/>
            </a:endParaRPr>
          </a:p>
        </p:txBody>
      </p:sp>
      <p:sp>
        <p:nvSpPr>
          <p:cNvPr id="84997" name="모서리가 둥근 직사각형 4"/>
          <p:cNvSpPr>
            <a:spLocks noChangeArrowheads="1"/>
          </p:cNvSpPr>
          <p:nvPr/>
        </p:nvSpPr>
        <p:spPr bwMode="auto">
          <a:xfrm>
            <a:off x="827089" y="1905005"/>
            <a:ext cx="9105900" cy="3527425"/>
          </a:xfrm>
          <a:prstGeom prst="roundRect">
            <a:avLst>
              <a:gd name="adj" fmla="val 16667"/>
            </a:avLst>
          </a:prstGeom>
          <a:noFill/>
          <a:ln w="63500" algn="ctr">
            <a:solidFill>
              <a:srgbClr val="FFC000"/>
            </a:solidFill>
            <a:round/>
            <a:headEnd/>
            <a:tailEnd/>
          </a:ln>
        </p:spPr>
        <p:txBody>
          <a:bodyPr lIns="103831" tIns="51916" rIns="103831" bIns="51916"/>
          <a:lstStyle/>
          <a:p>
            <a:pPr latinLnBrk="0"/>
            <a:endParaRPr kumimoji="0" lang="ko-KR" altLang="en-US"/>
          </a:p>
        </p:txBody>
      </p:sp>
      <p:graphicFrame>
        <p:nvGraphicFramePr>
          <p:cNvPr id="10" name="표 9"/>
          <p:cNvGraphicFramePr>
            <a:graphicFrameLocks noGrp="1"/>
          </p:cNvGraphicFramePr>
          <p:nvPr/>
        </p:nvGraphicFramePr>
        <p:xfrm>
          <a:off x="0" y="0"/>
          <a:ext cx="10693400" cy="757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7238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T="45672" marB="4567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11" name="Text Box 8"/>
          <p:cNvSpPr txBox="1">
            <a:spLocks noChangeArrowheads="1"/>
          </p:cNvSpPr>
          <p:nvPr/>
        </p:nvSpPr>
        <p:spPr bwMode="auto">
          <a:xfrm>
            <a:off x="3" y="217493"/>
            <a:ext cx="6877050" cy="446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86683" tIns="0" rIns="0" bIns="0">
            <a:spAutoFit/>
          </a:bodyPr>
          <a:lstStyle/>
          <a:p>
            <a:pPr>
              <a:defRPr/>
            </a:pPr>
            <a:r>
              <a:rPr lang="ko-KR" altLang="en-US" sz="29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선발</a:t>
            </a:r>
          </a:p>
        </p:txBody>
      </p:sp>
      <p:sp>
        <p:nvSpPr>
          <p:cNvPr id="85001" name="Rectangle 1"/>
          <p:cNvSpPr>
            <a:spLocks noChangeArrowheads="1"/>
          </p:cNvSpPr>
          <p:nvPr/>
        </p:nvSpPr>
        <p:spPr bwMode="auto">
          <a:xfrm>
            <a:off x="17" y="121097"/>
            <a:ext cx="183890" cy="215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024" tIns="45513" rIns="91024" bIns="45513" anchor="ctr">
            <a:spAutoFit/>
          </a:bodyPr>
          <a:lstStyle/>
          <a:p>
            <a:endParaRPr lang="ko-KR" altLang="en-US"/>
          </a:p>
        </p:txBody>
      </p:sp>
      <p:sp>
        <p:nvSpPr>
          <p:cNvPr id="13" name="Rectangle 2"/>
          <p:cNvSpPr>
            <a:spLocks noChangeArrowheads="1"/>
          </p:cNvSpPr>
          <p:nvPr/>
        </p:nvSpPr>
        <p:spPr bwMode="auto">
          <a:xfrm>
            <a:off x="0" y="-33333"/>
            <a:ext cx="184150" cy="446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86683" tIns="0" rIns="0" bIns="0">
            <a:spAutoFit/>
          </a:bodyPr>
          <a:lstStyle/>
          <a:p>
            <a:pPr>
              <a:defRPr/>
            </a:pPr>
            <a:endParaRPr lang="ko-KR" altLang="en-US" sz="29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itchFamily="18" charset="-127"/>
              <a:ea typeface="HY견고딕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19459690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2" name="그룹 581"/>
          <p:cNvGrpSpPr/>
          <p:nvPr/>
        </p:nvGrpSpPr>
        <p:grpSpPr>
          <a:xfrm>
            <a:off x="569710" y="1215346"/>
            <a:ext cx="9550926" cy="5493393"/>
            <a:chOff x="528352" y="1441628"/>
            <a:chExt cx="8167063" cy="4982460"/>
          </a:xfrm>
        </p:grpSpPr>
        <p:sp>
          <p:nvSpPr>
            <p:cNvPr id="21" name="Text Box 29"/>
            <p:cNvSpPr txBox="1">
              <a:spLocks noChangeArrowheads="1"/>
            </p:cNvSpPr>
            <p:nvPr/>
          </p:nvSpPr>
          <p:spPr bwMode="gray">
            <a:xfrm>
              <a:off x="2844713" y="3422807"/>
              <a:ext cx="1462853" cy="6699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b="1">
                  <a:solidFill>
                    <a:schemeClr val="tx1"/>
                  </a:solidFill>
                  <a:latin typeface="Arial" charset="0"/>
                  <a:ea typeface="굴림" pitchFamily="50" charset="-127"/>
                </a:defRPr>
              </a:lvl1pPr>
              <a:lvl2pPr marL="742950" indent="-285750">
                <a:defRPr b="1">
                  <a:solidFill>
                    <a:schemeClr val="tx1"/>
                  </a:solidFill>
                  <a:latin typeface="Arial" charset="0"/>
                  <a:ea typeface="굴림" pitchFamily="50" charset="-127"/>
                </a:defRPr>
              </a:lvl2pPr>
              <a:lvl3pPr marL="1143000" indent="-228600">
                <a:defRPr b="1">
                  <a:solidFill>
                    <a:schemeClr val="tx1"/>
                  </a:solidFill>
                  <a:latin typeface="Arial" charset="0"/>
                  <a:ea typeface="굴림" pitchFamily="50" charset="-127"/>
                </a:defRPr>
              </a:lvl3pPr>
              <a:lvl4pPr marL="1600200" indent="-228600">
                <a:defRPr b="1">
                  <a:solidFill>
                    <a:schemeClr val="tx1"/>
                  </a:solidFill>
                  <a:latin typeface="Arial" charset="0"/>
                  <a:ea typeface="굴림" pitchFamily="50" charset="-127"/>
                </a:defRPr>
              </a:lvl4pPr>
              <a:lvl5pPr marL="2057400" indent="-228600">
                <a:defRPr b="1">
                  <a:solidFill>
                    <a:schemeClr val="tx1"/>
                  </a:solidFill>
                  <a:latin typeface="Arial" charset="0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굴림" pitchFamily="50" charset="-127"/>
                </a:defRPr>
              </a:lvl9pPr>
            </a:lstStyle>
            <a:p>
              <a:pPr algn="ctr" defTabSz="1042872"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0" lang="ko-KR" altLang="en-US" sz="2100" b="0" dirty="0">
                  <a:solidFill>
                    <a:prstClr val="black"/>
                  </a:solidFill>
                  <a:latin typeface="HY헤드라인M" pitchFamily="18" charset="-127"/>
                  <a:ea typeface="HY헤드라인M" pitchFamily="18" charset="-127"/>
                </a:rPr>
                <a:t>번식능력 및 </a:t>
              </a:r>
              <a:endParaRPr kumimoji="0" lang="en-US" altLang="ko-KR" sz="2100" b="0" dirty="0">
                <a:solidFill>
                  <a:prstClr val="black"/>
                </a:solidFill>
                <a:latin typeface="HY헤드라인M" pitchFamily="18" charset="-127"/>
                <a:ea typeface="HY헤드라인M" pitchFamily="18" charset="-127"/>
              </a:endParaRPr>
            </a:p>
            <a:p>
              <a:pPr algn="ctr" defTabSz="1042872"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0" lang="ko-KR" altLang="en-US" sz="2100" b="0" dirty="0">
                  <a:solidFill>
                    <a:prstClr val="black"/>
                  </a:solidFill>
                  <a:latin typeface="HY헤드라인M" pitchFamily="18" charset="-127"/>
                  <a:ea typeface="HY헤드라인M" pitchFamily="18" charset="-127"/>
                </a:rPr>
                <a:t>근친 파악</a:t>
              </a:r>
              <a:endParaRPr kumimoji="0" lang="en-US" altLang="ko-KR" sz="2100" b="0" dirty="0">
                <a:solidFill>
                  <a:prstClr val="black"/>
                </a:solidFill>
                <a:latin typeface="HY헤드라인M" pitchFamily="18" charset="-127"/>
                <a:ea typeface="HY헤드라인M" pitchFamily="18" charset="-127"/>
              </a:endParaRPr>
            </a:p>
          </p:txBody>
        </p:sp>
        <p:grpSp>
          <p:nvGrpSpPr>
            <p:cNvPr id="30" name="그룹 68"/>
            <p:cNvGrpSpPr>
              <a:grpSpLocks/>
            </p:cNvGrpSpPr>
            <p:nvPr/>
          </p:nvGrpSpPr>
          <p:grpSpPr bwMode="auto">
            <a:xfrm>
              <a:off x="2639390" y="1574957"/>
              <a:ext cx="1673225" cy="1714500"/>
              <a:chOff x="827088" y="2571744"/>
              <a:chExt cx="1673210" cy="1714512"/>
            </a:xfrm>
          </p:grpSpPr>
          <p:pic>
            <p:nvPicPr>
              <p:cNvPr id="32" name="Picture 40" descr="한우클립아트3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27088" y="2714625"/>
                <a:ext cx="469900" cy="714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3" name="Picture 40" descr="한우클립아트3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22375" y="2714625"/>
                <a:ext cx="469900" cy="714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4" name="Picture 40" descr="한우클립아트3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45776" y="2714625"/>
                <a:ext cx="469900" cy="714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5" name="Picture 40" descr="한우클립아트3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30398" y="2714625"/>
                <a:ext cx="469900" cy="714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6" name="Picture 40" descr="한우클립아트3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68834" y="2981329"/>
                <a:ext cx="469900" cy="714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7" name="Picture 40" descr="한우클립아트3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64121" y="2981329"/>
                <a:ext cx="469900" cy="714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8" name="Picture 40" descr="한우클립아트3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887522" y="2981329"/>
                <a:ext cx="469900" cy="714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39" name="Picture 40" descr="한우클립아트3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85852" y="3276605"/>
                <a:ext cx="469900" cy="714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0" name="Picture 40" descr="한우클립아트3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81139" y="3276605"/>
                <a:ext cx="469900" cy="714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1" name="Picture 40" descr="한우클립아트3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571604" y="3571881"/>
                <a:ext cx="469900" cy="714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2" name="Oval 56"/>
              <p:cNvSpPr>
                <a:spLocks noChangeArrowheads="1"/>
              </p:cNvSpPr>
              <p:nvPr/>
            </p:nvSpPr>
            <p:spPr bwMode="gray">
              <a:xfrm>
                <a:off x="2000232" y="2571744"/>
                <a:ext cx="500066" cy="928694"/>
              </a:xfrm>
              <a:prstGeom prst="ellipse">
                <a:avLst/>
              </a:prstGeom>
              <a:noFill/>
              <a:ln w="38100">
                <a:solidFill>
                  <a:srgbClr val="FF0000"/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>
                <a:lvl1pPr>
                  <a:defRPr b="1">
                    <a:solidFill>
                      <a:schemeClr val="tx1"/>
                    </a:solidFill>
                    <a:latin typeface="Arial" charset="0"/>
                    <a:ea typeface="굴림" pitchFamily="50" charset="-127"/>
                  </a:defRPr>
                </a:lvl1pPr>
                <a:lvl2pPr marL="742950" indent="-285750">
                  <a:defRPr b="1">
                    <a:solidFill>
                      <a:schemeClr val="tx1"/>
                    </a:solidFill>
                    <a:latin typeface="Arial" charset="0"/>
                    <a:ea typeface="굴림" pitchFamily="50" charset="-127"/>
                  </a:defRPr>
                </a:lvl2pPr>
                <a:lvl3pPr marL="1143000" indent="-228600">
                  <a:defRPr b="1">
                    <a:solidFill>
                      <a:schemeClr val="tx1"/>
                    </a:solidFill>
                    <a:latin typeface="Arial" charset="0"/>
                    <a:ea typeface="굴림" pitchFamily="50" charset="-127"/>
                  </a:defRPr>
                </a:lvl3pPr>
                <a:lvl4pPr marL="1600200" indent="-228600">
                  <a:defRPr b="1">
                    <a:solidFill>
                      <a:schemeClr val="tx1"/>
                    </a:solidFill>
                    <a:latin typeface="Arial" charset="0"/>
                    <a:ea typeface="굴림" pitchFamily="50" charset="-127"/>
                  </a:defRPr>
                </a:lvl4pPr>
                <a:lvl5pPr marL="2057400" indent="-228600">
                  <a:defRPr b="1">
                    <a:solidFill>
                      <a:schemeClr val="tx1"/>
                    </a:solidFill>
                    <a:latin typeface="Arial" charset="0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굴림" pitchFamily="50" charset="-127"/>
                  </a:defRPr>
                </a:lvl9pPr>
              </a:lstStyle>
              <a:p>
                <a:pPr defTabSz="1042872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210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22" name="Text Box 41"/>
            <p:cNvSpPr txBox="1">
              <a:spLocks noChangeArrowheads="1"/>
            </p:cNvSpPr>
            <p:nvPr/>
          </p:nvSpPr>
          <p:spPr bwMode="gray">
            <a:xfrm>
              <a:off x="528352" y="5754126"/>
              <a:ext cx="1923421" cy="6699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b="1">
                  <a:solidFill>
                    <a:schemeClr val="tx1"/>
                  </a:solidFill>
                  <a:latin typeface="Arial" charset="0"/>
                  <a:ea typeface="굴림" pitchFamily="50" charset="-127"/>
                </a:defRPr>
              </a:lvl1pPr>
              <a:lvl2pPr marL="742950" indent="-285750">
                <a:defRPr b="1">
                  <a:solidFill>
                    <a:schemeClr val="tx1"/>
                  </a:solidFill>
                  <a:latin typeface="Arial" charset="0"/>
                  <a:ea typeface="굴림" pitchFamily="50" charset="-127"/>
                </a:defRPr>
              </a:lvl2pPr>
              <a:lvl3pPr marL="1143000" indent="-228600">
                <a:defRPr b="1">
                  <a:solidFill>
                    <a:schemeClr val="tx1"/>
                  </a:solidFill>
                  <a:latin typeface="Arial" charset="0"/>
                  <a:ea typeface="굴림" pitchFamily="50" charset="-127"/>
                </a:defRPr>
              </a:lvl3pPr>
              <a:lvl4pPr marL="1600200" indent="-228600">
                <a:defRPr b="1">
                  <a:solidFill>
                    <a:schemeClr val="tx1"/>
                  </a:solidFill>
                  <a:latin typeface="Arial" charset="0"/>
                  <a:ea typeface="굴림" pitchFamily="50" charset="-127"/>
                </a:defRPr>
              </a:lvl4pPr>
              <a:lvl5pPr marL="2057400" indent="-228600">
                <a:defRPr b="1">
                  <a:solidFill>
                    <a:schemeClr val="tx1"/>
                  </a:solidFill>
                  <a:latin typeface="Arial" charset="0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굴림" pitchFamily="50" charset="-127"/>
                </a:defRPr>
              </a:lvl9pPr>
            </a:lstStyle>
            <a:p>
              <a:pPr algn="ctr" defTabSz="1042872"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0" lang="ko-KR" altLang="en-US" sz="2100" b="0" dirty="0">
                  <a:solidFill>
                    <a:prstClr val="black"/>
                  </a:solidFill>
                  <a:latin typeface="HY헤드라인M" pitchFamily="18" charset="-127"/>
                  <a:ea typeface="HY헤드라인M" pitchFamily="18" charset="-127"/>
                </a:rPr>
                <a:t>유전능력평가 및 </a:t>
              </a:r>
              <a:endParaRPr kumimoji="0" lang="en-US" altLang="ko-KR" sz="2100" b="0" dirty="0">
                <a:solidFill>
                  <a:prstClr val="black"/>
                </a:solidFill>
                <a:latin typeface="HY헤드라인M" pitchFamily="18" charset="-127"/>
                <a:ea typeface="HY헤드라인M" pitchFamily="18" charset="-127"/>
              </a:endParaRPr>
            </a:p>
            <a:p>
              <a:pPr algn="ctr" defTabSz="1042872"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0" lang="ko-KR" altLang="en-US" sz="2100" b="0" dirty="0">
                  <a:solidFill>
                    <a:prstClr val="black"/>
                  </a:solidFill>
                  <a:latin typeface="HY헤드라인M" pitchFamily="18" charset="-127"/>
                  <a:ea typeface="HY헤드라인M" pitchFamily="18" charset="-127"/>
                </a:rPr>
                <a:t>후대검정</a:t>
              </a:r>
            </a:p>
          </p:txBody>
        </p:sp>
        <p:sp>
          <p:nvSpPr>
            <p:cNvPr id="23" name="Text Box 52"/>
            <p:cNvSpPr txBox="1">
              <a:spLocks noChangeArrowheads="1"/>
            </p:cNvSpPr>
            <p:nvPr/>
          </p:nvSpPr>
          <p:spPr bwMode="gray">
            <a:xfrm>
              <a:off x="4535611" y="5752744"/>
              <a:ext cx="1693137" cy="6699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b="1">
                  <a:solidFill>
                    <a:schemeClr val="tx1"/>
                  </a:solidFill>
                  <a:latin typeface="Arial" charset="0"/>
                  <a:ea typeface="굴림" pitchFamily="50" charset="-127"/>
                </a:defRPr>
              </a:lvl1pPr>
              <a:lvl2pPr marL="742950" indent="-285750">
                <a:defRPr b="1">
                  <a:solidFill>
                    <a:schemeClr val="tx1"/>
                  </a:solidFill>
                  <a:latin typeface="Arial" charset="0"/>
                  <a:ea typeface="굴림" pitchFamily="50" charset="-127"/>
                </a:defRPr>
              </a:lvl2pPr>
              <a:lvl3pPr marL="1143000" indent="-228600">
                <a:defRPr b="1">
                  <a:solidFill>
                    <a:schemeClr val="tx1"/>
                  </a:solidFill>
                  <a:latin typeface="Arial" charset="0"/>
                  <a:ea typeface="굴림" pitchFamily="50" charset="-127"/>
                </a:defRPr>
              </a:lvl3pPr>
              <a:lvl4pPr marL="1600200" indent="-228600">
                <a:defRPr b="1">
                  <a:solidFill>
                    <a:schemeClr val="tx1"/>
                  </a:solidFill>
                  <a:latin typeface="Arial" charset="0"/>
                  <a:ea typeface="굴림" pitchFamily="50" charset="-127"/>
                </a:defRPr>
              </a:lvl4pPr>
              <a:lvl5pPr marL="2057400" indent="-228600">
                <a:defRPr b="1">
                  <a:solidFill>
                    <a:schemeClr val="tx1"/>
                  </a:solidFill>
                  <a:latin typeface="Arial" charset="0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굴림" pitchFamily="50" charset="-127"/>
                </a:defRPr>
              </a:lvl9pPr>
            </a:lstStyle>
            <a:p>
              <a:pPr algn="ctr" defTabSz="1042872"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0" lang="ko-KR" altLang="en-US" sz="2100" b="0" dirty="0">
                  <a:solidFill>
                    <a:prstClr val="black"/>
                  </a:solidFill>
                  <a:latin typeface="HY헤드라인M" pitchFamily="18" charset="-127"/>
                  <a:ea typeface="HY헤드라인M" pitchFamily="18" charset="-127"/>
                </a:rPr>
                <a:t>우량 암소집단</a:t>
              </a:r>
              <a:r>
                <a:rPr kumimoji="0" lang="en-US" altLang="ko-KR" sz="2100" b="0" dirty="0">
                  <a:solidFill>
                    <a:prstClr val="black"/>
                  </a:solidFill>
                  <a:latin typeface="HY헤드라인M" pitchFamily="18" charset="-127"/>
                  <a:ea typeface="HY헤드라인M" pitchFamily="18" charset="-127"/>
                </a:rPr>
                <a:t> </a:t>
              </a:r>
            </a:p>
            <a:p>
              <a:pPr algn="ctr" defTabSz="1042872"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0" lang="ko-KR" altLang="en-US" sz="2100" b="0" dirty="0">
                  <a:solidFill>
                    <a:prstClr val="black"/>
                  </a:solidFill>
                  <a:latin typeface="HY헤드라인M" pitchFamily="18" charset="-127"/>
                  <a:ea typeface="HY헤드라인M" pitchFamily="18" charset="-127"/>
                </a:rPr>
                <a:t>선발</a:t>
              </a:r>
              <a:endParaRPr kumimoji="0" lang="en-US" altLang="ko-KR" sz="2100" b="0" dirty="0">
                <a:solidFill>
                  <a:prstClr val="black"/>
                </a:solidFill>
                <a:latin typeface="HY헤드라인M" pitchFamily="18" charset="-127"/>
                <a:ea typeface="HY헤드라인M" pitchFamily="18" charset="-127"/>
              </a:endParaRPr>
            </a:p>
          </p:txBody>
        </p:sp>
        <p:grpSp>
          <p:nvGrpSpPr>
            <p:cNvPr id="54" name="그룹 70"/>
            <p:cNvGrpSpPr>
              <a:grpSpLocks/>
            </p:cNvGrpSpPr>
            <p:nvPr/>
          </p:nvGrpSpPr>
          <p:grpSpPr bwMode="auto">
            <a:xfrm>
              <a:off x="4474432" y="4098569"/>
              <a:ext cx="1530350" cy="1571625"/>
              <a:chOff x="6715140" y="2714620"/>
              <a:chExt cx="1530334" cy="1571631"/>
            </a:xfrm>
          </p:grpSpPr>
          <p:pic>
            <p:nvPicPr>
              <p:cNvPr id="55" name="Picture 40" descr="한우클립아트3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715140" y="2714620"/>
                <a:ext cx="469900" cy="714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6" name="Picture 40" descr="한우클립아트3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110427" y="2714620"/>
                <a:ext cx="469900" cy="714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8" name="Picture 40" descr="한우클립아트3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352173" y="2981324"/>
                <a:ext cx="469900" cy="714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9" name="Picture 40" descr="한우클립아트3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75574" y="2981324"/>
                <a:ext cx="469900" cy="714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60" name="Picture 40" descr="한우클립아트3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173904" y="3276600"/>
                <a:ext cx="469900" cy="714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62" name="Picture 40" descr="한우클립아트3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459656" y="3571876"/>
                <a:ext cx="469900" cy="7143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grpSp>
          <p:nvGrpSpPr>
            <p:cNvPr id="574" name="그룹 573"/>
            <p:cNvGrpSpPr/>
            <p:nvPr/>
          </p:nvGrpSpPr>
          <p:grpSpPr>
            <a:xfrm>
              <a:off x="1582449" y="2950742"/>
              <a:ext cx="372534" cy="517497"/>
              <a:chOff x="1425927" y="2950742"/>
              <a:chExt cx="372534" cy="517497"/>
            </a:xfrm>
          </p:grpSpPr>
          <p:cxnSp>
            <p:nvCxnSpPr>
              <p:cNvPr id="72" name="직선 연결선 71"/>
              <p:cNvCxnSpPr/>
              <p:nvPr/>
            </p:nvCxnSpPr>
            <p:spPr>
              <a:xfrm rot="7732850">
                <a:off x="1589222" y="3259001"/>
                <a:ext cx="209239" cy="209238"/>
              </a:xfrm>
              <a:prstGeom prst="line">
                <a:avLst/>
              </a:prstGeom>
              <a:ln w="28575" cap="sq">
                <a:solidFill>
                  <a:schemeClr val="tx2">
                    <a:lumMod val="90000"/>
                    <a:lumOff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3" name="직선 연결선 72"/>
              <p:cNvCxnSpPr/>
              <p:nvPr/>
            </p:nvCxnSpPr>
            <p:spPr>
              <a:xfrm rot="7732850" flipH="1">
                <a:off x="1425927" y="3127305"/>
                <a:ext cx="208244" cy="208244"/>
              </a:xfrm>
              <a:prstGeom prst="line">
                <a:avLst/>
              </a:prstGeom>
              <a:ln w="28575" cap="sq">
                <a:solidFill>
                  <a:schemeClr val="tx2">
                    <a:lumMod val="90000"/>
                    <a:lumOff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4" name="직선 연결선 73"/>
              <p:cNvCxnSpPr/>
              <p:nvPr/>
            </p:nvCxnSpPr>
            <p:spPr>
              <a:xfrm rot="18532850">
                <a:off x="1459539" y="3189782"/>
                <a:ext cx="478079" cy="0"/>
              </a:xfrm>
              <a:prstGeom prst="line">
                <a:avLst/>
              </a:prstGeom>
              <a:ln w="28575">
                <a:solidFill>
                  <a:schemeClr val="tx2">
                    <a:lumMod val="90000"/>
                    <a:lumOff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3" name="그룹 572"/>
            <p:cNvGrpSpPr/>
            <p:nvPr/>
          </p:nvGrpSpPr>
          <p:grpSpPr>
            <a:xfrm>
              <a:off x="3178442" y="5057890"/>
              <a:ext cx="481957" cy="419223"/>
              <a:chOff x="3021920" y="5057890"/>
              <a:chExt cx="481957" cy="419223"/>
            </a:xfrm>
          </p:grpSpPr>
          <p:cxnSp>
            <p:nvCxnSpPr>
              <p:cNvPr id="76" name="직선 연결선 75"/>
              <p:cNvCxnSpPr/>
              <p:nvPr/>
            </p:nvCxnSpPr>
            <p:spPr>
              <a:xfrm>
                <a:off x="3294638" y="5057890"/>
                <a:ext cx="209239" cy="209238"/>
              </a:xfrm>
              <a:prstGeom prst="line">
                <a:avLst/>
              </a:prstGeom>
              <a:ln w="28575" cap="sq">
                <a:solidFill>
                  <a:schemeClr val="tx2">
                    <a:lumMod val="90000"/>
                    <a:lumOff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7" name="직선 연결선 76"/>
              <p:cNvCxnSpPr/>
              <p:nvPr/>
            </p:nvCxnSpPr>
            <p:spPr>
              <a:xfrm flipH="1">
                <a:off x="3295042" y="5268869"/>
                <a:ext cx="208244" cy="208244"/>
              </a:xfrm>
              <a:prstGeom prst="line">
                <a:avLst/>
              </a:prstGeom>
              <a:ln w="28575" cap="sq">
                <a:solidFill>
                  <a:schemeClr val="tx2">
                    <a:lumMod val="90000"/>
                    <a:lumOff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78" name="직선 연결선 77"/>
              <p:cNvCxnSpPr/>
              <p:nvPr/>
            </p:nvCxnSpPr>
            <p:spPr>
              <a:xfrm rot="10800000">
                <a:off x="3021920" y="5267940"/>
                <a:ext cx="478079" cy="0"/>
              </a:xfrm>
              <a:prstGeom prst="line">
                <a:avLst/>
              </a:prstGeom>
              <a:ln w="28575">
                <a:solidFill>
                  <a:schemeClr val="tx2">
                    <a:lumMod val="90000"/>
                    <a:lumOff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80" name="Text Box 52"/>
            <p:cNvSpPr txBox="1">
              <a:spLocks noChangeArrowheads="1"/>
            </p:cNvSpPr>
            <p:nvPr/>
          </p:nvSpPr>
          <p:spPr bwMode="gray">
            <a:xfrm>
              <a:off x="6311426" y="3458507"/>
              <a:ext cx="2383989" cy="6699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25400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 b="1">
                  <a:solidFill>
                    <a:schemeClr val="tx1"/>
                  </a:solidFill>
                  <a:latin typeface="Arial" charset="0"/>
                  <a:ea typeface="굴림" pitchFamily="50" charset="-127"/>
                </a:defRPr>
              </a:lvl1pPr>
              <a:lvl2pPr marL="742950" indent="-285750">
                <a:defRPr b="1">
                  <a:solidFill>
                    <a:schemeClr val="tx1"/>
                  </a:solidFill>
                  <a:latin typeface="Arial" charset="0"/>
                  <a:ea typeface="굴림" pitchFamily="50" charset="-127"/>
                </a:defRPr>
              </a:lvl2pPr>
              <a:lvl3pPr marL="1143000" indent="-228600">
                <a:defRPr b="1">
                  <a:solidFill>
                    <a:schemeClr val="tx1"/>
                  </a:solidFill>
                  <a:latin typeface="Arial" charset="0"/>
                  <a:ea typeface="굴림" pitchFamily="50" charset="-127"/>
                </a:defRPr>
              </a:lvl3pPr>
              <a:lvl4pPr marL="1600200" indent="-228600">
                <a:defRPr b="1">
                  <a:solidFill>
                    <a:schemeClr val="tx1"/>
                  </a:solidFill>
                  <a:latin typeface="Arial" charset="0"/>
                  <a:ea typeface="굴림" pitchFamily="50" charset="-127"/>
                </a:defRPr>
              </a:lvl4pPr>
              <a:lvl5pPr marL="2057400" indent="-228600">
                <a:defRPr b="1">
                  <a:solidFill>
                    <a:schemeClr val="tx1"/>
                  </a:solidFill>
                  <a:latin typeface="Arial" charset="0"/>
                  <a:ea typeface="굴림" pitchFamily="50" charset="-127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굴림" pitchFamily="50" charset="-127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굴림" pitchFamily="50" charset="-127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굴림" pitchFamily="50" charset="-127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b="1">
                  <a:solidFill>
                    <a:schemeClr val="tx1"/>
                  </a:solidFill>
                  <a:latin typeface="Arial" charset="0"/>
                  <a:ea typeface="굴림" pitchFamily="50" charset="-127"/>
                </a:defRPr>
              </a:lvl9pPr>
            </a:lstStyle>
            <a:p>
              <a:pPr algn="ctr" defTabSz="1042872"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0" lang="ko-KR" altLang="en-US" sz="2100" b="0" dirty="0">
                  <a:solidFill>
                    <a:prstClr val="black"/>
                  </a:solidFill>
                  <a:latin typeface="HY헤드라인M" pitchFamily="18" charset="-127"/>
                  <a:ea typeface="HY헤드라인M" pitchFamily="18" charset="-127"/>
                </a:rPr>
                <a:t>유전능력평가 및</a:t>
              </a:r>
              <a:endParaRPr kumimoji="0" lang="en-US" altLang="ko-KR" sz="2100" b="0" dirty="0">
                <a:solidFill>
                  <a:prstClr val="black"/>
                </a:solidFill>
                <a:latin typeface="HY헤드라인M" pitchFamily="18" charset="-127"/>
                <a:ea typeface="HY헤드라인M" pitchFamily="18" charset="-127"/>
              </a:endParaRPr>
            </a:p>
            <a:p>
              <a:pPr algn="ctr" defTabSz="1042872" fontAlgn="auto">
                <a:spcBef>
                  <a:spcPts val="0"/>
                </a:spcBef>
                <a:spcAft>
                  <a:spcPts val="0"/>
                </a:spcAft>
              </a:pPr>
              <a:r>
                <a:rPr kumimoji="0" lang="ko-KR" altLang="en-US" sz="2100" b="0" dirty="0">
                  <a:solidFill>
                    <a:prstClr val="black"/>
                  </a:solidFill>
                  <a:latin typeface="HY헤드라인M" pitchFamily="18" charset="-127"/>
                  <a:ea typeface="HY헤드라인M" pitchFamily="18" charset="-127"/>
                </a:rPr>
                <a:t>맞춤형 계획교배 실시</a:t>
              </a:r>
            </a:p>
          </p:txBody>
        </p:sp>
        <p:grpSp>
          <p:nvGrpSpPr>
            <p:cNvPr id="572" name="그룹 571"/>
            <p:cNvGrpSpPr/>
            <p:nvPr/>
          </p:nvGrpSpPr>
          <p:grpSpPr>
            <a:xfrm>
              <a:off x="6868466" y="4615967"/>
              <a:ext cx="376170" cy="517561"/>
              <a:chOff x="6711944" y="4615967"/>
              <a:chExt cx="376170" cy="517561"/>
            </a:xfrm>
          </p:grpSpPr>
          <p:cxnSp>
            <p:nvCxnSpPr>
              <p:cNvPr id="91" name="직선 연결선 90"/>
              <p:cNvCxnSpPr/>
              <p:nvPr/>
            </p:nvCxnSpPr>
            <p:spPr>
              <a:xfrm rot="18436566">
                <a:off x="6711943" y="4615968"/>
                <a:ext cx="209239" cy="209238"/>
              </a:xfrm>
              <a:prstGeom prst="line">
                <a:avLst/>
              </a:prstGeom>
              <a:ln w="28575" cap="sq">
                <a:solidFill>
                  <a:schemeClr val="tx2">
                    <a:lumMod val="90000"/>
                    <a:lumOff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직선 연결선 91"/>
              <p:cNvCxnSpPr/>
              <p:nvPr/>
            </p:nvCxnSpPr>
            <p:spPr>
              <a:xfrm rot="18436566" flipH="1">
                <a:off x="6879870" y="4744019"/>
                <a:ext cx="208244" cy="208244"/>
              </a:xfrm>
              <a:prstGeom prst="line">
                <a:avLst/>
              </a:prstGeom>
              <a:ln w="28575" cap="sq">
                <a:solidFill>
                  <a:schemeClr val="tx2">
                    <a:lumMod val="90000"/>
                    <a:lumOff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3" name="직선 연결선 92"/>
              <p:cNvCxnSpPr/>
              <p:nvPr/>
            </p:nvCxnSpPr>
            <p:spPr>
              <a:xfrm rot="7636566">
                <a:off x="6577655" y="4894489"/>
                <a:ext cx="478079" cy="0"/>
              </a:xfrm>
              <a:prstGeom prst="line">
                <a:avLst/>
              </a:prstGeom>
              <a:ln w="28575">
                <a:solidFill>
                  <a:schemeClr val="tx2">
                    <a:lumMod val="90000"/>
                    <a:lumOff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576" name="그룹 575"/>
            <p:cNvGrpSpPr/>
            <p:nvPr/>
          </p:nvGrpSpPr>
          <p:grpSpPr>
            <a:xfrm>
              <a:off x="6207185" y="1441628"/>
              <a:ext cx="2401361" cy="1905188"/>
              <a:chOff x="5671715" y="1441628"/>
              <a:chExt cx="2401361" cy="1905188"/>
            </a:xfrm>
          </p:grpSpPr>
          <p:pic>
            <p:nvPicPr>
              <p:cNvPr id="82" name="Picture 40" descr="한우클립아트3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755399" y="1581906"/>
                <a:ext cx="469905" cy="7143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83" name="Picture 40" descr="한우클립아트3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537877" y="1715692"/>
                <a:ext cx="381902" cy="5805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95" name="Group 166"/>
              <p:cNvGrpSpPr>
                <a:grpSpLocks/>
              </p:cNvGrpSpPr>
              <p:nvPr/>
            </p:nvGrpSpPr>
            <p:grpSpPr bwMode="auto">
              <a:xfrm>
                <a:off x="6194848" y="2651628"/>
                <a:ext cx="378941" cy="695188"/>
                <a:chOff x="192" y="480"/>
                <a:chExt cx="1038" cy="1824"/>
              </a:xfrm>
            </p:grpSpPr>
            <p:pic>
              <p:nvPicPr>
                <p:cNvPr id="108" name="Picture 167" descr="j0417464"/>
                <p:cNvPicPr>
                  <a:picLocks noChangeAspect="1" noChangeArrowheads="1"/>
                </p:cNvPicPr>
                <p:nvPr/>
              </p:nvPicPr>
              <p:blipFill>
                <a:blip r:embed="rId4" cstate="print"/>
                <a:srcRect/>
                <a:stretch>
                  <a:fillRect/>
                </a:stretch>
              </p:blipFill>
              <p:spPr bwMode="auto">
                <a:xfrm>
                  <a:off x="192" y="480"/>
                  <a:ext cx="1038" cy="168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grpSp>
              <p:nvGrpSpPr>
                <p:cNvPr id="109" name="Group 168"/>
                <p:cNvGrpSpPr>
                  <a:grpSpLocks/>
                </p:cNvGrpSpPr>
                <p:nvPr/>
              </p:nvGrpSpPr>
              <p:grpSpPr bwMode="auto">
                <a:xfrm>
                  <a:off x="279" y="1545"/>
                  <a:ext cx="885" cy="759"/>
                  <a:chOff x="3160" y="3505"/>
                  <a:chExt cx="602" cy="660"/>
                </a:xfrm>
              </p:grpSpPr>
              <p:sp>
                <p:nvSpPr>
                  <p:cNvPr id="110" name="Freeform 169"/>
                  <p:cNvSpPr>
                    <a:spLocks/>
                  </p:cNvSpPr>
                  <p:nvPr/>
                </p:nvSpPr>
                <p:spPr bwMode="auto">
                  <a:xfrm>
                    <a:off x="3292" y="3975"/>
                    <a:ext cx="136" cy="177"/>
                  </a:xfrm>
                  <a:custGeom>
                    <a:avLst/>
                    <a:gdLst>
                      <a:gd name="T0" fmla="*/ 0 w 955"/>
                      <a:gd name="T1" fmla="*/ 0 h 1249"/>
                      <a:gd name="T2" fmla="*/ 0 w 955"/>
                      <a:gd name="T3" fmla="*/ 0 h 1249"/>
                      <a:gd name="T4" fmla="*/ 0 w 955"/>
                      <a:gd name="T5" fmla="*/ 0 h 1249"/>
                      <a:gd name="T6" fmla="*/ 0 w 955"/>
                      <a:gd name="T7" fmla="*/ 0 h 1249"/>
                      <a:gd name="T8" fmla="*/ 0 w 955"/>
                      <a:gd name="T9" fmla="*/ 0 h 1249"/>
                      <a:gd name="T10" fmla="*/ 0 w 955"/>
                      <a:gd name="T11" fmla="*/ 0 h 1249"/>
                      <a:gd name="T12" fmla="*/ 0 w 955"/>
                      <a:gd name="T13" fmla="*/ 0 h 1249"/>
                      <a:gd name="T14" fmla="*/ 0 w 955"/>
                      <a:gd name="T15" fmla="*/ 0 h 1249"/>
                      <a:gd name="T16" fmla="*/ 0 w 955"/>
                      <a:gd name="T17" fmla="*/ 0 h 1249"/>
                      <a:gd name="T18" fmla="*/ 0 w 955"/>
                      <a:gd name="T19" fmla="*/ 0 h 1249"/>
                      <a:gd name="T20" fmla="*/ 0 w 955"/>
                      <a:gd name="T21" fmla="*/ 0 h 1249"/>
                      <a:gd name="T22" fmla="*/ 0 w 955"/>
                      <a:gd name="T23" fmla="*/ 0 h 1249"/>
                      <a:gd name="T24" fmla="*/ 0 w 955"/>
                      <a:gd name="T25" fmla="*/ 0 h 1249"/>
                      <a:gd name="T26" fmla="*/ 0 w 955"/>
                      <a:gd name="T27" fmla="*/ 0 h 1249"/>
                      <a:gd name="T28" fmla="*/ 0 w 955"/>
                      <a:gd name="T29" fmla="*/ 0 h 1249"/>
                      <a:gd name="T30" fmla="*/ 0 w 955"/>
                      <a:gd name="T31" fmla="*/ 0 h 1249"/>
                      <a:gd name="T32" fmla="*/ 0 w 955"/>
                      <a:gd name="T33" fmla="*/ 0 h 1249"/>
                      <a:gd name="T34" fmla="*/ 0 w 955"/>
                      <a:gd name="T35" fmla="*/ 0 h 1249"/>
                      <a:gd name="T36" fmla="*/ 0 w 955"/>
                      <a:gd name="T37" fmla="*/ 0 h 1249"/>
                      <a:gd name="T38" fmla="*/ 0 w 955"/>
                      <a:gd name="T39" fmla="*/ 0 h 1249"/>
                      <a:gd name="T40" fmla="*/ 0 w 955"/>
                      <a:gd name="T41" fmla="*/ 0 h 1249"/>
                      <a:gd name="T42" fmla="*/ 0 w 955"/>
                      <a:gd name="T43" fmla="*/ 0 h 1249"/>
                      <a:gd name="T44" fmla="*/ 0 w 955"/>
                      <a:gd name="T45" fmla="*/ 0 h 1249"/>
                      <a:gd name="T46" fmla="*/ 0 w 955"/>
                      <a:gd name="T47" fmla="*/ 0 h 1249"/>
                      <a:gd name="T48" fmla="*/ 0 w 955"/>
                      <a:gd name="T49" fmla="*/ 0 h 1249"/>
                      <a:gd name="T50" fmla="*/ 0 w 955"/>
                      <a:gd name="T51" fmla="*/ 0 h 1249"/>
                      <a:gd name="T52" fmla="*/ 0 w 955"/>
                      <a:gd name="T53" fmla="*/ 0 h 1249"/>
                      <a:gd name="T54" fmla="*/ 0 w 955"/>
                      <a:gd name="T55" fmla="*/ 0 h 1249"/>
                      <a:gd name="T56" fmla="*/ 0 w 955"/>
                      <a:gd name="T57" fmla="*/ 0 h 1249"/>
                      <a:gd name="T58" fmla="*/ 0 w 955"/>
                      <a:gd name="T59" fmla="*/ 0 h 1249"/>
                      <a:gd name="T60" fmla="*/ 0 w 955"/>
                      <a:gd name="T61" fmla="*/ 0 h 1249"/>
                      <a:gd name="T62" fmla="*/ 0 w 955"/>
                      <a:gd name="T63" fmla="*/ 0 h 1249"/>
                      <a:gd name="T64" fmla="*/ 0 w 955"/>
                      <a:gd name="T65" fmla="*/ 0 h 1249"/>
                      <a:gd name="T66" fmla="*/ 0 w 955"/>
                      <a:gd name="T67" fmla="*/ 0 h 1249"/>
                      <a:gd name="T68" fmla="*/ 0 w 955"/>
                      <a:gd name="T69" fmla="*/ 0 h 1249"/>
                      <a:gd name="T70" fmla="*/ 0 w 955"/>
                      <a:gd name="T71" fmla="*/ 0 h 1249"/>
                      <a:gd name="T72" fmla="*/ 0 w 955"/>
                      <a:gd name="T73" fmla="*/ 0 h 1249"/>
                      <a:gd name="T74" fmla="*/ 0 w 955"/>
                      <a:gd name="T75" fmla="*/ 0 h 1249"/>
                      <a:gd name="T76" fmla="*/ 0 w 955"/>
                      <a:gd name="T77" fmla="*/ 0 h 1249"/>
                      <a:gd name="T78" fmla="*/ 0 w 955"/>
                      <a:gd name="T79" fmla="*/ 0 h 1249"/>
                      <a:gd name="T80" fmla="*/ 0 w 955"/>
                      <a:gd name="T81" fmla="*/ 0 h 1249"/>
                      <a:gd name="T82" fmla="*/ 0 w 955"/>
                      <a:gd name="T83" fmla="*/ 0 h 1249"/>
                      <a:gd name="T84" fmla="*/ 0 w 955"/>
                      <a:gd name="T85" fmla="*/ 0 h 1249"/>
                      <a:gd name="T86" fmla="*/ 0 w 955"/>
                      <a:gd name="T87" fmla="*/ 0 h 1249"/>
                      <a:gd name="T88" fmla="*/ 0 w 955"/>
                      <a:gd name="T89" fmla="*/ 0 h 1249"/>
                      <a:gd name="T90" fmla="*/ 0 w 955"/>
                      <a:gd name="T91" fmla="*/ 0 h 1249"/>
                      <a:gd name="T92" fmla="*/ 0 w 955"/>
                      <a:gd name="T93" fmla="*/ 0 h 1249"/>
                      <a:gd name="T94" fmla="*/ 0 w 955"/>
                      <a:gd name="T95" fmla="*/ 0 h 1249"/>
                      <a:gd name="T96" fmla="*/ 0 w 955"/>
                      <a:gd name="T97" fmla="*/ 0 h 1249"/>
                      <a:gd name="T98" fmla="*/ 0 w 955"/>
                      <a:gd name="T99" fmla="*/ 0 h 1249"/>
                      <a:gd name="T100" fmla="*/ 0 w 955"/>
                      <a:gd name="T101" fmla="*/ 0 h 1249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w 955"/>
                      <a:gd name="T154" fmla="*/ 0 h 1249"/>
                      <a:gd name="T155" fmla="*/ 955 w 955"/>
                      <a:gd name="T156" fmla="*/ 1249 h 1249"/>
                    </a:gdLst>
                    <a:ahLst/>
                    <a:cxnLst>
                      <a:cxn ang="T102">
                        <a:pos x="T0" y="T1"/>
                      </a:cxn>
                      <a:cxn ang="T103">
                        <a:pos x="T2" y="T3"/>
                      </a:cxn>
                      <a:cxn ang="T104">
                        <a:pos x="T4" y="T5"/>
                      </a:cxn>
                      <a:cxn ang="T105">
                        <a:pos x="T6" y="T7"/>
                      </a:cxn>
                      <a:cxn ang="T106">
                        <a:pos x="T8" y="T9"/>
                      </a:cxn>
                      <a:cxn ang="T107">
                        <a:pos x="T10" y="T11"/>
                      </a:cxn>
                      <a:cxn ang="T108">
                        <a:pos x="T12" y="T13"/>
                      </a:cxn>
                      <a:cxn ang="T109">
                        <a:pos x="T14" y="T15"/>
                      </a:cxn>
                      <a:cxn ang="T110">
                        <a:pos x="T16" y="T17"/>
                      </a:cxn>
                      <a:cxn ang="T111">
                        <a:pos x="T18" y="T19"/>
                      </a:cxn>
                      <a:cxn ang="T112">
                        <a:pos x="T20" y="T21"/>
                      </a:cxn>
                      <a:cxn ang="T113">
                        <a:pos x="T22" y="T23"/>
                      </a:cxn>
                      <a:cxn ang="T114">
                        <a:pos x="T24" y="T25"/>
                      </a:cxn>
                      <a:cxn ang="T115">
                        <a:pos x="T26" y="T27"/>
                      </a:cxn>
                      <a:cxn ang="T116">
                        <a:pos x="T28" y="T29"/>
                      </a:cxn>
                      <a:cxn ang="T117">
                        <a:pos x="T30" y="T31"/>
                      </a:cxn>
                      <a:cxn ang="T118">
                        <a:pos x="T32" y="T33"/>
                      </a:cxn>
                      <a:cxn ang="T119">
                        <a:pos x="T34" y="T35"/>
                      </a:cxn>
                      <a:cxn ang="T120">
                        <a:pos x="T36" y="T37"/>
                      </a:cxn>
                      <a:cxn ang="T121">
                        <a:pos x="T38" y="T39"/>
                      </a:cxn>
                      <a:cxn ang="T122">
                        <a:pos x="T40" y="T41"/>
                      </a:cxn>
                      <a:cxn ang="T123">
                        <a:pos x="T42" y="T43"/>
                      </a:cxn>
                      <a:cxn ang="T124">
                        <a:pos x="T44" y="T45"/>
                      </a:cxn>
                      <a:cxn ang="T125">
                        <a:pos x="T46" y="T47"/>
                      </a:cxn>
                      <a:cxn ang="T126">
                        <a:pos x="T48" y="T49"/>
                      </a:cxn>
                      <a:cxn ang="T127">
                        <a:pos x="T50" y="T51"/>
                      </a:cxn>
                      <a:cxn ang="T128">
                        <a:pos x="T52" y="T53"/>
                      </a:cxn>
                      <a:cxn ang="T129">
                        <a:pos x="T54" y="T55"/>
                      </a:cxn>
                      <a:cxn ang="T130">
                        <a:pos x="T56" y="T57"/>
                      </a:cxn>
                      <a:cxn ang="T131">
                        <a:pos x="T58" y="T59"/>
                      </a:cxn>
                      <a:cxn ang="T132">
                        <a:pos x="T60" y="T61"/>
                      </a:cxn>
                      <a:cxn ang="T133">
                        <a:pos x="T62" y="T63"/>
                      </a:cxn>
                      <a:cxn ang="T134">
                        <a:pos x="T64" y="T65"/>
                      </a:cxn>
                      <a:cxn ang="T135">
                        <a:pos x="T66" y="T67"/>
                      </a:cxn>
                      <a:cxn ang="T136">
                        <a:pos x="T68" y="T69"/>
                      </a:cxn>
                      <a:cxn ang="T137">
                        <a:pos x="T70" y="T71"/>
                      </a:cxn>
                      <a:cxn ang="T138">
                        <a:pos x="T72" y="T73"/>
                      </a:cxn>
                      <a:cxn ang="T139">
                        <a:pos x="T74" y="T75"/>
                      </a:cxn>
                      <a:cxn ang="T140">
                        <a:pos x="T76" y="T77"/>
                      </a:cxn>
                      <a:cxn ang="T141">
                        <a:pos x="T78" y="T79"/>
                      </a:cxn>
                      <a:cxn ang="T142">
                        <a:pos x="T80" y="T81"/>
                      </a:cxn>
                      <a:cxn ang="T143">
                        <a:pos x="T82" y="T83"/>
                      </a:cxn>
                      <a:cxn ang="T144">
                        <a:pos x="T84" y="T85"/>
                      </a:cxn>
                      <a:cxn ang="T145">
                        <a:pos x="T86" y="T87"/>
                      </a:cxn>
                      <a:cxn ang="T146">
                        <a:pos x="T88" y="T89"/>
                      </a:cxn>
                      <a:cxn ang="T147">
                        <a:pos x="T90" y="T91"/>
                      </a:cxn>
                      <a:cxn ang="T148">
                        <a:pos x="T92" y="T93"/>
                      </a:cxn>
                      <a:cxn ang="T149">
                        <a:pos x="T94" y="T95"/>
                      </a:cxn>
                      <a:cxn ang="T150">
                        <a:pos x="T96" y="T97"/>
                      </a:cxn>
                      <a:cxn ang="T151">
                        <a:pos x="T98" y="T99"/>
                      </a:cxn>
                      <a:cxn ang="T152">
                        <a:pos x="T100" y="T101"/>
                      </a:cxn>
                    </a:cxnLst>
                    <a:rect l="T153" t="T154" r="T155" b="T156"/>
                    <a:pathLst>
                      <a:path w="955" h="1249">
                        <a:moveTo>
                          <a:pt x="953" y="531"/>
                        </a:moveTo>
                        <a:lnTo>
                          <a:pt x="955" y="463"/>
                        </a:lnTo>
                        <a:lnTo>
                          <a:pt x="951" y="401"/>
                        </a:lnTo>
                        <a:lnTo>
                          <a:pt x="942" y="344"/>
                        </a:lnTo>
                        <a:lnTo>
                          <a:pt x="929" y="292"/>
                        </a:lnTo>
                        <a:lnTo>
                          <a:pt x="911" y="245"/>
                        </a:lnTo>
                        <a:lnTo>
                          <a:pt x="889" y="202"/>
                        </a:lnTo>
                        <a:lnTo>
                          <a:pt x="863" y="164"/>
                        </a:lnTo>
                        <a:lnTo>
                          <a:pt x="834" y="130"/>
                        </a:lnTo>
                        <a:lnTo>
                          <a:pt x="802" y="100"/>
                        </a:lnTo>
                        <a:lnTo>
                          <a:pt x="768" y="75"/>
                        </a:lnTo>
                        <a:lnTo>
                          <a:pt x="731" y="54"/>
                        </a:lnTo>
                        <a:lnTo>
                          <a:pt x="692" y="36"/>
                        </a:lnTo>
                        <a:lnTo>
                          <a:pt x="652" y="23"/>
                        </a:lnTo>
                        <a:lnTo>
                          <a:pt x="611" y="11"/>
                        </a:lnTo>
                        <a:lnTo>
                          <a:pt x="567" y="5"/>
                        </a:lnTo>
                        <a:lnTo>
                          <a:pt x="524" y="0"/>
                        </a:lnTo>
                        <a:lnTo>
                          <a:pt x="480" y="0"/>
                        </a:lnTo>
                        <a:lnTo>
                          <a:pt x="437" y="2"/>
                        </a:lnTo>
                        <a:lnTo>
                          <a:pt x="395" y="7"/>
                        </a:lnTo>
                        <a:lnTo>
                          <a:pt x="352" y="15"/>
                        </a:lnTo>
                        <a:lnTo>
                          <a:pt x="311" y="25"/>
                        </a:lnTo>
                        <a:lnTo>
                          <a:pt x="272" y="37"/>
                        </a:lnTo>
                        <a:lnTo>
                          <a:pt x="234" y="53"/>
                        </a:lnTo>
                        <a:lnTo>
                          <a:pt x="199" y="69"/>
                        </a:lnTo>
                        <a:lnTo>
                          <a:pt x="165" y="88"/>
                        </a:lnTo>
                        <a:lnTo>
                          <a:pt x="135" y="109"/>
                        </a:lnTo>
                        <a:lnTo>
                          <a:pt x="109" y="132"/>
                        </a:lnTo>
                        <a:lnTo>
                          <a:pt x="85" y="155"/>
                        </a:lnTo>
                        <a:lnTo>
                          <a:pt x="66" y="181"/>
                        </a:lnTo>
                        <a:lnTo>
                          <a:pt x="51" y="207"/>
                        </a:lnTo>
                        <a:lnTo>
                          <a:pt x="41" y="235"/>
                        </a:lnTo>
                        <a:lnTo>
                          <a:pt x="35" y="264"/>
                        </a:lnTo>
                        <a:lnTo>
                          <a:pt x="25" y="352"/>
                        </a:lnTo>
                        <a:lnTo>
                          <a:pt x="14" y="448"/>
                        </a:lnTo>
                        <a:lnTo>
                          <a:pt x="10" y="497"/>
                        </a:lnTo>
                        <a:lnTo>
                          <a:pt x="5" y="547"/>
                        </a:lnTo>
                        <a:lnTo>
                          <a:pt x="2" y="596"/>
                        </a:lnTo>
                        <a:lnTo>
                          <a:pt x="1" y="645"/>
                        </a:lnTo>
                        <a:lnTo>
                          <a:pt x="0" y="692"/>
                        </a:lnTo>
                        <a:lnTo>
                          <a:pt x="2" y="738"/>
                        </a:lnTo>
                        <a:lnTo>
                          <a:pt x="3" y="760"/>
                        </a:lnTo>
                        <a:lnTo>
                          <a:pt x="5" y="781"/>
                        </a:lnTo>
                        <a:lnTo>
                          <a:pt x="8" y="803"/>
                        </a:lnTo>
                        <a:lnTo>
                          <a:pt x="12" y="823"/>
                        </a:lnTo>
                        <a:lnTo>
                          <a:pt x="15" y="843"/>
                        </a:lnTo>
                        <a:lnTo>
                          <a:pt x="21" y="860"/>
                        </a:lnTo>
                        <a:lnTo>
                          <a:pt x="26" y="878"/>
                        </a:lnTo>
                        <a:lnTo>
                          <a:pt x="33" y="895"/>
                        </a:lnTo>
                        <a:lnTo>
                          <a:pt x="40" y="911"/>
                        </a:lnTo>
                        <a:lnTo>
                          <a:pt x="47" y="926"/>
                        </a:lnTo>
                        <a:lnTo>
                          <a:pt x="57" y="939"/>
                        </a:lnTo>
                        <a:lnTo>
                          <a:pt x="67" y="952"/>
                        </a:lnTo>
                        <a:lnTo>
                          <a:pt x="79" y="963"/>
                        </a:lnTo>
                        <a:lnTo>
                          <a:pt x="91" y="975"/>
                        </a:lnTo>
                        <a:lnTo>
                          <a:pt x="104" y="987"/>
                        </a:lnTo>
                        <a:lnTo>
                          <a:pt x="120" y="1001"/>
                        </a:lnTo>
                        <a:lnTo>
                          <a:pt x="153" y="1026"/>
                        </a:lnTo>
                        <a:lnTo>
                          <a:pt x="190" y="1052"/>
                        </a:lnTo>
                        <a:lnTo>
                          <a:pt x="231" y="1079"/>
                        </a:lnTo>
                        <a:lnTo>
                          <a:pt x="274" y="1104"/>
                        </a:lnTo>
                        <a:lnTo>
                          <a:pt x="320" y="1129"/>
                        </a:lnTo>
                        <a:lnTo>
                          <a:pt x="368" y="1152"/>
                        </a:lnTo>
                        <a:lnTo>
                          <a:pt x="416" y="1174"/>
                        </a:lnTo>
                        <a:lnTo>
                          <a:pt x="465" y="1194"/>
                        </a:lnTo>
                        <a:lnTo>
                          <a:pt x="489" y="1203"/>
                        </a:lnTo>
                        <a:lnTo>
                          <a:pt x="514" y="1212"/>
                        </a:lnTo>
                        <a:lnTo>
                          <a:pt x="538" y="1220"/>
                        </a:lnTo>
                        <a:lnTo>
                          <a:pt x="563" y="1227"/>
                        </a:lnTo>
                        <a:lnTo>
                          <a:pt x="586" y="1232"/>
                        </a:lnTo>
                        <a:lnTo>
                          <a:pt x="609" y="1238"/>
                        </a:lnTo>
                        <a:lnTo>
                          <a:pt x="633" y="1242"/>
                        </a:lnTo>
                        <a:lnTo>
                          <a:pt x="655" y="1246"/>
                        </a:lnTo>
                        <a:lnTo>
                          <a:pt x="676" y="1248"/>
                        </a:lnTo>
                        <a:lnTo>
                          <a:pt x="697" y="1249"/>
                        </a:lnTo>
                        <a:lnTo>
                          <a:pt x="719" y="1249"/>
                        </a:lnTo>
                        <a:lnTo>
                          <a:pt x="737" y="1248"/>
                        </a:lnTo>
                        <a:lnTo>
                          <a:pt x="762" y="1244"/>
                        </a:lnTo>
                        <a:lnTo>
                          <a:pt x="784" y="1239"/>
                        </a:lnTo>
                        <a:lnTo>
                          <a:pt x="805" y="1231"/>
                        </a:lnTo>
                        <a:lnTo>
                          <a:pt x="824" y="1221"/>
                        </a:lnTo>
                        <a:lnTo>
                          <a:pt x="841" y="1210"/>
                        </a:lnTo>
                        <a:lnTo>
                          <a:pt x="858" y="1197"/>
                        </a:lnTo>
                        <a:lnTo>
                          <a:pt x="871" y="1181"/>
                        </a:lnTo>
                        <a:lnTo>
                          <a:pt x="883" y="1164"/>
                        </a:lnTo>
                        <a:lnTo>
                          <a:pt x="894" y="1146"/>
                        </a:lnTo>
                        <a:lnTo>
                          <a:pt x="904" y="1126"/>
                        </a:lnTo>
                        <a:lnTo>
                          <a:pt x="913" y="1105"/>
                        </a:lnTo>
                        <a:lnTo>
                          <a:pt x="921" y="1083"/>
                        </a:lnTo>
                        <a:lnTo>
                          <a:pt x="928" y="1060"/>
                        </a:lnTo>
                        <a:lnTo>
                          <a:pt x="932" y="1035"/>
                        </a:lnTo>
                        <a:lnTo>
                          <a:pt x="937" y="1010"/>
                        </a:lnTo>
                        <a:lnTo>
                          <a:pt x="941" y="984"/>
                        </a:lnTo>
                        <a:lnTo>
                          <a:pt x="943" y="957"/>
                        </a:lnTo>
                        <a:lnTo>
                          <a:pt x="946" y="929"/>
                        </a:lnTo>
                        <a:lnTo>
                          <a:pt x="948" y="902"/>
                        </a:lnTo>
                        <a:lnTo>
                          <a:pt x="949" y="873"/>
                        </a:lnTo>
                        <a:lnTo>
                          <a:pt x="950" y="815"/>
                        </a:lnTo>
                        <a:lnTo>
                          <a:pt x="950" y="756"/>
                        </a:lnTo>
                        <a:lnTo>
                          <a:pt x="950" y="698"/>
                        </a:lnTo>
                        <a:lnTo>
                          <a:pt x="950" y="640"/>
                        </a:lnTo>
                        <a:lnTo>
                          <a:pt x="951" y="584"/>
                        </a:lnTo>
                        <a:lnTo>
                          <a:pt x="953" y="531"/>
                        </a:lnTo>
                        <a:close/>
                      </a:path>
                    </a:pathLst>
                  </a:custGeom>
                  <a:solidFill>
                    <a:srgbClr val="273669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111" name="Freeform 170"/>
                  <p:cNvSpPr>
                    <a:spLocks/>
                  </p:cNvSpPr>
                  <p:nvPr/>
                </p:nvSpPr>
                <p:spPr bwMode="auto">
                  <a:xfrm>
                    <a:off x="3357" y="3975"/>
                    <a:ext cx="71" cy="138"/>
                  </a:xfrm>
                  <a:custGeom>
                    <a:avLst/>
                    <a:gdLst>
                      <a:gd name="T0" fmla="*/ 0 w 502"/>
                      <a:gd name="T1" fmla="*/ 0 h 967"/>
                      <a:gd name="T2" fmla="*/ 0 w 502"/>
                      <a:gd name="T3" fmla="*/ 0 h 967"/>
                      <a:gd name="T4" fmla="*/ 0 w 502"/>
                      <a:gd name="T5" fmla="*/ 0 h 967"/>
                      <a:gd name="T6" fmla="*/ 0 w 502"/>
                      <a:gd name="T7" fmla="*/ 0 h 967"/>
                      <a:gd name="T8" fmla="*/ 0 w 502"/>
                      <a:gd name="T9" fmla="*/ 0 h 967"/>
                      <a:gd name="T10" fmla="*/ 0 w 502"/>
                      <a:gd name="T11" fmla="*/ 0 h 967"/>
                      <a:gd name="T12" fmla="*/ 0 w 502"/>
                      <a:gd name="T13" fmla="*/ 0 h 967"/>
                      <a:gd name="T14" fmla="*/ 0 w 502"/>
                      <a:gd name="T15" fmla="*/ 0 h 967"/>
                      <a:gd name="T16" fmla="*/ 0 w 502"/>
                      <a:gd name="T17" fmla="*/ 0 h 967"/>
                      <a:gd name="T18" fmla="*/ 0 w 502"/>
                      <a:gd name="T19" fmla="*/ 0 h 967"/>
                      <a:gd name="T20" fmla="*/ 0 w 502"/>
                      <a:gd name="T21" fmla="*/ 0 h 967"/>
                      <a:gd name="T22" fmla="*/ 0 w 502"/>
                      <a:gd name="T23" fmla="*/ 0 h 967"/>
                      <a:gd name="T24" fmla="*/ 0 w 502"/>
                      <a:gd name="T25" fmla="*/ 0 h 967"/>
                      <a:gd name="T26" fmla="*/ 0 w 502"/>
                      <a:gd name="T27" fmla="*/ 0 h 967"/>
                      <a:gd name="T28" fmla="*/ 0 w 502"/>
                      <a:gd name="T29" fmla="*/ 0 h 967"/>
                      <a:gd name="T30" fmla="*/ 0 w 502"/>
                      <a:gd name="T31" fmla="*/ 0 h 967"/>
                      <a:gd name="T32" fmla="*/ 0 w 502"/>
                      <a:gd name="T33" fmla="*/ 0 h 967"/>
                      <a:gd name="T34" fmla="*/ 0 w 502"/>
                      <a:gd name="T35" fmla="*/ 0 h 967"/>
                      <a:gd name="T36" fmla="*/ 0 w 502"/>
                      <a:gd name="T37" fmla="*/ 0 h 967"/>
                      <a:gd name="T38" fmla="*/ 0 w 502"/>
                      <a:gd name="T39" fmla="*/ 0 h 967"/>
                      <a:gd name="T40" fmla="*/ 0 w 502"/>
                      <a:gd name="T41" fmla="*/ 0 h 967"/>
                      <a:gd name="T42" fmla="*/ 0 w 502"/>
                      <a:gd name="T43" fmla="*/ 0 h 967"/>
                      <a:gd name="T44" fmla="*/ 0 w 502"/>
                      <a:gd name="T45" fmla="*/ 0 h 967"/>
                      <a:gd name="T46" fmla="*/ 0 w 502"/>
                      <a:gd name="T47" fmla="*/ 0 h 967"/>
                      <a:gd name="T48" fmla="*/ 0 w 502"/>
                      <a:gd name="T49" fmla="*/ 0 h 967"/>
                      <a:gd name="T50" fmla="*/ 0 w 502"/>
                      <a:gd name="T51" fmla="*/ 0 h 967"/>
                      <a:gd name="T52" fmla="*/ 0 w 502"/>
                      <a:gd name="T53" fmla="*/ 0 h 967"/>
                      <a:gd name="T54" fmla="*/ 0 w 502"/>
                      <a:gd name="T55" fmla="*/ 0 h 967"/>
                      <a:gd name="T56" fmla="*/ 0 w 502"/>
                      <a:gd name="T57" fmla="*/ 0 h 967"/>
                      <a:gd name="T58" fmla="*/ 0 w 502"/>
                      <a:gd name="T59" fmla="*/ 0 h 967"/>
                      <a:gd name="T60" fmla="*/ 0 w 502"/>
                      <a:gd name="T61" fmla="*/ 0 h 967"/>
                      <a:gd name="T62" fmla="*/ 0 w 502"/>
                      <a:gd name="T63" fmla="*/ 0 h 967"/>
                      <a:gd name="T64" fmla="*/ 0 w 502"/>
                      <a:gd name="T65" fmla="*/ 0 h 967"/>
                      <a:gd name="T66" fmla="*/ 0 w 502"/>
                      <a:gd name="T67" fmla="*/ 0 h 967"/>
                      <a:gd name="T68" fmla="*/ 0 w 502"/>
                      <a:gd name="T69" fmla="*/ 0 h 967"/>
                      <a:gd name="T70" fmla="*/ 0 w 502"/>
                      <a:gd name="T71" fmla="*/ 0 h 967"/>
                      <a:gd name="T72" fmla="*/ 0 w 502"/>
                      <a:gd name="T73" fmla="*/ 0 h 967"/>
                      <a:gd name="T74" fmla="*/ 0 w 502"/>
                      <a:gd name="T75" fmla="*/ 0 h 967"/>
                      <a:gd name="T76" fmla="*/ 0 w 502"/>
                      <a:gd name="T77" fmla="*/ 0 h 967"/>
                      <a:gd name="T78" fmla="*/ 0 w 502"/>
                      <a:gd name="T79" fmla="*/ 0 h 967"/>
                      <a:gd name="T80" fmla="*/ 0 w 502"/>
                      <a:gd name="T81" fmla="*/ 0 h 967"/>
                      <a:gd name="T82" fmla="*/ 0 w 502"/>
                      <a:gd name="T83" fmla="*/ 0 h 967"/>
                      <a:gd name="T84" fmla="*/ 0 w 502"/>
                      <a:gd name="T85" fmla="*/ 0 h 96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502"/>
                      <a:gd name="T130" fmla="*/ 0 h 967"/>
                      <a:gd name="T131" fmla="*/ 502 w 502"/>
                      <a:gd name="T132" fmla="*/ 967 h 96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502" h="967">
                        <a:moveTo>
                          <a:pt x="499" y="379"/>
                        </a:moveTo>
                        <a:lnTo>
                          <a:pt x="496" y="358"/>
                        </a:lnTo>
                        <a:lnTo>
                          <a:pt x="492" y="337"/>
                        </a:lnTo>
                        <a:lnTo>
                          <a:pt x="485" y="315"/>
                        </a:lnTo>
                        <a:lnTo>
                          <a:pt x="478" y="291"/>
                        </a:lnTo>
                        <a:lnTo>
                          <a:pt x="469" y="269"/>
                        </a:lnTo>
                        <a:lnTo>
                          <a:pt x="458" y="246"/>
                        </a:lnTo>
                        <a:lnTo>
                          <a:pt x="447" y="224"/>
                        </a:lnTo>
                        <a:lnTo>
                          <a:pt x="434" y="200"/>
                        </a:lnTo>
                        <a:lnTo>
                          <a:pt x="420" y="179"/>
                        </a:lnTo>
                        <a:lnTo>
                          <a:pt x="405" y="157"/>
                        </a:lnTo>
                        <a:lnTo>
                          <a:pt x="389" y="137"/>
                        </a:lnTo>
                        <a:lnTo>
                          <a:pt x="373" y="118"/>
                        </a:lnTo>
                        <a:lnTo>
                          <a:pt x="355" y="100"/>
                        </a:lnTo>
                        <a:lnTo>
                          <a:pt x="337" y="83"/>
                        </a:lnTo>
                        <a:lnTo>
                          <a:pt x="318" y="69"/>
                        </a:lnTo>
                        <a:lnTo>
                          <a:pt x="298" y="55"/>
                        </a:lnTo>
                        <a:lnTo>
                          <a:pt x="288" y="50"/>
                        </a:lnTo>
                        <a:lnTo>
                          <a:pt x="272" y="43"/>
                        </a:lnTo>
                        <a:lnTo>
                          <a:pt x="255" y="37"/>
                        </a:lnTo>
                        <a:lnTo>
                          <a:pt x="233" y="30"/>
                        </a:lnTo>
                        <a:lnTo>
                          <a:pt x="210" y="22"/>
                        </a:lnTo>
                        <a:lnTo>
                          <a:pt x="186" y="15"/>
                        </a:lnTo>
                        <a:lnTo>
                          <a:pt x="160" y="10"/>
                        </a:lnTo>
                        <a:lnTo>
                          <a:pt x="134" y="5"/>
                        </a:lnTo>
                        <a:lnTo>
                          <a:pt x="110" y="2"/>
                        </a:lnTo>
                        <a:lnTo>
                          <a:pt x="86" y="0"/>
                        </a:lnTo>
                        <a:lnTo>
                          <a:pt x="75" y="0"/>
                        </a:lnTo>
                        <a:lnTo>
                          <a:pt x="65" y="1"/>
                        </a:lnTo>
                        <a:lnTo>
                          <a:pt x="55" y="2"/>
                        </a:lnTo>
                        <a:lnTo>
                          <a:pt x="46" y="3"/>
                        </a:lnTo>
                        <a:lnTo>
                          <a:pt x="39" y="5"/>
                        </a:lnTo>
                        <a:lnTo>
                          <a:pt x="32" y="9"/>
                        </a:lnTo>
                        <a:lnTo>
                          <a:pt x="25" y="13"/>
                        </a:lnTo>
                        <a:lnTo>
                          <a:pt x="21" y="18"/>
                        </a:lnTo>
                        <a:lnTo>
                          <a:pt x="17" y="23"/>
                        </a:lnTo>
                        <a:lnTo>
                          <a:pt x="15" y="30"/>
                        </a:lnTo>
                        <a:lnTo>
                          <a:pt x="14" y="38"/>
                        </a:lnTo>
                        <a:lnTo>
                          <a:pt x="14" y="45"/>
                        </a:lnTo>
                        <a:lnTo>
                          <a:pt x="14" y="62"/>
                        </a:lnTo>
                        <a:lnTo>
                          <a:pt x="13" y="107"/>
                        </a:lnTo>
                        <a:lnTo>
                          <a:pt x="12" y="172"/>
                        </a:lnTo>
                        <a:lnTo>
                          <a:pt x="10" y="252"/>
                        </a:lnTo>
                        <a:lnTo>
                          <a:pt x="7" y="341"/>
                        </a:lnTo>
                        <a:lnTo>
                          <a:pt x="6" y="433"/>
                        </a:lnTo>
                        <a:lnTo>
                          <a:pt x="5" y="520"/>
                        </a:lnTo>
                        <a:lnTo>
                          <a:pt x="5" y="596"/>
                        </a:lnTo>
                        <a:lnTo>
                          <a:pt x="4" y="630"/>
                        </a:lnTo>
                        <a:lnTo>
                          <a:pt x="2" y="664"/>
                        </a:lnTo>
                        <a:lnTo>
                          <a:pt x="0" y="700"/>
                        </a:lnTo>
                        <a:lnTo>
                          <a:pt x="0" y="737"/>
                        </a:lnTo>
                        <a:lnTo>
                          <a:pt x="1" y="754"/>
                        </a:lnTo>
                        <a:lnTo>
                          <a:pt x="3" y="771"/>
                        </a:lnTo>
                        <a:lnTo>
                          <a:pt x="6" y="788"/>
                        </a:lnTo>
                        <a:lnTo>
                          <a:pt x="12" y="803"/>
                        </a:lnTo>
                        <a:lnTo>
                          <a:pt x="17" y="819"/>
                        </a:lnTo>
                        <a:lnTo>
                          <a:pt x="25" y="833"/>
                        </a:lnTo>
                        <a:lnTo>
                          <a:pt x="30" y="840"/>
                        </a:lnTo>
                        <a:lnTo>
                          <a:pt x="35" y="847"/>
                        </a:lnTo>
                        <a:lnTo>
                          <a:pt x="41" y="853"/>
                        </a:lnTo>
                        <a:lnTo>
                          <a:pt x="48" y="859"/>
                        </a:lnTo>
                        <a:lnTo>
                          <a:pt x="56" y="867"/>
                        </a:lnTo>
                        <a:lnTo>
                          <a:pt x="68" y="875"/>
                        </a:lnTo>
                        <a:lnTo>
                          <a:pt x="78" y="882"/>
                        </a:lnTo>
                        <a:lnTo>
                          <a:pt x="90" y="888"/>
                        </a:lnTo>
                        <a:lnTo>
                          <a:pt x="113" y="900"/>
                        </a:lnTo>
                        <a:lnTo>
                          <a:pt x="140" y="910"/>
                        </a:lnTo>
                        <a:lnTo>
                          <a:pt x="167" y="919"/>
                        </a:lnTo>
                        <a:lnTo>
                          <a:pt x="196" y="927"/>
                        </a:lnTo>
                        <a:lnTo>
                          <a:pt x="224" y="933"/>
                        </a:lnTo>
                        <a:lnTo>
                          <a:pt x="255" y="939"/>
                        </a:lnTo>
                        <a:lnTo>
                          <a:pt x="316" y="947"/>
                        </a:lnTo>
                        <a:lnTo>
                          <a:pt x="376" y="954"/>
                        </a:lnTo>
                        <a:lnTo>
                          <a:pt x="433" y="960"/>
                        </a:lnTo>
                        <a:lnTo>
                          <a:pt x="485" y="967"/>
                        </a:lnTo>
                        <a:lnTo>
                          <a:pt x="483" y="946"/>
                        </a:lnTo>
                        <a:lnTo>
                          <a:pt x="482" y="918"/>
                        </a:lnTo>
                        <a:lnTo>
                          <a:pt x="482" y="886"/>
                        </a:lnTo>
                        <a:lnTo>
                          <a:pt x="483" y="850"/>
                        </a:lnTo>
                        <a:lnTo>
                          <a:pt x="486" y="768"/>
                        </a:lnTo>
                        <a:lnTo>
                          <a:pt x="492" y="679"/>
                        </a:lnTo>
                        <a:lnTo>
                          <a:pt x="496" y="589"/>
                        </a:lnTo>
                        <a:lnTo>
                          <a:pt x="501" y="505"/>
                        </a:lnTo>
                        <a:lnTo>
                          <a:pt x="501" y="467"/>
                        </a:lnTo>
                        <a:lnTo>
                          <a:pt x="502" y="433"/>
                        </a:lnTo>
                        <a:lnTo>
                          <a:pt x="501" y="404"/>
                        </a:lnTo>
                        <a:lnTo>
                          <a:pt x="499" y="379"/>
                        </a:lnTo>
                        <a:close/>
                      </a:path>
                    </a:pathLst>
                  </a:custGeom>
                  <a:solidFill>
                    <a:srgbClr val="242B53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112" name="Freeform 171"/>
                  <p:cNvSpPr>
                    <a:spLocks/>
                  </p:cNvSpPr>
                  <p:nvPr/>
                </p:nvSpPr>
                <p:spPr bwMode="auto">
                  <a:xfrm>
                    <a:off x="3254" y="4059"/>
                    <a:ext cx="170" cy="105"/>
                  </a:xfrm>
                  <a:custGeom>
                    <a:avLst/>
                    <a:gdLst>
                      <a:gd name="T0" fmla="*/ 0 w 1192"/>
                      <a:gd name="T1" fmla="*/ 0 h 736"/>
                      <a:gd name="T2" fmla="*/ 0 w 1192"/>
                      <a:gd name="T3" fmla="*/ 0 h 736"/>
                      <a:gd name="T4" fmla="*/ 0 w 1192"/>
                      <a:gd name="T5" fmla="*/ 0 h 736"/>
                      <a:gd name="T6" fmla="*/ 0 w 1192"/>
                      <a:gd name="T7" fmla="*/ 0 h 736"/>
                      <a:gd name="T8" fmla="*/ 0 w 1192"/>
                      <a:gd name="T9" fmla="*/ 0 h 736"/>
                      <a:gd name="T10" fmla="*/ 0 w 1192"/>
                      <a:gd name="T11" fmla="*/ 0 h 736"/>
                      <a:gd name="T12" fmla="*/ 0 w 1192"/>
                      <a:gd name="T13" fmla="*/ 0 h 736"/>
                      <a:gd name="T14" fmla="*/ 0 w 1192"/>
                      <a:gd name="T15" fmla="*/ 0 h 736"/>
                      <a:gd name="T16" fmla="*/ 0 w 1192"/>
                      <a:gd name="T17" fmla="*/ 0 h 736"/>
                      <a:gd name="T18" fmla="*/ 0 w 1192"/>
                      <a:gd name="T19" fmla="*/ 0 h 736"/>
                      <a:gd name="T20" fmla="*/ 0 w 1192"/>
                      <a:gd name="T21" fmla="*/ 0 h 736"/>
                      <a:gd name="T22" fmla="*/ 0 w 1192"/>
                      <a:gd name="T23" fmla="*/ 0 h 736"/>
                      <a:gd name="T24" fmla="*/ 0 w 1192"/>
                      <a:gd name="T25" fmla="*/ 0 h 736"/>
                      <a:gd name="T26" fmla="*/ 0 w 1192"/>
                      <a:gd name="T27" fmla="*/ 0 h 736"/>
                      <a:gd name="T28" fmla="*/ 0 w 1192"/>
                      <a:gd name="T29" fmla="*/ 0 h 736"/>
                      <a:gd name="T30" fmla="*/ 0 w 1192"/>
                      <a:gd name="T31" fmla="*/ 0 h 736"/>
                      <a:gd name="T32" fmla="*/ 0 w 1192"/>
                      <a:gd name="T33" fmla="*/ 0 h 736"/>
                      <a:gd name="T34" fmla="*/ 0 w 1192"/>
                      <a:gd name="T35" fmla="*/ 0 h 736"/>
                      <a:gd name="T36" fmla="*/ 0 w 1192"/>
                      <a:gd name="T37" fmla="*/ 0 h 736"/>
                      <a:gd name="T38" fmla="*/ 0 w 1192"/>
                      <a:gd name="T39" fmla="*/ 0 h 736"/>
                      <a:gd name="T40" fmla="*/ 0 w 1192"/>
                      <a:gd name="T41" fmla="*/ 0 h 736"/>
                      <a:gd name="T42" fmla="*/ 0 w 1192"/>
                      <a:gd name="T43" fmla="*/ 0 h 736"/>
                      <a:gd name="T44" fmla="*/ 0 w 1192"/>
                      <a:gd name="T45" fmla="*/ 0 h 736"/>
                      <a:gd name="T46" fmla="*/ 0 w 1192"/>
                      <a:gd name="T47" fmla="*/ 0 h 736"/>
                      <a:gd name="T48" fmla="*/ 0 w 1192"/>
                      <a:gd name="T49" fmla="*/ 0 h 736"/>
                      <a:gd name="T50" fmla="*/ 0 w 1192"/>
                      <a:gd name="T51" fmla="*/ 0 h 736"/>
                      <a:gd name="T52" fmla="*/ 0 w 1192"/>
                      <a:gd name="T53" fmla="*/ 0 h 736"/>
                      <a:gd name="T54" fmla="*/ 0 w 1192"/>
                      <a:gd name="T55" fmla="*/ 0 h 736"/>
                      <a:gd name="T56" fmla="*/ 0 w 1192"/>
                      <a:gd name="T57" fmla="*/ 0 h 736"/>
                      <a:gd name="T58" fmla="*/ 0 w 1192"/>
                      <a:gd name="T59" fmla="*/ 0 h 736"/>
                      <a:gd name="T60" fmla="*/ 0 w 1192"/>
                      <a:gd name="T61" fmla="*/ 0 h 736"/>
                      <a:gd name="T62" fmla="*/ 0 w 1192"/>
                      <a:gd name="T63" fmla="*/ 0 h 736"/>
                      <a:gd name="T64" fmla="*/ 0 w 1192"/>
                      <a:gd name="T65" fmla="*/ 0 h 736"/>
                      <a:gd name="T66" fmla="*/ 0 w 1192"/>
                      <a:gd name="T67" fmla="*/ 0 h 736"/>
                      <a:gd name="T68" fmla="*/ 0 w 1192"/>
                      <a:gd name="T69" fmla="*/ 0 h 736"/>
                      <a:gd name="T70" fmla="*/ 0 w 1192"/>
                      <a:gd name="T71" fmla="*/ 0 h 736"/>
                      <a:gd name="T72" fmla="*/ 0 w 1192"/>
                      <a:gd name="T73" fmla="*/ 0 h 736"/>
                      <a:gd name="T74" fmla="*/ 0 w 1192"/>
                      <a:gd name="T75" fmla="*/ 0 h 736"/>
                      <a:gd name="T76" fmla="*/ 0 w 1192"/>
                      <a:gd name="T77" fmla="*/ 0 h 736"/>
                      <a:gd name="T78" fmla="*/ 0 w 1192"/>
                      <a:gd name="T79" fmla="*/ 0 h 736"/>
                      <a:gd name="T80" fmla="*/ 0 w 1192"/>
                      <a:gd name="T81" fmla="*/ 0 h 736"/>
                      <a:gd name="T82" fmla="*/ 0 w 1192"/>
                      <a:gd name="T83" fmla="*/ 0 h 736"/>
                      <a:gd name="T84" fmla="*/ 0 w 1192"/>
                      <a:gd name="T85" fmla="*/ 0 h 736"/>
                      <a:gd name="T86" fmla="*/ 0 w 1192"/>
                      <a:gd name="T87" fmla="*/ 0 h 736"/>
                      <a:gd name="T88" fmla="*/ 0 w 1192"/>
                      <a:gd name="T89" fmla="*/ 0 h 736"/>
                      <a:gd name="T90" fmla="*/ 0 w 1192"/>
                      <a:gd name="T91" fmla="*/ 0 h 736"/>
                      <a:gd name="T92" fmla="*/ 0 w 1192"/>
                      <a:gd name="T93" fmla="*/ 0 h 736"/>
                      <a:gd name="T94" fmla="*/ 0 w 1192"/>
                      <a:gd name="T95" fmla="*/ 0 h 736"/>
                      <a:gd name="T96" fmla="*/ 0 w 1192"/>
                      <a:gd name="T97" fmla="*/ 0 h 736"/>
                      <a:gd name="T98" fmla="*/ 0 w 1192"/>
                      <a:gd name="T99" fmla="*/ 0 h 736"/>
                      <a:gd name="T100" fmla="*/ 0 w 1192"/>
                      <a:gd name="T101" fmla="*/ 0 h 736"/>
                      <a:gd name="T102" fmla="*/ 0 w 1192"/>
                      <a:gd name="T103" fmla="*/ 0 h 736"/>
                      <a:gd name="T104" fmla="*/ 0 w 1192"/>
                      <a:gd name="T105" fmla="*/ 0 h 736"/>
                      <a:gd name="T106" fmla="*/ 0 w 1192"/>
                      <a:gd name="T107" fmla="*/ 0 h 736"/>
                      <a:gd name="T108" fmla="*/ 0 w 1192"/>
                      <a:gd name="T109" fmla="*/ 0 h 736"/>
                      <a:gd name="T110" fmla="*/ 0 w 1192"/>
                      <a:gd name="T111" fmla="*/ 0 h 736"/>
                      <a:gd name="T112" fmla="*/ 0 w 1192"/>
                      <a:gd name="T113" fmla="*/ 0 h 736"/>
                      <a:gd name="T114" fmla="*/ 0 w 1192"/>
                      <a:gd name="T115" fmla="*/ 0 h 736"/>
                      <a:gd name="T116" fmla="*/ 0 w 1192"/>
                      <a:gd name="T117" fmla="*/ 0 h 736"/>
                      <a:gd name="T118" fmla="*/ 0 w 1192"/>
                      <a:gd name="T119" fmla="*/ 0 h 736"/>
                      <a:gd name="T120" fmla="*/ 0 w 1192"/>
                      <a:gd name="T121" fmla="*/ 0 h 736"/>
                      <a:gd name="T122" fmla="*/ 0 w 1192"/>
                      <a:gd name="T123" fmla="*/ 0 h 736"/>
                      <a:gd name="T124" fmla="*/ 0 w 1192"/>
                      <a:gd name="T125" fmla="*/ 0 h 7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60000 65536"/>
                      <a:gd name="T184" fmla="*/ 0 60000 65536"/>
                      <a:gd name="T185" fmla="*/ 0 60000 65536"/>
                      <a:gd name="T186" fmla="*/ 0 60000 65536"/>
                      <a:gd name="T187" fmla="*/ 0 60000 65536"/>
                      <a:gd name="T188" fmla="*/ 0 60000 65536"/>
                      <a:gd name="T189" fmla="*/ 0 w 1192"/>
                      <a:gd name="T190" fmla="*/ 0 h 736"/>
                      <a:gd name="T191" fmla="*/ 1192 w 1192"/>
                      <a:gd name="T192" fmla="*/ 736 h 736"/>
                    </a:gdLst>
                    <a:ahLst/>
                    <a:cxnLst>
                      <a:cxn ang="T126">
                        <a:pos x="T0" y="T1"/>
                      </a:cxn>
                      <a:cxn ang="T127">
                        <a:pos x="T2" y="T3"/>
                      </a:cxn>
                      <a:cxn ang="T128">
                        <a:pos x="T4" y="T5"/>
                      </a:cxn>
                      <a:cxn ang="T129">
                        <a:pos x="T6" y="T7"/>
                      </a:cxn>
                      <a:cxn ang="T130">
                        <a:pos x="T8" y="T9"/>
                      </a:cxn>
                      <a:cxn ang="T131">
                        <a:pos x="T10" y="T11"/>
                      </a:cxn>
                      <a:cxn ang="T132">
                        <a:pos x="T12" y="T13"/>
                      </a:cxn>
                      <a:cxn ang="T133">
                        <a:pos x="T14" y="T15"/>
                      </a:cxn>
                      <a:cxn ang="T134">
                        <a:pos x="T16" y="T17"/>
                      </a:cxn>
                      <a:cxn ang="T135">
                        <a:pos x="T18" y="T19"/>
                      </a:cxn>
                      <a:cxn ang="T136">
                        <a:pos x="T20" y="T21"/>
                      </a:cxn>
                      <a:cxn ang="T137">
                        <a:pos x="T22" y="T23"/>
                      </a:cxn>
                      <a:cxn ang="T138">
                        <a:pos x="T24" y="T25"/>
                      </a:cxn>
                      <a:cxn ang="T139">
                        <a:pos x="T26" y="T27"/>
                      </a:cxn>
                      <a:cxn ang="T140">
                        <a:pos x="T28" y="T29"/>
                      </a:cxn>
                      <a:cxn ang="T141">
                        <a:pos x="T30" y="T31"/>
                      </a:cxn>
                      <a:cxn ang="T142">
                        <a:pos x="T32" y="T33"/>
                      </a:cxn>
                      <a:cxn ang="T143">
                        <a:pos x="T34" y="T35"/>
                      </a:cxn>
                      <a:cxn ang="T144">
                        <a:pos x="T36" y="T37"/>
                      </a:cxn>
                      <a:cxn ang="T145">
                        <a:pos x="T38" y="T39"/>
                      </a:cxn>
                      <a:cxn ang="T146">
                        <a:pos x="T40" y="T41"/>
                      </a:cxn>
                      <a:cxn ang="T147">
                        <a:pos x="T42" y="T43"/>
                      </a:cxn>
                      <a:cxn ang="T148">
                        <a:pos x="T44" y="T45"/>
                      </a:cxn>
                      <a:cxn ang="T149">
                        <a:pos x="T46" y="T47"/>
                      </a:cxn>
                      <a:cxn ang="T150">
                        <a:pos x="T48" y="T49"/>
                      </a:cxn>
                      <a:cxn ang="T151">
                        <a:pos x="T50" y="T51"/>
                      </a:cxn>
                      <a:cxn ang="T152">
                        <a:pos x="T52" y="T53"/>
                      </a:cxn>
                      <a:cxn ang="T153">
                        <a:pos x="T54" y="T55"/>
                      </a:cxn>
                      <a:cxn ang="T154">
                        <a:pos x="T56" y="T57"/>
                      </a:cxn>
                      <a:cxn ang="T155">
                        <a:pos x="T58" y="T59"/>
                      </a:cxn>
                      <a:cxn ang="T156">
                        <a:pos x="T60" y="T61"/>
                      </a:cxn>
                      <a:cxn ang="T157">
                        <a:pos x="T62" y="T63"/>
                      </a:cxn>
                      <a:cxn ang="T158">
                        <a:pos x="T64" y="T65"/>
                      </a:cxn>
                      <a:cxn ang="T159">
                        <a:pos x="T66" y="T67"/>
                      </a:cxn>
                      <a:cxn ang="T160">
                        <a:pos x="T68" y="T69"/>
                      </a:cxn>
                      <a:cxn ang="T161">
                        <a:pos x="T70" y="T71"/>
                      </a:cxn>
                      <a:cxn ang="T162">
                        <a:pos x="T72" y="T73"/>
                      </a:cxn>
                      <a:cxn ang="T163">
                        <a:pos x="T74" y="T75"/>
                      </a:cxn>
                      <a:cxn ang="T164">
                        <a:pos x="T76" y="T77"/>
                      </a:cxn>
                      <a:cxn ang="T165">
                        <a:pos x="T78" y="T79"/>
                      </a:cxn>
                      <a:cxn ang="T166">
                        <a:pos x="T80" y="T81"/>
                      </a:cxn>
                      <a:cxn ang="T167">
                        <a:pos x="T82" y="T83"/>
                      </a:cxn>
                      <a:cxn ang="T168">
                        <a:pos x="T84" y="T85"/>
                      </a:cxn>
                      <a:cxn ang="T169">
                        <a:pos x="T86" y="T87"/>
                      </a:cxn>
                      <a:cxn ang="T170">
                        <a:pos x="T88" y="T89"/>
                      </a:cxn>
                      <a:cxn ang="T171">
                        <a:pos x="T90" y="T91"/>
                      </a:cxn>
                      <a:cxn ang="T172">
                        <a:pos x="T92" y="T93"/>
                      </a:cxn>
                      <a:cxn ang="T173">
                        <a:pos x="T94" y="T95"/>
                      </a:cxn>
                      <a:cxn ang="T174">
                        <a:pos x="T96" y="T97"/>
                      </a:cxn>
                      <a:cxn ang="T175">
                        <a:pos x="T98" y="T99"/>
                      </a:cxn>
                      <a:cxn ang="T176">
                        <a:pos x="T100" y="T101"/>
                      </a:cxn>
                      <a:cxn ang="T177">
                        <a:pos x="T102" y="T103"/>
                      </a:cxn>
                      <a:cxn ang="T178">
                        <a:pos x="T104" y="T105"/>
                      </a:cxn>
                      <a:cxn ang="T179">
                        <a:pos x="T106" y="T107"/>
                      </a:cxn>
                      <a:cxn ang="T180">
                        <a:pos x="T108" y="T109"/>
                      </a:cxn>
                      <a:cxn ang="T181">
                        <a:pos x="T110" y="T111"/>
                      </a:cxn>
                      <a:cxn ang="T182">
                        <a:pos x="T112" y="T113"/>
                      </a:cxn>
                      <a:cxn ang="T183">
                        <a:pos x="T114" y="T115"/>
                      </a:cxn>
                      <a:cxn ang="T184">
                        <a:pos x="T116" y="T117"/>
                      </a:cxn>
                      <a:cxn ang="T185">
                        <a:pos x="T118" y="T119"/>
                      </a:cxn>
                      <a:cxn ang="T186">
                        <a:pos x="T120" y="T121"/>
                      </a:cxn>
                      <a:cxn ang="T187">
                        <a:pos x="T122" y="T123"/>
                      </a:cxn>
                      <a:cxn ang="T188">
                        <a:pos x="T124" y="T125"/>
                      </a:cxn>
                    </a:cxnLst>
                    <a:rect l="T189" t="T190" r="T191" b="T192"/>
                    <a:pathLst>
                      <a:path w="1192" h="736">
                        <a:moveTo>
                          <a:pt x="1192" y="368"/>
                        </a:moveTo>
                        <a:lnTo>
                          <a:pt x="1192" y="387"/>
                        </a:lnTo>
                        <a:lnTo>
                          <a:pt x="1191" y="405"/>
                        </a:lnTo>
                        <a:lnTo>
                          <a:pt x="1190" y="424"/>
                        </a:lnTo>
                        <a:lnTo>
                          <a:pt x="1187" y="442"/>
                        </a:lnTo>
                        <a:lnTo>
                          <a:pt x="1184" y="460"/>
                        </a:lnTo>
                        <a:lnTo>
                          <a:pt x="1181" y="478"/>
                        </a:lnTo>
                        <a:lnTo>
                          <a:pt x="1176" y="495"/>
                        </a:lnTo>
                        <a:lnTo>
                          <a:pt x="1171" y="511"/>
                        </a:lnTo>
                        <a:lnTo>
                          <a:pt x="1164" y="528"/>
                        </a:lnTo>
                        <a:lnTo>
                          <a:pt x="1156" y="543"/>
                        </a:lnTo>
                        <a:lnTo>
                          <a:pt x="1147" y="559"/>
                        </a:lnTo>
                        <a:lnTo>
                          <a:pt x="1137" y="574"/>
                        </a:lnTo>
                        <a:lnTo>
                          <a:pt x="1126" y="588"/>
                        </a:lnTo>
                        <a:lnTo>
                          <a:pt x="1114" y="602"/>
                        </a:lnTo>
                        <a:lnTo>
                          <a:pt x="1101" y="616"/>
                        </a:lnTo>
                        <a:lnTo>
                          <a:pt x="1085" y="628"/>
                        </a:lnTo>
                        <a:lnTo>
                          <a:pt x="1068" y="640"/>
                        </a:lnTo>
                        <a:lnTo>
                          <a:pt x="1051" y="653"/>
                        </a:lnTo>
                        <a:lnTo>
                          <a:pt x="1031" y="664"/>
                        </a:lnTo>
                        <a:lnTo>
                          <a:pt x="1008" y="674"/>
                        </a:lnTo>
                        <a:lnTo>
                          <a:pt x="985" y="683"/>
                        </a:lnTo>
                        <a:lnTo>
                          <a:pt x="960" y="691"/>
                        </a:lnTo>
                        <a:lnTo>
                          <a:pt x="934" y="700"/>
                        </a:lnTo>
                        <a:lnTo>
                          <a:pt x="905" y="707"/>
                        </a:lnTo>
                        <a:lnTo>
                          <a:pt x="874" y="714"/>
                        </a:lnTo>
                        <a:lnTo>
                          <a:pt x="840" y="719"/>
                        </a:lnTo>
                        <a:lnTo>
                          <a:pt x="806" y="725"/>
                        </a:lnTo>
                        <a:lnTo>
                          <a:pt x="768" y="728"/>
                        </a:lnTo>
                        <a:lnTo>
                          <a:pt x="729" y="732"/>
                        </a:lnTo>
                        <a:lnTo>
                          <a:pt x="687" y="734"/>
                        </a:lnTo>
                        <a:lnTo>
                          <a:pt x="642" y="736"/>
                        </a:lnTo>
                        <a:lnTo>
                          <a:pt x="595" y="736"/>
                        </a:lnTo>
                        <a:lnTo>
                          <a:pt x="544" y="736"/>
                        </a:lnTo>
                        <a:lnTo>
                          <a:pt x="495" y="734"/>
                        </a:lnTo>
                        <a:lnTo>
                          <a:pt x="450" y="732"/>
                        </a:lnTo>
                        <a:lnTo>
                          <a:pt x="407" y="728"/>
                        </a:lnTo>
                        <a:lnTo>
                          <a:pt x="367" y="725"/>
                        </a:lnTo>
                        <a:lnTo>
                          <a:pt x="329" y="719"/>
                        </a:lnTo>
                        <a:lnTo>
                          <a:pt x="295" y="714"/>
                        </a:lnTo>
                        <a:lnTo>
                          <a:pt x="263" y="707"/>
                        </a:lnTo>
                        <a:lnTo>
                          <a:pt x="234" y="700"/>
                        </a:lnTo>
                        <a:lnTo>
                          <a:pt x="206" y="691"/>
                        </a:lnTo>
                        <a:lnTo>
                          <a:pt x="180" y="683"/>
                        </a:lnTo>
                        <a:lnTo>
                          <a:pt x="158" y="674"/>
                        </a:lnTo>
                        <a:lnTo>
                          <a:pt x="137" y="664"/>
                        </a:lnTo>
                        <a:lnTo>
                          <a:pt x="118" y="653"/>
                        </a:lnTo>
                        <a:lnTo>
                          <a:pt x="100" y="640"/>
                        </a:lnTo>
                        <a:lnTo>
                          <a:pt x="84" y="628"/>
                        </a:lnTo>
                        <a:lnTo>
                          <a:pt x="71" y="616"/>
                        </a:lnTo>
                        <a:lnTo>
                          <a:pt x="59" y="602"/>
                        </a:lnTo>
                        <a:lnTo>
                          <a:pt x="48" y="588"/>
                        </a:lnTo>
                        <a:lnTo>
                          <a:pt x="39" y="574"/>
                        </a:lnTo>
                        <a:lnTo>
                          <a:pt x="30" y="559"/>
                        </a:lnTo>
                        <a:lnTo>
                          <a:pt x="23" y="543"/>
                        </a:lnTo>
                        <a:lnTo>
                          <a:pt x="18" y="528"/>
                        </a:lnTo>
                        <a:lnTo>
                          <a:pt x="13" y="511"/>
                        </a:lnTo>
                        <a:lnTo>
                          <a:pt x="9" y="495"/>
                        </a:lnTo>
                        <a:lnTo>
                          <a:pt x="5" y="478"/>
                        </a:lnTo>
                        <a:lnTo>
                          <a:pt x="3" y="460"/>
                        </a:lnTo>
                        <a:lnTo>
                          <a:pt x="2" y="442"/>
                        </a:lnTo>
                        <a:lnTo>
                          <a:pt x="0" y="405"/>
                        </a:lnTo>
                        <a:lnTo>
                          <a:pt x="0" y="368"/>
                        </a:lnTo>
                        <a:lnTo>
                          <a:pt x="0" y="349"/>
                        </a:lnTo>
                        <a:lnTo>
                          <a:pt x="2" y="331"/>
                        </a:lnTo>
                        <a:lnTo>
                          <a:pt x="7" y="312"/>
                        </a:lnTo>
                        <a:lnTo>
                          <a:pt x="12" y="294"/>
                        </a:lnTo>
                        <a:lnTo>
                          <a:pt x="19" y="276"/>
                        </a:lnTo>
                        <a:lnTo>
                          <a:pt x="27" y="259"/>
                        </a:lnTo>
                        <a:lnTo>
                          <a:pt x="36" y="242"/>
                        </a:lnTo>
                        <a:lnTo>
                          <a:pt x="47" y="225"/>
                        </a:lnTo>
                        <a:lnTo>
                          <a:pt x="59" y="209"/>
                        </a:lnTo>
                        <a:lnTo>
                          <a:pt x="71" y="193"/>
                        </a:lnTo>
                        <a:lnTo>
                          <a:pt x="86" y="177"/>
                        </a:lnTo>
                        <a:lnTo>
                          <a:pt x="101" y="163"/>
                        </a:lnTo>
                        <a:lnTo>
                          <a:pt x="118" y="148"/>
                        </a:lnTo>
                        <a:lnTo>
                          <a:pt x="136" y="134"/>
                        </a:lnTo>
                        <a:lnTo>
                          <a:pt x="155" y="121"/>
                        </a:lnTo>
                        <a:lnTo>
                          <a:pt x="175" y="108"/>
                        </a:lnTo>
                        <a:lnTo>
                          <a:pt x="195" y="96"/>
                        </a:lnTo>
                        <a:lnTo>
                          <a:pt x="217" y="84"/>
                        </a:lnTo>
                        <a:lnTo>
                          <a:pt x="239" y="73"/>
                        </a:lnTo>
                        <a:lnTo>
                          <a:pt x="263" y="63"/>
                        </a:lnTo>
                        <a:lnTo>
                          <a:pt x="287" y="54"/>
                        </a:lnTo>
                        <a:lnTo>
                          <a:pt x="312" y="45"/>
                        </a:lnTo>
                        <a:lnTo>
                          <a:pt x="337" y="36"/>
                        </a:lnTo>
                        <a:lnTo>
                          <a:pt x="364" y="29"/>
                        </a:lnTo>
                        <a:lnTo>
                          <a:pt x="391" y="23"/>
                        </a:lnTo>
                        <a:lnTo>
                          <a:pt x="418" y="17"/>
                        </a:lnTo>
                        <a:lnTo>
                          <a:pt x="446" y="12"/>
                        </a:lnTo>
                        <a:lnTo>
                          <a:pt x="475" y="7"/>
                        </a:lnTo>
                        <a:lnTo>
                          <a:pt x="505" y="5"/>
                        </a:lnTo>
                        <a:lnTo>
                          <a:pt x="535" y="2"/>
                        </a:lnTo>
                        <a:lnTo>
                          <a:pt x="565" y="0"/>
                        </a:lnTo>
                        <a:lnTo>
                          <a:pt x="595" y="0"/>
                        </a:lnTo>
                        <a:lnTo>
                          <a:pt x="627" y="0"/>
                        </a:lnTo>
                        <a:lnTo>
                          <a:pt x="657" y="2"/>
                        </a:lnTo>
                        <a:lnTo>
                          <a:pt x="687" y="5"/>
                        </a:lnTo>
                        <a:lnTo>
                          <a:pt x="716" y="7"/>
                        </a:lnTo>
                        <a:lnTo>
                          <a:pt x="744" y="12"/>
                        </a:lnTo>
                        <a:lnTo>
                          <a:pt x="773" y="17"/>
                        </a:lnTo>
                        <a:lnTo>
                          <a:pt x="800" y="23"/>
                        </a:lnTo>
                        <a:lnTo>
                          <a:pt x="828" y="29"/>
                        </a:lnTo>
                        <a:lnTo>
                          <a:pt x="855" y="36"/>
                        </a:lnTo>
                        <a:lnTo>
                          <a:pt x="880" y="45"/>
                        </a:lnTo>
                        <a:lnTo>
                          <a:pt x="905" y="54"/>
                        </a:lnTo>
                        <a:lnTo>
                          <a:pt x="929" y="63"/>
                        </a:lnTo>
                        <a:lnTo>
                          <a:pt x="953" y="73"/>
                        </a:lnTo>
                        <a:lnTo>
                          <a:pt x="975" y="84"/>
                        </a:lnTo>
                        <a:lnTo>
                          <a:pt x="996" y="96"/>
                        </a:lnTo>
                        <a:lnTo>
                          <a:pt x="1017" y="108"/>
                        </a:lnTo>
                        <a:lnTo>
                          <a:pt x="1037" y="121"/>
                        </a:lnTo>
                        <a:lnTo>
                          <a:pt x="1056" y="134"/>
                        </a:lnTo>
                        <a:lnTo>
                          <a:pt x="1073" y="148"/>
                        </a:lnTo>
                        <a:lnTo>
                          <a:pt x="1090" y="163"/>
                        </a:lnTo>
                        <a:lnTo>
                          <a:pt x="1105" y="177"/>
                        </a:lnTo>
                        <a:lnTo>
                          <a:pt x="1120" y="193"/>
                        </a:lnTo>
                        <a:lnTo>
                          <a:pt x="1133" y="209"/>
                        </a:lnTo>
                        <a:lnTo>
                          <a:pt x="1145" y="225"/>
                        </a:lnTo>
                        <a:lnTo>
                          <a:pt x="1155" y="242"/>
                        </a:lnTo>
                        <a:lnTo>
                          <a:pt x="1165" y="259"/>
                        </a:lnTo>
                        <a:lnTo>
                          <a:pt x="1173" y="276"/>
                        </a:lnTo>
                        <a:lnTo>
                          <a:pt x="1180" y="294"/>
                        </a:lnTo>
                        <a:lnTo>
                          <a:pt x="1185" y="312"/>
                        </a:lnTo>
                        <a:lnTo>
                          <a:pt x="1189" y="331"/>
                        </a:lnTo>
                        <a:lnTo>
                          <a:pt x="1191" y="349"/>
                        </a:lnTo>
                        <a:lnTo>
                          <a:pt x="1192" y="368"/>
                        </a:lnTo>
                        <a:close/>
                      </a:path>
                    </a:pathLst>
                  </a:custGeom>
                  <a:solidFill>
                    <a:srgbClr val="273669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113" name="Freeform 172"/>
                  <p:cNvSpPr>
                    <a:spLocks/>
                  </p:cNvSpPr>
                  <p:nvPr/>
                </p:nvSpPr>
                <p:spPr bwMode="auto">
                  <a:xfrm>
                    <a:off x="3295" y="4059"/>
                    <a:ext cx="85" cy="29"/>
                  </a:xfrm>
                  <a:custGeom>
                    <a:avLst/>
                    <a:gdLst>
                      <a:gd name="T0" fmla="*/ 0 w 593"/>
                      <a:gd name="T1" fmla="*/ 0 h 194"/>
                      <a:gd name="T2" fmla="*/ 0 w 593"/>
                      <a:gd name="T3" fmla="*/ 0 h 194"/>
                      <a:gd name="T4" fmla="*/ 0 w 593"/>
                      <a:gd name="T5" fmla="*/ 0 h 194"/>
                      <a:gd name="T6" fmla="*/ 0 w 593"/>
                      <a:gd name="T7" fmla="*/ 0 h 194"/>
                      <a:gd name="T8" fmla="*/ 0 w 593"/>
                      <a:gd name="T9" fmla="*/ 0 h 194"/>
                      <a:gd name="T10" fmla="*/ 0 w 593"/>
                      <a:gd name="T11" fmla="*/ 0 h 194"/>
                      <a:gd name="T12" fmla="*/ 0 w 593"/>
                      <a:gd name="T13" fmla="*/ 0 h 194"/>
                      <a:gd name="T14" fmla="*/ 0 w 593"/>
                      <a:gd name="T15" fmla="*/ 0 h 194"/>
                      <a:gd name="T16" fmla="*/ 0 w 593"/>
                      <a:gd name="T17" fmla="*/ 0 h 194"/>
                      <a:gd name="T18" fmla="*/ 0 w 593"/>
                      <a:gd name="T19" fmla="*/ 0 h 194"/>
                      <a:gd name="T20" fmla="*/ 0 w 593"/>
                      <a:gd name="T21" fmla="*/ 0 h 194"/>
                      <a:gd name="T22" fmla="*/ 0 w 593"/>
                      <a:gd name="T23" fmla="*/ 0 h 194"/>
                      <a:gd name="T24" fmla="*/ 0 w 593"/>
                      <a:gd name="T25" fmla="*/ 0 h 194"/>
                      <a:gd name="T26" fmla="*/ 0 w 593"/>
                      <a:gd name="T27" fmla="*/ 0 h 194"/>
                      <a:gd name="T28" fmla="*/ 0 w 593"/>
                      <a:gd name="T29" fmla="*/ 0 h 194"/>
                      <a:gd name="T30" fmla="*/ 0 w 593"/>
                      <a:gd name="T31" fmla="*/ 0 h 194"/>
                      <a:gd name="T32" fmla="*/ 0 w 593"/>
                      <a:gd name="T33" fmla="*/ 0 h 194"/>
                      <a:gd name="T34" fmla="*/ 0 w 593"/>
                      <a:gd name="T35" fmla="*/ 0 h 194"/>
                      <a:gd name="T36" fmla="*/ 0 w 593"/>
                      <a:gd name="T37" fmla="*/ 0 h 194"/>
                      <a:gd name="T38" fmla="*/ 0 w 593"/>
                      <a:gd name="T39" fmla="*/ 0 h 194"/>
                      <a:gd name="T40" fmla="*/ 0 w 593"/>
                      <a:gd name="T41" fmla="*/ 0 h 194"/>
                      <a:gd name="T42" fmla="*/ 0 w 593"/>
                      <a:gd name="T43" fmla="*/ 0 h 194"/>
                      <a:gd name="T44" fmla="*/ 0 w 593"/>
                      <a:gd name="T45" fmla="*/ 0 h 194"/>
                      <a:gd name="T46" fmla="*/ 0 w 593"/>
                      <a:gd name="T47" fmla="*/ 0 h 194"/>
                      <a:gd name="T48" fmla="*/ 0 w 593"/>
                      <a:gd name="T49" fmla="*/ 0 h 194"/>
                      <a:gd name="T50" fmla="*/ 0 w 593"/>
                      <a:gd name="T51" fmla="*/ 0 h 194"/>
                      <a:gd name="T52" fmla="*/ 0 w 593"/>
                      <a:gd name="T53" fmla="*/ 0 h 194"/>
                      <a:gd name="T54" fmla="*/ 0 w 593"/>
                      <a:gd name="T55" fmla="*/ 0 h 194"/>
                      <a:gd name="T56" fmla="*/ 0 w 593"/>
                      <a:gd name="T57" fmla="*/ 0 h 194"/>
                      <a:gd name="T58" fmla="*/ 0 w 593"/>
                      <a:gd name="T59" fmla="*/ 0 h 194"/>
                      <a:gd name="T60" fmla="*/ 0 w 593"/>
                      <a:gd name="T61" fmla="*/ 0 h 194"/>
                      <a:gd name="T62" fmla="*/ 0 w 593"/>
                      <a:gd name="T63" fmla="*/ 0 h 194"/>
                      <a:gd name="T64" fmla="*/ 0 w 593"/>
                      <a:gd name="T65" fmla="*/ 0 h 194"/>
                      <a:gd name="T66" fmla="*/ 0 w 593"/>
                      <a:gd name="T67" fmla="*/ 0 h 194"/>
                      <a:gd name="T68" fmla="*/ 0 w 593"/>
                      <a:gd name="T69" fmla="*/ 0 h 194"/>
                      <a:gd name="T70" fmla="*/ 0 w 593"/>
                      <a:gd name="T71" fmla="*/ 0 h 194"/>
                      <a:gd name="T72" fmla="*/ 0 w 593"/>
                      <a:gd name="T73" fmla="*/ 0 h 194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w 593"/>
                      <a:gd name="T112" fmla="*/ 0 h 194"/>
                      <a:gd name="T113" fmla="*/ 593 w 593"/>
                      <a:gd name="T114" fmla="*/ 194 h 194"/>
                    </a:gdLst>
                    <a:ahLst/>
                    <a:cxnLst>
                      <a:cxn ang="T74">
                        <a:pos x="T0" y="T1"/>
                      </a:cxn>
                      <a:cxn ang="T75">
                        <a:pos x="T2" y="T3"/>
                      </a:cxn>
                      <a:cxn ang="T76">
                        <a:pos x="T4" y="T5"/>
                      </a:cxn>
                      <a:cxn ang="T77">
                        <a:pos x="T6" y="T7"/>
                      </a:cxn>
                      <a:cxn ang="T78">
                        <a:pos x="T8" y="T9"/>
                      </a:cxn>
                      <a:cxn ang="T79">
                        <a:pos x="T10" y="T11"/>
                      </a:cxn>
                      <a:cxn ang="T80">
                        <a:pos x="T12" y="T13"/>
                      </a:cxn>
                      <a:cxn ang="T81">
                        <a:pos x="T14" y="T15"/>
                      </a:cxn>
                      <a:cxn ang="T82">
                        <a:pos x="T16" y="T17"/>
                      </a:cxn>
                      <a:cxn ang="T83">
                        <a:pos x="T18" y="T19"/>
                      </a:cxn>
                      <a:cxn ang="T84">
                        <a:pos x="T20" y="T21"/>
                      </a:cxn>
                      <a:cxn ang="T85">
                        <a:pos x="T22" y="T23"/>
                      </a:cxn>
                      <a:cxn ang="T86">
                        <a:pos x="T24" y="T25"/>
                      </a:cxn>
                      <a:cxn ang="T87">
                        <a:pos x="T26" y="T27"/>
                      </a:cxn>
                      <a:cxn ang="T88">
                        <a:pos x="T28" y="T29"/>
                      </a:cxn>
                      <a:cxn ang="T89">
                        <a:pos x="T30" y="T31"/>
                      </a:cxn>
                      <a:cxn ang="T90">
                        <a:pos x="T32" y="T33"/>
                      </a:cxn>
                      <a:cxn ang="T91">
                        <a:pos x="T34" y="T35"/>
                      </a:cxn>
                      <a:cxn ang="T92">
                        <a:pos x="T36" y="T37"/>
                      </a:cxn>
                      <a:cxn ang="T93">
                        <a:pos x="T38" y="T39"/>
                      </a:cxn>
                      <a:cxn ang="T94">
                        <a:pos x="T40" y="T41"/>
                      </a:cxn>
                      <a:cxn ang="T95">
                        <a:pos x="T42" y="T43"/>
                      </a:cxn>
                      <a:cxn ang="T96">
                        <a:pos x="T44" y="T45"/>
                      </a:cxn>
                      <a:cxn ang="T97">
                        <a:pos x="T46" y="T47"/>
                      </a:cxn>
                      <a:cxn ang="T98">
                        <a:pos x="T48" y="T49"/>
                      </a:cxn>
                      <a:cxn ang="T99">
                        <a:pos x="T50" y="T51"/>
                      </a:cxn>
                      <a:cxn ang="T100">
                        <a:pos x="T52" y="T53"/>
                      </a:cxn>
                      <a:cxn ang="T101">
                        <a:pos x="T54" y="T55"/>
                      </a:cxn>
                      <a:cxn ang="T102">
                        <a:pos x="T56" y="T57"/>
                      </a:cxn>
                      <a:cxn ang="T103">
                        <a:pos x="T58" y="T59"/>
                      </a:cxn>
                      <a:cxn ang="T104">
                        <a:pos x="T60" y="T61"/>
                      </a:cxn>
                      <a:cxn ang="T105">
                        <a:pos x="T62" y="T63"/>
                      </a:cxn>
                      <a:cxn ang="T106">
                        <a:pos x="T64" y="T65"/>
                      </a:cxn>
                      <a:cxn ang="T107">
                        <a:pos x="T66" y="T67"/>
                      </a:cxn>
                      <a:cxn ang="T108">
                        <a:pos x="T68" y="T69"/>
                      </a:cxn>
                      <a:cxn ang="T109">
                        <a:pos x="T70" y="T71"/>
                      </a:cxn>
                      <a:cxn ang="T110">
                        <a:pos x="T72" y="T73"/>
                      </a:cxn>
                    </a:cxnLst>
                    <a:rect l="T111" t="T112" r="T113" b="T114"/>
                    <a:pathLst>
                      <a:path w="593" h="194">
                        <a:moveTo>
                          <a:pt x="593" y="98"/>
                        </a:moveTo>
                        <a:lnTo>
                          <a:pt x="593" y="102"/>
                        </a:lnTo>
                        <a:lnTo>
                          <a:pt x="592" y="108"/>
                        </a:lnTo>
                        <a:lnTo>
                          <a:pt x="590" y="112"/>
                        </a:lnTo>
                        <a:lnTo>
                          <a:pt x="588" y="117"/>
                        </a:lnTo>
                        <a:lnTo>
                          <a:pt x="580" y="127"/>
                        </a:lnTo>
                        <a:lnTo>
                          <a:pt x="570" y="136"/>
                        </a:lnTo>
                        <a:lnTo>
                          <a:pt x="558" y="143"/>
                        </a:lnTo>
                        <a:lnTo>
                          <a:pt x="543" y="152"/>
                        </a:lnTo>
                        <a:lnTo>
                          <a:pt x="525" y="159"/>
                        </a:lnTo>
                        <a:lnTo>
                          <a:pt x="506" y="167"/>
                        </a:lnTo>
                        <a:lnTo>
                          <a:pt x="485" y="172"/>
                        </a:lnTo>
                        <a:lnTo>
                          <a:pt x="463" y="178"/>
                        </a:lnTo>
                        <a:lnTo>
                          <a:pt x="438" y="183"/>
                        </a:lnTo>
                        <a:lnTo>
                          <a:pt x="412" y="187"/>
                        </a:lnTo>
                        <a:lnTo>
                          <a:pt x="385" y="190"/>
                        </a:lnTo>
                        <a:lnTo>
                          <a:pt x="356" y="192"/>
                        </a:lnTo>
                        <a:lnTo>
                          <a:pt x="327" y="194"/>
                        </a:lnTo>
                        <a:lnTo>
                          <a:pt x="297" y="194"/>
                        </a:lnTo>
                        <a:lnTo>
                          <a:pt x="266" y="194"/>
                        </a:lnTo>
                        <a:lnTo>
                          <a:pt x="237" y="192"/>
                        </a:lnTo>
                        <a:lnTo>
                          <a:pt x="208" y="190"/>
                        </a:lnTo>
                        <a:lnTo>
                          <a:pt x="181" y="187"/>
                        </a:lnTo>
                        <a:lnTo>
                          <a:pt x="156" y="183"/>
                        </a:lnTo>
                        <a:lnTo>
                          <a:pt x="131" y="178"/>
                        </a:lnTo>
                        <a:lnTo>
                          <a:pt x="108" y="172"/>
                        </a:lnTo>
                        <a:lnTo>
                          <a:pt x="87" y="167"/>
                        </a:lnTo>
                        <a:lnTo>
                          <a:pt x="68" y="159"/>
                        </a:lnTo>
                        <a:lnTo>
                          <a:pt x="51" y="152"/>
                        </a:lnTo>
                        <a:lnTo>
                          <a:pt x="36" y="143"/>
                        </a:lnTo>
                        <a:lnTo>
                          <a:pt x="23" y="136"/>
                        </a:lnTo>
                        <a:lnTo>
                          <a:pt x="18" y="131"/>
                        </a:lnTo>
                        <a:lnTo>
                          <a:pt x="13" y="127"/>
                        </a:lnTo>
                        <a:lnTo>
                          <a:pt x="9" y="122"/>
                        </a:lnTo>
                        <a:lnTo>
                          <a:pt x="5" y="117"/>
                        </a:lnTo>
                        <a:lnTo>
                          <a:pt x="3" y="112"/>
                        </a:lnTo>
                        <a:lnTo>
                          <a:pt x="1" y="108"/>
                        </a:lnTo>
                        <a:lnTo>
                          <a:pt x="0" y="102"/>
                        </a:lnTo>
                        <a:lnTo>
                          <a:pt x="0" y="98"/>
                        </a:lnTo>
                        <a:lnTo>
                          <a:pt x="0" y="92"/>
                        </a:lnTo>
                        <a:lnTo>
                          <a:pt x="1" y="88"/>
                        </a:lnTo>
                        <a:lnTo>
                          <a:pt x="3" y="82"/>
                        </a:lnTo>
                        <a:lnTo>
                          <a:pt x="5" y="78"/>
                        </a:lnTo>
                        <a:lnTo>
                          <a:pt x="13" y="69"/>
                        </a:lnTo>
                        <a:lnTo>
                          <a:pt x="23" y="60"/>
                        </a:lnTo>
                        <a:lnTo>
                          <a:pt x="36" y="51"/>
                        </a:lnTo>
                        <a:lnTo>
                          <a:pt x="51" y="43"/>
                        </a:lnTo>
                        <a:lnTo>
                          <a:pt x="68" y="35"/>
                        </a:lnTo>
                        <a:lnTo>
                          <a:pt x="87" y="29"/>
                        </a:lnTo>
                        <a:lnTo>
                          <a:pt x="108" y="22"/>
                        </a:lnTo>
                        <a:lnTo>
                          <a:pt x="131" y="16"/>
                        </a:lnTo>
                        <a:lnTo>
                          <a:pt x="156" y="12"/>
                        </a:lnTo>
                        <a:lnTo>
                          <a:pt x="181" y="8"/>
                        </a:lnTo>
                        <a:lnTo>
                          <a:pt x="208" y="4"/>
                        </a:lnTo>
                        <a:lnTo>
                          <a:pt x="237" y="2"/>
                        </a:lnTo>
                        <a:lnTo>
                          <a:pt x="266" y="1"/>
                        </a:lnTo>
                        <a:lnTo>
                          <a:pt x="297" y="0"/>
                        </a:lnTo>
                        <a:lnTo>
                          <a:pt x="327" y="1"/>
                        </a:lnTo>
                        <a:lnTo>
                          <a:pt x="356" y="2"/>
                        </a:lnTo>
                        <a:lnTo>
                          <a:pt x="385" y="4"/>
                        </a:lnTo>
                        <a:lnTo>
                          <a:pt x="412" y="8"/>
                        </a:lnTo>
                        <a:lnTo>
                          <a:pt x="438" y="12"/>
                        </a:lnTo>
                        <a:lnTo>
                          <a:pt x="463" y="16"/>
                        </a:lnTo>
                        <a:lnTo>
                          <a:pt x="485" y="22"/>
                        </a:lnTo>
                        <a:lnTo>
                          <a:pt x="506" y="29"/>
                        </a:lnTo>
                        <a:lnTo>
                          <a:pt x="525" y="35"/>
                        </a:lnTo>
                        <a:lnTo>
                          <a:pt x="543" y="43"/>
                        </a:lnTo>
                        <a:lnTo>
                          <a:pt x="558" y="51"/>
                        </a:lnTo>
                        <a:lnTo>
                          <a:pt x="570" y="60"/>
                        </a:lnTo>
                        <a:lnTo>
                          <a:pt x="580" y="69"/>
                        </a:lnTo>
                        <a:lnTo>
                          <a:pt x="588" y="78"/>
                        </a:lnTo>
                        <a:lnTo>
                          <a:pt x="590" y="82"/>
                        </a:lnTo>
                        <a:lnTo>
                          <a:pt x="592" y="88"/>
                        </a:lnTo>
                        <a:lnTo>
                          <a:pt x="593" y="92"/>
                        </a:lnTo>
                        <a:lnTo>
                          <a:pt x="593" y="98"/>
                        </a:lnTo>
                        <a:close/>
                      </a:path>
                    </a:pathLst>
                  </a:custGeom>
                  <a:solidFill>
                    <a:srgbClr val="2E5592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114" name="Freeform 173"/>
                  <p:cNvSpPr>
                    <a:spLocks/>
                  </p:cNvSpPr>
                  <p:nvPr/>
                </p:nvSpPr>
                <p:spPr bwMode="auto">
                  <a:xfrm>
                    <a:off x="3255" y="4078"/>
                    <a:ext cx="169" cy="86"/>
                  </a:xfrm>
                  <a:custGeom>
                    <a:avLst/>
                    <a:gdLst>
                      <a:gd name="T0" fmla="*/ 0 w 1184"/>
                      <a:gd name="T1" fmla="*/ 0 h 605"/>
                      <a:gd name="T2" fmla="*/ 0 w 1184"/>
                      <a:gd name="T3" fmla="*/ 0 h 605"/>
                      <a:gd name="T4" fmla="*/ 0 w 1184"/>
                      <a:gd name="T5" fmla="*/ 0 h 605"/>
                      <a:gd name="T6" fmla="*/ 0 w 1184"/>
                      <a:gd name="T7" fmla="*/ 0 h 605"/>
                      <a:gd name="T8" fmla="*/ 0 w 1184"/>
                      <a:gd name="T9" fmla="*/ 0 h 605"/>
                      <a:gd name="T10" fmla="*/ 0 w 1184"/>
                      <a:gd name="T11" fmla="*/ 0 h 605"/>
                      <a:gd name="T12" fmla="*/ 0 w 1184"/>
                      <a:gd name="T13" fmla="*/ 0 h 605"/>
                      <a:gd name="T14" fmla="*/ 0 w 1184"/>
                      <a:gd name="T15" fmla="*/ 0 h 605"/>
                      <a:gd name="T16" fmla="*/ 0 w 1184"/>
                      <a:gd name="T17" fmla="*/ 0 h 605"/>
                      <a:gd name="T18" fmla="*/ 0 w 1184"/>
                      <a:gd name="T19" fmla="*/ 0 h 605"/>
                      <a:gd name="T20" fmla="*/ 0 w 1184"/>
                      <a:gd name="T21" fmla="*/ 0 h 605"/>
                      <a:gd name="T22" fmla="*/ 0 w 1184"/>
                      <a:gd name="T23" fmla="*/ 0 h 605"/>
                      <a:gd name="T24" fmla="*/ 0 w 1184"/>
                      <a:gd name="T25" fmla="*/ 0 h 605"/>
                      <a:gd name="T26" fmla="*/ 0 w 1184"/>
                      <a:gd name="T27" fmla="*/ 0 h 605"/>
                      <a:gd name="T28" fmla="*/ 0 w 1184"/>
                      <a:gd name="T29" fmla="*/ 0 h 605"/>
                      <a:gd name="T30" fmla="*/ 0 w 1184"/>
                      <a:gd name="T31" fmla="*/ 0 h 605"/>
                      <a:gd name="T32" fmla="*/ 0 w 1184"/>
                      <a:gd name="T33" fmla="*/ 0 h 605"/>
                      <a:gd name="T34" fmla="*/ 0 w 1184"/>
                      <a:gd name="T35" fmla="*/ 0 h 605"/>
                      <a:gd name="T36" fmla="*/ 0 w 1184"/>
                      <a:gd name="T37" fmla="*/ 0 h 605"/>
                      <a:gd name="T38" fmla="*/ 0 w 1184"/>
                      <a:gd name="T39" fmla="*/ 0 h 605"/>
                      <a:gd name="T40" fmla="*/ 0 w 1184"/>
                      <a:gd name="T41" fmla="*/ 0 h 605"/>
                      <a:gd name="T42" fmla="*/ 0 w 1184"/>
                      <a:gd name="T43" fmla="*/ 0 h 605"/>
                      <a:gd name="T44" fmla="*/ 0 w 1184"/>
                      <a:gd name="T45" fmla="*/ 0 h 605"/>
                      <a:gd name="T46" fmla="*/ 0 w 1184"/>
                      <a:gd name="T47" fmla="*/ 0 h 605"/>
                      <a:gd name="T48" fmla="*/ 0 w 1184"/>
                      <a:gd name="T49" fmla="*/ 0 h 605"/>
                      <a:gd name="T50" fmla="*/ 0 w 1184"/>
                      <a:gd name="T51" fmla="*/ 0 h 605"/>
                      <a:gd name="T52" fmla="*/ 0 w 1184"/>
                      <a:gd name="T53" fmla="*/ 0 h 605"/>
                      <a:gd name="T54" fmla="*/ 0 w 1184"/>
                      <a:gd name="T55" fmla="*/ 0 h 605"/>
                      <a:gd name="T56" fmla="*/ 0 w 1184"/>
                      <a:gd name="T57" fmla="*/ 0 h 605"/>
                      <a:gd name="T58" fmla="*/ 0 w 1184"/>
                      <a:gd name="T59" fmla="*/ 0 h 605"/>
                      <a:gd name="T60" fmla="*/ 0 w 1184"/>
                      <a:gd name="T61" fmla="*/ 0 h 605"/>
                      <a:gd name="T62" fmla="*/ 0 w 1184"/>
                      <a:gd name="T63" fmla="*/ 0 h 605"/>
                      <a:gd name="T64" fmla="*/ 0 w 1184"/>
                      <a:gd name="T65" fmla="*/ 0 h 605"/>
                      <a:gd name="T66" fmla="*/ 0 w 1184"/>
                      <a:gd name="T67" fmla="*/ 0 h 605"/>
                      <a:gd name="T68" fmla="*/ 0 w 1184"/>
                      <a:gd name="T69" fmla="*/ 0 h 605"/>
                      <a:gd name="T70" fmla="*/ 0 w 1184"/>
                      <a:gd name="T71" fmla="*/ 0 h 605"/>
                      <a:gd name="T72" fmla="*/ 0 w 1184"/>
                      <a:gd name="T73" fmla="*/ 0 h 605"/>
                      <a:gd name="T74" fmla="*/ 0 w 1184"/>
                      <a:gd name="T75" fmla="*/ 0 h 605"/>
                      <a:gd name="T76" fmla="*/ 0 w 1184"/>
                      <a:gd name="T77" fmla="*/ 0 h 605"/>
                      <a:gd name="T78" fmla="*/ 0 w 1184"/>
                      <a:gd name="T79" fmla="*/ 0 h 605"/>
                      <a:gd name="T80" fmla="*/ 0 w 1184"/>
                      <a:gd name="T81" fmla="*/ 0 h 605"/>
                      <a:gd name="T82" fmla="*/ 0 w 1184"/>
                      <a:gd name="T83" fmla="*/ 0 h 605"/>
                      <a:gd name="T84" fmla="*/ 0 w 1184"/>
                      <a:gd name="T85" fmla="*/ 0 h 605"/>
                      <a:gd name="T86" fmla="*/ 0 w 1184"/>
                      <a:gd name="T87" fmla="*/ 0 h 605"/>
                      <a:gd name="T88" fmla="*/ 0 w 1184"/>
                      <a:gd name="T89" fmla="*/ 0 h 605"/>
                      <a:gd name="T90" fmla="*/ 0 w 1184"/>
                      <a:gd name="T91" fmla="*/ 0 h 605"/>
                      <a:gd name="T92" fmla="*/ 0 w 1184"/>
                      <a:gd name="T93" fmla="*/ 0 h 605"/>
                      <a:gd name="T94" fmla="*/ 0 w 1184"/>
                      <a:gd name="T95" fmla="*/ 0 h 605"/>
                      <a:gd name="T96" fmla="*/ 0 w 1184"/>
                      <a:gd name="T97" fmla="*/ 0 h 605"/>
                      <a:gd name="T98" fmla="*/ 0 w 1184"/>
                      <a:gd name="T99" fmla="*/ 0 h 605"/>
                      <a:gd name="T100" fmla="*/ 0 w 1184"/>
                      <a:gd name="T101" fmla="*/ 0 h 605"/>
                      <a:gd name="T102" fmla="*/ 0 w 1184"/>
                      <a:gd name="T103" fmla="*/ 0 h 605"/>
                      <a:gd name="T104" fmla="*/ 0 w 1184"/>
                      <a:gd name="T105" fmla="*/ 0 h 605"/>
                      <a:gd name="T106" fmla="*/ 0 w 1184"/>
                      <a:gd name="T107" fmla="*/ 0 h 605"/>
                      <a:gd name="T108" fmla="*/ 0 w 1184"/>
                      <a:gd name="T109" fmla="*/ 0 h 605"/>
                      <a:gd name="T110" fmla="*/ 0 w 1184"/>
                      <a:gd name="T111" fmla="*/ 0 h 605"/>
                      <a:gd name="T112" fmla="*/ 0 w 1184"/>
                      <a:gd name="T113" fmla="*/ 0 h 605"/>
                      <a:gd name="T114" fmla="*/ 0 w 1184"/>
                      <a:gd name="T115" fmla="*/ 0 h 605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w 1184"/>
                      <a:gd name="T175" fmla="*/ 0 h 605"/>
                      <a:gd name="T176" fmla="*/ 1184 w 1184"/>
                      <a:gd name="T177" fmla="*/ 605 h 605"/>
                    </a:gdLst>
                    <a:ahLst/>
                    <a:cxnLst>
                      <a:cxn ang="T116">
                        <a:pos x="T0" y="T1"/>
                      </a:cxn>
                      <a:cxn ang="T117">
                        <a:pos x="T2" y="T3"/>
                      </a:cxn>
                      <a:cxn ang="T118">
                        <a:pos x="T4" y="T5"/>
                      </a:cxn>
                      <a:cxn ang="T119">
                        <a:pos x="T6" y="T7"/>
                      </a:cxn>
                      <a:cxn ang="T120">
                        <a:pos x="T8" y="T9"/>
                      </a:cxn>
                      <a:cxn ang="T121">
                        <a:pos x="T10" y="T11"/>
                      </a:cxn>
                      <a:cxn ang="T122">
                        <a:pos x="T12" y="T13"/>
                      </a:cxn>
                      <a:cxn ang="T123">
                        <a:pos x="T14" y="T15"/>
                      </a:cxn>
                      <a:cxn ang="T124">
                        <a:pos x="T16" y="T17"/>
                      </a:cxn>
                      <a:cxn ang="T125">
                        <a:pos x="T18" y="T19"/>
                      </a:cxn>
                      <a:cxn ang="T126">
                        <a:pos x="T20" y="T21"/>
                      </a:cxn>
                      <a:cxn ang="T127">
                        <a:pos x="T22" y="T23"/>
                      </a:cxn>
                      <a:cxn ang="T128">
                        <a:pos x="T24" y="T25"/>
                      </a:cxn>
                      <a:cxn ang="T129">
                        <a:pos x="T26" y="T27"/>
                      </a:cxn>
                      <a:cxn ang="T130">
                        <a:pos x="T28" y="T29"/>
                      </a:cxn>
                      <a:cxn ang="T131">
                        <a:pos x="T30" y="T31"/>
                      </a:cxn>
                      <a:cxn ang="T132">
                        <a:pos x="T32" y="T33"/>
                      </a:cxn>
                      <a:cxn ang="T133">
                        <a:pos x="T34" y="T35"/>
                      </a:cxn>
                      <a:cxn ang="T134">
                        <a:pos x="T36" y="T37"/>
                      </a:cxn>
                      <a:cxn ang="T135">
                        <a:pos x="T38" y="T39"/>
                      </a:cxn>
                      <a:cxn ang="T136">
                        <a:pos x="T40" y="T41"/>
                      </a:cxn>
                      <a:cxn ang="T137">
                        <a:pos x="T42" y="T43"/>
                      </a:cxn>
                      <a:cxn ang="T138">
                        <a:pos x="T44" y="T45"/>
                      </a:cxn>
                      <a:cxn ang="T139">
                        <a:pos x="T46" y="T47"/>
                      </a:cxn>
                      <a:cxn ang="T140">
                        <a:pos x="T48" y="T49"/>
                      </a:cxn>
                      <a:cxn ang="T141">
                        <a:pos x="T50" y="T51"/>
                      </a:cxn>
                      <a:cxn ang="T142">
                        <a:pos x="T52" y="T53"/>
                      </a:cxn>
                      <a:cxn ang="T143">
                        <a:pos x="T54" y="T55"/>
                      </a:cxn>
                      <a:cxn ang="T144">
                        <a:pos x="T56" y="T57"/>
                      </a:cxn>
                      <a:cxn ang="T145">
                        <a:pos x="T58" y="T59"/>
                      </a:cxn>
                      <a:cxn ang="T146">
                        <a:pos x="T60" y="T61"/>
                      </a:cxn>
                      <a:cxn ang="T147">
                        <a:pos x="T62" y="T63"/>
                      </a:cxn>
                      <a:cxn ang="T148">
                        <a:pos x="T64" y="T65"/>
                      </a:cxn>
                      <a:cxn ang="T149">
                        <a:pos x="T66" y="T67"/>
                      </a:cxn>
                      <a:cxn ang="T150">
                        <a:pos x="T68" y="T69"/>
                      </a:cxn>
                      <a:cxn ang="T151">
                        <a:pos x="T70" y="T71"/>
                      </a:cxn>
                      <a:cxn ang="T152">
                        <a:pos x="T72" y="T73"/>
                      </a:cxn>
                      <a:cxn ang="T153">
                        <a:pos x="T74" y="T75"/>
                      </a:cxn>
                      <a:cxn ang="T154">
                        <a:pos x="T76" y="T77"/>
                      </a:cxn>
                      <a:cxn ang="T155">
                        <a:pos x="T78" y="T79"/>
                      </a:cxn>
                      <a:cxn ang="T156">
                        <a:pos x="T80" y="T81"/>
                      </a:cxn>
                      <a:cxn ang="T157">
                        <a:pos x="T82" y="T83"/>
                      </a:cxn>
                      <a:cxn ang="T158">
                        <a:pos x="T84" y="T85"/>
                      </a:cxn>
                      <a:cxn ang="T159">
                        <a:pos x="T86" y="T87"/>
                      </a:cxn>
                      <a:cxn ang="T160">
                        <a:pos x="T88" y="T89"/>
                      </a:cxn>
                      <a:cxn ang="T161">
                        <a:pos x="T90" y="T91"/>
                      </a:cxn>
                      <a:cxn ang="T162">
                        <a:pos x="T92" y="T93"/>
                      </a:cxn>
                      <a:cxn ang="T163">
                        <a:pos x="T94" y="T95"/>
                      </a:cxn>
                      <a:cxn ang="T164">
                        <a:pos x="T96" y="T97"/>
                      </a:cxn>
                      <a:cxn ang="T165">
                        <a:pos x="T98" y="T99"/>
                      </a:cxn>
                      <a:cxn ang="T166">
                        <a:pos x="T100" y="T101"/>
                      </a:cxn>
                      <a:cxn ang="T167">
                        <a:pos x="T102" y="T103"/>
                      </a:cxn>
                      <a:cxn ang="T168">
                        <a:pos x="T104" y="T105"/>
                      </a:cxn>
                      <a:cxn ang="T169">
                        <a:pos x="T106" y="T107"/>
                      </a:cxn>
                      <a:cxn ang="T170">
                        <a:pos x="T108" y="T109"/>
                      </a:cxn>
                      <a:cxn ang="T171">
                        <a:pos x="T110" y="T111"/>
                      </a:cxn>
                      <a:cxn ang="T172">
                        <a:pos x="T112" y="T113"/>
                      </a:cxn>
                      <a:cxn ang="T173">
                        <a:pos x="T114" y="T115"/>
                      </a:cxn>
                    </a:cxnLst>
                    <a:rect l="T174" t="T175" r="T176" b="T177"/>
                    <a:pathLst>
                      <a:path w="1184" h="605">
                        <a:moveTo>
                          <a:pt x="1079" y="0"/>
                        </a:moveTo>
                        <a:lnTo>
                          <a:pt x="1086" y="20"/>
                        </a:lnTo>
                        <a:lnTo>
                          <a:pt x="1092" y="40"/>
                        </a:lnTo>
                        <a:lnTo>
                          <a:pt x="1096" y="57"/>
                        </a:lnTo>
                        <a:lnTo>
                          <a:pt x="1098" y="75"/>
                        </a:lnTo>
                        <a:lnTo>
                          <a:pt x="1099" y="92"/>
                        </a:lnTo>
                        <a:lnTo>
                          <a:pt x="1099" y="106"/>
                        </a:lnTo>
                        <a:lnTo>
                          <a:pt x="1097" y="121"/>
                        </a:lnTo>
                        <a:lnTo>
                          <a:pt x="1095" y="134"/>
                        </a:lnTo>
                        <a:lnTo>
                          <a:pt x="1090" y="148"/>
                        </a:lnTo>
                        <a:lnTo>
                          <a:pt x="1085" y="159"/>
                        </a:lnTo>
                        <a:lnTo>
                          <a:pt x="1078" y="170"/>
                        </a:lnTo>
                        <a:lnTo>
                          <a:pt x="1071" y="181"/>
                        </a:lnTo>
                        <a:lnTo>
                          <a:pt x="1063" y="191"/>
                        </a:lnTo>
                        <a:lnTo>
                          <a:pt x="1054" y="200"/>
                        </a:lnTo>
                        <a:lnTo>
                          <a:pt x="1044" y="209"/>
                        </a:lnTo>
                        <a:lnTo>
                          <a:pt x="1033" y="217"/>
                        </a:lnTo>
                        <a:lnTo>
                          <a:pt x="1020" y="224"/>
                        </a:lnTo>
                        <a:lnTo>
                          <a:pt x="1008" y="231"/>
                        </a:lnTo>
                        <a:lnTo>
                          <a:pt x="995" y="239"/>
                        </a:lnTo>
                        <a:lnTo>
                          <a:pt x="981" y="246"/>
                        </a:lnTo>
                        <a:lnTo>
                          <a:pt x="952" y="258"/>
                        </a:lnTo>
                        <a:lnTo>
                          <a:pt x="921" y="269"/>
                        </a:lnTo>
                        <a:lnTo>
                          <a:pt x="857" y="292"/>
                        </a:lnTo>
                        <a:lnTo>
                          <a:pt x="790" y="316"/>
                        </a:lnTo>
                        <a:lnTo>
                          <a:pt x="770" y="323"/>
                        </a:lnTo>
                        <a:lnTo>
                          <a:pt x="749" y="330"/>
                        </a:lnTo>
                        <a:lnTo>
                          <a:pt x="728" y="337"/>
                        </a:lnTo>
                        <a:lnTo>
                          <a:pt x="705" y="342"/>
                        </a:lnTo>
                        <a:lnTo>
                          <a:pt x="659" y="353"/>
                        </a:lnTo>
                        <a:lnTo>
                          <a:pt x="608" y="362"/>
                        </a:lnTo>
                        <a:lnTo>
                          <a:pt x="557" y="369"/>
                        </a:lnTo>
                        <a:lnTo>
                          <a:pt x="505" y="375"/>
                        </a:lnTo>
                        <a:lnTo>
                          <a:pt x="450" y="379"/>
                        </a:lnTo>
                        <a:lnTo>
                          <a:pt x="397" y="381"/>
                        </a:lnTo>
                        <a:lnTo>
                          <a:pt x="342" y="382"/>
                        </a:lnTo>
                        <a:lnTo>
                          <a:pt x="288" y="382"/>
                        </a:lnTo>
                        <a:lnTo>
                          <a:pt x="236" y="381"/>
                        </a:lnTo>
                        <a:lnTo>
                          <a:pt x="183" y="379"/>
                        </a:lnTo>
                        <a:lnTo>
                          <a:pt x="133" y="376"/>
                        </a:lnTo>
                        <a:lnTo>
                          <a:pt x="86" y="370"/>
                        </a:lnTo>
                        <a:lnTo>
                          <a:pt x="42" y="366"/>
                        </a:lnTo>
                        <a:lnTo>
                          <a:pt x="0" y="359"/>
                        </a:lnTo>
                        <a:lnTo>
                          <a:pt x="3" y="372"/>
                        </a:lnTo>
                        <a:lnTo>
                          <a:pt x="6" y="386"/>
                        </a:lnTo>
                        <a:lnTo>
                          <a:pt x="10" y="398"/>
                        </a:lnTo>
                        <a:lnTo>
                          <a:pt x="15" y="410"/>
                        </a:lnTo>
                        <a:lnTo>
                          <a:pt x="20" y="422"/>
                        </a:lnTo>
                        <a:lnTo>
                          <a:pt x="26" y="435"/>
                        </a:lnTo>
                        <a:lnTo>
                          <a:pt x="33" y="447"/>
                        </a:lnTo>
                        <a:lnTo>
                          <a:pt x="41" y="458"/>
                        </a:lnTo>
                        <a:lnTo>
                          <a:pt x="49" y="469"/>
                        </a:lnTo>
                        <a:lnTo>
                          <a:pt x="58" y="479"/>
                        </a:lnTo>
                        <a:lnTo>
                          <a:pt x="69" y="490"/>
                        </a:lnTo>
                        <a:lnTo>
                          <a:pt x="80" y="500"/>
                        </a:lnTo>
                        <a:lnTo>
                          <a:pt x="92" y="509"/>
                        </a:lnTo>
                        <a:lnTo>
                          <a:pt x="105" y="518"/>
                        </a:lnTo>
                        <a:lnTo>
                          <a:pt x="120" y="527"/>
                        </a:lnTo>
                        <a:lnTo>
                          <a:pt x="135" y="536"/>
                        </a:lnTo>
                        <a:lnTo>
                          <a:pt x="153" y="544"/>
                        </a:lnTo>
                        <a:lnTo>
                          <a:pt x="171" y="552"/>
                        </a:lnTo>
                        <a:lnTo>
                          <a:pt x="191" y="558"/>
                        </a:lnTo>
                        <a:lnTo>
                          <a:pt x="212" y="565"/>
                        </a:lnTo>
                        <a:lnTo>
                          <a:pt x="235" y="572"/>
                        </a:lnTo>
                        <a:lnTo>
                          <a:pt x="258" y="577"/>
                        </a:lnTo>
                        <a:lnTo>
                          <a:pt x="283" y="583"/>
                        </a:lnTo>
                        <a:lnTo>
                          <a:pt x="310" y="587"/>
                        </a:lnTo>
                        <a:lnTo>
                          <a:pt x="339" y="592"/>
                        </a:lnTo>
                        <a:lnTo>
                          <a:pt x="369" y="595"/>
                        </a:lnTo>
                        <a:lnTo>
                          <a:pt x="401" y="598"/>
                        </a:lnTo>
                        <a:lnTo>
                          <a:pt x="435" y="601"/>
                        </a:lnTo>
                        <a:lnTo>
                          <a:pt x="470" y="603"/>
                        </a:lnTo>
                        <a:lnTo>
                          <a:pt x="507" y="604"/>
                        </a:lnTo>
                        <a:lnTo>
                          <a:pt x="546" y="605"/>
                        </a:lnTo>
                        <a:lnTo>
                          <a:pt x="587" y="605"/>
                        </a:lnTo>
                        <a:lnTo>
                          <a:pt x="634" y="605"/>
                        </a:lnTo>
                        <a:lnTo>
                          <a:pt x="679" y="603"/>
                        </a:lnTo>
                        <a:lnTo>
                          <a:pt x="721" y="601"/>
                        </a:lnTo>
                        <a:lnTo>
                          <a:pt x="760" y="597"/>
                        </a:lnTo>
                        <a:lnTo>
                          <a:pt x="798" y="594"/>
                        </a:lnTo>
                        <a:lnTo>
                          <a:pt x="832" y="588"/>
                        </a:lnTo>
                        <a:lnTo>
                          <a:pt x="866" y="583"/>
                        </a:lnTo>
                        <a:lnTo>
                          <a:pt x="897" y="576"/>
                        </a:lnTo>
                        <a:lnTo>
                          <a:pt x="926" y="569"/>
                        </a:lnTo>
                        <a:lnTo>
                          <a:pt x="952" y="560"/>
                        </a:lnTo>
                        <a:lnTo>
                          <a:pt x="977" y="552"/>
                        </a:lnTo>
                        <a:lnTo>
                          <a:pt x="1000" y="543"/>
                        </a:lnTo>
                        <a:lnTo>
                          <a:pt x="1023" y="533"/>
                        </a:lnTo>
                        <a:lnTo>
                          <a:pt x="1043" y="522"/>
                        </a:lnTo>
                        <a:lnTo>
                          <a:pt x="1060" y="509"/>
                        </a:lnTo>
                        <a:lnTo>
                          <a:pt x="1077" y="497"/>
                        </a:lnTo>
                        <a:lnTo>
                          <a:pt x="1093" y="485"/>
                        </a:lnTo>
                        <a:lnTo>
                          <a:pt x="1106" y="471"/>
                        </a:lnTo>
                        <a:lnTo>
                          <a:pt x="1118" y="457"/>
                        </a:lnTo>
                        <a:lnTo>
                          <a:pt x="1129" y="443"/>
                        </a:lnTo>
                        <a:lnTo>
                          <a:pt x="1139" y="428"/>
                        </a:lnTo>
                        <a:lnTo>
                          <a:pt x="1148" y="412"/>
                        </a:lnTo>
                        <a:lnTo>
                          <a:pt x="1156" y="397"/>
                        </a:lnTo>
                        <a:lnTo>
                          <a:pt x="1163" y="380"/>
                        </a:lnTo>
                        <a:lnTo>
                          <a:pt x="1168" y="364"/>
                        </a:lnTo>
                        <a:lnTo>
                          <a:pt x="1173" y="347"/>
                        </a:lnTo>
                        <a:lnTo>
                          <a:pt x="1176" y="329"/>
                        </a:lnTo>
                        <a:lnTo>
                          <a:pt x="1179" y="311"/>
                        </a:lnTo>
                        <a:lnTo>
                          <a:pt x="1182" y="293"/>
                        </a:lnTo>
                        <a:lnTo>
                          <a:pt x="1183" y="274"/>
                        </a:lnTo>
                        <a:lnTo>
                          <a:pt x="1184" y="256"/>
                        </a:lnTo>
                        <a:lnTo>
                          <a:pt x="1184" y="237"/>
                        </a:lnTo>
                        <a:lnTo>
                          <a:pt x="1183" y="226"/>
                        </a:lnTo>
                        <a:lnTo>
                          <a:pt x="1181" y="212"/>
                        </a:lnTo>
                        <a:lnTo>
                          <a:pt x="1177" y="198"/>
                        </a:lnTo>
                        <a:lnTo>
                          <a:pt x="1173" y="182"/>
                        </a:lnTo>
                        <a:lnTo>
                          <a:pt x="1161" y="150"/>
                        </a:lnTo>
                        <a:lnTo>
                          <a:pt x="1146" y="115"/>
                        </a:lnTo>
                        <a:lnTo>
                          <a:pt x="1129" y="81"/>
                        </a:lnTo>
                        <a:lnTo>
                          <a:pt x="1112" y="49"/>
                        </a:lnTo>
                        <a:lnTo>
                          <a:pt x="1095" y="21"/>
                        </a:lnTo>
                        <a:lnTo>
                          <a:pt x="1079" y="0"/>
                        </a:lnTo>
                        <a:close/>
                      </a:path>
                    </a:pathLst>
                  </a:custGeom>
                  <a:solidFill>
                    <a:srgbClr val="242B53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115" name="Freeform 174"/>
                  <p:cNvSpPr>
                    <a:spLocks/>
                  </p:cNvSpPr>
                  <p:nvPr/>
                </p:nvSpPr>
                <p:spPr bwMode="auto">
                  <a:xfrm>
                    <a:off x="3255" y="4127"/>
                    <a:ext cx="168" cy="38"/>
                  </a:xfrm>
                  <a:custGeom>
                    <a:avLst/>
                    <a:gdLst>
                      <a:gd name="T0" fmla="*/ 0 w 1173"/>
                      <a:gd name="T1" fmla="*/ 0 h 264"/>
                      <a:gd name="T2" fmla="*/ 0 w 1173"/>
                      <a:gd name="T3" fmla="*/ 0 h 264"/>
                      <a:gd name="T4" fmla="*/ 0 w 1173"/>
                      <a:gd name="T5" fmla="*/ 0 h 264"/>
                      <a:gd name="T6" fmla="*/ 0 w 1173"/>
                      <a:gd name="T7" fmla="*/ 0 h 264"/>
                      <a:gd name="T8" fmla="*/ 0 w 1173"/>
                      <a:gd name="T9" fmla="*/ 0 h 264"/>
                      <a:gd name="T10" fmla="*/ 0 w 1173"/>
                      <a:gd name="T11" fmla="*/ 0 h 264"/>
                      <a:gd name="T12" fmla="*/ 0 w 1173"/>
                      <a:gd name="T13" fmla="*/ 0 h 264"/>
                      <a:gd name="T14" fmla="*/ 0 w 1173"/>
                      <a:gd name="T15" fmla="*/ 0 h 264"/>
                      <a:gd name="T16" fmla="*/ 0 w 1173"/>
                      <a:gd name="T17" fmla="*/ 0 h 264"/>
                      <a:gd name="T18" fmla="*/ 0 w 1173"/>
                      <a:gd name="T19" fmla="*/ 0 h 264"/>
                      <a:gd name="T20" fmla="*/ 0 w 1173"/>
                      <a:gd name="T21" fmla="*/ 0 h 264"/>
                      <a:gd name="T22" fmla="*/ 0 w 1173"/>
                      <a:gd name="T23" fmla="*/ 0 h 264"/>
                      <a:gd name="T24" fmla="*/ 0 w 1173"/>
                      <a:gd name="T25" fmla="*/ 0 h 264"/>
                      <a:gd name="T26" fmla="*/ 0 w 1173"/>
                      <a:gd name="T27" fmla="*/ 0 h 264"/>
                      <a:gd name="T28" fmla="*/ 0 w 1173"/>
                      <a:gd name="T29" fmla="*/ 0 h 264"/>
                      <a:gd name="T30" fmla="*/ 0 w 1173"/>
                      <a:gd name="T31" fmla="*/ 0 h 264"/>
                      <a:gd name="T32" fmla="*/ 0 w 1173"/>
                      <a:gd name="T33" fmla="*/ 0 h 264"/>
                      <a:gd name="T34" fmla="*/ 0 w 1173"/>
                      <a:gd name="T35" fmla="*/ 0 h 264"/>
                      <a:gd name="T36" fmla="*/ 0 w 1173"/>
                      <a:gd name="T37" fmla="*/ 0 h 264"/>
                      <a:gd name="T38" fmla="*/ 0 w 1173"/>
                      <a:gd name="T39" fmla="*/ 0 h 264"/>
                      <a:gd name="T40" fmla="*/ 0 w 1173"/>
                      <a:gd name="T41" fmla="*/ 0 h 264"/>
                      <a:gd name="T42" fmla="*/ 0 w 1173"/>
                      <a:gd name="T43" fmla="*/ 0 h 264"/>
                      <a:gd name="T44" fmla="*/ 0 w 1173"/>
                      <a:gd name="T45" fmla="*/ 0 h 264"/>
                      <a:gd name="T46" fmla="*/ 0 w 1173"/>
                      <a:gd name="T47" fmla="*/ 0 h 264"/>
                      <a:gd name="T48" fmla="*/ 0 w 1173"/>
                      <a:gd name="T49" fmla="*/ 0 h 264"/>
                      <a:gd name="T50" fmla="*/ 0 w 1173"/>
                      <a:gd name="T51" fmla="*/ 0 h 264"/>
                      <a:gd name="T52" fmla="*/ 0 w 1173"/>
                      <a:gd name="T53" fmla="*/ 0 h 264"/>
                      <a:gd name="T54" fmla="*/ 0 w 1173"/>
                      <a:gd name="T55" fmla="*/ 0 h 264"/>
                      <a:gd name="T56" fmla="*/ 0 w 1173"/>
                      <a:gd name="T57" fmla="*/ 0 h 264"/>
                      <a:gd name="T58" fmla="*/ 0 w 1173"/>
                      <a:gd name="T59" fmla="*/ 0 h 264"/>
                      <a:gd name="T60" fmla="*/ 0 w 1173"/>
                      <a:gd name="T61" fmla="*/ 0 h 264"/>
                      <a:gd name="T62" fmla="*/ 0 w 1173"/>
                      <a:gd name="T63" fmla="*/ 0 h 264"/>
                      <a:gd name="T64" fmla="*/ 0 w 1173"/>
                      <a:gd name="T65" fmla="*/ 0 h 264"/>
                      <a:gd name="T66" fmla="*/ 0 w 1173"/>
                      <a:gd name="T67" fmla="*/ 0 h 264"/>
                      <a:gd name="T68" fmla="*/ 0 w 1173"/>
                      <a:gd name="T69" fmla="*/ 0 h 264"/>
                      <a:gd name="T70" fmla="*/ 0 w 1173"/>
                      <a:gd name="T71" fmla="*/ 0 h 264"/>
                      <a:gd name="T72" fmla="*/ 0 w 1173"/>
                      <a:gd name="T73" fmla="*/ 0 h 264"/>
                      <a:gd name="T74" fmla="*/ 0 w 1173"/>
                      <a:gd name="T75" fmla="*/ 0 h 264"/>
                      <a:gd name="T76" fmla="*/ 0 w 1173"/>
                      <a:gd name="T77" fmla="*/ 0 h 264"/>
                      <a:gd name="T78" fmla="*/ 0 w 1173"/>
                      <a:gd name="T79" fmla="*/ 0 h 264"/>
                      <a:gd name="T80" fmla="*/ 0 w 1173"/>
                      <a:gd name="T81" fmla="*/ 0 h 264"/>
                      <a:gd name="T82" fmla="*/ 0 w 1173"/>
                      <a:gd name="T83" fmla="*/ 0 h 264"/>
                      <a:gd name="T84" fmla="*/ 0 w 1173"/>
                      <a:gd name="T85" fmla="*/ 0 h 264"/>
                      <a:gd name="T86" fmla="*/ 0 w 1173"/>
                      <a:gd name="T87" fmla="*/ 0 h 264"/>
                      <a:gd name="T88" fmla="*/ 0 w 1173"/>
                      <a:gd name="T89" fmla="*/ 0 h 264"/>
                      <a:gd name="T90" fmla="*/ 0 w 1173"/>
                      <a:gd name="T91" fmla="*/ 0 h 264"/>
                      <a:gd name="T92" fmla="*/ 0 w 1173"/>
                      <a:gd name="T93" fmla="*/ 0 h 264"/>
                      <a:gd name="T94" fmla="*/ 0 w 1173"/>
                      <a:gd name="T95" fmla="*/ 0 h 264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w 1173"/>
                      <a:gd name="T145" fmla="*/ 0 h 264"/>
                      <a:gd name="T146" fmla="*/ 1173 w 1173"/>
                      <a:gd name="T147" fmla="*/ 264 h 264"/>
                    </a:gdLst>
                    <a:ahLst/>
                    <a:cxnLst>
                      <a:cxn ang="T96">
                        <a:pos x="T0" y="T1"/>
                      </a:cxn>
                      <a:cxn ang="T97">
                        <a:pos x="T2" y="T3"/>
                      </a:cxn>
                      <a:cxn ang="T98">
                        <a:pos x="T4" y="T5"/>
                      </a:cxn>
                      <a:cxn ang="T99">
                        <a:pos x="T6" y="T7"/>
                      </a:cxn>
                      <a:cxn ang="T100">
                        <a:pos x="T8" y="T9"/>
                      </a:cxn>
                      <a:cxn ang="T101">
                        <a:pos x="T10" y="T11"/>
                      </a:cxn>
                      <a:cxn ang="T102">
                        <a:pos x="T12" y="T13"/>
                      </a:cxn>
                      <a:cxn ang="T103">
                        <a:pos x="T14" y="T15"/>
                      </a:cxn>
                      <a:cxn ang="T104">
                        <a:pos x="T16" y="T17"/>
                      </a:cxn>
                      <a:cxn ang="T105">
                        <a:pos x="T18" y="T19"/>
                      </a:cxn>
                      <a:cxn ang="T106">
                        <a:pos x="T20" y="T21"/>
                      </a:cxn>
                      <a:cxn ang="T107">
                        <a:pos x="T22" y="T23"/>
                      </a:cxn>
                      <a:cxn ang="T108">
                        <a:pos x="T24" y="T25"/>
                      </a:cxn>
                      <a:cxn ang="T109">
                        <a:pos x="T26" y="T27"/>
                      </a:cxn>
                      <a:cxn ang="T110">
                        <a:pos x="T28" y="T29"/>
                      </a:cxn>
                      <a:cxn ang="T111">
                        <a:pos x="T30" y="T31"/>
                      </a:cxn>
                      <a:cxn ang="T112">
                        <a:pos x="T32" y="T33"/>
                      </a:cxn>
                      <a:cxn ang="T113">
                        <a:pos x="T34" y="T35"/>
                      </a:cxn>
                      <a:cxn ang="T114">
                        <a:pos x="T36" y="T37"/>
                      </a:cxn>
                      <a:cxn ang="T115">
                        <a:pos x="T38" y="T39"/>
                      </a:cxn>
                      <a:cxn ang="T116">
                        <a:pos x="T40" y="T41"/>
                      </a:cxn>
                      <a:cxn ang="T117">
                        <a:pos x="T42" y="T43"/>
                      </a:cxn>
                      <a:cxn ang="T118">
                        <a:pos x="T44" y="T45"/>
                      </a:cxn>
                      <a:cxn ang="T119">
                        <a:pos x="T46" y="T47"/>
                      </a:cxn>
                      <a:cxn ang="T120">
                        <a:pos x="T48" y="T49"/>
                      </a:cxn>
                      <a:cxn ang="T121">
                        <a:pos x="T50" y="T51"/>
                      </a:cxn>
                      <a:cxn ang="T122">
                        <a:pos x="T52" y="T53"/>
                      </a:cxn>
                      <a:cxn ang="T123">
                        <a:pos x="T54" y="T55"/>
                      </a:cxn>
                      <a:cxn ang="T124">
                        <a:pos x="T56" y="T57"/>
                      </a:cxn>
                      <a:cxn ang="T125">
                        <a:pos x="T58" y="T59"/>
                      </a:cxn>
                      <a:cxn ang="T126">
                        <a:pos x="T60" y="T61"/>
                      </a:cxn>
                      <a:cxn ang="T127">
                        <a:pos x="T62" y="T63"/>
                      </a:cxn>
                      <a:cxn ang="T128">
                        <a:pos x="T64" y="T65"/>
                      </a:cxn>
                      <a:cxn ang="T129">
                        <a:pos x="T66" y="T67"/>
                      </a:cxn>
                      <a:cxn ang="T130">
                        <a:pos x="T68" y="T69"/>
                      </a:cxn>
                      <a:cxn ang="T131">
                        <a:pos x="T70" y="T71"/>
                      </a:cxn>
                      <a:cxn ang="T132">
                        <a:pos x="T72" y="T73"/>
                      </a:cxn>
                      <a:cxn ang="T133">
                        <a:pos x="T74" y="T75"/>
                      </a:cxn>
                      <a:cxn ang="T134">
                        <a:pos x="T76" y="T77"/>
                      </a:cxn>
                      <a:cxn ang="T135">
                        <a:pos x="T78" y="T79"/>
                      </a:cxn>
                      <a:cxn ang="T136">
                        <a:pos x="T80" y="T81"/>
                      </a:cxn>
                      <a:cxn ang="T137">
                        <a:pos x="T82" y="T83"/>
                      </a:cxn>
                      <a:cxn ang="T138">
                        <a:pos x="T84" y="T85"/>
                      </a:cxn>
                      <a:cxn ang="T139">
                        <a:pos x="T86" y="T87"/>
                      </a:cxn>
                      <a:cxn ang="T140">
                        <a:pos x="T88" y="T89"/>
                      </a:cxn>
                      <a:cxn ang="T141">
                        <a:pos x="T90" y="T91"/>
                      </a:cxn>
                      <a:cxn ang="T142">
                        <a:pos x="T92" y="T93"/>
                      </a:cxn>
                      <a:cxn ang="T143">
                        <a:pos x="T94" y="T95"/>
                      </a:cxn>
                    </a:cxnLst>
                    <a:rect l="T144" t="T145" r="T146" b="T147"/>
                    <a:pathLst>
                      <a:path w="1173" h="264">
                        <a:moveTo>
                          <a:pt x="586" y="142"/>
                        </a:moveTo>
                        <a:lnTo>
                          <a:pt x="525" y="142"/>
                        </a:lnTo>
                        <a:lnTo>
                          <a:pt x="467" y="139"/>
                        </a:lnTo>
                        <a:lnTo>
                          <a:pt x="414" y="137"/>
                        </a:lnTo>
                        <a:lnTo>
                          <a:pt x="364" y="133"/>
                        </a:lnTo>
                        <a:lnTo>
                          <a:pt x="316" y="128"/>
                        </a:lnTo>
                        <a:lnTo>
                          <a:pt x="274" y="123"/>
                        </a:lnTo>
                        <a:lnTo>
                          <a:pt x="234" y="116"/>
                        </a:lnTo>
                        <a:lnTo>
                          <a:pt x="197" y="108"/>
                        </a:lnTo>
                        <a:lnTo>
                          <a:pt x="162" y="100"/>
                        </a:lnTo>
                        <a:lnTo>
                          <a:pt x="131" y="90"/>
                        </a:lnTo>
                        <a:lnTo>
                          <a:pt x="103" y="80"/>
                        </a:lnTo>
                        <a:lnTo>
                          <a:pt x="78" y="70"/>
                        </a:lnTo>
                        <a:lnTo>
                          <a:pt x="54" y="58"/>
                        </a:lnTo>
                        <a:lnTo>
                          <a:pt x="34" y="46"/>
                        </a:lnTo>
                        <a:lnTo>
                          <a:pt x="15" y="33"/>
                        </a:lnTo>
                        <a:lnTo>
                          <a:pt x="0" y="19"/>
                        </a:lnTo>
                        <a:lnTo>
                          <a:pt x="2" y="33"/>
                        </a:lnTo>
                        <a:lnTo>
                          <a:pt x="5" y="46"/>
                        </a:lnTo>
                        <a:lnTo>
                          <a:pt x="10" y="58"/>
                        </a:lnTo>
                        <a:lnTo>
                          <a:pt x="14" y="70"/>
                        </a:lnTo>
                        <a:lnTo>
                          <a:pt x="20" y="83"/>
                        </a:lnTo>
                        <a:lnTo>
                          <a:pt x="25" y="95"/>
                        </a:lnTo>
                        <a:lnTo>
                          <a:pt x="32" y="106"/>
                        </a:lnTo>
                        <a:lnTo>
                          <a:pt x="40" y="117"/>
                        </a:lnTo>
                        <a:lnTo>
                          <a:pt x="48" y="128"/>
                        </a:lnTo>
                        <a:lnTo>
                          <a:pt x="58" y="139"/>
                        </a:lnTo>
                        <a:lnTo>
                          <a:pt x="68" y="149"/>
                        </a:lnTo>
                        <a:lnTo>
                          <a:pt x="79" y="159"/>
                        </a:lnTo>
                        <a:lnTo>
                          <a:pt x="91" y="169"/>
                        </a:lnTo>
                        <a:lnTo>
                          <a:pt x="106" y="178"/>
                        </a:lnTo>
                        <a:lnTo>
                          <a:pt x="120" y="187"/>
                        </a:lnTo>
                        <a:lnTo>
                          <a:pt x="136" y="195"/>
                        </a:lnTo>
                        <a:lnTo>
                          <a:pt x="152" y="203"/>
                        </a:lnTo>
                        <a:lnTo>
                          <a:pt x="171" y="211"/>
                        </a:lnTo>
                        <a:lnTo>
                          <a:pt x="190" y="218"/>
                        </a:lnTo>
                        <a:lnTo>
                          <a:pt x="211" y="224"/>
                        </a:lnTo>
                        <a:lnTo>
                          <a:pt x="234" y="231"/>
                        </a:lnTo>
                        <a:lnTo>
                          <a:pt x="258" y="236"/>
                        </a:lnTo>
                        <a:lnTo>
                          <a:pt x="284" y="242"/>
                        </a:lnTo>
                        <a:lnTo>
                          <a:pt x="310" y="246"/>
                        </a:lnTo>
                        <a:lnTo>
                          <a:pt x="338" y="251"/>
                        </a:lnTo>
                        <a:lnTo>
                          <a:pt x="368" y="254"/>
                        </a:lnTo>
                        <a:lnTo>
                          <a:pt x="400" y="257"/>
                        </a:lnTo>
                        <a:lnTo>
                          <a:pt x="434" y="260"/>
                        </a:lnTo>
                        <a:lnTo>
                          <a:pt x="469" y="262"/>
                        </a:lnTo>
                        <a:lnTo>
                          <a:pt x="506" y="263"/>
                        </a:lnTo>
                        <a:lnTo>
                          <a:pt x="545" y="264"/>
                        </a:lnTo>
                        <a:lnTo>
                          <a:pt x="586" y="264"/>
                        </a:lnTo>
                        <a:lnTo>
                          <a:pt x="625" y="264"/>
                        </a:lnTo>
                        <a:lnTo>
                          <a:pt x="662" y="263"/>
                        </a:lnTo>
                        <a:lnTo>
                          <a:pt x="698" y="262"/>
                        </a:lnTo>
                        <a:lnTo>
                          <a:pt x="731" y="260"/>
                        </a:lnTo>
                        <a:lnTo>
                          <a:pt x="763" y="256"/>
                        </a:lnTo>
                        <a:lnTo>
                          <a:pt x="793" y="253"/>
                        </a:lnTo>
                        <a:lnTo>
                          <a:pt x="823" y="250"/>
                        </a:lnTo>
                        <a:lnTo>
                          <a:pt x="851" y="245"/>
                        </a:lnTo>
                        <a:lnTo>
                          <a:pt x="877" y="240"/>
                        </a:lnTo>
                        <a:lnTo>
                          <a:pt x="902" y="234"/>
                        </a:lnTo>
                        <a:lnTo>
                          <a:pt x="926" y="227"/>
                        </a:lnTo>
                        <a:lnTo>
                          <a:pt x="948" y="221"/>
                        </a:lnTo>
                        <a:lnTo>
                          <a:pt x="969" y="214"/>
                        </a:lnTo>
                        <a:lnTo>
                          <a:pt x="988" y="206"/>
                        </a:lnTo>
                        <a:lnTo>
                          <a:pt x="1007" y="198"/>
                        </a:lnTo>
                        <a:lnTo>
                          <a:pt x="1025" y="189"/>
                        </a:lnTo>
                        <a:lnTo>
                          <a:pt x="1040" y="181"/>
                        </a:lnTo>
                        <a:lnTo>
                          <a:pt x="1056" y="172"/>
                        </a:lnTo>
                        <a:lnTo>
                          <a:pt x="1070" y="162"/>
                        </a:lnTo>
                        <a:lnTo>
                          <a:pt x="1083" y="150"/>
                        </a:lnTo>
                        <a:lnTo>
                          <a:pt x="1095" y="140"/>
                        </a:lnTo>
                        <a:lnTo>
                          <a:pt x="1106" y="129"/>
                        </a:lnTo>
                        <a:lnTo>
                          <a:pt x="1116" y="118"/>
                        </a:lnTo>
                        <a:lnTo>
                          <a:pt x="1126" y="106"/>
                        </a:lnTo>
                        <a:lnTo>
                          <a:pt x="1134" y="94"/>
                        </a:lnTo>
                        <a:lnTo>
                          <a:pt x="1142" y="81"/>
                        </a:lnTo>
                        <a:lnTo>
                          <a:pt x="1148" y="68"/>
                        </a:lnTo>
                        <a:lnTo>
                          <a:pt x="1155" y="56"/>
                        </a:lnTo>
                        <a:lnTo>
                          <a:pt x="1161" y="43"/>
                        </a:lnTo>
                        <a:lnTo>
                          <a:pt x="1165" y="28"/>
                        </a:lnTo>
                        <a:lnTo>
                          <a:pt x="1170" y="15"/>
                        </a:lnTo>
                        <a:lnTo>
                          <a:pt x="1173" y="0"/>
                        </a:lnTo>
                        <a:lnTo>
                          <a:pt x="1156" y="16"/>
                        </a:lnTo>
                        <a:lnTo>
                          <a:pt x="1136" y="31"/>
                        </a:lnTo>
                        <a:lnTo>
                          <a:pt x="1115" y="45"/>
                        </a:lnTo>
                        <a:lnTo>
                          <a:pt x="1092" y="58"/>
                        </a:lnTo>
                        <a:lnTo>
                          <a:pt x="1066" y="71"/>
                        </a:lnTo>
                        <a:lnTo>
                          <a:pt x="1037" y="83"/>
                        </a:lnTo>
                        <a:lnTo>
                          <a:pt x="1006" y="94"/>
                        </a:lnTo>
                        <a:lnTo>
                          <a:pt x="971" y="103"/>
                        </a:lnTo>
                        <a:lnTo>
                          <a:pt x="935" y="112"/>
                        </a:lnTo>
                        <a:lnTo>
                          <a:pt x="895" y="119"/>
                        </a:lnTo>
                        <a:lnTo>
                          <a:pt x="851" y="126"/>
                        </a:lnTo>
                        <a:lnTo>
                          <a:pt x="806" y="132"/>
                        </a:lnTo>
                        <a:lnTo>
                          <a:pt x="757" y="136"/>
                        </a:lnTo>
                        <a:lnTo>
                          <a:pt x="703" y="139"/>
                        </a:lnTo>
                        <a:lnTo>
                          <a:pt x="646" y="140"/>
                        </a:lnTo>
                        <a:lnTo>
                          <a:pt x="586" y="142"/>
                        </a:lnTo>
                        <a:close/>
                      </a:path>
                    </a:pathLst>
                  </a:custGeom>
                  <a:solidFill>
                    <a:srgbClr val="1F1A17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116" name="Freeform 175"/>
                  <p:cNvSpPr>
                    <a:spLocks/>
                  </p:cNvSpPr>
                  <p:nvPr/>
                </p:nvSpPr>
                <p:spPr bwMode="auto">
                  <a:xfrm>
                    <a:off x="3437" y="3975"/>
                    <a:ext cx="138" cy="177"/>
                  </a:xfrm>
                  <a:custGeom>
                    <a:avLst/>
                    <a:gdLst>
                      <a:gd name="T0" fmla="*/ 0 w 955"/>
                      <a:gd name="T1" fmla="*/ 0 h 1249"/>
                      <a:gd name="T2" fmla="*/ 0 w 955"/>
                      <a:gd name="T3" fmla="*/ 0 h 1249"/>
                      <a:gd name="T4" fmla="*/ 0 w 955"/>
                      <a:gd name="T5" fmla="*/ 0 h 1249"/>
                      <a:gd name="T6" fmla="*/ 0 w 955"/>
                      <a:gd name="T7" fmla="*/ 0 h 1249"/>
                      <a:gd name="T8" fmla="*/ 0 w 955"/>
                      <a:gd name="T9" fmla="*/ 0 h 1249"/>
                      <a:gd name="T10" fmla="*/ 0 w 955"/>
                      <a:gd name="T11" fmla="*/ 0 h 1249"/>
                      <a:gd name="T12" fmla="*/ 0 w 955"/>
                      <a:gd name="T13" fmla="*/ 0 h 1249"/>
                      <a:gd name="T14" fmla="*/ 0 w 955"/>
                      <a:gd name="T15" fmla="*/ 0 h 1249"/>
                      <a:gd name="T16" fmla="*/ 0 w 955"/>
                      <a:gd name="T17" fmla="*/ 0 h 1249"/>
                      <a:gd name="T18" fmla="*/ 0 w 955"/>
                      <a:gd name="T19" fmla="*/ 0 h 1249"/>
                      <a:gd name="T20" fmla="*/ 0 w 955"/>
                      <a:gd name="T21" fmla="*/ 0 h 1249"/>
                      <a:gd name="T22" fmla="*/ 0 w 955"/>
                      <a:gd name="T23" fmla="*/ 0 h 1249"/>
                      <a:gd name="T24" fmla="*/ 0 w 955"/>
                      <a:gd name="T25" fmla="*/ 0 h 1249"/>
                      <a:gd name="T26" fmla="*/ 0 w 955"/>
                      <a:gd name="T27" fmla="*/ 0 h 1249"/>
                      <a:gd name="T28" fmla="*/ 0 w 955"/>
                      <a:gd name="T29" fmla="*/ 0 h 1249"/>
                      <a:gd name="T30" fmla="*/ 0 w 955"/>
                      <a:gd name="T31" fmla="*/ 0 h 1249"/>
                      <a:gd name="T32" fmla="*/ 0 w 955"/>
                      <a:gd name="T33" fmla="*/ 0 h 1249"/>
                      <a:gd name="T34" fmla="*/ 0 w 955"/>
                      <a:gd name="T35" fmla="*/ 0 h 1249"/>
                      <a:gd name="T36" fmla="*/ 0 w 955"/>
                      <a:gd name="T37" fmla="*/ 0 h 1249"/>
                      <a:gd name="T38" fmla="*/ 0 w 955"/>
                      <a:gd name="T39" fmla="*/ 0 h 1249"/>
                      <a:gd name="T40" fmla="*/ 0 w 955"/>
                      <a:gd name="T41" fmla="*/ 0 h 1249"/>
                      <a:gd name="T42" fmla="*/ 0 w 955"/>
                      <a:gd name="T43" fmla="*/ 0 h 1249"/>
                      <a:gd name="T44" fmla="*/ 0 w 955"/>
                      <a:gd name="T45" fmla="*/ 0 h 1249"/>
                      <a:gd name="T46" fmla="*/ 0 w 955"/>
                      <a:gd name="T47" fmla="*/ 0 h 1249"/>
                      <a:gd name="T48" fmla="*/ 0 w 955"/>
                      <a:gd name="T49" fmla="*/ 0 h 1249"/>
                      <a:gd name="T50" fmla="*/ 0 w 955"/>
                      <a:gd name="T51" fmla="*/ 0 h 1249"/>
                      <a:gd name="T52" fmla="*/ 0 w 955"/>
                      <a:gd name="T53" fmla="*/ 0 h 1249"/>
                      <a:gd name="T54" fmla="*/ 0 w 955"/>
                      <a:gd name="T55" fmla="*/ 0 h 1249"/>
                      <a:gd name="T56" fmla="*/ 0 w 955"/>
                      <a:gd name="T57" fmla="*/ 0 h 1249"/>
                      <a:gd name="T58" fmla="*/ 0 w 955"/>
                      <a:gd name="T59" fmla="*/ 0 h 1249"/>
                      <a:gd name="T60" fmla="*/ 0 w 955"/>
                      <a:gd name="T61" fmla="*/ 0 h 1249"/>
                      <a:gd name="T62" fmla="*/ 0 w 955"/>
                      <a:gd name="T63" fmla="*/ 0 h 1249"/>
                      <a:gd name="T64" fmla="*/ 0 w 955"/>
                      <a:gd name="T65" fmla="*/ 0 h 1249"/>
                      <a:gd name="T66" fmla="*/ 0 w 955"/>
                      <a:gd name="T67" fmla="*/ 0 h 1249"/>
                      <a:gd name="T68" fmla="*/ 0 w 955"/>
                      <a:gd name="T69" fmla="*/ 0 h 1249"/>
                      <a:gd name="T70" fmla="*/ 0 w 955"/>
                      <a:gd name="T71" fmla="*/ 0 h 1249"/>
                      <a:gd name="T72" fmla="*/ 0 w 955"/>
                      <a:gd name="T73" fmla="*/ 0 h 1249"/>
                      <a:gd name="T74" fmla="*/ 0 w 955"/>
                      <a:gd name="T75" fmla="*/ 0 h 1249"/>
                      <a:gd name="T76" fmla="*/ 0 w 955"/>
                      <a:gd name="T77" fmla="*/ 0 h 1249"/>
                      <a:gd name="T78" fmla="*/ 0 w 955"/>
                      <a:gd name="T79" fmla="*/ 0 h 1249"/>
                      <a:gd name="T80" fmla="*/ 0 w 955"/>
                      <a:gd name="T81" fmla="*/ 0 h 1249"/>
                      <a:gd name="T82" fmla="*/ 0 w 955"/>
                      <a:gd name="T83" fmla="*/ 0 h 1249"/>
                      <a:gd name="T84" fmla="*/ 0 w 955"/>
                      <a:gd name="T85" fmla="*/ 0 h 1249"/>
                      <a:gd name="T86" fmla="*/ 0 w 955"/>
                      <a:gd name="T87" fmla="*/ 0 h 1249"/>
                      <a:gd name="T88" fmla="*/ 0 w 955"/>
                      <a:gd name="T89" fmla="*/ 0 h 1249"/>
                      <a:gd name="T90" fmla="*/ 0 w 955"/>
                      <a:gd name="T91" fmla="*/ 0 h 1249"/>
                      <a:gd name="T92" fmla="*/ 0 w 955"/>
                      <a:gd name="T93" fmla="*/ 0 h 1249"/>
                      <a:gd name="T94" fmla="*/ 0 w 955"/>
                      <a:gd name="T95" fmla="*/ 0 h 1249"/>
                      <a:gd name="T96" fmla="*/ 0 w 955"/>
                      <a:gd name="T97" fmla="*/ 0 h 1249"/>
                      <a:gd name="T98" fmla="*/ 0 w 955"/>
                      <a:gd name="T99" fmla="*/ 0 h 1249"/>
                      <a:gd name="T100" fmla="*/ 0 w 955"/>
                      <a:gd name="T101" fmla="*/ 0 h 1249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w 955"/>
                      <a:gd name="T154" fmla="*/ 0 h 1249"/>
                      <a:gd name="T155" fmla="*/ 955 w 955"/>
                      <a:gd name="T156" fmla="*/ 1249 h 1249"/>
                    </a:gdLst>
                    <a:ahLst/>
                    <a:cxnLst>
                      <a:cxn ang="T102">
                        <a:pos x="T0" y="T1"/>
                      </a:cxn>
                      <a:cxn ang="T103">
                        <a:pos x="T2" y="T3"/>
                      </a:cxn>
                      <a:cxn ang="T104">
                        <a:pos x="T4" y="T5"/>
                      </a:cxn>
                      <a:cxn ang="T105">
                        <a:pos x="T6" y="T7"/>
                      </a:cxn>
                      <a:cxn ang="T106">
                        <a:pos x="T8" y="T9"/>
                      </a:cxn>
                      <a:cxn ang="T107">
                        <a:pos x="T10" y="T11"/>
                      </a:cxn>
                      <a:cxn ang="T108">
                        <a:pos x="T12" y="T13"/>
                      </a:cxn>
                      <a:cxn ang="T109">
                        <a:pos x="T14" y="T15"/>
                      </a:cxn>
                      <a:cxn ang="T110">
                        <a:pos x="T16" y="T17"/>
                      </a:cxn>
                      <a:cxn ang="T111">
                        <a:pos x="T18" y="T19"/>
                      </a:cxn>
                      <a:cxn ang="T112">
                        <a:pos x="T20" y="T21"/>
                      </a:cxn>
                      <a:cxn ang="T113">
                        <a:pos x="T22" y="T23"/>
                      </a:cxn>
                      <a:cxn ang="T114">
                        <a:pos x="T24" y="T25"/>
                      </a:cxn>
                      <a:cxn ang="T115">
                        <a:pos x="T26" y="T27"/>
                      </a:cxn>
                      <a:cxn ang="T116">
                        <a:pos x="T28" y="T29"/>
                      </a:cxn>
                      <a:cxn ang="T117">
                        <a:pos x="T30" y="T31"/>
                      </a:cxn>
                      <a:cxn ang="T118">
                        <a:pos x="T32" y="T33"/>
                      </a:cxn>
                      <a:cxn ang="T119">
                        <a:pos x="T34" y="T35"/>
                      </a:cxn>
                      <a:cxn ang="T120">
                        <a:pos x="T36" y="T37"/>
                      </a:cxn>
                      <a:cxn ang="T121">
                        <a:pos x="T38" y="T39"/>
                      </a:cxn>
                      <a:cxn ang="T122">
                        <a:pos x="T40" y="T41"/>
                      </a:cxn>
                      <a:cxn ang="T123">
                        <a:pos x="T42" y="T43"/>
                      </a:cxn>
                      <a:cxn ang="T124">
                        <a:pos x="T44" y="T45"/>
                      </a:cxn>
                      <a:cxn ang="T125">
                        <a:pos x="T46" y="T47"/>
                      </a:cxn>
                      <a:cxn ang="T126">
                        <a:pos x="T48" y="T49"/>
                      </a:cxn>
                      <a:cxn ang="T127">
                        <a:pos x="T50" y="T51"/>
                      </a:cxn>
                      <a:cxn ang="T128">
                        <a:pos x="T52" y="T53"/>
                      </a:cxn>
                      <a:cxn ang="T129">
                        <a:pos x="T54" y="T55"/>
                      </a:cxn>
                      <a:cxn ang="T130">
                        <a:pos x="T56" y="T57"/>
                      </a:cxn>
                      <a:cxn ang="T131">
                        <a:pos x="T58" y="T59"/>
                      </a:cxn>
                      <a:cxn ang="T132">
                        <a:pos x="T60" y="T61"/>
                      </a:cxn>
                      <a:cxn ang="T133">
                        <a:pos x="T62" y="T63"/>
                      </a:cxn>
                      <a:cxn ang="T134">
                        <a:pos x="T64" y="T65"/>
                      </a:cxn>
                      <a:cxn ang="T135">
                        <a:pos x="T66" y="T67"/>
                      </a:cxn>
                      <a:cxn ang="T136">
                        <a:pos x="T68" y="T69"/>
                      </a:cxn>
                      <a:cxn ang="T137">
                        <a:pos x="T70" y="T71"/>
                      </a:cxn>
                      <a:cxn ang="T138">
                        <a:pos x="T72" y="T73"/>
                      </a:cxn>
                      <a:cxn ang="T139">
                        <a:pos x="T74" y="T75"/>
                      </a:cxn>
                      <a:cxn ang="T140">
                        <a:pos x="T76" y="T77"/>
                      </a:cxn>
                      <a:cxn ang="T141">
                        <a:pos x="T78" y="T79"/>
                      </a:cxn>
                      <a:cxn ang="T142">
                        <a:pos x="T80" y="T81"/>
                      </a:cxn>
                      <a:cxn ang="T143">
                        <a:pos x="T82" y="T83"/>
                      </a:cxn>
                      <a:cxn ang="T144">
                        <a:pos x="T84" y="T85"/>
                      </a:cxn>
                      <a:cxn ang="T145">
                        <a:pos x="T86" y="T87"/>
                      </a:cxn>
                      <a:cxn ang="T146">
                        <a:pos x="T88" y="T89"/>
                      </a:cxn>
                      <a:cxn ang="T147">
                        <a:pos x="T90" y="T91"/>
                      </a:cxn>
                      <a:cxn ang="T148">
                        <a:pos x="T92" y="T93"/>
                      </a:cxn>
                      <a:cxn ang="T149">
                        <a:pos x="T94" y="T95"/>
                      </a:cxn>
                      <a:cxn ang="T150">
                        <a:pos x="T96" y="T97"/>
                      </a:cxn>
                      <a:cxn ang="T151">
                        <a:pos x="T98" y="T99"/>
                      </a:cxn>
                      <a:cxn ang="T152">
                        <a:pos x="T100" y="T101"/>
                      </a:cxn>
                    </a:cxnLst>
                    <a:rect l="T153" t="T154" r="T155" b="T156"/>
                    <a:pathLst>
                      <a:path w="955" h="1249">
                        <a:moveTo>
                          <a:pt x="1" y="531"/>
                        </a:moveTo>
                        <a:lnTo>
                          <a:pt x="0" y="463"/>
                        </a:lnTo>
                        <a:lnTo>
                          <a:pt x="3" y="401"/>
                        </a:lnTo>
                        <a:lnTo>
                          <a:pt x="12" y="344"/>
                        </a:lnTo>
                        <a:lnTo>
                          <a:pt x="25" y="292"/>
                        </a:lnTo>
                        <a:lnTo>
                          <a:pt x="43" y="245"/>
                        </a:lnTo>
                        <a:lnTo>
                          <a:pt x="66" y="202"/>
                        </a:lnTo>
                        <a:lnTo>
                          <a:pt x="91" y="164"/>
                        </a:lnTo>
                        <a:lnTo>
                          <a:pt x="120" y="130"/>
                        </a:lnTo>
                        <a:lnTo>
                          <a:pt x="152" y="100"/>
                        </a:lnTo>
                        <a:lnTo>
                          <a:pt x="187" y="75"/>
                        </a:lnTo>
                        <a:lnTo>
                          <a:pt x="224" y="54"/>
                        </a:lnTo>
                        <a:lnTo>
                          <a:pt x="263" y="36"/>
                        </a:lnTo>
                        <a:lnTo>
                          <a:pt x="303" y="23"/>
                        </a:lnTo>
                        <a:lnTo>
                          <a:pt x="345" y="11"/>
                        </a:lnTo>
                        <a:lnTo>
                          <a:pt x="387" y="5"/>
                        </a:lnTo>
                        <a:lnTo>
                          <a:pt x="431" y="0"/>
                        </a:lnTo>
                        <a:lnTo>
                          <a:pt x="474" y="0"/>
                        </a:lnTo>
                        <a:lnTo>
                          <a:pt x="517" y="2"/>
                        </a:lnTo>
                        <a:lnTo>
                          <a:pt x="560" y="7"/>
                        </a:lnTo>
                        <a:lnTo>
                          <a:pt x="602" y="15"/>
                        </a:lnTo>
                        <a:lnTo>
                          <a:pt x="643" y="25"/>
                        </a:lnTo>
                        <a:lnTo>
                          <a:pt x="683" y="37"/>
                        </a:lnTo>
                        <a:lnTo>
                          <a:pt x="720" y="53"/>
                        </a:lnTo>
                        <a:lnTo>
                          <a:pt x="756" y="69"/>
                        </a:lnTo>
                        <a:lnTo>
                          <a:pt x="789" y="88"/>
                        </a:lnTo>
                        <a:lnTo>
                          <a:pt x="819" y="109"/>
                        </a:lnTo>
                        <a:lnTo>
                          <a:pt x="846" y="132"/>
                        </a:lnTo>
                        <a:lnTo>
                          <a:pt x="869" y="155"/>
                        </a:lnTo>
                        <a:lnTo>
                          <a:pt x="888" y="181"/>
                        </a:lnTo>
                        <a:lnTo>
                          <a:pt x="904" y="207"/>
                        </a:lnTo>
                        <a:lnTo>
                          <a:pt x="914" y="235"/>
                        </a:lnTo>
                        <a:lnTo>
                          <a:pt x="919" y="264"/>
                        </a:lnTo>
                        <a:lnTo>
                          <a:pt x="929" y="352"/>
                        </a:lnTo>
                        <a:lnTo>
                          <a:pt x="940" y="448"/>
                        </a:lnTo>
                        <a:lnTo>
                          <a:pt x="945" y="497"/>
                        </a:lnTo>
                        <a:lnTo>
                          <a:pt x="949" y="547"/>
                        </a:lnTo>
                        <a:lnTo>
                          <a:pt x="953" y="596"/>
                        </a:lnTo>
                        <a:lnTo>
                          <a:pt x="954" y="645"/>
                        </a:lnTo>
                        <a:lnTo>
                          <a:pt x="955" y="692"/>
                        </a:lnTo>
                        <a:lnTo>
                          <a:pt x="953" y="738"/>
                        </a:lnTo>
                        <a:lnTo>
                          <a:pt x="951" y="760"/>
                        </a:lnTo>
                        <a:lnTo>
                          <a:pt x="949" y="781"/>
                        </a:lnTo>
                        <a:lnTo>
                          <a:pt x="946" y="803"/>
                        </a:lnTo>
                        <a:lnTo>
                          <a:pt x="943" y="823"/>
                        </a:lnTo>
                        <a:lnTo>
                          <a:pt x="939" y="843"/>
                        </a:lnTo>
                        <a:lnTo>
                          <a:pt x="934" y="860"/>
                        </a:lnTo>
                        <a:lnTo>
                          <a:pt x="928" y="878"/>
                        </a:lnTo>
                        <a:lnTo>
                          <a:pt x="923" y="895"/>
                        </a:lnTo>
                        <a:lnTo>
                          <a:pt x="915" y="911"/>
                        </a:lnTo>
                        <a:lnTo>
                          <a:pt x="907" y="926"/>
                        </a:lnTo>
                        <a:lnTo>
                          <a:pt x="898" y="939"/>
                        </a:lnTo>
                        <a:lnTo>
                          <a:pt x="888" y="952"/>
                        </a:lnTo>
                        <a:lnTo>
                          <a:pt x="877" y="963"/>
                        </a:lnTo>
                        <a:lnTo>
                          <a:pt x="864" y="975"/>
                        </a:lnTo>
                        <a:lnTo>
                          <a:pt x="850" y="987"/>
                        </a:lnTo>
                        <a:lnTo>
                          <a:pt x="835" y="1001"/>
                        </a:lnTo>
                        <a:lnTo>
                          <a:pt x="801" y="1026"/>
                        </a:lnTo>
                        <a:lnTo>
                          <a:pt x="764" y="1052"/>
                        </a:lnTo>
                        <a:lnTo>
                          <a:pt x="723" y="1079"/>
                        </a:lnTo>
                        <a:lnTo>
                          <a:pt x="680" y="1104"/>
                        </a:lnTo>
                        <a:lnTo>
                          <a:pt x="634" y="1129"/>
                        </a:lnTo>
                        <a:lnTo>
                          <a:pt x="586" y="1152"/>
                        </a:lnTo>
                        <a:lnTo>
                          <a:pt x="539" y="1174"/>
                        </a:lnTo>
                        <a:lnTo>
                          <a:pt x="490" y="1194"/>
                        </a:lnTo>
                        <a:lnTo>
                          <a:pt x="464" y="1203"/>
                        </a:lnTo>
                        <a:lnTo>
                          <a:pt x="441" y="1212"/>
                        </a:lnTo>
                        <a:lnTo>
                          <a:pt x="416" y="1220"/>
                        </a:lnTo>
                        <a:lnTo>
                          <a:pt x="392" y="1227"/>
                        </a:lnTo>
                        <a:lnTo>
                          <a:pt x="368" y="1232"/>
                        </a:lnTo>
                        <a:lnTo>
                          <a:pt x="345" y="1238"/>
                        </a:lnTo>
                        <a:lnTo>
                          <a:pt x="322" y="1242"/>
                        </a:lnTo>
                        <a:lnTo>
                          <a:pt x="299" y="1246"/>
                        </a:lnTo>
                        <a:lnTo>
                          <a:pt x="278" y="1248"/>
                        </a:lnTo>
                        <a:lnTo>
                          <a:pt x="257" y="1249"/>
                        </a:lnTo>
                        <a:lnTo>
                          <a:pt x="237" y="1249"/>
                        </a:lnTo>
                        <a:lnTo>
                          <a:pt x="217" y="1248"/>
                        </a:lnTo>
                        <a:lnTo>
                          <a:pt x="192" y="1244"/>
                        </a:lnTo>
                        <a:lnTo>
                          <a:pt x="170" y="1239"/>
                        </a:lnTo>
                        <a:lnTo>
                          <a:pt x="149" y="1231"/>
                        </a:lnTo>
                        <a:lnTo>
                          <a:pt x="130" y="1221"/>
                        </a:lnTo>
                        <a:lnTo>
                          <a:pt x="112" y="1210"/>
                        </a:lnTo>
                        <a:lnTo>
                          <a:pt x="97" y="1197"/>
                        </a:lnTo>
                        <a:lnTo>
                          <a:pt x="83" y="1181"/>
                        </a:lnTo>
                        <a:lnTo>
                          <a:pt x="71" y="1164"/>
                        </a:lnTo>
                        <a:lnTo>
                          <a:pt x="60" y="1146"/>
                        </a:lnTo>
                        <a:lnTo>
                          <a:pt x="50" y="1126"/>
                        </a:lnTo>
                        <a:lnTo>
                          <a:pt x="41" y="1105"/>
                        </a:lnTo>
                        <a:lnTo>
                          <a:pt x="33" y="1083"/>
                        </a:lnTo>
                        <a:lnTo>
                          <a:pt x="27" y="1060"/>
                        </a:lnTo>
                        <a:lnTo>
                          <a:pt x="22" y="1035"/>
                        </a:lnTo>
                        <a:lnTo>
                          <a:pt x="17" y="1010"/>
                        </a:lnTo>
                        <a:lnTo>
                          <a:pt x="13" y="984"/>
                        </a:lnTo>
                        <a:lnTo>
                          <a:pt x="11" y="957"/>
                        </a:lnTo>
                        <a:lnTo>
                          <a:pt x="8" y="929"/>
                        </a:lnTo>
                        <a:lnTo>
                          <a:pt x="7" y="902"/>
                        </a:lnTo>
                        <a:lnTo>
                          <a:pt x="5" y="873"/>
                        </a:lnTo>
                        <a:lnTo>
                          <a:pt x="4" y="815"/>
                        </a:lnTo>
                        <a:lnTo>
                          <a:pt x="4" y="756"/>
                        </a:lnTo>
                        <a:lnTo>
                          <a:pt x="4" y="698"/>
                        </a:lnTo>
                        <a:lnTo>
                          <a:pt x="4" y="640"/>
                        </a:lnTo>
                        <a:lnTo>
                          <a:pt x="3" y="584"/>
                        </a:lnTo>
                        <a:lnTo>
                          <a:pt x="1" y="531"/>
                        </a:lnTo>
                        <a:close/>
                      </a:path>
                    </a:pathLst>
                  </a:custGeom>
                  <a:solidFill>
                    <a:srgbClr val="273669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117" name="Freeform 176"/>
                  <p:cNvSpPr>
                    <a:spLocks/>
                  </p:cNvSpPr>
                  <p:nvPr/>
                </p:nvSpPr>
                <p:spPr bwMode="auto">
                  <a:xfrm>
                    <a:off x="3437" y="3975"/>
                    <a:ext cx="74" cy="138"/>
                  </a:xfrm>
                  <a:custGeom>
                    <a:avLst/>
                    <a:gdLst>
                      <a:gd name="T0" fmla="*/ 0 w 502"/>
                      <a:gd name="T1" fmla="*/ 0 h 967"/>
                      <a:gd name="T2" fmla="*/ 0 w 502"/>
                      <a:gd name="T3" fmla="*/ 0 h 967"/>
                      <a:gd name="T4" fmla="*/ 0 w 502"/>
                      <a:gd name="T5" fmla="*/ 0 h 967"/>
                      <a:gd name="T6" fmla="*/ 0 w 502"/>
                      <a:gd name="T7" fmla="*/ 0 h 967"/>
                      <a:gd name="T8" fmla="*/ 0 w 502"/>
                      <a:gd name="T9" fmla="*/ 0 h 967"/>
                      <a:gd name="T10" fmla="*/ 0 w 502"/>
                      <a:gd name="T11" fmla="*/ 0 h 967"/>
                      <a:gd name="T12" fmla="*/ 0 w 502"/>
                      <a:gd name="T13" fmla="*/ 0 h 967"/>
                      <a:gd name="T14" fmla="*/ 0 w 502"/>
                      <a:gd name="T15" fmla="*/ 0 h 967"/>
                      <a:gd name="T16" fmla="*/ 0 w 502"/>
                      <a:gd name="T17" fmla="*/ 0 h 967"/>
                      <a:gd name="T18" fmla="*/ 0 w 502"/>
                      <a:gd name="T19" fmla="*/ 0 h 967"/>
                      <a:gd name="T20" fmla="*/ 0 w 502"/>
                      <a:gd name="T21" fmla="*/ 0 h 967"/>
                      <a:gd name="T22" fmla="*/ 0 w 502"/>
                      <a:gd name="T23" fmla="*/ 0 h 967"/>
                      <a:gd name="T24" fmla="*/ 0 w 502"/>
                      <a:gd name="T25" fmla="*/ 0 h 967"/>
                      <a:gd name="T26" fmla="*/ 0 w 502"/>
                      <a:gd name="T27" fmla="*/ 0 h 967"/>
                      <a:gd name="T28" fmla="*/ 0 w 502"/>
                      <a:gd name="T29" fmla="*/ 0 h 967"/>
                      <a:gd name="T30" fmla="*/ 0 w 502"/>
                      <a:gd name="T31" fmla="*/ 0 h 967"/>
                      <a:gd name="T32" fmla="*/ 0 w 502"/>
                      <a:gd name="T33" fmla="*/ 0 h 967"/>
                      <a:gd name="T34" fmla="*/ 0 w 502"/>
                      <a:gd name="T35" fmla="*/ 0 h 967"/>
                      <a:gd name="T36" fmla="*/ 0 w 502"/>
                      <a:gd name="T37" fmla="*/ 0 h 967"/>
                      <a:gd name="T38" fmla="*/ 0 w 502"/>
                      <a:gd name="T39" fmla="*/ 0 h 967"/>
                      <a:gd name="T40" fmla="*/ 0 w 502"/>
                      <a:gd name="T41" fmla="*/ 0 h 967"/>
                      <a:gd name="T42" fmla="*/ 0 w 502"/>
                      <a:gd name="T43" fmla="*/ 0 h 967"/>
                      <a:gd name="T44" fmla="*/ 0 w 502"/>
                      <a:gd name="T45" fmla="*/ 0 h 967"/>
                      <a:gd name="T46" fmla="*/ 0 w 502"/>
                      <a:gd name="T47" fmla="*/ 0 h 967"/>
                      <a:gd name="T48" fmla="*/ 0 w 502"/>
                      <a:gd name="T49" fmla="*/ 0 h 967"/>
                      <a:gd name="T50" fmla="*/ 0 w 502"/>
                      <a:gd name="T51" fmla="*/ 0 h 967"/>
                      <a:gd name="T52" fmla="*/ 0 w 502"/>
                      <a:gd name="T53" fmla="*/ 0 h 967"/>
                      <a:gd name="T54" fmla="*/ 0 w 502"/>
                      <a:gd name="T55" fmla="*/ 0 h 967"/>
                      <a:gd name="T56" fmla="*/ 0 w 502"/>
                      <a:gd name="T57" fmla="*/ 0 h 967"/>
                      <a:gd name="T58" fmla="*/ 0 w 502"/>
                      <a:gd name="T59" fmla="*/ 0 h 967"/>
                      <a:gd name="T60" fmla="*/ 0 w 502"/>
                      <a:gd name="T61" fmla="*/ 0 h 967"/>
                      <a:gd name="T62" fmla="*/ 0 w 502"/>
                      <a:gd name="T63" fmla="*/ 0 h 967"/>
                      <a:gd name="T64" fmla="*/ 0 w 502"/>
                      <a:gd name="T65" fmla="*/ 0 h 967"/>
                      <a:gd name="T66" fmla="*/ 0 w 502"/>
                      <a:gd name="T67" fmla="*/ 0 h 967"/>
                      <a:gd name="T68" fmla="*/ 0 w 502"/>
                      <a:gd name="T69" fmla="*/ 0 h 967"/>
                      <a:gd name="T70" fmla="*/ 0 w 502"/>
                      <a:gd name="T71" fmla="*/ 0 h 967"/>
                      <a:gd name="T72" fmla="*/ 0 w 502"/>
                      <a:gd name="T73" fmla="*/ 0 h 967"/>
                      <a:gd name="T74" fmla="*/ 0 w 502"/>
                      <a:gd name="T75" fmla="*/ 0 h 967"/>
                      <a:gd name="T76" fmla="*/ 0 w 502"/>
                      <a:gd name="T77" fmla="*/ 0 h 967"/>
                      <a:gd name="T78" fmla="*/ 0 w 502"/>
                      <a:gd name="T79" fmla="*/ 0 h 967"/>
                      <a:gd name="T80" fmla="*/ 0 w 502"/>
                      <a:gd name="T81" fmla="*/ 0 h 967"/>
                      <a:gd name="T82" fmla="*/ 0 w 502"/>
                      <a:gd name="T83" fmla="*/ 0 h 967"/>
                      <a:gd name="T84" fmla="*/ 0 w 502"/>
                      <a:gd name="T85" fmla="*/ 0 h 96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502"/>
                      <a:gd name="T130" fmla="*/ 0 h 967"/>
                      <a:gd name="T131" fmla="*/ 502 w 502"/>
                      <a:gd name="T132" fmla="*/ 967 h 96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502" h="967">
                        <a:moveTo>
                          <a:pt x="2" y="379"/>
                        </a:moveTo>
                        <a:lnTo>
                          <a:pt x="5" y="358"/>
                        </a:lnTo>
                        <a:lnTo>
                          <a:pt x="10" y="337"/>
                        </a:lnTo>
                        <a:lnTo>
                          <a:pt x="16" y="315"/>
                        </a:lnTo>
                        <a:lnTo>
                          <a:pt x="23" y="291"/>
                        </a:lnTo>
                        <a:lnTo>
                          <a:pt x="32" y="269"/>
                        </a:lnTo>
                        <a:lnTo>
                          <a:pt x="43" y="246"/>
                        </a:lnTo>
                        <a:lnTo>
                          <a:pt x="54" y="224"/>
                        </a:lnTo>
                        <a:lnTo>
                          <a:pt x="68" y="200"/>
                        </a:lnTo>
                        <a:lnTo>
                          <a:pt x="81" y="179"/>
                        </a:lnTo>
                        <a:lnTo>
                          <a:pt x="97" y="157"/>
                        </a:lnTo>
                        <a:lnTo>
                          <a:pt x="112" y="137"/>
                        </a:lnTo>
                        <a:lnTo>
                          <a:pt x="129" y="118"/>
                        </a:lnTo>
                        <a:lnTo>
                          <a:pt x="147" y="100"/>
                        </a:lnTo>
                        <a:lnTo>
                          <a:pt x="164" y="83"/>
                        </a:lnTo>
                        <a:lnTo>
                          <a:pt x="183" y="69"/>
                        </a:lnTo>
                        <a:lnTo>
                          <a:pt x="203" y="55"/>
                        </a:lnTo>
                        <a:lnTo>
                          <a:pt x="213" y="50"/>
                        </a:lnTo>
                        <a:lnTo>
                          <a:pt x="229" y="43"/>
                        </a:lnTo>
                        <a:lnTo>
                          <a:pt x="247" y="37"/>
                        </a:lnTo>
                        <a:lnTo>
                          <a:pt x="268" y="30"/>
                        </a:lnTo>
                        <a:lnTo>
                          <a:pt x="291" y="22"/>
                        </a:lnTo>
                        <a:lnTo>
                          <a:pt x="316" y="15"/>
                        </a:lnTo>
                        <a:lnTo>
                          <a:pt x="341" y="10"/>
                        </a:lnTo>
                        <a:lnTo>
                          <a:pt x="367" y="5"/>
                        </a:lnTo>
                        <a:lnTo>
                          <a:pt x="392" y="2"/>
                        </a:lnTo>
                        <a:lnTo>
                          <a:pt x="415" y="0"/>
                        </a:lnTo>
                        <a:lnTo>
                          <a:pt x="426" y="0"/>
                        </a:lnTo>
                        <a:lnTo>
                          <a:pt x="436" y="1"/>
                        </a:lnTo>
                        <a:lnTo>
                          <a:pt x="446" y="2"/>
                        </a:lnTo>
                        <a:lnTo>
                          <a:pt x="455" y="3"/>
                        </a:lnTo>
                        <a:lnTo>
                          <a:pt x="463" y="5"/>
                        </a:lnTo>
                        <a:lnTo>
                          <a:pt x="471" y="9"/>
                        </a:lnTo>
                        <a:lnTo>
                          <a:pt x="476" y="13"/>
                        </a:lnTo>
                        <a:lnTo>
                          <a:pt x="481" y="18"/>
                        </a:lnTo>
                        <a:lnTo>
                          <a:pt x="484" y="23"/>
                        </a:lnTo>
                        <a:lnTo>
                          <a:pt x="487" y="30"/>
                        </a:lnTo>
                        <a:lnTo>
                          <a:pt x="487" y="38"/>
                        </a:lnTo>
                        <a:lnTo>
                          <a:pt x="487" y="45"/>
                        </a:lnTo>
                        <a:lnTo>
                          <a:pt x="487" y="62"/>
                        </a:lnTo>
                        <a:lnTo>
                          <a:pt x="488" y="107"/>
                        </a:lnTo>
                        <a:lnTo>
                          <a:pt x="491" y="172"/>
                        </a:lnTo>
                        <a:lnTo>
                          <a:pt x="492" y="252"/>
                        </a:lnTo>
                        <a:lnTo>
                          <a:pt x="494" y="341"/>
                        </a:lnTo>
                        <a:lnTo>
                          <a:pt x="495" y="433"/>
                        </a:lnTo>
                        <a:lnTo>
                          <a:pt x="496" y="520"/>
                        </a:lnTo>
                        <a:lnTo>
                          <a:pt x="496" y="596"/>
                        </a:lnTo>
                        <a:lnTo>
                          <a:pt x="497" y="630"/>
                        </a:lnTo>
                        <a:lnTo>
                          <a:pt x="499" y="664"/>
                        </a:lnTo>
                        <a:lnTo>
                          <a:pt x="502" y="700"/>
                        </a:lnTo>
                        <a:lnTo>
                          <a:pt x="502" y="737"/>
                        </a:lnTo>
                        <a:lnTo>
                          <a:pt x="501" y="754"/>
                        </a:lnTo>
                        <a:lnTo>
                          <a:pt x="498" y="771"/>
                        </a:lnTo>
                        <a:lnTo>
                          <a:pt x="495" y="788"/>
                        </a:lnTo>
                        <a:lnTo>
                          <a:pt x="491" y="803"/>
                        </a:lnTo>
                        <a:lnTo>
                          <a:pt x="484" y="819"/>
                        </a:lnTo>
                        <a:lnTo>
                          <a:pt x="476" y="833"/>
                        </a:lnTo>
                        <a:lnTo>
                          <a:pt x="472" y="840"/>
                        </a:lnTo>
                        <a:lnTo>
                          <a:pt x="466" y="847"/>
                        </a:lnTo>
                        <a:lnTo>
                          <a:pt x="461" y="853"/>
                        </a:lnTo>
                        <a:lnTo>
                          <a:pt x="454" y="859"/>
                        </a:lnTo>
                        <a:lnTo>
                          <a:pt x="445" y="867"/>
                        </a:lnTo>
                        <a:lnTo>
                          <a:pt x="434" y="875"/>
                        </a:lnTo>
                        <a:lnTo>
                          <a:pt x="424" y="882"/>
                        </a:lnTo>
                        <a:lnTo>
                          <a:pt x="412" y="888"/>
                        </a:lnTo>
                        <a:lnTo>
                          <a:pt x="388" y="900"/>
                        </a:lnTo>
                        <a:lnTo>
                          <a:pt x="361" y="910"/>
                        </a:lnTo>
                        <a:lnTo>
                          <a:pt x="335" y="919"/>
                        </a:lnTo>
                        <a:lnTo>
                          <a:pt x="306" y="927"/>
                        </a:lnTo>
                        <a:lnTo>
                          <a:pt x="277" y="933"/>
                        </a:lnTo>
                        <a:lnTo>
                          <a:pt x="247" y="939"/>
                        </a:lnTo>
                        <a:lnTo>
                          <a:pt x="186" y="947"/>
                        </a:lnTo>
                        <a:lnTo>
                          <a:pt x="126" y="954"/>
                        </a:lnTo>
                        <a:lnTo>
                          <a:pt x="69" y="960"/>
                        </a:lnTo>
                        <a:lnTo>
                          <a:pt x="16" y="967"/>
                        </a:lnTo>
                        <a:lnTo>
                          <a:pt x="19" y="946"/>
                        </a:lnTo>
                        <a:lnTo>
                          <a:pt x="20" y="918"/>
                        </a:lnTo>
                        <a:lnTo>
                          <a:pt x="20" y="886"/>
                        </a:lnTo>
                        <a:lnTo>
                          <a:pt x="19" y="850"/>
                        </a:lnTo>
                        <a:lnTo>
                          <a:pt x="15" y="768"/>
                        </a:lnTo>
                        <a:lnTo>
                          <a:pt x="10" y="679"/>
                        </a:lnTo>
                        <a:lnTo>
                          <a:pt x="5" y="589"/>
                        </a:lnTo>
                        <a:lnTo>
                          <a:pt x="2" y="505"/>
                        </a:lnTo>
                        <a:lnTo>
                          <a:pt x="1" y="467"/>
                        </a:lnTo>
                        <a:lnTo>
                          <a:pt x="0" y="433"/>
                        </a:lnTo>
                        <a:lnTo>
                          <a:pt x="1" y="404"/>
                        </a:lnTo>
                        <a:lnTo>
                          <a:pt x="2" y="379"/>
                        </a:lnTo>
                        <a:close/>
                      </a:path>
                    </a:pathLst>
                  </a:custGeom>
                  <a:solidFill>
                    <a:srgbClr val="242B53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118" name="Freeform 177"/>
                  <p:cNvSpPr>
                    <a:spLocks/>
                  </p:cNvSpPr>
                  <p:nvPr/>
                </p:nvSpPr>
                <p:spPr bwMode="auto">
                  <a:xfrm>
                    <a:off x="3442" y="4059"/>
                    <a:ext cx="170" cy="105"/>
                  </a:xfrm>
                  <a:custGeom>
                    <a:avLst/>
                    <a:gdLst>
                      <a:gd name="T0" fmla="*/ 0 w 1192"/>
                      <a:gd name="T1" fmla="*/ 0 h 736"/>
                      <a:gd name="T2" fmla="*/ 0 w 1192"/>
                      <a:gd name="T3" fmla="*/ 0 h 736"/>
                      <a:gd name="T4" fmla="*/ 0 w 1192"/>
                      <a:gd name="T5" fmla="*/ 0 h 736"/>
                      <a:gd name="T6" fmla="*/ 0 w 1192"/>
                      <a:gd name="T7" fmla="*/ 0 h 736"/>
                      <a:gd name="T8" fmla="*/ 0 w 1192"/>
                      <a:gd name="T9" fmla="*/ 0 h 736"/>
                      <a:gd name="T10" fmla="*/ 0 w 1192"/>
                      <a:gd name="T11" fmla="*/ 0 h 736"/>
                      <a:gd name="T12" fmla="*/ 0 w 1192"/>
                      <a:gd name="T13" fmla="*/ 0 h 736"/>
                      <a:gd name="T14" fmla="*/ 0 w 1192"/>
                      <a:gd name="T15" fmla="*/ 0 h 736"/>
                      <a:gd name="T16" fmla="*/ 0 w 1192"/>
                      <a:gd name="T17" fmla="*/ 0 h 736"/>
                      <a:gd name="T18" fmla="*/ 0 w 1192"/>
                      <a:gd name="T19" fmla="*/ 0 h 736"/>
                      <a:gd name="T20" fmla="*/ 0 w 1192"/>
                      <a:gd name="T21" fmla="*/ 0 h 736"/>
                      <a:gd name="T22" fmla="*/ 0 w 1192"/>
                      <a:gd name="T23" fmla="*/ 0 h 736"/>
                      <a:gd name="T24" fmla="*/ 0 w 1192"/>
                      <a:gd name="T25" fmla="*/ 0 h 736"/>
                      <a:gd name="T26" fmla="*/ 0 w 1192"/>
                      <a:gd name="T27" fmla="*/ 0 h 736"/>
                      <a:gd name="T28" fmla="*/ 0 w 1192"/>
                      <a:gd name="T29" fmla="*/ 0 h 736"/>
                      <a:gd name="T30" fmla="*/ 0 w 1192"/>
                      <a:gd name="T31" fmla="*/ 0 h 736"/>
                      <a:gd name="T32" fmla="*/ 0 w 1192"/>
                      <a:gd name="T33" fmla="*/ 0 h 736"/>
                      <a:gd name="T34" fmla="*/ 0 w 1192"/>
                      <a:gd name="T35" fmla="*/ 0 h 736"/>
                      <a:gd name="T36" fmla="*/ 0 w 1192"/>
                      <a:gd name="T37" fmla="*/ 0 h 736"/>
                      <a:gd name="T38" fmla="*/ 0 w 1192"/>
                      <a:gd name="T39" fmla="*/ 0 h 736"/>
                      <a:gd name="T40" fmla="*/ 0 w 1192"/>
                      <a:gd name="T41" fmla="*/ 0 h 736"/>
                      <a:gd name="T42" fmla="*/ 0 w 1192"/>
                      <a:gd name="T43" fmla="*/ 0 h 736"/>
                      <a:gd name="T44" fmla="*/ 0 w 1192"/>
                      <a:gd name="T45" fmla="*/ 0 h 736"/>
                      <a:gd name="T46" fmla="*/ 0 w 1192"/>
                      <a:gd name="T47" fmla="*/ 0 h 736"/>
                      <a:gd name="T48" fmla="*/ 0 w 1192"/>
                      <a:gd name="T49" fmla="*/ 0 h 736"/>
                      <a:gd name="T50" fmla="*/ 0 w 1192"/>
                      <a:gd name="T51" fmla="*/ 0 h 736"/>
                      <a:gd name="T52" fmla="*/ 0 w 1192"/>
                      <a:gd name="T53" fmla="*/ 0 h 736"/>
                      <a:gd name="T54" fmla="*/ 0 w 1192"/>
                      <a:gd name="T55" fmla="*/ 0 h 736"/>
                      <a:gd name="T56" fmla="*/ 0 w 1192"/>
                      <a:gd name="T57" fmla="*/ 0 h 736"/>
                      <a:gd name="T58" fmla="*/ 0 w 1192"/>
                      <a:gd name="T59" fmla="*/ 0 h 736"/>
                      <a:gd name="T60" fmla="*/ 0 w 1192"/>
                      <a:gd name="T61" fmla="*/ 0 h 736"/>
                      <a:gd name="T62" fmla="*/ 0 w 1192"/>
                      <a:gd name="T63" fmla="*/ 0 h 736"/>
                      <a:gd name="T64" fmla="*/ 0 w 1192"/>
                      <a:gd name="T65" fmla="*/ 0 h 736"/>
                      <a:gd name="T66" fmla="*/ 0 w 1192"/>
                      <a:gd name="T67" fmla="*/ 0 h 736"/>
                      <a:gd name="T68" fmla="*/ 0 w 1192"/>
                      <a:gd name="T69" fmla="*/ 0 h 736"/>
                      <a:gd name="T70" fmla="*/ 0 w 1192"/>
                      <a:gd name="T71" fmla="*/ 0 h 736"/>
                      <a:gd name="T72" fmla="*/ 0 w 1192"/>
                      <a:gd name="T73" fmla="*/ 0 h 736"/>
                      <a:gd name="T74" fmla="*/ 0 w 1192"/>
                      <a:gd name="T75" fmla="*/ 0 h 736"/>
                      <a:gd name="T76" fmla="*/ 0 w 1192"/>
                      <a:gd name="T77" fmla="*/ 0 h 736"/>
                      <a:gd name="T78" fmla="*/ 0 w 1192"/>
                      <a:gd name="T79" fmla="*/ 0 h 736"/>
                      <a:gd name="T80" fmla="*/ 0 w 1192"/>
                      <a:gd name="T81" fmla="*/ 0 h 736"/>
                      <a:gd name="T82" fmla="*/ 0 w 1192"/>
                      <a:gd name="T83" fmla="*/ 0 h 736"/>
                      <a:gd name="T84" fmla="*/ 0 w 1192"/>
                      <a:gd name="T85" fmla="*/ 0 h 736"/>
                      <a:gd name="T86" fmla="*/ 0 w 1192"/>
                      <a:gd name="T87" fmla="*/ 0 h 736"/>
                      <a:gd name="T88" fmla="*/ 0 w 1192"/>
                      <a:gd name="T89" fmla="*/ 0 h 736"/>
                      <a:gd name="T90" fmla="*/ 0 w 1192"/>
                      <a:gd name="T91" fmla="*/ 0 h 736"/>
                      <a:gd name="T92" fmla="*/ 0 w 1192"/>
                      <a:gd name="T93" fmla="*/ 0 h 736"/>
                      <a:gd name="T94" fmla="*/ 0 w 1192"/>
                      <a:gd name="T95" fmla="*/ 0 h 736"/>
                      <a:gd name="T96" fmla="*/ 0 w 1192"/>
                      <a:gd name="T97" fmla="*/ 0 h 736"/>
                      <a:gd name="T98" fmla="*/ 0 w 1192"/>
                      <a:gd name="T99" fmla="*/ 0 h 736"/>
                      <a:gd name="T100" fmla="*/ 0 w 1192"/>
                      <a:gd name="T101" fmla="*/ 0 h 736"/>
                      <a:gd name="T102" fmla="*/ 0 w 1192"/>
                      <a:gd name="T103" fmla="*/ 0 h 736"/>
                      <a:gd name="T104" fmla="*/ 0 w 1192"/>
                      <a:gd name="T105" fmla="*/ 0 h 736"/>
                      <a:gd name="T106" fmla="*/ 0 w 1192"/>
                      <a:gd name="T107" fmla="*/ 0 h 736"/>
                      <a:gd name="T108" fmla="*/ 0 w 1192"/>
                      <a:gd name="T109" fmla="*/ 0 h 736"/>
                      <a:gd name="T110" fmla="*/ 0 w 1192"/>
                      <a:gd name="T111" fmla="*/ 0 h 736"/>
                      <a:gd name="T112" fmla="*/ 0 w 1192"/>
                      <a:gd name="T113" fmla="*/ 0 h 736"/>
                      <a:gd name="T114" fmla="*/ 0 w 1192"/>
                      <a:gd name="T115" fmla="*/ 0 h 736"/>
                      <a:gd name="T116" fmla="*/ 0 w 1192"/>
                      <a:gd name="T117" fmla="*/ 0 h 736"/>
                      <a:gd name="T118" fmla="*/ 0 w 1192"/>
                      <a:gd name="T119" fmla="*/ 0 h 736"/>
                      <a:gd name="T120" fmla="*/ 0 w 1192"/>
                      <a:gd name="T121" fmla="*/ 0 h 736"/>
                      <a:gd name="T122" fmla="*/ 0 w 1192"/>
                      <a:gd name="T123" fmla="*/ 0 h 736"/>
                      <a:gd name="T124" fmla="*/ 0 w 1192"/>
                      <a:gd name="T125" fmla="*/ 0 h 7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60000 65536"/>
                      <a:gd name="T184" fmla="*/ 0 60000 65536"/>
                      <a:gd name="T185" fmla="*/ 0 60000 65536"/>
                      <a:gd name="T186" fmla="*/ 0 60000 65536"/>
                      <a:gd name="T187" fmla="*/ 0 60000 65536"/>
                      <a:gd name="T188" fmla="*/ 0 60000 65536"/>
                      <a:gd name="T189" fmla="*/ 0 w 1192"/>
                      <a:gd name="T190" fmla="*/ 0 h 736"/>
                      <a:gd name="T191" fmla="*/ 1192 w 1192"/>
                      <a:gd name="T192" fmla="*/ 736 h 736"/>
                    </a:gdLst>
                    <a:ahLst/>
                    <a:cxnLst>
                      <a:cxn ang="T126">
                        <a:pos x="T0" y="T1"/>
                      </a:cxn>
                      <a:cxn ang="T127">
                        <a:pos x="T2" y="T3"/>
                      </a:cxn>
                      <a:cxn ang="T128">
                        <a:pos x="T4" y="T5"/>
                      </a:cxn>
                      <a:cxn ang="T129">
                        <a:pos x="T6" y="T7"/>
                      </a:cxn>
                      <a:cxn ang="T130">
                        <a:pos x="T8" y="T9"/>
                      </a:cxn>
                      <a:cxn ang="T131">
                        <a:pos x="T10" y="T11"/>
                      </a:cxn>
                      <a:cxn ang="T132">
                        <a:pos x="T12" y="T13"/>
                      </a:cxn>
                      <a:cxn ang="T133">
                        <a:pos x="T14" y="T15"/>
                      </a:cxn>
                      <a:cxn ang="T134">
                        <a:pos x="T16" y="T17"/>
                      </a:cxn>
                      <a:cxn ang="T135">
                        <a:pos x="T18" y="T19"/>
                      </a:cxn>
                      <a:cxn ang="T136">
                        <a:pos x="T20" y="T21"/>
                      </a:cxn>
                      <a:cxn ang="T137">
                        <a:pos x="T22" y="T23"/>
                      </a:cxn>
                      <a:cxn ang="T138">
                        <a:pos x="T24" y="T25"/>
                      </a:cxn>
                      <a:cxn ang="T139">
                        <a:pos x="T26" y="T27"/>
                      </a:cxn>
                      <a:cxn ang="T140">
                        <a:pos x="T28" y="T29"/>
                      </a:cxn>
                      <a:cxn ang="T141">
                        <a:pos x="T30" y="T31"/>
                      </a:cxn>
                      <a:cxn ang="T142">
                        <a:pos x="T32" y="T33"/>
                      </a:cxn>
                      <a:cxn ang="T143">
                        <a:pos x="T34" y="T35"/>
                      </a:cxn>
                      <a:cxn ang="T144">
                        <a:pos x="T36" y="T37"/>
                      </a:cxn>
                      <a:cxn ang="T145">
                        <a:pos x="T38" y="T39"/>
                      </a:cxn>
                      <a:cxn ang="T146">
                        <a:pos x="T40" y="T41"/>
                      </a:cxn>
                      <a:cxn ang="T147">
                        <a:pos x="T42" y="T43"/>
                      </a:cxn>
                      <a:cxn ang="T148">
                        <a:pos x="T44" y="T45"/>
                      </a:cxn>
                      <a:cxn ang="T149">
                        <a:pos x="T46" y="T47"/>
                      </a:cxn>
                      <a:cxn ang="T150">
                        <a:pos x="T48" y="T49"/>
                      </a:cxn>
                      <a:cxn ang="T151">
                        <a:pos x="T50" y="T51"/>
                      </a:cxn>
                      <a:cxn ang="T152">
                        <a:pos x="T52" y="T53"/>
                      </a:cxn>
                      <a:cxn ang="T153">
                        <a:pos x="T54" y="T55"/>
                      </a:cxn>
                      <a:cxn ang="T154">
                        <a:pos x="T56" y="T57"/>
                      </a:cxn>
                      <a:cxn ang="T155">
                        <a:pos x="T58" y="T59"/>
                      </a:cxn>
                      <a:cxn ang="T156">
                        <a:pos x="T60" y="T61"/>
                      </a:cxn>
                      <a:cxn ang="T157">
                        <a:pos x="T62" y="T63"/>
                      </a:cxn>
                      <a:cxn ang="T158">
                        <a:pos x="T64" y="T65"/>
                      </a:cxn>
                      <a:cxn ang="T159">
                        <a:pos x="T66" y="T67"/>
                      </a:cxn>
                      <a:cxn ang="T160">
                        <a:pos x="T68" y="T69"/>
                      </a:cxn>
                      <a:cxn ang="T161">
                        <a:pos x="T70" y="T71"/>
                      </a:cxn>
                      <a:cxn ang="T162">
                        <a:pos x="T72" y="T73"/>
                      </a:cxn>
                      <a:cxn ang="T163">
                        <a:pos x="T74" y="T75"/>
                      </a:cxn>
                      <a:cxn ang="T164">
                        <a:pos x="T76" y="T77"/>
                      </a:cxn>
                      <a:cxn ang="T165">
                        <a:pos x="T78" y="T79"/>
                      </a:cxn>
                      <a:cxn ang="T166">
                        <a:pos x="T80" y="T81"/>
                      </a:cxn>
                      <a:cxn ang="T167">
                        <a:pos x="T82" y="T83"/>
                      </a:cxn>
                      <a:cxn ang="T168">
                        <a:pos x="T84" y="T85"/>
                      </a:cxn>
                      <a:cxn ang="T169">
                        <a:pos x="T86" y="T87"/>
                      </a:cxn>
                      <a:cxn ang="T170">
                        <a:pos x="T88" y="T89"/>
                      </a:cxn>
                      <a:cxn ang="T171">
                        <a:pos x="T90" y="T91"/>
                      </a:cxn>
                      <a:cxn ang="T172">
                        <a:pos x="T92" y="T93"/>
                      </a:cxn>
                      <a:cxn ang="T173">
                        <a:pos x="T94" y="T95"/>
                      </a:cxn>
                      <a:cxn ang="T174">
                        <a:pos x="T96" y="T97"/>
                      </a:cxn>
                      <a:cxn ang="T175">
                        <a:pos x="T98" y="T99"/>
                      </a:cxn>
                      <a:cxn ang="T176">
                        <a:pos x="T100" y="T101"/>
                      </a:cxn>
                      <a:cxn ang="T177">
                        <a:pos x="T102" y="T103"/>
                      </a:cxn>
                      <a:cxn ang="T178">
                        <a:pos x="T104" y="T105"/>
                      </a:cxn>
                      <a:cxn ang="T179">
                        <a:pos x="T106" y="T107"/>
                      </a:cxn>
                      <a:cxn ang="T180">
                        <a:pos x="T108" y="T109"/>
                      </a:cxn>
                      <a:cxn ang="T181">
                        <a:pos x="T110" y="T111"/>
                      </a:cxn>
                      <a:cxn ang="T182">
                        <a:pos x="T112" y="T113"/>
                      </a:cxn>
                      <a:cxn ang="T183">
                        <a:pos x="T114" y="T115"/>
                      </a:cxn>
                      <a:cxn ang="T184">
                        <a:pos x="T116" y="T117"/>
                      </a:cxn>
                      <a:cxn ang="T185">
                        <a:pos x="T118" y="T119"/>
                      </a:cxn>
                      <a:cxn ang="T186">
                        <a:pos x="T120" y="T121"/>
                      </a:cxn>
                      <a:cxn ang="T187">
                        <a:pos x="T122" y="T123"/>
                      </a:cxn>
                      <a:cxn ang="T188">
                        <a:pos x="T124" y="T125"/>
                      </a:cxn>
                    </a:cxnLst>
                    <a:rect l="T189" t="T190" r="T191" b="T192"/>
                    <a:pathLst>
                      <a:path w="1192" h="736">
                        <a:moveTo>
                          <a:pt x="0" y="368"/>
                        </a:moveTo>
                        <a:lnTo>
                          <a:pt x="0" y="387"/>
                        </a:lnTo>
                        <a:lnTo>
                          <a:pt x="2" y="405"/>
                        </a:lnTo>
                        <a:lnTo>
                          <a:pt x="3" y="424"/>
                        </a:lnTo>
                        <a:lnTo>
                          <a:pt x="5" y="442"/>
                        </a:lnTo>
                        <a:lnTo>
                          <a:pt x="8" y="460"/>
                        </a:lnTo>
                        <a:lnTo>
                          <a:pt x="12" y="478"/>
                        </a:lnTo>
                        <a:lnTo>
                          <a:pt x="16" y="495"/>
                        </a:lnTo>
                        <a:lnTo>
                          <a:pt x="22" y="511"/>
                        </a:lnTo>
                        <a:lnTo>
                          <a:pt x="28" y="528"/>
                        </a:lnTo>
                        <a:lnTo>
                          <a:pt x="36" y="543"/>
                        </a:lnTo>
                        <a:lnTo>
                          <a:pt x="45" y="559"/>
                        </a:lnTo>
                        <a:lnTo>
                          <a:pt x="55" y="574"/>
                        </a:lnTo>
                        <a:lnTo>
                          <a:pt x="66" y="588"/>
                        </a:lnTo>
                        <a:lnTo>
                          <a:pt x="78" y="602"/>
                        </a:lnTo>
                        <a:lnTo>
                          <a:pt x="92" y="616"/>
                        </a:lnTo>
                        <a:lnTo>
                          <a:pt x="107" y="628"/>
                        </a:lnTo>
                        <a:lnTo>
                          <a:pt x="124" y="640"/>
                        </a:lnTo>
                        <a:lnTo>
                          <a:pt x="142" y="653"/>
                        </a:lnTo>
                        <a:lnTo>
                          <a:pt x="162" y="664"/>
                        </a:lnTo>
                        <a:lnTo>
                          <a:pt x="184" y="674"/>
                        </a:lnTo>
                        <a:lnTo>
                          <a:pt x="206" y="683"/>
                        </a:lnTo>
                        <a:lnTo>
                          <a:pt x="232" y="691"/>
                        </a:lnTo>
                        <a:lnTo>
                          <a:pt x="259" y="700"/>
                        </a:lnTo>
                        <a:lnTo>
                          <a:pt x="288" y="707"/>
                        </a:lnTo>
                        <a:lnTo>
                          <a:pt x="319" y="714"/>
                        </a:lnTo>
                        <a:lnTo>
                          <a:pt x="352" y="719"/>
                        </a:lnTo>
                        <a:lnTo>
                          <a:pt x="387" y="725"/>
                        </a:lnTo>
                        <a:lnTo>
                          <a:pt x="425" y="728"/>
                        </a:lnTo>
                        <a:lnTo>
                          <a:pt x="463" y="732"/>
                        </a:lnTo>
                        <a:lnTo>
                          <a:pt x="506" y="734"/>
                        </a:lnTo>
                        <a:lnTo>
                          <a:pt x="550" y="736"/>
                        </a:lnTo>
                        <a:lnTo>
                          <a:pt x="597" y="736"/>
                        </a:lnTo>
                        <a:lnTo>
                          <a:pt x="648" y="736"/>
                        </a:lnTo>
                        <a:lnTo>
                          <a:pt x="697" y="734"/>
                        </a:lnTo>
                        <a:lnTo>
                          <a:pt x="743" y="732"/>
                        </a:lnTo>
                        <a:lnTo>
                          <a:pt x="785" y="728"/>
                        </a:lnTo>
                        <a:lnTo>
                          <a:pt x="825" y="725"/>
                        </a:lnTo>
                        <a:lnTo>
                          <a:pt x="863" y="719"/>
                        </a:lnTo>
                        <a:lnTo>
                          <a:pt x="898" y="714"/>
                        </a:lnTo>
                        <a:lnTo>
                          <a:pt x="930" y="707"/>
                        </a:lnTo>
                        <a:lnTo>
                          <a:pt x="959" y="700"/>
                        </a:lnTo>
                        <a:lnTo>
                          <a:pt x="987" y="691"/>
                        </a:lnTo>
                        <a:lnTo>
                          <a:pt x="1012" y="683"/>
                        </a:lnTo>
                        <a:lnTo>
                          <a:pt x="1034" y="674"/>
                        </a:lnTo>
                        <a:lnTo>
                          <a:pt x="1056" y="664"/>
                        </a:lnTo>
                        <a:lnTo>
                          <a:pt x="1075" y="653"/>
                        </a:lnTo>
                        <a:lnTo>
                          <a:pt x="1092" y="640"/>
                        </a:lnTo>
                        <a:lnTo>
                          <a:pt x="1108" y="628"/>
                        </a:lnTo>
                        <a:lnTo>
                          <a:pt x="1121" y="616"/>
                        </a:lnTo>
                        <a:lnTo>
                          <a:pt x="1133" y="602"/>
                        </a:lnTo>
                        <a:lnTo>
                          <a:pt x="1145" y="588"/>
                        </a:lnTo>
                        <a:lnTo>
                          <a:pt x="1154" y="574"/>
                        </a:lnTo>
                        <a:lnTo>
                          <a:pt x="1162" y="559"/>
                        </a:lnTo>
                        <a:lnTo>
                          <a:pt x="1169" y="543"/>
                        </a:lnTo>
                        <a:lnTo>
                          <a:pt x="1175" y="528"/>
                        </a:lnTo>
                        <a:lnTo>
                          <a:pt x="1179" y="511"/>
                        </a:lnTo>
                        <a:lnTo>
                          <a:pt x="1184" y="495"/>
                        </a:lnTo>
                        <a:lnTo>
                          <a:pt x="1187" y="478"/>
                        </a:lnTo>
                        <a:lnTo>
                          <a:pt x="1189" y="460"/>
                        </a:lnTo>
                        <a:lnTo>
                          <a:pt x="1190" y="442"/>
                        </a:lnTo>
                        <a:lnTo>
                          <a:pt x="1192" y="405"/>
                        </a:lnTo>
                        <a:lnTo>
                          <a:pt x="1192" y="368"/>
                        </a:lnTo>
                        <a:lnTo>
                          <a:pt x="1192" y="349"/>
                        </a:lnTo>
                        <a:lnTo>
                          <a:pt x="1190" y="331"/>
                        </a:lnTo>
                        <a:lnTo>
                          <a:pt x="1186" y="312"/>
                        </a:lnTo>
                        <a:lnTo>
                          <a:pt x="1180" y="294"/>
                        </a:lnTo>
                        <a:lnTo>
                          <a:pt x="1174" y="276"/>
                        </a:lnTo>
                        <a:lnTo>
                          <a:pt x="1166" y="259"/>
                        </a:lnTo>
                        <a:lnTo>
                          <a:pt x="1157" y="242"/>
                        </a:lnTo>
                        <a:lnTo>
                          <a:pt x="1146" y="225"/>
                        </a:lnTo>
                        <a:lnTo>
                          <a:pt x="1133" y="209"/>
                        </a:lnTo>
                        <a:lnTo>
                          <a:pt x="1121" y="193"/>
                        </a:lnTo>
                        <a:lnTo>
                          <a:pt x="1107" y="177"/>
                        </a:lnTo>
                        <a:lnTo>
                          <a:pt x="1091" y="163"/>
                        </a:lnTo>
                        <a:lnTo>
                          <a:pt x="1075" y="148"/>
                        </a:lnTo>
                        <a:lnTo>
                          <a:pt x="1057" y="134"/>
                        </a:lnTo>
                        <a:lnTo>
                          <a:pt x="1038" y="121"/>
                        </a:lnTo>
                        <a:lnTo>
                          <a:pt x="1018" y="108"/>
                        </a:lnTo>
                        <a:lnTo>
                          <a:pt x="998" y="96"/>
                        </a:lnTo>
                        <a:lnTo>
                          <a:pt x="975" y="84"/>
                        </a:lnTo>
                        <a:lnTo>
                          <a:pt x="953" y="73"/>
                        </a:lnTo>
                        <a:lnTo>
                          <a:pt x="930" y="63"/>
                        </a:lnTo>
                        <a:lnTo>
                          <a:pt x="905" y="54"/>
                        </a:lnTo>
                        <a:lnTo>
                          <a:pt x="881" y="45"/>
                        </a:lnTo>
                        <a:lnTo>
                          <a:pt x="855" y="36"/>
                        </a:lnTo>
                        <a:lnTo>
                          <a:pt x="829" y="29"/>
                        </a:lnTo>
                        <a:lnTo>
                          <a:pt x="802" y="23"/>
                        </a:lnTo>
                        <a:lnTo>
                          <a:pt x="774" y="17"/>
                        </a:lnTo>
                        <a:lnTo>
                          <a:pt x="746" y="12"/>
                        </a:lnTo>
                        <a:lnTo>
                          <a:pt x="717" y="7"/>
                        </a:lnTo>
                        <a:lnTo>
                          <a:pt x="687" y="5"/>
                        </a:lnTo>
                        <a:lnTo>
                          <a:pt x="658" y="2"/>
                        </a:lnTo>
                        <a:lnTo>
                          <a:pt x="627" y="0"/>
                        </a:lnTo>
                        <a:lnTo>
                          <a:pt x="597" y="0"/>
                        </a:lnTo>
                        <a:lnTo>
                          <a:pt x="566" y="0"/>
                        </a:lnTo>
                        <a:lnTo>
                          <a:pt x="536" y="2"/>
                        </a:lnTo>
                        <a:lnTo>
                          <a:pt x="506" y="5"/>
                        </a:lnTo>
                        <a:lnTo>
                          <a:pt x="477" y="7"/>
                        </a:lnTo>
                        <a:lnTo>
                          <a:pt x="448" y="12"/>
                        </a:lnTo>
                        <a:lnTo>
                          <a:pt x="419" y="17"/>
                        </a:lnTo>
                        <a:lnTo>
                          <a:pt x="392" y="23"/>
                        </a:lnTo>
                        <a:lnTo>
                          <a:pt x="364" y="29"/>
                        </a:lnTo>
                        <a:lnTo>
                          <a:pt x="339" y="36"/>
                        </a:lnTo>
                        <a:lnTo>
                          <a:pt x="312" y="45"/>
                        </a:lnTo>
                        <a:lnTo>
                          <a:pt x="288" y="54"/>
                        </a:lnTo>
                        <a:lnTo>
                          <a:pt x="263" y="63"/>
                        </a:lnTo>
                        <a:lnTo>
                          <a:pt x="240" y="73"/>
                        </a:lnTo>
                        <a:lnTo>
                          <a:pt x="217" y="84"/>
                        </a:lnTo>
                        <a:lnTo>
                          <a:pt x="196" y="96"/>
                        </a:lnTo>
                        <a:lnTo>
                          <a:pt x="175" y="108"/>
                        </a:lnTo>
                        <a:lnTo>
                          <a:pt x="155" y="121"/>
                        </a:lnTo>
                        <a:lnTo>
                          <a:pt x="136" y="134"/>
                        </a:lnTo>
                        <a:lnTo>
                          <a:pt x="120" y="148"/>
                        </a:lnTo>
                        <a:lnTo>
                          <a:pt x="103" y="163"/>
                        </a:lnTo>
                        <a:lnTo>
                          <a:pt x="87" y="177"/>
                        </a:lnTo>
                        <a:lnTo>
                          <a:pt x="73" y="193"/>
                        </a:lnTo>
                        <a:lnTo>
                          <a:pt x="59" y="209"/>
                        </a:lnTo>
                        <a:lnTo>
                          <a:pt x="47" y="225"/>
                        </a:lnTo>
                        <a:lnTo>
                          <a:pt x="37" y="242"/>
                        </a:lnTo>
                        <a:lnTo>
                          <a:pt x="27" y="259"/>
                        </a:lnTo>
                        <a:lnTo>
                          <a:pt x="19" y="276"/>
                        </a:lnTo>
                        <a:lnTo>
                          <a:pt x="13" y="294"/>
                        </a:lnTo>
                        <a:lnTo>
                          <a:pt x="7" y="312"/>
                        </a:lnTo>
                        <a:lnTo>
                          <a:pt x="4" y="331"/>
                        </a:lnTo>
                        <a:lnTo>
                          <a:pt x="2" y="349"/>
                        </a:lnTo>
                        <a:lnTo>
                          <a:pt x="0" y="368"/>
                        </a:lnTo>
                        <a:close/>
                      </a:path>
                    </a:pathLst>
                  </a:custGeom>
                  <a:solidFill>
                    <a:srgbClr val="273669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119" name="Freeform 178"/>
                  <p:cNvSpPr>
                    <a:spLocks/>
                  </p:cNvSpPr>
                  <p:nvPr/>
                </p:nvSpPr>
                <p:spPr bwMode="auto">
                  <a:xfrm>
                    <a:off x="3487" y="4059"/>
                    <a:ext cx="84" cy="29"/>
                  </a:xfrm>
                  <a:custGeom>
                    <a:avLst/>
                    <a:gdLst>
                      <a:gd name="T0" fmla="*/ 0 w 593"/>
                      <a:gd name="T1" fmla="*/ 0 h 194"/>
                      <a:gd name="T2" fmla="*/ 0 w 593"/>
                      <a:gd name="T3" fmla="*/ 0 h 194"/>
                      <a:gd name="T4" fmla="*/ 0 w 593"/>
                      <a:gd name="T5" fmla="*/ 0 h 194"/>
                      <a:gd name="T6" fmla="*/ 0 w 593"/>
                      <a:gd name="T7" fmla="*/ 0 h 194"/>
                      <a:gd name="T8" fmla="*/ 0 w 593"/>
                      <a:gd name="T9" fmla="*/ 0 h 194"/>
                      <a:gd name="T10" fmla="*/ 0 w 593"/>
                      <a:gd name="T11" fmla="*/ 0 h 194"/>
                      <a:gd name="T12" fmla="*/ 0 w 593"/>
                      <a:gd name="T13" fmla="*/ 0 h 194"/>
                      <a:gd name="T14" fmla="*/ 0 w 593"/>
                      <a:gd name="T15" fmla="*/ 0 h 194"/>
                      <a:gd name="T16" fmla="*/ 0 w 593"/>
                      <a:gd name="T17" fmla="*/ 0 h 194"/>
                      <a:gd name="T18" fmla="*/ 0 w 593"/>
                      <a:gd name="T19" fmla="*/ 0 h 194"/>
                      <a:gd name="T20" fmla="*/ 0 w 593"/>
                      <a:gd name="T21" fmla="*/ 0 h 194"/>
                      <a:gd name="T22" fmla="*/ 0 w 593"/>
                      <a:gd name="T23" fmla="*/ 0 h 194"/>
                      <a:gd name="T24" fmla="*/ 0 w 593"/>
                      <a:gd name="T25" fmla="*/ 0 h 194"/>
                      <a:gd name="T26" fmla="*/ 0 w 593"/>
                      <a:gd name="T27" fmla="*/ 0 h 194"/>
                      <a:gd name="T28" fmla="*/ 0 w 593"/>
                      <a:gd name="T29" fmla="*/ 0 h 194"/>
                      <a:gd name="T30" fmla="*/ 0 w 593"/>
                      <a:gd name="T31" fmla="*/ 0 h 194"/>
                      <a:gd name="T32" fmla="*/ 0 w 593"/>
                      <a:gd name="T33" fmla="*/ 0 h 194"/>
                      <a:gd name="T34" fmla="*/ 0 w 593"/>
                      <a:gd name="T35" fmla="*/ 0 h 194"/>
                      <a:gd name="T36" fmla="*/ 0 w 593"/>
                      <a:gd name="T37" fmla="*/ 0 h 194"/>
                      <a:gd name="T38" fmla="*/ 0 w 593"/>
                      <a:gd name="T39" fmla="*/ 0 h 194"/>
                      <a:gd name="T40" fmla="*/ 0 w 593"/>
                      <a:gd name="T41" fmla="*/ 0 h 194"/>
                      <a:gd name="T42" fmla="*/ 0 w 593"/>
                      <a:gd name="T43" fmla="*/ 0 h 194"/>
                      <a:gd name="T44" fmla="*/ 0 w 593"/>
                      <a:gd name="T45" fmla="*/ 0 h 194"/>
                      <a:gd name="T46" fmla="*/ 0 w 593"/>
                      <a:gd name="T47" fmla="*/ 0 h 194"/>
                      <a:gd name="T48" fmla="*/ 0 w 593"/>
                      <a:gd name="T49" fmla="*/ 0 h 194"/>
                      <a:gd name="T50" fmla="*/ 0 w 593"/>
                      <a:gd name="T51" fmla="*/ 0 h 194"/>
                      <a:gd name="T52" fmla="*/ 0 w 593"/>
                      <a:gd name="T53" fmla="*/ 0 h 194"/>
                      <a:gd name="T54" fmla="*/ 0 w 593"/>
                      <a:gd name="T55" fmla="*/ 0 h 194"/>
                      <a:gd name="T56" fmla="*/ 0 w 593"/>
                      <a:gd name="T57" fmla="*/ 0 h 194"/>
                      <a:gd name="T58" fmla="*/ 0 w 593"/>
                      <a:gd name="T59" fmla="*/ 0 h 194"/>
                      <a:gd name="T60" fmla="*/ 0 w 593"/>
                      <a:gd name="T61" fmla="*/ 0 h 194"/>
                      <a:gd name="T62" fmla="*/ 0 w 593"/>
                      <a:gd name="T63" fmla="*/ 0 h 194"/>
                      <a:gd name="T64" fmla="*/ 0 w 593"/>
                      <a:gd name="T65" fmla="*/ 0 h 194"/>
                      <a:gd name="T66" fmla="*/ 0 w 593"/>
                      <a:gd name="T67" fmla="*/ 0 h 194"/>
                      <a:gd name="T68" fmla="*/ 0 w 593"/>
                      <a:gd name="T69" fmla="*/ 0 h 194"/>
                      <a:gd name="T70" fmla="*/ 0 w 593"/>
                      <a:gd name="T71" fmla="*/ 0 h 194"/>
                      <a:gd name="T72" fmla="*/ 0 w 593"/>
                      <a:gd name="T73" fmla="*/ 0 h 194"/>
                      <a:gd name="T74" fmla="*/ 0 w 593"/>
                      <a:gd name="T75" fmla="*/ 0 h 194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w 593"/>
                      <a:gd name="T115" fmla="*/ 0 h 194"/>
                      <a:gd name="T116" fmla="*/ 593 w 593"/>
                      <a:gd name="T117" fmla="*/ 194 h 194"/>
                    </a:gdLst>
                    <a:ahLst/>
                    <a:cxnLst>
                      <a:cxn ang="T76">
                        <a:pos x="T0" y="T1"/>
                      </a:cxn>
                      <a:cxn ang="T77">
                        <a:pos x="T2" y="T3"/>
                      </a:cxn>
                      <a:cxn ang="T78">
                        <a:pos x="T4" y="T5"/>
                      </a:cxn>
                      <a:cxn ang="T79">
                        <a:pos x="T6" y="T7"/>
                      </a:cxn>
                      <a:cxn ang="T80">
                        <a:pos x="T8" y="T9"/>
                      </a:cxn>
                      <a:cxn ang="T81">
                        <a:pos x="T10" y="T11"/>
                      </a:cxn>
                      <a:cxn ang="T82">
                        <a:pos x="T12" y="T13"/>
                      </a:cxn>
                      <a:cxn ang="T83">
                        <a:pos x="T14" y="T15"/>
                      </a:cxn>
                      <a:cxn ang="T84">
                        <a:pos x="T16" y="T17"/>
                      </a:cxn>
                      <a:cxn ang="T85">
                        <a:pos x="T18" y="T19"/>
                      </a:cxn>
                      <a:cxn ang="T86">
                        <a:pos x="T20" y="T21"/>
                      </a:cxn>
                      <a:cxn ang="T87">
                        <a:pos x="T22" y="T23"/>
                      </a:cxn>
                      <a:cxn ang="T88">
                        <a:pos x="T24" y="T25"/>
                      </a:cxn>
                      <a:cxn ang="T89">
                        <a:pos x="T26" y="T27"/>
                      </a:cxn>
                      <a:cxn ang="T90">
                        <a:pos x="T28" y="T29"/>
                      </a:cxn>
                      <a:cxn ang="T91">
                        <a:pos x="T30" y="T31"/>
                      </a:cxn>
                      <a:cxn ang="T92">
                        <a:pos x="T32" y="T33"/>
                      </a:cxn>
                      <a:cxn ang="T93">
                        <a:pos x="T34" y="T35"/>
                      </a:cxn>
                      <a:cxn ang="T94">
                        <a:pos x="T36" y="T37"/>
                      </a:cxn>
                      <a:cxn ang="T95">
                        <a:pos x="T38" y="T39"/>
                      </a:cxn>
                      <a:cxn ang="T96">
                        <a:pos x="T40" y="T41"/>
                      </a:cxn>
                      <a:cxn ang="T97">
                        <a:pos x="T42" y="T43"/>
                      </a:cxn>
                      <a:cxn ang="T98">
                        <a:pos x="T44" y="T45"/>
                      </a:cxn>
                      <a:cxn ang="T99">
                        <a:pos x="T46" y="T47"/>
                      </a:cxn>
                      <a:cxn ang="T100">
                        <a:pos x="T48" y="T49"/>
                      </a:cxn>
                      <a:cxn ang="T101">
                        <a:pos x="T50" y="T51"/>
                      </a:cxn>
                      <a:cxn ang="T102">
                        <a:pos x="T52" y="T53"/>
                      </a:cxn>
                      <a:cxn ang="T103">
                        <a:pos x="T54" y="T55"/>
                      </a:cxn>
                      <a:cxn ang="T104">
                        <a:pos x="T56" y="T57"/>
                      </a:cxn>
                      <a:cxn ang="T105">
                        <a:pos x="T58" y="T59"/>
                      </a:cxn>
                      <a:cxn ang="T106">
                        <a:pos x="T60" y="T61"/>
                      </a:cxn>
                      <a:cxn ang="T107">
                        <a:pos x="T62" y="T63"/>
                      </a:cxn>
                      <a:cxn ang="T108">
                        <a:pos x="T64" y="T65"/>
                      </a:cxn>
                      <a:cxn ang="T109">
                        <a:pos x="T66" y="T67"/>
                      </a:cxn>
                      <a:cxn ang="T110">
                        <a:pos x="T68" y="T69"/>
                      </a:cxn>
                      <a:cxn ang="T111">
                        <a:pos x="T70" y="T71"/>
                      </a:cxn>
                      <a:cxn ang="T112">
                        <a:pos x="T72" y="T73"/>
                      </a:cxn>
                      <a:cxn ang="T113">
                        <a:pos x="T74" y="T75"/>
                      </a:cxn>
                    </a:cxnLst>
                    <a:rect l="T114" t="T115" r="T116" b="T117"/>
                    <a:pathLst>
                      <a:path w="593" h="194">
                        <a:moveTo>
                          <a:pt x="0" y="98"/>
                        </a:moveTo>
                        <a:lnTo>
                          <a:pt x="0" y="102"/>
                        </a:lnTo>
                        <a:lnTo>
                          <a:pt x="1" y="108"/>
                        </a:lnTo>
                        <a:lnTo>
                          <a:pt x="4" y="112"/>
                        </a:lnTo>
                        <a:lnTo>
                          <a:pt x="6" y="117"/>
                        </a:lnTo>
                        <a:lnTo>
                          <a:pt x="9" y="122"/>
                        </a:lnTo>
                        <a:lnTo>
                          <a:pt x="14" y="127"/>
                        </a:lnTo>
                        <a:lnTo>
                          <a:pt x="18" y="131"/>
                        </a:lnTo>
                        <a:lnTo>
                          <a:pt x="24" y="136"/>
                        </a:lnTo>
                        <a:lnTo>
                          <a:pt x="36" y="143"/>
                        </a:lnTo>
                        <a:lnTo>
                          <a:pt x="50" y="152"/>
                        </a:lnTo>
                        <a:lnTo>
                          <a:pt x="68" y="159"/>
                        </a:lnTo>
                        <a:lnTo>
                          <a:pt x="87" y="167"/>
                        </a:lnTo>
                        <a:lnTo>
                          <a:pt x="108" y="172"/>
                        </a:lnTo>
                        <a:lnTo>
                          <a:pt x="130" y="178"/>
                        </a:lnTo>
                        <a:lnTo>
                          <a:pt x="155" y="183"/>
                        </a:lnTo>
                        <a:lnTo>
                          <a:pt x="182" y="187"/>
                        </a:lnTo>
                        <a:lnTo>
                          <a:pt x="208" y="190"/>
                        </a:lnTo>
                        <a:lnTo>
                          <a:pt x="237" y="192"/>
                        </a:lnTo>
                        <a:lnTo>
                          <a:pt x="266" y="194"/>
                        </a:lnTo>
                        <a:lnTo>
                          <a:pt x="296" y="194"/>
                        </a:lnTo>
                        <a:lnTo>
                          <a:pt x="327" y="194"/>
                        </a:lnTo>
                        <a:lnTo>
                          <a:pt x="356" y="192"/>
                        </a:lnTo>
                        <a:lnTo>
                          <a:pt x="385" y="190"/>
                        </a:lnTo>
                        <a:lnTo>
                          <a:pt x="412" y="187"/>
                        </a:lnTo>
                        <a:lnTo>
                          <a:pt x="438" y="183"/>
                        </a:lnTo>
                        <a:lnTo>
                          <a:pt x="462" y="178"/>
                        </a:lnTo>
                        <a:lnTo>
                          <a:pt x="485" y="172"/>
                        </a:lnTo>
                        <a:lnTo>
                          <a:pt x="507" y="167"/>
                        </a:lnTo>
                        <a:lnTo>
                          <a:pt x="526" y="159"/>
                        </a:lnTo>
                        <a:lnTo>
                          <a:pt x="542" y="152"/>
                        </a:lnTo>
                        <a:lnTo>
                          <a:pt x="558" y="143"/>
                        </a:lnTo>
                        <a:lnTo>
                          <a:pt x="570" y="136"/>
                        </a:lnTo>
                        <a:lnTo>
                          <a:pt x="576" y="131"/>
                        </a:lnTo>
                        <a:lnTo>
                          <a:pt x="580" y="127"/>
                        </a:lnTo>
                        <a:lnTo>
                          <a:pt x="585" y="122"/>
                        </a:lnTo>
                        <a:lnTo>
                          <a:pt x="588" y="117"/>
                        </a:lnTo>
                        <a:lnTo>
                          <a:pt x="590" y="112"/>
                        </a:lnTo>
                        <a:lnTo>
                          <a:pt x="592" y="108"/>
                        </a:lnTo>
                        <a:lnTo>
                          <a:pt x="593" y="102"/>
                        </a:lnTo>
                        <a:lnTo>
                          <a:pt x="593" y="98"/>
                        </a:lnTo>
                        <a:lnTo>
                          <a:pt x="593" y="92"/>
                        </a:lnTo>
                        <a:lnTo>
                          <a:pt x="592" y="88"/>
                        </a:lnTo>
                        <a:lnTo>
                          <a:pt x="590" y="82"/>
                        </a:lnTo>
                        <a:lnTo>
                          <a:pt x="588" y="78"/>
                        </a:lnTo>
                        <a:lnTo>
                          <a:pt x="580" y="69"/>
                        </a:lnTo>
                        <a:lnTo>
                          <a:pt x="570" y="60"/>
                        </a:lnTo>
                        <a:lnTo>
                          <a:pt x="558" y="51"/>
                        </a:lnTo>
                        <a:lnTo>
                          <a:pt x="542" y="43"/>
                        </a:lnTo>
                        <a:lnTo>
                          <a:pt x="526" y="35"/>
                        </a:lnTo>
                        <a:lnTo>
                          <a:pt x="507" y="29"/>
                        </a:lnTo>
                        <a:lnTo>
                          <a:pt x="485" y="22"/>
                        </a:lnTo>
                        <a:lnTo>
                          <a:pt x="462" y="16"/>
                        </a:lnTo>
                        <a:lnTo>
                          <a:pt x="438" y="12"/>
                        </a:lnTo>
                        <a:lnTo>
                          <a:pt x="412" y="8"/>
                        </a:lnTo>
                        <a:lnTo>
                          <a:pt x="385" y="4"/>
                        </a:lnTo>
                        <a:lnTo>
                          <a:pt x="356" y="2"/>
                        </a:lnTo>
                        <a:lnTo>
                          <a:pt x="327" y="1"/>
                        </a:lnTo>
                        <a:lnTo>
                          <a:pt x="296" y="0"/>
                        </a:lnTo>
                        <a:lnTo>
                          <a:pt x="266" y="1"/>
                        </a:lnTo>
                        <a:lnTo>
                          <a:pt x="237" y="2"/>
                        </a:lnTo>
                        <a:lnTo>
                          <a:pt x="208" y="4"/>
                        </a:lnTo>
                        <a:lnTo>
                          <a:pt x="182" y="8"/>
                        </a:lnTo>
                        <a:lnTo>
                          <a:pt x="155" y="12"/>
                        </a:lnTo>
                        <a:lnTo>
                          <a:pt x="130" y="16"/>
                        </a:lnTo>
                        <a:lnTo>
                          <a:pt x="108" y="22"/>
                        </a:lnTo>
                        <a:lnTo>
                          <a:pt x="87" y="29"/>
                        </a:lnTo>
                        <a:lnTo>
                          <a:pt x="68" y="35"/>
                        </a:lnTo>
                        <a:lnTo>
                          <a:pt x="50" y="43"/>
                        </a:lnTo>
                        <a:lnTo>
                          <a:pt x="36" y="51"/>
                        </a:lnTo>
                        <a:lnTo>
                          <a:pt x="24" y="60"/>
                        </a:lnTo>
                        <a:lnTo>
                          <a:pt x="14" y="69"/>
                        </a:lnTo>
                        <a:lnTo>
                          <a:pt x="6" y="78"/>
                        </a:lnTo>
                        <a:lnTo>
                          <a:pt x="4" y="82"/>
                        </a:lnTo>
                        <a:lnTo>
                          <a:pt x="1" y="88"/>
                        </a:lnTo>
                        <a:lnTo>
                          <a:pt x="0" y="92"/>
                        </a:lnTo>
                        <a:lnTo>
                          <a:pt x="0" y="98"/>
                        </a:lnTo>
                        <a:close/>
                      </a:path>
                    </a:pathLst>
                  </a:custGeom>
                  <a:solidFill>
                    <a:srgbClr val="2E5592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120" name="Freeform 179"/>
                  <p:cNvSpPr>
                    <a:spLocks/>
                  </p:cNvSpPr>
                  <p:nvPr/>
                </p:nvSpPr>
                <p:spPr bwMode="auto">
                  <a:xfrm>
                    <a:off x="3442" y="4078"/>
                    <a:ext cx="169" cy="86"/>
                  </a:xfrm>
                  <a:custGeom>
                    <a:avLst/>
                    <a:gdLst>
                      <a:gd name="T0" fmla="*/ 0 w 1185"/>
                      <a:gd name="T1" fmla="*/ 0 h 605"/>
                      <a:gd name="T2" fmla="*/ 0 w 1185"/>
                      <a:gd name="T3" fmla="*/ 0 h 605"/>
                      <a:gd name="T4" fmla="*/ 0 w 1185"/>
                      <a:gd name="T5" fmla="*/ 0 h 605"/>
                      <a:gd name="T6" fmla="*/ 0 w 1185"/>
                      <a:gd name="T7" fmla="*/ 0 h 605"/>
                      <a:gd name="T8" fmla="*/ 0 w 1185"/>
                      <a:gd name="T9" fmla="*/ 0 h 605"/>
                      <a:gd name="T10" fmla="*/ 0 w 1185"/>
                      <a:gd name="T11" fmla="*/ 0 h 605"/>
                      <a:gd name="T12" fmla="*/ 0 w 1185"/>
                      <a:gd name="T13" fmla="*/ 0 h 605"/>
                      <a:gd name="T14" fmla="*/ 0 w 1185"/>
                      <a:gd name="T15" fmla="*/ 0 h 605"/>
                      <a:gd name="T16" fmla="*/ 0 w 1185"/>
                      <a:gd name="T17" fmla="*/ 0 h 605"/>
                      <a:gd name="T18" fmla="*/ 0 w 1185"/>
                      <a:gd name="T19" fmla="*/ 0 h 605"/>
                      <a:gd name="T20" fmla="*/ 0 w 1185"/>
                      <a:gd name="T21" fmla="*/ 0 h 605"/>
                      <a:gd name="T22" fmla="*/ 0 w 1185"/>
                      <a:gd name="T23" fmla="*/ 0 h 605"/>
                      <a:gd name="T24" fmla="*/ 0 w 1185"/>
                      <a:gd name="T25" fmla="*/ 0 h 605"/>
                      <a:gd name="T26" fmla="*/ 0 w 1185"/>
                      <a:gd name="T27" fmla="*/ 0 h 605"/>
                      <a:gd name="T28" fmla="*/ 0 w 1185"/>
                      <a:gd name="T29" fmla="*/ 0 h 605"/>
                      <a:gd name="T30" fmla="*/ 0 w 1185"/>
                      <a:gd name="T31" fmla="*/ 0 h 605"/>
                      <a:gd name="T32" fmla="*/ 0 w 1185"/>
                      <a:gd name="T33" fmla="*/ 0 h 605"/>
                      <a:gd name="T34" fmla="*/ 0 w 1185"/>
                      <a:gd name="T35" fmla="*/ 0 h 605"/>
                      <a:gd name="T36" fmla="*/ 0 w 1185"/>
                      <a:gd name="T37" fmla="*/ 0 h 605"/>
                      <a:gd name="T38" fmla="*/ 0 w 1185"/>
                      <a:gd name="T39" fmla="*/ 0 h 605"/>
                      <a:gd name="T40" fmla="*/ 0 w 1185"/>
                      <a:gd name="T41" fmla="*/ 0 h 605"/>
                      <a:gd name="T42" fmla="*/ 0 w 1185"/>
                      <a:gd name="T43" fmla="*/ 0 h 605"/>
                      <a:gd name="T44" fmla="*/ 0 w 1185"/>
                      <a:gd name="T45" fmla="*/ 0 h 605"/>
                      <a:gd name="T46" fmla="*/ 0 w 1185"/>
                      <a:gd name="T47" fmla="*/ 0 h 605"/>
                      <a:gd name="T48" fmla="*/ 0 w 1185"/>
                      <a:gd name="T49" fmla="*/ 0 h 605"/>
                      <a:gd name="T50" fmla="*/ 0 w 1185"/>
                      <a:gd name="T51" fmla="*/ 0 h 605"/>
                      <a:gd name="T52" fmla="*/ 0 w 1185"/>
                      <a:gd name="T53" fmla="*/ 0 h 605"/>
                      <a:gd name="T54" fmla="*/ 0 w 1185"/>
                      <a:gd name="T55" fmla="*/ 0 h 605"/>
                      <a:gd name="T56" fmla="*/ 0 w 1185"/>
                      <a:gd name="T57" fmla="*/ 0 h 605"/>
                      <a:gd name="T58" fmla="*/ 0 w 1185"/>
                      <a:gd name="T59" fmla="*/ 0 h 605"/>
                      <a:gd name="T60" fmla="*/ 0 w 1185"/>
                      <a:gd name="T61" fmla="*/ 0 h 605"/>
                      <a:gd name="T62" fmla="*/ 0 w 1185"/>
                      <a:gd name="T63" fmla="*/ 0 h 605"/>
                      <a:gd name="T64" fmla="*/ 0 w 1185"/>
                      <a:gd name="T65" fmla="*/ 0 h 605"/>
                      <a:gd name="T66" fmla="*/ 0 w 1185"/>
                      <a:gd name="T67" fmla="*/ 0 h 605"/>
                      <a:gd name="T68" fmla="*/ 0 w 1185"/>
                      <a:gd name="T69" fmla="*/ 0 h 605"/>
                      <a:gd name="T70" fmla="*/ 0 w 1185"/>
                      <a:gd name="T71" fmla="*/ 0 h 605"/>
                      <a:gd name="T72" fmla="*/ 0 w 1185"/>
                      <a:gd name="T73" fmla="*/ 0 h 605"/>
                      <a:gd name="T74" fmla="*/ 0 w 1185"/>
                      <a:gd name="T75" fmla="*/ 0 h 605"/>
                      <a:gd name="T76" fmla="*/ 0 w 1185"/>
                      <a:gd name="T77" fmla="*/ 0 h 605"/>
                      <a:gd name="T78" fmla="*/ 0 w 1185"/>
                      <a:gd name="T79" fmla="*/ 0 h 605"/>
                      <a:gd name="T80" fmla="*/ 0 w 1185"/>
                      <a:gd name="T81" fmla="*/ 0 h 605"/>
                      <a:gd name="T82" fmla="*/ 0 w 1185"/>
                      <a:gd name="T83" fmla="*/ 0 h 605"/>
                      <a:gd name="T84" fmla="*/ 0 w 1185"/>
                      <a:gd name="T85" fmla="*/ 0 h 605"/>
                      <a:gd name="T86" fmla="*/ 0 w 1185"/>
                      <a:gd name="T87" fmla="*/ 0 h 605"/>
                      <a:gd name="T88" fmla="*/ 0 w 1185"/>
                      <a:gd name="T89" fmla="*/ 0 h 605"/>
                      <a:gd name="T90" fmla="*/ 0 w 1185"/>
                      <a:gd name="T91" fmla="*/ 0 h 605"/>
                      <a:gd name="T92" fmla="*/ 0 w 1185"/>
                      <a:gd name="T93" fmla="*/ 0 h 605"/>
                      <a:gd name="T94" fmla="*/ 0 w 1185"/>
                      <a:gd name="T95" fmla="*/ 0 h 605"/>
                      <a:gd name="T96" fmla="*/ 0 w 1185"/>
                      <a:gd name="T97" fmla="*/ 0 h 605"/>
                      <a:gd name="T98" fmla="*/ 0 w 1185"/>
                      <a:gd name="T99" fmla="*/ 0 h 605"/>
                      <a:gd name="T100" fmla="*/ 0 w 1185"/>
                      <a:gd name="T101" fmla="*/ 0 h 605"/>
                      <a:gd name="T102" fmla="*/ 0 w 1185"/>
                      <a:gd name="T103" fmla="*/ 0 h 605"/>
                      <a:gd name="T104" fmla="*/ 0 w 1185"/>
                      <a:gd name="T105" fmla="*/ 0 h 605"/>
                      <a:gd name="T106" fmla="*/ 0 w 1185"/>
                      <a:gd name="T107" fmla="*/ 0 h 605"/>
                      <a:gd name="T108" fmla="*/ 0 w 1185"/>
                      <a:gd name="T109" fmla="*/ 0 h 605"/>
                      <a:gd name="T110" fmla="*/ 0 w 1185"/>
                      <a:gd name="T111" fmla="*/ 0 h 605"/>
                      <a:gd name="T112" fmla="*/ 0 w 1185"/>
                      <a:gd name="T113" fmla="*/ 0 h 605"/>
                      <a:gd name="T114" fmla="*/ 0 w 1185"/>
                      <a:gd name="T115" fmla="*/ 0 h 605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w 1185"/>
                      <a:gd name="T175" fmla="*/ 0 h 605"/>
                      <a:gd name="T176" fmla="*/ 1185 w 1185"/>
                      <a:gd name="T177" fmla="*/ 605 h 605"/>
                    </a:gdLst>
                    <a:ahLst/>
                    <a:cxnLst>
                      <a:cxn ang="T116">
                        <a:pos x="T0" y="T1"/>
                      </a:cxn>
                      <a:cxn ang="T117">
                        <a:pos x="T2" y="T3"/>
                      </a:cxn>
                      <a:cxn ang="T118">
                        <a:pos x="T4" y="T5"/>
                      </a:cxn>
                      <a:cxn ang="T119">
                        <a:pos x="T6" y="T7"/>
                      </a:cxn>
                      <a:cxn ang="T120">
                        <a:pos x="T8" y="T9"/>
                      </a:cxn>
                      <a:cxn ang="T121">
                        <a:pos x="T10" y="T11"/>
                      </a:cxn>
                      <a:cxn ang="T122">
                        <a:pos x="T12" y="T13"/>
                      </a:cxn>
                      <a:cxn ang="T123">
                        <a:pos x="T14" y="T15"/>
                      </a:cxn>
                      <a:cxn ang="T124">
                        <a:pos x="T16" y="T17"/>
                      </a:cxn>
                      <a:cxn ang="T125">
                        <a:pos x="T18" y="T19"/>
                      </a:cxn>
                      <a:cxn ang="T126">
                        <a:pos x="T20" y="T21"/>
                      </a:cxn>
                      <a:cxn ang="T127">
                        <a:pos x="T22" y="T23"/>
                      </a:cxn>
                      <a:cxn ang="T128">
                        <a:pos x="T24" y="T25"/>
                      </a:cxn>
                      <a:cxn ang="T129">
                        <a:pos x="T26" y="T27"/>
                      </a:cxn>
                      <a:cxn ang="T130">
                        <a:pos x="T28" y="T29"/>
                      </a:cxn>
                      <a:cxn ang="T131">
                        <a:pos x="T30" y="T31"/>
                      </a:cxn>
                      <a:cxn ang="T132">
                        <a:pos x="T32" y="T33"/>
                      </a:cxn>
                      <a:cxn ang="T133">
                        <a:pos x="T34" y="T35"/>
                      </a:cxn>
                      <a:cxn ang="T134">
                        <a:pos x="T36" y="T37"/>
                      </a:cxn>
                      <a:cxn ang="T135">
                        <a:pos x="T38" y="T39"/>
                      </a:cxn>
                      <a:cxn ang="T136">
                        <a:pos x="T40" y="T41"/>
                      </a:cxn>
                      <a:cxn ang="T137">
                        <a:pos x="T42" y="T43"/>
                      </a:cxn>
                      <a:cxn ang="T138">
                        <a:pos x="T44" y="T45"/>
                      </a:cxn>
                      <a:cxn ang="T139">
                        <a:pos x="T46" y="T47"/>
                      </a:cxn>
                      <a:cxn ang="T140">
                        <a:pos x="T48" y="T49"/>
                      </a:cxn>
                      <a:cxn ang="T141">
                        <a:pos x="T50" y="T51"/>
                      </a:cxn>
                      <a:cxn ang="T142">
                        <a:pos x="T52" y="T53"/>
                      </a:cxn>
                      <a:cxn ang="T143">
                        <a:pos x="T54" y="T55"/>
                      </a:cxn>
                      <a:cxn ang="T144">
                        <a:pos x="T56" y="T57"/>
                      </a:cxn>
                      <a:cxn ang="T145">
                        <a:pos x="T58" y="T59"/>
                      </a:cxn>
                      <a:cxn ang="T146">
                        <a:pos x="T60" y="T61"/>
                      </a:cxn>
                      <a:cxn ang="T147">
                        <a:pos x="T62" y="T63"/>
                      </a:cxn>
                      <a:cxn ang="T148">
                        <a:pos x="T64" y="T65"/>
                      </a:cxn>
                      <a:cxn ang="T149">
                        <a:pos x="T66" y="T67"/>
                      </a:cxn>
                      <a:cxn ang="T150">
                        <a:pos x="T68" y="T69"/>
                      </a:cxn>
                      <a:cxn ang="T151">
                        <a:pos x="T70" y="T71"/>
                      </a:cxn>
                      <a:cxn ang="T152">
                        <a:pos x="T72" y="T73"/>
                      </a:cxn>
                      <a:cxn ang="T153">
                        <a:pos x="T74" y="T75"/>
                      </a:cxn>
                      <a:cxn ang="T154">
                        <a:pos x="T76" y="T77"/>
                      </a:cxn>
                      <a:cxn ang="T155">
                        <a:pos x="T78" y="T79"/>
                      </a:cxn>
                      <a:cxn ang="T156">
                        <a:pos x="T80" y="T81"/>
                      </a:cxn>
                      <a:cxn ang="T157">
                        <a:pos x="T82" y="T83"/>
                      </a:cxn>
                      <a:cxn ang="T158">
                        <a:pos x="T84" y="T85"/>
                      </a:cxn>
                      <a:cxn ang="T159">
                        <a:pos x="T86" y="T87"/>
                      </a:cxn>
                      <a:cxn ang="T160">
                        <a:pos x="T88" y="T89"/>
                      </a:cxn>
                      <a:cxn ang="T161">
                        <a:pos x="T90" y="T91"/>
                      </a:cxn>
                      <a:cxn ang="T162">
                        <a:pos x="T92" y="T93"/>
                      </a:cxn>
                      <a:cxn ang="T163">
                        <a:pos x="T94" y="T95"/>
                      </a:cxn>
                      <a:cxn ang="T164">
                        <a:pos x="T96" y="T97"/>
                      </a:cxn>
                      <a:cxn ang="T165">
                        <a:pos x="T98" y="T99"/>
                      </a:cxn>
                      <a:cxn ang="T166">
                        <a:pos x="T100" y="T101"/>
                      </a:cxn>
                      <a:cxn ang="T167">
                        <a:pos x="T102" y="T103"/>
                      </a:cxn>
                      <a:cxn ang="T168">
                        <a:pos x="T104" y="T105"/>
                      </a:cxn>
                      <a:cxn ang="T169">
                        <a:pos x="T106" y="T107"/>
                      </a:cxn>
                      <a:cxn ang="T170">
                        <a:pos x="T108" y="T109"/>
                      </a:cxn>
                      <a:cxn ang="T171">
                        <a:pos x="T110" y="T111"/>
                      </a:cxn>
                      <a:cxn ang="T172">
                        <a:pos x="T112" y="T113"/>
                      </a:cxn>
                      <a:cxn ang="T173">
                        <a:pos x="T114" y="T115"/>
                      </a:cxn>
                    </a:cxnLst>
                    <a:rect l="T174" t="T175" r="T176" b="T177"/>
                    <a:pathLst>
                      <a:path w="1185" h="605">
                        <a:moveTo>
                          <a:pt x="105" y="0"/>
                        </a:moveTo>
                        <a:lnTo>
                          <a:pt x="98" y="20"/>
                        </a:lnTo>
                        <a:lnTo>
                          <a:pt x="93" y="40"/>
                        </a:lnTo>
                        <a:lnTo>
                          <a:pt x="88" y="57"/>
                        </a:lnTo>
                        <a:lnTo>
                          <a:pt x="86" y="75"/>
                        </a:lnTo>
                        <a:lnTo>
                          <a:pt x="85" y="92"/>
                        </a:lnTo>
                        <a:lnTo>
                          <a:pt x="85" y="106"/>
                        </a:lnTo>
                        <a:lnTo>
                          <a:pt x="87" y="121"/>
                        </a:lnTo>
                        <a:lnTo>
                          <a:pt x="89" y="134"/>
                        </a:lnTo>
                        <a:lnTo>
                          <a:pt x="94" y="148"/>
                        </a:lnTo>
                        <a:lnTo>
                          <a:pt x="100" y="159"/>
                        </a:lnTo>
                        <a:lnTo>
                          <a:pt x="106" y="170"/>
                        </a:lnTo>
                        <a:lnTo>
                          <a:pt x="113" y="181"/>
                        </a:lnTo>
                        <a:lnTo>
                          <a:pt x="122" y="191"/>
                        </a:lnTo>
                        <a:lnTo>
                          <a:pt x="131" y="200"/>
                        </a:lnTo>
                        <a:lnTo>
                          <a:pt x="141" y="209"/>
                        </a:lnTo>
                        <a:lnTo>
                          <a:pt x="152" y="217"/>
                        </a:lnTo>
                        <a:lnTo>
                          <a:pt x="164" y="224"/>
                        </a:lnTo>
                        <a:lnTo>
                          <a:pt x="176" y="231"/>
                        </a:lnTo>
                        <a:lnTo>
                          <a:pt x="190" y="239"/>
                        </a:lnTo>
                        <a:lnTo>
                          <a:pt x="203" y="246"/>
                        </a:lnTo>
                        <a:lnTo>
                          <a:pt x="232" y="258"/>
                        </a:lnTo>
                        <a:lnTo>
                          <a:pt x="263" y="269"/>
                        </a:lnTo>
                        <a:lnTo>
                          <a:pt x="328" y="292"/>
                        </a:lnTo>
                        <a:lnTo>
                          <a:pt x="394" y="316"/>
                        </a:lnTo>
                        <a:lnTo>
                          <a:pt x="414" y="323"/>
                        </a:lnTo>
                        <a:lnTo>
                          <a:pt x="436" y="330"/>
                        </a:lnTo>
                        <a:lnTo>
                          <a:pt x="457" y="337"/>
                        </a:lnTo>
                        <a:lnTo>
                          <a:pt x="479" y="342"/>
                        </a:lnTo>
                        <a:lnTo>
                          <a:pt x="526" y="353"/>
                        </a:lnTo>
                        <a:lnTo>
                          <a:pt x="576" y="362"/>
                        </a:lnTo>
                        <a:lnTo>
                          <a:pt x="627" y="369"/>
                        </a:lnTo>
                        <a:lnTo>
                          <a:pt x="679" y="375"/>
                        </a:lnTo>
                        <a:lnTo>
                          <a:pt x="734" y="379"/>
                        </a:lnTo>
                        <a:lnTo>
                          <a:pt x="787" y="381"/>
                        </a:lnTo>
                        <a:lnTo>
                          <a:pt x="842" y="382"/>
                        </a:lnTo>
                        <a:lnTo>
                          <a:pt x="896" y="382"/>
                        </a:lnTo>
                        <a:lnTo>
                          <a:pt x="949" y="381"/>
                        </a:lnTo>
                        <a:lnTo>
                          <a:pt x="1001" y="379"/>
                        </a:lnTo>
                        <a:lnTo>
                          <a:pt x="1051" y="376"/>
                        </a:lnTo>
                        <a:lnTo>
                          <a:pt x="1098" y="370"/>
                        </a:lnTo>
                        <a:lnTo>
                          <a:pt x="1142" y="366"/>
                        </a:lnTo>
                        <a:lnTo>
                          <a:pt x="1185" y="359"/>
                        </a:lnTo>
                        <a:lnTo>
                          <a:pt x="1181" y="372"/>
                        </a:lnTo>
                        <a:lnTo>
                          <a:pt x="1178" y="386"/>
                        </a:lnTo>
                        <a:lnTo>
                          <a:pt x="1175" y="398"/>
                        </a:lnTo>
                        <a:lnTo>
                          <a:pt x="1169" y="410"/>
                        </a:lnTo>
                        <a:lnTo>
                          <a:pt x="1165" y="422"/>
                        </a:lnTo>
                        <a:lnTo>
                          <a:pt x="1158" y="435"/>
                        </a:lnTo>
                        <a:lnTo>
                          <a:pt x="1151" y="447"/>
                        </a:lnTo>
                        <a:lnTo>
                          <a:pt x="1145" y="458"/>
                        </a:lnTo>
                        <a:lnTo>
                          <a:pt x="1136" y="469"/>
                        </a:lnTo>
                        <a:lnTo>
                          <a:pt x="1127" y="479"/>
                        </a:lnTo>
                        <a:lnTo>
                          <a:pt x="1116" y="490"/>
                        </a:lnTo>
                        <a:lnTo>
                          <a:pt x="1105" y="500"/>
                        </a:lnTo>
                        <a:lnTo>
                          <a:pt x="1092" y="509"/>
                        </a:lnTo>
                        <a:lnTo>
                          <a:pt x="1079" y="518"/>
                        </a:lnTo>
                        <a:lnTo>
                          <a:pt x="1064" y="527"/>
                        </a:lnTo>
                        <a:lnTo>
                          <a:pt x="1049" y="536"/>
                        </a:lnTo>
                        <a:lnTo>
                          <a:pt x="1031" y="544"/>
                        </a:lnTo>
                        <a:lnTo>
                          <a:pt x="1013" y="552"/>
                        </a:lnTo>
                        <a:lnTo>
                          <a:pt x="993" y="558"/>
                        </a:lnTo>
                        <a:lnTo>
                          <a:pt x="972" y="565"/>
                        </a:lnTo>
                        <a:lnTo>
                          <a:pt x="950" y="572"/>
                        </a:lnTo>
                        <a:lnTo>
                          <a:pt x="926" y="577"/>
                        </a:lnTo>
                        <a:lnTo>
                          <a:pt x="901" y="583"/>
                        </a:lnTo>
                        <a:lnTo>
                          <a:pt x="874" y="587"/>
                        </a:lnTo>
                        <a:lnTo>
                          <a:pt x="845" y="592"/>
                        </a:lnTo>
                        <a:lnTo>
                          <a:pt x="815" y="595"/>
                        </a:lnTo>
                        <a:lnTo>
                          <a:pt x="783" y="598"/>
                        </a:lnTo>
                        <a:lnTo>
                          <a:pt x="750" y="601"/>
                        </a:lnTo>
                        <a:lnTo>
                          <a:pt x="714" y="603"/>
                        </a:lnTo>
                        <a:lnTo>
                          <a:pt x="677" y="604"/>
                        </a:lnTo>
                        <a:lnTo>
                          <a:pt x="638" y="605"/>
                        </a:lnTo>
                        <a:lnTo>
                          <a:pt x="597" y="605"/>
                        </a:lnTo>
                        <a:lnTo>
                          <a:pt x="550" y="605"/>
                        </a:lnTo>
                        <a:lnTo>
                          <a:pt x="506" y="603"/>
                        </a:lnTo>
                        <a:lnTo>
                          <a:pt x="463" y="601"/>
                        </a:lnTo>
                        <a:lnTo>
                          <a:pt x="425" y="597"/>
                        </a:lnTo>
                        <a:lnTo>
                          <a:pt x="387" y="594"/>
                        </a:lnTo>
                        <a:lnTo>
                          <a:pt x="352" y="588"/>
                        </a:lnTo>
                        <a:lnTo>
                          <a:pt x="319" y="583"/>
                        </a:lnTo>
                        <a:lnTo>
                          <a:pt x="288" y="576"/>
                        </a:lnTo>
                        <a:lnTo>
                          <a:pt x="259" y="569"/>
                        </a:lnTo>
                        <a:lnTo>
                          <a:pt x="232" y="560"/>
                        </a:lnTo>
                        <a:lnTo>
                          <a:pt x="206" y="552"/>
                        </a:lnTo>
                        <a:lnTo>
                          <a:pt x="184" y="543"/>
                        </a:lnTo>
                        <a:lnTo>
                          <a:pt x="162" y="533"/>
                        </a:lnTo>
                        <a:lnTo>
                          <a:pt x="142" y="522"/>
                        </a:lnTo>
                        <a:lnTo>
                          <a:pt x="124" y="509"/>
                        </a:lnTo>
                        <a:lnTo>
                          <a:pt x="107" y="497"/>
                        </a:lnTo>
                        <a:lnTo>
                          <a:pt x="92" y="485"/>
                        </a:lnTo>
                        <a:lnTo>
                          <a:pt x="78" y="471"/>
                        </a:lnTo>
                        <a:lnTo>
                          <a:pt x="66" y="457"/>
                        </a:lnTo>
                        <a:lnTo>
                          <a:pt x="55" y="443"/>
                        </a:lnTo>
                        <a:lnTo>
                          <a:pt x="45" y="428"/>
                        </a:lnTo>
                        <a:lnTo>
                          <a:pt x="36" y="412"/>
                        </a:lnTo>
                        <a:lnTo>
                          <a:pt x="28" y="397"/>
                        </a:lnTo>
                        <a:lnTo>
                          <a:pt x="22" y="380"/>
                        </a:lnTo>
                        <a:lnTo>
                          <a:pt x="16" y="364"/>
                        </a:lnTo>
                        <a:lnTo>
                          <a:pt x="12" y="347"/>
                        </a:lnTo>
                        <a:lnTo>
                          <a:pt x="8" y="329"/>
                        </a:lnTo>
                        <a:lnTo>
                          <a:pt x="5" y="311"/>
                        </a:lnTo>
                        <a:lnTo>
                          <a:pt x="3" y="293"/>
                        </a:lnTo>
                        <a:lnTo>
                          <a:pt x="2" y="274"/>
                        </a:lnTo>
                        <a:lnTo>
                          <a:pt x="0" y="256"/>
                        </a:lnTo>
                        <a:lnTo>
                          <a:pt x="0" y="237"/>
                        </a:lnTo>
                        <a:lnTo>
                          <a:pt x="2" y="226"/>
                        </a:lnTo>
                        <a:lnTo>
                          <a:pt x="4" y="212"/>
                        </a:lnTo>
                        <a:lnTo>
                          <a:pt x="7" y="198"/>
                        </a:lnTo>
                        <a:lnTo>
                          <a:pt x="12" y="182"/>
                        </a:lnTo>
                        <a:lnTo>
                          <a:pt x="24" y="150"/>
                        </a:lnTo>
                        <a:lnTo>
                          <a:pt x="38" y="115"/>
                        </a:lnTo>
                        <a:lnTo>
                          <a:pt x="55" y="81"/>
                        </a:lnTo>
                        <a:lnTo>
                          <a:pt x="73" y="49"/>
                        </a:lnTo>
                        <a:lnTo>
                          <a:pt x="89" y="21"/>
                        </a:lnTo>
                        <a:lnTo>
                          <a:pt x="105" y="0"/>
                        </a:lnTo>
                        <a:close/>
                      </a:path>
                    </a:pathLst>
                  </a:custGeom>
                  <a:solidFill>
                    <a:srgbClr val="242B53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121" name="Freeform 180"/>
                  <p:cNvSpPr>
                    <a:spLocks/>
                  </p:cNvSpPr>
                  <p:nvPr/>
                </p:nvSpPr>
                <p:spPr bwMode="auto">
                  <a:xfrm>
                    <a:off x="3443" y="4127"/>
                    <a:ext cx="168" cy="38"/>
                  </a:xfrm>
                  <a:custGeom>
                    <a:avLst/>
                    <a:gdLst>
                      <a:gd name="T0" fmla="*/ 0 w 1174"/>
                      <a:gd name="T1" fmla="*/ 0 h 264"/>
                      <a:gd name="T2" fmla="*/ 0 w 1174"/>
                      <a:gd name="T3" fmla="*/ 0 h 264"/>
                      <a:gd name="T4" fmla="*/ 0 w 1174"/>
                      <a:gd name="T5" fmla="*/ 0 h 264"/>
                      <a:gd name="T6" fmla="*/ 0 w 1174"/>
                      <a:gd name="T7" fmla="*/ 0 h 264"/>
                      <a:gd name="T8" fmla="*/ 0 w 1174"/>
                      <a:gd name="T9" fmla="*/ 0 h 264"/>
                      <a:gd name="T10" fmla="*/ 0 w 1174"/>
                      <a:gd name="T11" fmla="*/ 0 h 264"/>
                      <a:gd name="T12" fmla="*/ 0 w 1174"/>
                      <a:gd name="T13" fmla="*/ 0 h 264"/>
                      <a:gd name="T14" fmla="*/ 0 w 1174"/>
                      <a:gd name="T15" fmla="*/ 0 h 264"/>
                      <a:gd name="T16" fmla="*/ 0 w 1174"/>
                      <a:gd name="T17" fmla="*/ 0 h 264"/>
                      <a:gd name="T18" fmla="*/ 0 w 1174"/>
                      <a:gd name="T19" fmla="*/ 0 h 264"/>
                      <a:gd name="T20" fmla="*/ 0 w 1174"/>
                      <a:gd name="T21" fmla="*/ 0 h 264"/>
                      <a:gd name="T22" fmla="*/ 0 w 1174"/>
                      <a:gd name="T23" fmla="*/ 0 h 264"/>
                      <a:gd name="T24" fmla="*/ 0 w 1174"/>
                      <a:gd name="T25" fmla="*/ 0 h 264"/>
                      <a:gd name="T26" fmla="*/ 0 w 1174"/>
                      <a:gd name="T27" fmla="*/ 0 h 264"/>
                      <a:gd name="T28" fmla="*/ 0 w 1174"/>
                      <a:gd name="T29" fmla="*/ 0 h 264"/>
                      <a:gd name="T30" fmla="*/ 0 w 1174"/>
                      <a:gd name="T31" fmla="*/ 0 h 264"/>
                      <a:gd name="T32" fmla="*/ 0 w 1174"/>
                      <a:gd name="T33" fmla="*/ 0 h 264"/>
                      <a:gd name="T34" fmla="*/ 0 w 1174"/>
                      <a:gd name="T35" fmla="*/ 0 h 264"/>
                      <a:gd name="T36" fmla="*/ 0 w 1174"/>
                      <a:gd name="T37" fmla="*/ 0 h 264"/>
                      <a:gd name="T38" fmla="*/ 0 w 1174"/>
                      <a:gd name="T39" fmla="*/ 0 h 264"/>
                      <a:gd name="T40" fmla="*/ 0 w 1174"/>
                      <a:gd name="T41" fmla="*/ 0 h 264"/>
                      <a:gd name="T42" fmla="*/ 0 w 1174"/>
                      <a:gd name="T43" fmla="*/ 0 h 264"/>
                      <a:gd name="T44" fmla="*/ 0 w 1174"/>
                      <a:gd name="T45" fmla="*/ 0 h 264"/>
                      <a:gd name="T46" fmla="*/ 0 w 1174"/>
                      <a:gd name="T47" fmla="*/ 0 h 264"/>
                      <a:gd name="T48" fmla="*/ 0 w 1174"/>
                      <a:gd name="T49" fmla="*/ 0 h 264"/>
                      <a:gd name="T50" fmla="*/ 0 w 1174"/>
                      <a:gd name="T51" fmla="*/ 0 h 264"/>
                      <a:gd name="T52" fmla="*/ 0 w 1174"/>
                      <a:gd name="T53" fmla="*/ 0 h 264"/>
                      <a:gd name="T54" fmla="*/ 0 w 1174"/>
                      <a:gd name="T55" fmla="*/ 0 h 264"/>
                      <a:gd name="T56" fmla="*/ 0 w 1174"/>
                      <a:gd name="T57" fmla="*/ 0 h 264"/>
                      <a:gd name="T58" fmla="*/ 0 w 1174"/>
                      <a:gd name="T59" fmla="*/ 0 h 264"/>
                      <a:gd name="T60" fmla="*/ 0 w 1174"/>
                      <a:gd name="T61" fmla="*/ 0 h 264"/>
                      <a:gd name="T62" fmla="*/ 0 w 1174"/>
                      <a:gd name="T63" fmla="*/ 0 h 264"/>
                      <a:gd name="T64" fmla="*/ 0 w 1174"/>
                      <a:gd name="T65" fmla="*/ 0 h 264"/>
                      <a:gd name="T66" fmla="*/ 0 w 1174"/>
                      <a:gd name="T67" fmla="*/ 0 h 264"/>
                      <a:gd name="T68" fmla="*/ 0 w 1174"/>
                      <a:gd name="T69" fmla="*/ 0 h 264"/>
                      <a:gd name="T70" fmla="*/ 0 w 1174"/>
                      <a:gd name="T71" fmla="*/ 0 h 264"/>
                      <a:gd name="T72" fmla="*/ 0 w 1174"/>
                      <a:gd name="T73" fmla="*/ 0 h 264"/>
                      <a:gd name="T74" fmla="*/ 0 w 1174"/>
                      <a:gd name="T75" fmla="*/ 0 h 264"/>
                      <a:gd name="T76" fmla="*/ 0 w 1174"/>
                      <a:gd name="T77" fmla="*/ 0 h 264"/>
                      <a:gd name="T78" fmla="*/ 0 w 1174"/>
                      <a:gd name="T79" fmla="*/ 0 h 264"/>
                      <a:gd name="T80" fmla="*/ 0 w 1174"/>
                      <a:gd name="T81" fmla="*/ 0 h 264"/>
                      <a:gd name="T82" fmla="*/ 0 w 1174"/>
                      <a:gd name="T83" fmla="*/ 0 h 264"/>
                      <a:gd name="T84" fmla="*/ 0 w 1174"/>
                      <a:gd name="T85" fmla="*/ 0 h 264"/>
                      <a:gd name="T86" fmla="*/ 0 w 1174"/>
                      <a:gd name="T87" fmla="*/ 0 h 264"/>
                      <a:gd name="T88" fmla="*/ 0 w 1174"/>
                      <a:gd name="T89" fmla="*/ 0 h 264"/>
                      <a:gd name="T90" fmla="*/ 0 w 1174"/>
                      <a:gd name="T91" fmla="*/ 0 h 264"/>
                      <a:gd name="T92" fmla="*/ 0 w 1174"/>
                      <a:gd name="T93" fmla="*/ 0 h 264"/>
                      <a:gd name="T94" fmla="*/ 0 w 1174"/>
                      <a:gd name="T95" fmla="*/ 0 h 264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w 1174"/>
                      <a:gd name="T145" fmla="*/ 0 h 264"/>
                      <a:gd name="T146" fmla="*/ 1174 w 1174"/>
                      <a:gd name="T147" fmla="*/ 264 h 264"/>
                    </a:gdLst>
                    <a:ahLst/>
                    <a:cxnLst>
                      <a:cxn ang="T96">
                        <a:pos x="T0" y="T1"/>
                      </a:cxn>
                      <a:cxn ang="T97">
                        <a:pos x="T2" y="T3"/>
                      </a:cxn>
                      <a:cxn ang="T98">
                        <a:pos x="T4" y="T5"/>
                      </a:cxn>
                      <a:cxn ang="T99">
                        <a:pos x="T6" y="T7"/>
                      </a:cxn>
                      <a:cxn ang="T100">
                        <a:pos x="T8" y="T9"/>
                      </a:cxn>
                      <a:cxn ang="T101">
                        <a:pos x="T10" y="T11"/>
                      </a:cxn>
                      <a:cxn ang="T102">
                        <a:pos x="T12" y="T13"/>
                      </a:cxn>
                      <a:cxn ang="T103">
                        <a:pos x="T14" y="T15"/>
                      </a:cxn>
                      <a:cxn ang="T104">
                        <a:pos x="T16" y="T17"/>
                      </a:cxn>
                      <a:cxn ang="T105">
                        <a:pos x="T18" y="T19"/>
                      </a:cxn>
                      <a:cxn ang="T106">
                        <a:pos x="T20" y="T21"/>
                      </a:cxn>
                      <a:cxn ang="T107">
                        <a:pos x="T22" y="T23"/>
                      </a:cxn>
                      <a:cxn ang="T108">
                        <a:pos x="T24" y="T25"/>
                      </a:cxn>
                      <a:cxn ang="T109">
                        <a:pos x="T26" y="T27"/>
                      </a:cxn>
                      <a:cxn ang="T110">
                        <a:pos x="T28" y="T29"/>
                      </a:cxn>
                      <a:cxn ang="T111">
                        <a:pos x="T30" y="T31"/>
                      </a:cxn>
                      <a:cxn ang="T112">
                        <a:pos x="T32" y="T33"/>
                      </a:cxn>
                      <a:cxn ang="T113">
                        <a:pos x="T34" y="T35"/>
                      </a:cxn>
                      <a:cxn ang="T114">
                        <a:pos x="T36" y="T37"/>
                      </a:cxn>
                      <a:cxn ang="T115">
                        <a:pos x="T38" y="T39"/>
                      </a:cxn>
                      <a:cxn ang="T116">
                        <a:pos x="T40" y="T41"/>
                      </a:cxn>
                      <a:cxn ang="T117">
                        <a:pos x="T42" y="T43"/>
                      </a:cxn>
                      <a:cxn ang="T118">
                        <a:pos x="T44" y="T45"/>
                      </a:cxn>
                      <a:cxn ang="T119">
                        <a:pos x="T46" y="T47"/>
                      </a:cxn>
                      <a:cxn ang="T120">
                        <a:pos x="T48" y="T49"/>
                      </a:cxn>
                      <a:cxn ang="T121">
                        <a:pos x="T50" y="T51"/>
                      </a:cxn>
                      <a:cxn ang="T122">
                        <a:pos x="T52" y="T53"/>
                      </a:cxn>
                      <a:cxn ang="T123">
                        <a:pos x="T54" y="T55"/>
                      </a:cxn>
                      <a:cxn ang="T124">
                        <a:pos x="T56" y="T57"/>
                      </a:cxn>
                      <a:cxn ang="T125">
                        <a:pos x="T58" y="T59"/>
                      </a:cxn>
                      <a:cxn ang="T126">
                        <a:pos x="T60" y="T61"/>
                      </a:cxn>
                      <a:cxn ang="T127">
                        <a:pos x="T62" y="T63"/>
                      </a:cxn>
                      <a:cxn ang="T128">
                        <a:pos x="T64" y="T65"/>
                      </a:cxn>
                      <a:cxn ang="T129">
                        <a:pos x="T66" y="T67"/>
                      </a:cxn>
                      <a:cxn ang="T130">
                        <a:pos x="T68" y="T69"/>
                      </a:cxn>
                      <a:cxn ang="T131">
                        <a:pos x="T70" y="T71"/>
                      </a:cxn>
                      <a:cxn ang="T132">
                        <a:pos x="T72" y="T73"/>
                      </a:cxn>
                      <a:cxn ang="T133">
                        <a:pos x="T74" y="T75"/>
                      </a:cxn>
                      <a:cxn ang="T134">
                        <a:pos x="T76" y="T77"/>
                      </a:cxn>
                      <a:cxn ang="T135">
                        <a:pos x="T78" y="T79"/>
                      </a:cxn>
                      <a:cxn ang="T136">
                        <a:pos x="T80" y="T81"/>
                      </a:cxn>
                      <a:cxn ang="T137">
                        <a:pos x="T82" y="T83"/>
                      </a:cxn>
                      <a:cxn ang="T138">
                        <a:pos x="T84" y="T85"/>
                      </a:cxn>
                      <a:cxn ang="T139">
                        <a:pos x="T86" y="T87"/>
                      </a:cxn>
                      <a:cxn ang="T140">
                        <a:pos x="T88" y="T89"/>
                      </a:cxn>
                      <a:cxn ang="T141">
                        <a:pos x="T90" y="T91"/>
                      </a:cxn>
                      <a:cxn ang="T142">
                        <a:pos x="T92" y="T93"/>
                      </a:cxn>
                      <a:cxn ang="T143">
                        <a:pos x="T94" y="T95"/>
                      </a:cxn>
                    </a:cxnLst>
                    <a:rect l="T144" t="T145" r="T146" b="T147"/>
                    <a:pathLst>
                      <a:path w="1174" h="264">
                        <a:moveTo>
                          <a:pt x="587" y="142"/>
                        </a:moveTo>
                        <a:lnTo>
                          <a:pt x="648" y="142"/>
                        </a:lnTo>
                        <a:lnTo>
                          <a:pt x="706" y="139"/>
                        </a:lnTo>
                        <a:lnTo>
                          <a:pt x="760" y="137"/>
                        </a:lnTo>
                        <a:lnTo>
                          <a:pt x="811" y="133"/>
                        </a:lnTo>
                        <a:lnTo>
                          <a:pt x="857" y="128"/>
                        </a:lnTo>
                        <a:lnTo>
                          <a:pt x="900" y="123"/>
                        </a:lnTo>
                        <a:lnTo>
                          <a:pt x="940" y="116"/>
                        </a:lnTo>
                        <a:lnTo>
                          <a:pt x="978" y="108"/>
                        </a:lnTo>
                        <a:lnTo>
                          <a:pt x="1011" y="100"/>
                        </a:lnTo>
                        <a:lnTo>
                          <a:pt x="1042" y="90"/>
                        </a:lnTo>
                        <a:lnTo>
                          <a:pt x="1070" y="80"/>
                        </a:lnTo>
                        <a:lnTo>
                          <a:pt x="1096" y="70"/>
                        </a:lnTo>
                        <a:lnTo>
                          <a:pt x="1119" y="58"/>
                        </a:lnTo>
                        <a:lnTo>
                          <a:pt x="1139" y="46"/>
                        </a:lnTo>
                        <a:lnTo>
                          <a:pt x="1158" y="33"/>
                        </a:lnTo>
                        <a:lnTo>
                          <a:pt x="1174" y="19"/>
                        </a:lnTo>
                        <a:lnTo>
                          <a:pt x="1171" y="33"/>
                        </a:lnTo>
                        <a:lnTo>
                          <a:pt x="1168" y="46"/>
                        </a:lnTo>
                        <a:lnTo>
                          <a:pt x="1164" y="58"/>
                        </a:lnTo>
                        <a:lnTo>
                          <a:pt x="1159" y="70"/>
                        </a:lnTo>
                        <a:lnTo>
                          <a:pt x="1154" y="83"/>
                        </a:lnTo>
                        <a:lnTo>
                          <a:pt x="1148" y="95"/>
                        </a:lnTo>
                        <a:lnTo>
                          <a:pt x="1141" y="106"/>
                        </a:lnTo>
                        <a:lnTo>
                          <a:pt x="1134" y="117"/>
                        </a:lnTo>
                        <a:lnTo>
                          <a:pt x="1125" y="128"/>
                        </a:lnTo>
                        <a:lnTo>
                          <a:pt x="1116" y="139"/>
                        </a:lnTo>
                        <a:lnTo>
                          <a:pt x="1106" y="149"/>
                        </a:lnTo>
                        <a:lnTo>
                          <a:pt x="1095" y="159"/>
                        </a:lnTo>
                        <a:lnTo>
                          <a:pt x="1081" y="169"/>
                        </a:lnTo>
                        <a:lnTo>
                          <a:pt x="1068" y="178"/>
                        </a:lnTo>
                        <a:lnTo>
                          <a:pt x="1053" y="187"/>
                        </a:lnTo>
                        <a:lnTo>
                          <a:pt x="1038" y="195"/>
                        </a:lnTo>
                        <a:lnTo>
                          <a:pt x="1021" y="203"/>
                        </a:lnTo>
                        <a:lnTo>
                          <a:pt x="1002" y="211"/>
                        </a:lnTo>
                        <a:lnTo>
                          <a:pt x="983" y="218"/>
                        </a:lnTo>
                        <a:lnTo>
                          <a:pt x="962" y="224"/>
                        </a:lnTo>
                        <a:lnTo>
                          <a:pt x="940" y="231"/>
                        </a:lnTo>
                        <a:lnTo>
                          <a:pt x="915" y="236"/>
                        </a:lnTo>
                        <a:lnTo>
                          <a:pt x="890" y="242"/>
                        </a:lnTo>
                        <a:lnTo>
                          <a:pt x="863" y="246"/>
                        </a:lnTo>
                        <a:lnTo>
                          <a:pt x="835" y="251"/>
                        </a:lnTo>
                        <a:lnTo>
                          <a:pt x="805" y="254"/>
                        </a:lnTo>
                        <a:lnTo>
                          <a:pt x="773" y="257"/>
                        </a:lnTo>
                        <a:lnTo>
                          <a:pt x="740" y="260"/>
                        </a:lnTo>
                        <a:lnTo>
                          <a:pt x="704" y="262"/>
                        </a:lnTo>
                        <a:lnTo>
                          <a:pt x="667" y="263"/>
                        </a:lnTo>
                        <a:lnTo>
                          <a:pt x="628" y="264"/>
                        </a:lnTo>
                        <a:lnTo>
                          <a:pt x="587" y="264"/>
                        </a:lnTo>
                        <a:lnTo>
                          <a:pt x="548" y="264"/>
                        </a:lnTo>
                        <a:lnTo>
                          <a:pt x="511" y="263"/>
                        </a:lnTo>
                        <a:lnTo>
                          <a:pt x="476" y="262"/>
                        </a:lnTo>
                        <a:lnTo>
                          <a:pt x="442" y="260"/>
                        </a:lnTo>
                        <a:lnTo>
                          <a:pt x="410" y="256"/>
                        </a:lnTo>
                        <a:lnTo>
                          <a:pt x="380" y="253"/>
                        </a:lnTo>
                        <a:lnTo>
                          <a:pt x="350" y="250"/>
                        </a:lnTo>
                        <a:lnTo>
                          <a:pt x="323" y="245"/>
                        </a:lnTo>
                        <a:lnTo>
                          <a:pt x="297" y="240"/>
                        </a:lnTo>
                        <a:lnTo>
                          <a:pt x="271" y="234"/>
                        </a:lnTo>
                        <a:lnTo>
                          <a:pt x="248" y="227"/>
                        </a:lnTo>
                        <a:lnTo>
                          <a:pt x="225" y="221"/>
                        </a:lnTo>
                        <a:lnTo>
                          <a:pt x="204" y="214"/>
                        </a:lnTo>
                        <a:lnTo>
                          <a:pt x="185" y="206"/>
                        </a:lnTo>
                        <a:lnTo>
                          <a:pt x="166" y="198"/>
                        </a:lnTo>
                        <a:lnTo>
                          <a:pt x="149" y="189"/>
                        </a:lnTo>
                        <a:lnTo>
                          <a:pt x="133" y="181"/>
                        </a:lnTo>
                        <a:lnTo>
                          <a:pt x="117" y="172"/>
                        </a:lnTo>
                        <a:lnTo>
                          <a:pt x="103" y="162"/>
                        </a:lnTo>
                        <a:lnTo>
                          <a:pt x="91" y="150"/>
                        </a:lnTo>
                        <a:lnTo>
                          <a:pt x="78" y="140"/>
                        </a:lnTo>
                        <a:lnTo>
                          <a:pt x="67" y="129"/>
                        </a:lnTo>
                        <a:lnTo>
                          <a:pt x="57" y="118"/>
                        </a:lnTo>
                        <a:lnTo>
                          <a:pt x="47" y="106"/>
                        </a:lnTo>
                        <a:lnTo>
                          <a:pt x="39" y="94"/>
                        </a:lnTo>
                        <a:lnTo>
                          <a:pt x="32" y="81"/>
                        </a:lnTo>
                        <a:lnTo>
                          <a:pt x="25" y="68"/>
                        </a:lnTo>
                        <a:lnTo>
                          <a:pt x="18" y="56"/>
                        </a:lnTo>
                        <a:lnTo>
                          <a:pt x="13" y="43"/>
                        </a:lnTo>
                        <a:lnTo>
                          <a:pt x="8" y="28"/>
                        </a:lnTo>
                        <a:lnTo>
                          <a:pt x="4" y="15"/>
                        </a:lnTo>
                        <a:lnTo>
                          <a:pt x="0" y="0"/>
                        </a:lnTo>
                        <a:lnTo>
                          <a:pt x="18" y="16"/>
                        </a:lnTo>
                        <a:lnTo>
                          <a:pt x="37" y="31"/>
                        </a:lnTo>
                        <a:lnTo>
                          <a:pt x="58" y="45"/>
                        </a:lnTo>
                        <a:lnTo>
                          <a:pt x="82" y="58"/>
                        </a:lnTo>
                        <a:lnTo>
                          <a:pt x="107" y="71"/>
                        </a:lnTo>
                        <a:lnTo>
                          <a:pt x="136" y="83"/>
                        </a:lnTo>
                        <a:lnTo>
                          <a:pt x="167" y="94"/>
                        </a:lnTo>
                        <a:lnTo>
                          <a:pt x="202" y="103"/>
                        </a:lnTo>
                        <a:lnTo>
                          <a:pt x="239" y="112"/>
                        </a:lnTo>
                        <a:lnTo>
                          <a:pt x="279" y="119"/>
                        </a:lnTo>
                        <a:lnTo>
                          <a:pt x="322" y="126"/>
                        </a:lnTo>
                        <a:lnTo>
                          <a:pt x="368" y="132"/>
                        </a:lnTo>
                        <a:lnTo>
                          <a:pt x="418" y="136"/>
                        </a:lnTo>
                        <a:lnTo>
                          <a:pt x="470" y="139"/>
                        </a:lnTo>
                        <a:lnTo>
                          <a:pt x="527" y="140"/>
                        </a:lnTo>
                        <a:lnTo>
                          <a:pt x="587" y="142"/>
                        </a:lnTo>
                        <a:close/>
                      </a:path>
                    </a:pathLst>
                  </a:custGeom>
                  <a:solidFill>
                    <a:srgbClr val="1F1A17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122" name="Freeform 181"/>
                  <p:cNvSpPr>
                    <a:spLocks/>
                  </p:cNvSpPr>
                  <p:nvPr/>
                </p:nvSpPr>
                <p:spPr bwMode="auto">
                  <a:xfrm>
                    <a:off x="3160" y="3573"/>
                    <a:ext cx="570" cy="481"/>
                  </a:xfrm>
                  <a:custGeom>
                    <a:avLst/>
                    <a:gdLst>
                      <a:gd name="T0" fmla="*/ 0 w 3992"/>
                      <a:gd name="T1" fmla="*/ 0 h 3371"/>
                      <a:gd name="T2" fmla="*/ 0 w 3992"/>
                      <a:gd name="T3" fmla="*/ 0 h 3371"/>
                      <a:gd name="T4" fmla="*/ 0 w 3992"/>
                      <a:gd name="T5" fmla="*/ 0 h 3371"/>
                      <a:gd name="T6" fmla="*/ 0 w 3992"/>
                      <a:gd name="T7" fmla="*/ 0 h 3371"/>
                      <a:gd name="T8" fmla="*/ 0 w 3992"/>
                      <a:gd name="T9" fmla="*/ 0 h 3371"/>
                      <a:gd name="T10" fmla="*/ 0 w 3992"/>
                      <a:gd name="T11" fmla="*/ 0 h 3371"/>
                      <a:gd name="T12" fmla="*/ 0 w 3992"/>
                      <a:gd name="T13" fmla="*/ 0 h 3371"/>
                      <a:gd name="T14" fmla="*/ 0 w 3992"/>
                      <a:gd name="T15" fmla="*/ 0 h 3371"/>
                      <a:gd name="T16" fmla="*/ 0 w 3992"/>
                      <a:gd name="T17" fmla="*/ 0 h 3371"/>
                      <a:gd name="T18" fmla="*/ 0 w 3992"/>
                      <a:gd name="T19" fmla="*/ 0 h 3371"/>
                      <a:gd name="T20" fmla="*/ 0 w 3992"/>
                      <a:gd name="T21" fmla="*/ 0 h 3371"/>
                      <a:gd name="T22" fmla="*/ 0 w 3992"/>
                      <a:gd name="T23" fmla="*/ 0 h 3371"/>
                      <a:gd name="T24" fmla="*/ 0 w 3992"/>
                      <a:gd name="T25" fmla="*/ 0 h 3371"/>
                      <a:gd name="T26" fmla="*/ 0 w 3992"/>
                      <a:gd name="T27" fmla="*/ 0 h 3371"/>
                      <a:gd name="T28" fmla="*/ 0 w 3992"/>
                      <a:gd name="T29" fmla="*/ 0 h 3371"/>
                      <a:gd name="T30" fmla="*/ 0 w 3992"/>
                      <a:gd name="T31" fmla="*/ 0 h 3371"/>
                      <a:gd name="T32" fmla="*/ 0 w 3992"/>
                      <a:gd name="T33" fmla="*/ 0 h 3371"/>
                      <a:gd name="T34" fmla="*/ 0 w 3992"/>
                      <a:gd name="T35" fmla="*/ 0 h 3371"/>
                      <a:gd name="T36" fmla="*/ 0 w 3992"/>
                      <a:gd name="T37" fmla="*/ 0 h 3371"/>
                      <a:gd name="T38" fmla="*/ 0 w 3992"/>
                      <a:gd name="T39" fmla="*/ 0 h 3371"/>
                      <a:gd name="T40" fmla="*/ 0 w 3992"/>
                      <a:gd name="T41" fmla="*/ 0 h 3371"/>
                      <a:gd name="T42" fmla="*/ 0 w 3992"/>
                      <a:gd name="T43" fmla="*/ 0 h 3371"/>
                      <a:gd name="T44" fmla="*/ 0 w 3992"/>
                      <a:gd name="T45" fmla="*/ 0 h 3371"/>
                      <a:gd name="T46" fmla="*/ 0 w 3992"/>
                      <a:gd name="T47" fmla="*/ 0 h 3371"/>
                      <a:gd name="T48" fmla="*/ 0 w 3992"/>
                      <a:gd name="T49" fmla="*/ 0 h 3371"/>
                      <a:gd name="T50" fmla="*/ 0 w 3992"/>
                      <a:gd name="T51" fmla="*/ 0 h 3371"/>
                      <a:gd name="T52" fmla="*/ 0 w 3992"/>
                      <a:gd name="T53" fmla="*/ 0 h 3371"/>
                      <a:gd name="T54" fmla="*/ 0 w 3992"/>
                      <a:gd name="T55" fmla="*/ 0 h 3371"/>
                      <a:gd name="T56" fmla="*/ 0 w 3992"/>
                      <a:gd name="T57" fmla="*/ 0 h 3371"/>
                      <a:gd name="T58" fmla="*/ 0 w 3992"/>
                      <a:gd name="T59" fmla="*/ 0 h 3371"/>
                      <a:gd name="T60" fmla="*/ 0 w 3992"/>
                      <a:gd name="T61" fmla="*/ 0 h 3371"/>
                      <a:gd name="T62" fmla="*/ 0 w 3992"/>
                      <a:gd name="T63" fmla="*/ 0 h 3371"/>
                      <a:gd name="T64" fmla="*/ 0 w 3992"/>
                      <a:gd name="T65" fmla="*/ 0 h 3371"/>
                      <a:gd name="T66" fmla="*/ 0 w 3992"/>
                      <a:gd name="T67" fmla="*/ 0 h 3371"/>
                      <a:gd name="T68" fmla="*/ 0 w 3992"/>
                      <a:gd name="T69" fmla="*/ 0 h 3371"/>
                      <a:gd name="T70" fmla="*/ 0 w 3992"/>
                      <a:gd name="T71" fmla="*/ 0 h 3371"/>
                      <a:gd name="T72" fmla="*/ 0 w 3992"/>
                      <a:gd name="T73" fmla="*/ 0 h 3371"/>
                      <a:gd name="T74" fmla="*/ 0 w 3992"/>
                      <a:gd name="T75" fmla="*/ 0 h 3371"/>
                      <a:gd name="T76" fmla="*/ 0 w 3992"/>
                      <a:gd name="T77" fmla="*/ 0 h 3371"/>
                      <a:gd name="T78" fmla="*/ 0 w 3992"/>
                      <a:gd name="T79" fmla="*/ 0 h 3371"/>
                      <a:gd name="T80" fmla="*/ 0 w 3992"/>
                      <a:gd name="T81" fmla="*/ 0 h 3371"/>
                      <a:gd name="T82" fmla="*/ 0 w 3992"/>
                      <a:gd name="T83" fmla="*/ 0 h 3371"/>
                      <a:gd name="T84" fmla="*/ 0 w 3992"/>
                      <a:gd name="T85" fmla="*/ 0 h 3371"/>
                      <a:gd name="T86" fmla="*/ 0 w 3992"/>
                      <a:gd name="T87" fmla="*/ 0 h 3371"/>
                      <a:gd name="T88" fmla="*/ 0 w 3992"/>
                      <a:gd name="T89" fmla="*/ 0 h 3371"/>
                      <a:gd name="T90" fmla="*/ 0 w 3992"/>
                      <a:gd name="T91" fmla="*/ 0 h 3371"/>
                      <a:gd name="T92" fmla="*/ 0 w 3992"/>
                      <a:gd name="T93" fmla="*/ 0 h 3371"/>
                      <a:gd name="T94" fmla="*/ 0 w 3992"/>
                      <a:gd name="T95" fmla="*/ 0 h 3371"/>
                      <a:gd name="T96" fmla="*/ 0 w 3992"/>
                      <a:gd name="T97" fmla="*/ 0 h 3371"/>
                      <a:gd name="T98" fmla="*/ 0 w 3992"/>
                      <a:gd name="T99" fmla="*/ 0 h 3371"/>
                      <a:gd name="T100" fmla="*/ 0 w 3992"/>
                      <a:gd name="T101" fmla="*/ 0 h 3371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w 3992"/>
                      <a:gd name="T154" fmla="*/ 0 h 3371"/>
                      <a:gd name="T155" fmla="*/ 3992 w 3992"/>
                      <a:gd name="T156" fmla="*/ 3371 h 3371"/>
                    </a:gdLst>
                    <a:ahLst/>
                    <a:cxnLst>
                      <a:cxn ang="T102">
                        <a:pos x="T0" y="T1"/>
                      </a:cxn>
                      <a:cxn ang="T103">
                        <a:pos x="T2" y="T3"/>
                      </a:cxn>
                      <a:cxn ang="T104">
                        <a:pos x="T4" y="T5"/>
                      </a:cxn>
                      <a:cxn ang="T105">
                        <a:pos x="T6" y="T7"/>
                      </a:cxn>
                      <a:cxn ang="T106">
                        <a:pos x="T8" y="T9"/>
                      </a:cxn>
                      <a:cxn ang="T107">
                        <a:pos x="T10" y="T11"/>
                      </a:cxn>
                      <a:cxn ang="T108">
                        <a:pos x="T12" y="T13"/>
                      </a:cxn>
                      <a:cxn ang="T109">
                        <a:pos x="T14" y="T15"/>
                      </a:cxn>
                      <a:cxn ang="T110">
                        <a:pos x="T16" y="T17"/>
                      </a:cxn>
                      <a:cxn ang="T111">
                        <a:pos x="T18" y="T19"/>
                      </a:cxn>
                      <a:cxn ang="T112">
                        <a:pos x="T20" y="T21"/>
                      </a:cxn>
                      <a:cxn ang="T113">
                        <a:pos x="T22" y="T23"/>
                      </a:cxn>
                      <a:cxn ang="T114">
                        <a:pos x="T24" y="T25"/>
                      </a:cxn>
                      <a:cxn ang="T115">
                        <a:pos x="T26" y="T27"/>
                      </a:cxn>
                      <a:cxn ang="T116">
                        <a:pos x="T28" y="T29"/>
                      </a:cxn>
                      <a:cxn ang="T117">
                        <a:pos x="T30" y="T31"/>
                      </a:cxn>
                      <a:cxn ang="T118">
                        <a:pos x="T32" y="T33"/>
                      </a:cxn>
                      <a:cxn ang="T119">
                        <a:pos x="T34" y="T35"/>
                      </a:cxn>
                      <a:cxn ang="T120">
                        <a:pos x="T36" y="T37"/>
                      </a:cxn>
                      <a:cxn ang="T121">
                        <a:pos x="T38" y="T39"/>
                      </a:cxn>
                      <a:cxn ang="T122">
                        <a:pos x="T40" y="T41"/>
                      </a:cxn>
                      <a:cxn ang="T123">
                        <a:pos x="T42" y="T43"/>
                      </a:cxn>
                      <a:cxn ang="T124">
                        <a:pos x="T44" y="T45"/>
                      </a:cxn>
                      <a:cxn ang="T125">
                        <a:pos x="T46" y="T47"/>
                      </a:cxn>
                      <a:cxn ang="T126">
                        <a:pos x="T48" y="T49"/>
                      </a:cxn>
                      <a:cxn ang="T127">
                        <a:pos x="T50" y="T51"/>
                      </a:cxn>
                      <a:cxn ang="T128">
                        <a:pos x="T52" y="T53"/>
                      </a:cxn>
                      <a:cxn ang="T129">
                        <a:pos x="T54" y="T55"/>
                      </a:cxn>
                      <a:cxn ang="T130">
                        <a:pos x="T56" y="T57"/>
                      </a:cxn>
                      <a:cxn ang="T131">
                        <a:pos x="T58" y="T59"/>
                      </a:cxn>
                      <a:cxn ang="T132">
                        <a:pos x="T60" y="T61"/>
                      </a:cxn>
                      <a:cxn ang="T133">
                        <a:pos x="T62" y="T63"/>
                      </a:cxn>
                      <a:cxn ang="T134">
                        <a:pos x="T64" y="T65"/>
                      </a:cxn>
                      <a:cxn ang="T135">
                        <a:pos x="T66" y="T67"/>
                      </a:cxn>
                      <a:cxn ang="T136">
                        <a:pos x="T68" y="T69"/>
                      </a:cxn>
                      <a:cxn ang="T137">
                        <a:pos x="T70" y="T71"/>
                      </a:cxn>
                      <a:cxn ang="T138">
                        <a:pos x="T72" y="T73"/>
                      </a:cxn>
                      <a:cxn ang="T139">
                        <a:pos x="T74" y="T75"/>
                      </a:cxn>
                      <a:cxn ang="T140">
                        <a:pos x="T76" y="T77"/>
                      </a:cxn>
                      <a:cxn ang="T141">
                        <a:pos x="T78" y="T79"/>
                      </a:cxn>
                      <a:cxn ang="T142">
                        <a:pos x="T80" y="T81"/>
                      </a:cxn>
                      <a:cxn ang="T143">
                        <a:pos x="T82" y="T83"/>
                      </a:cxn>
                      <a:cxn ang="T144">
                        <a:pos x="T84" y="T85"/>
                      </a:cxn>
                      <a:cxn ang="T145">
                        <a:pos x="T86" y="T87"/>
                      </a:cxn>
                      <a:cxn ang="T146">
                        <a:pos x="T88" y="T89"/>
                      </a:cxn>
                      <a:cxn ang="T147">
                        <a:pos x="T90" y="T91"/>
                      </a:cxn>
                      <a:cxn ang="T148">
                        <a:pos x="T92" y="T93"/>
                      </a:cxn>
                      <a:cxn ang="T149">
                        <a:pos x="T94" y="T95"/>
                      </a:cxn>
                      <a:cxn ang="T150">
                        <a:pos x="T96" y="T97"/>
                      </a:cxn>
                      <a:cxn ang="T151">
                        <a:pos x="T98" y="T99"/>
                      </a:cxn>
                      <a:cxn ang="T152">
                        <a:pos x="T100" y="T101"/>
                      </a:cxn>
                    </a:cxnLst>
                    <a:rect l="T153" t="T154" r="T155" b="T156"/>
                    <a:pathLst>
                      <a:path w="3992" h="3371">
                        <a:moveTo>
                          <a:pt x="2681" y="32"/>
                        </a:moveTo>
                        <a:lnTo>
                          <a:pt x="2664" y="27"/>
                        </a:lnTo>
                        <a:lnTo>
                          <a:pt x="2647" y="21"/>
                        </a:lnTo>
                        <a:lnTo>
                          <a:pt x="2629" y="17"/>
                        </a:lnTo>
                        <a:lnTo>
                          <a:pt x="2611" y="12"/>
                        </a:lnTo>
                        <a:lnTo>
                          <a:pt x="2574" y="7"/>
                        </a:lnTo>
                        <a:lnTo>
                          <a:pt x="2539" y="3"/>
                        </a:lnTo>
                        <a:lnTo>
                          <a:pt x="2502" y="1"/>
                        </a:lnTo>
                        <a:lnTo>
                          <a:pt x="2464" y="0"/>
                        </a:lnTo>
                        <a:lnTo>
                          <a:pt x="2428" y="1"/>
                        </a:lnTo>
                        <a:lnTo>
                          <a:pt x="2390" y="3"/>
                        </a:lnTo>
                        <a:lnTo>
                          <a:pt x="2315" y="8"/>
                        </a:lnTo>
                        <a:lnTo>
                          <a:pt x="2241" y="13"/>
                        </a:lnTo>
                        <a:lnTo>
                          <a:pt x="2204" y="16"/>
                        </a:lnTo>
                        <a:lnTo>
                          <a:pt x="2166" y="17"/>
                        </a:lnTo>
                        <a:lnTo>
                          <a:pt x="2129" y="17"/>
                        </a:lnTo>
                        <a:lnTo>
                          <a:pt x="2094" y="16"/>
                        </a:lnTo>
                        <a:lnTo>
                          <a:pt x="2027" y="12"/>
                        </a:lnTo>
                        <a:lnTo>
                          <a:pt x="1961" y="9"/>
                        </a:lnTo>
                        <a:lnTo>
                          <a:pt x="1894" y="7"/>
                        </a:lnTo>
                        <a:lnTo>
                          <a:pt x="1829" y="6"/>
                        </a:lnTo>
                        <a:lnTo>
                          <a:pt x="1763" y="7"/>
                        </a:lnTo>
                        <a:lnTo>
                          <a:pt x="1696" y="9"/>
                        </a:lnTo>
                        <a:lnTo>
                          <a:pt x="1664" y="11"/>
                        </a:lnTo>
                        <a:lnTo>
                          <a:pt x="1631" y="14"/>
                        </a:lnTo>
                        <a:lnTo>
                          <a:pt x="1598" y="18"/>
                        </a:lnTo>
                        <a:lnTo>
                          <a:pt x="1566" y="22"/>
                        </a:lnTo>
                        <a:lnTo>
                          <a:pt x="1534" y="27"/>
                        </a:lnTo>
                        <a:lnTo>
                          <a:pt x="1502" y="32"/>
                        </a:lnTo>
                        <a:lnTo>
                          <a:pt x="1469" y="39"/>
                        </a:lnTo>
                        <a:lnTo>
                          <a:pt x="1437" y="46"/>
                        </a:lnTo>
                        <a:lnTo>
                          <a:pt x="1405" y="55"/>
                        </a:lnTo>
                        <a:lnTo>
                          <a:pt x="1374" y="63"/>
                        </a:lnTo>
                        <a:lnTo>
                          <a:pt x="1342" y="73"/>
                        </a:lnTo>
                        <a:lnTo>
                          <a:pt x="1311" y="85"/>
                        </a:lnTo>
                        <a:lnTo>
                          <a:pt x="1280" y="97"/>
                        </a:lnTo>
                        <a:lnTo>
                          <a:pt x="1249" y="110"/>
                        </a:lnTo>
                        <a:lnTo>
                          <a:pt x="1219" y="125"/>
                        </a:lnTo>
                        <a:lnTo>
                          <a:pt x="1189" y="140"/>
                        </a:lnTo>
                        <a:lnTo>
                          <a:pt x="1159" y="157"/>
                        </a:lnTo>
                        <a:lnTo>
                          <a:pt x="1129" y="175"/>
                        </a:lnTo>
                        <a:lnTo>
                          <a:pt x="1100" y="194"/>
                        </a:lnTo>
                        <a:lnTo>
                          <a:pt x="1071" y="215"/>
                        </a:lnTo>
                        <a:lnTo>
                          <a:pt x="990" y="278"/>
                        </a:lnTo>
                        <a:lnTo>
                          <a:pt x="913" y="348"/>
                        </a:lnTo>
                        <a:lnTo>
                          <a:pt x="839" y="422"/>
                        </a:lnTo>
                        <a:lnTo>
                          <a:pt x="769" y="501"/>
                        </a:lnTo>
                        <a:lnTo>
                          <a:pt x="702" y="583"/>
                        </a:lnTo>
                        <a:lnTo>
                          <a:pt x="640" y="669"/>
                        </a:lnTo>
                        <a:lnTo>
                          <a:pt x="580" y="758"/>
                        </a:lnTo>
                        <a:lnTo>
                          <a:pt x="524" y="849"/>
                        </a:lnTo>
                        <a:lnTo>
                          <a:pt x="471" y="943"/>
                        </a:lnTo>
                        <a:lnTo>
                          <a:pt x="422" y="1038"/>
                        </a:lnTo>
                        <a:lnTo>
                          <a:pt x="375" y="1134"/>
                        </a:lnTo>
                        <a:lnTo>
                          <a:pt x="332" y="1232"/>
                        </a:lnTo>
                        <a:lnTo>
                          <a:pt x="291" y="1329"/>
                        </a:lnTo>
                        <a:lnTo>
                          <a:pt x="254" y="1427"/>
                        </a:lnTo>
                        <a:lnTo>
                          <a:pt x="219" y="1522"/>
                        </a:lnTo>
                        <a:lnTo>
                          <a:pt x="187" y="1618"/>
                        </a:lnTo>
                        <a:lnTo>
                          <a:pt x="158" y="1713"/>
                        </a:lnTo>
                        <a:lnTo>
                          <a:pt x="131" y="1804"/>
                        </a:lnTo>
                        <a:lnTo>
                          <a:pt x="108" y="1894"/>
                        </a:lnTo>
                        <a:lnTo>
                          <a:pt x="87" y="1981"/>
                        </a:lnTo>
                        <a:lnTo>
                          <a:pt x="68" y="2063"/>
                        </a:lnTo>
                        <a:lnTo>
                          <a:pt x="51" y="2143"/>
                        </a:lnTo>
                        <a:lnTo>
                          <a:pt x="38" y="2218"/>
                        </a:lnTo>
                        <a:lnTo>
                          <a:pt x="26" y="2288"/>
                        </a:lnTo>
                        <a:lnTo>
                          <a:pt x="17" y="2354"/>
                        </a:lnTo>
                        <a:lnTo>
                          <a:pt x="9" y="2413"/>
                        </a:lnTo>
                        <a:lnTo>
                          <a:pt x="5" y="2466"/>
                        </a:lnTo>
                        <a:lnTo>
                          <a:pt x="1" y="2513"/>
                        </a:lnTo>
                        <a:lnTo>
                          <a:pt x="0" y="2553"/>
                        </a:lnTo>
                        <a:lnTo>
                          <a:pt x="0" y="2585"/>
                        </a:lnTo>
                        <a:lnTo>
                          <a:pt x="2" y="2610"/>
                        </a:lnTo>
                        <a:lnTo>
                          <a:pt x="7" y="2625"/>
                        </a:lnTo>
                        <a:lnTo>
                          <a:pt x="20" y="2652"/>
                        </a:lnTo>
                        <a:lnTo>
                          <a:pt x="32" y="2679"/>
                        </a:lnTo>
                        <a:lnTo>
                          <a:pt x="46" y="2704"/>
                        </a:lnTo>
                        <a:lnTo>
                          <a:pt x="60" y="2729"/>
                        </a:lnTo>
                        <a:lnTo>
                          <a:pt x="75" y="2752"/>
                        </a:lnTo>
                        <a:lnTo>
                          <a:pt x="89" y="2774"/>
                        </a:lnTo>
                        <a:lnTo>
                          <a:pt x="105" y="2797"/>
                        </a:lnTo>
                        <a:lnTo>
                          <a:pt x="120" y="2817"/>
                        </a:lnTo>
                        <a:lnTo>
                          <a:pt x="136" y="2837"/>
                        </a:lnTo>
                        <a:lnTo>
                          <a:pt x="153" y="2856"/>
                        </a:lnTo>
                        <a:lnTo>
                          <a:pt x="169" y="2873"/>
                        </a:lnTo>
                        <a:lnTo>
                          <a:pt x="186" y="2891"/>
                        </a:lnTo>
                        <a:lnTo>
                          <a:pt x="203" y="2908"/>
                        </a:lnTo>
                        <a:lnTo>
                          <a:pt x="219" y="2923"/>
                        </a:lnTo>
                        <a:lnTo>
                          <a:pt x="236" y="2938"/>
                        </a:lnTo>
                        <a:lnTo>
                          <a:pt x="254" y="2952"/>
                        </a:lnTo>
                        <a:lnTo>
                          <a:pt x="271" y="2966"/>
                        </a:lnTo>
                        <a:lnTo>
                          <a:pt x="288" y="2979"/>
                        </a:lnTo>
                        <a:lnTo>
                          <a:pt x="305" y="2991"/>
                        </a:lnTo>
                        <a:lnTo>
                          <a:pt x="323" y="3002"/>
                        </a:lnTo>
                        <a:lnTo>
                          <a:pt x="357" y="3022"/>
                        </a:lnTo>
                        <a:lnTo>
                          <a:pt x="391" y="3041"/>
                        </a:lnTo>
                        <a:lnTo>
                          <a:pt x="424" y="3057"/>
                        </a:lnTo>
                        <a:lnTo>
                          <a:pt x="456" y="3070"/>
                        </a:lnTo>
                        <a:lnTo>
                          <a:pt x="486" y="3081"/>
                        </a:lnTo>
                        <a:lnTo>
                          <a:pt x="517" y="3090"/>
                        </a:lnTo>
                        <a:lnTo>
                          <a:pt x="550" y="3100"/>
                        </a:lnTo>
                        <a:lnTo>
                          <a:pt x="586" y="3111"/>
                        </a:lnTo>
                        <a:lnTo>
                          <a:pt x="622" y="3125"/>
                        </a:lnTo>
                        <a:lnTo>
                          <a:pt x="660" y="3138"/>
                        </a:lnTo>
                        <a:lnTo>
                          <a:pt x="740" y="3169"/>
                        </a:lnTo>
                        <a:lnTo>
                          <a:pt x="825" y="3201"/>
                        </a:lnTo>
                        <a:lnTo>
                          <a:pt x="868" y="3216"/>
                        </a:lnTo>
                        <a:lnTo>
                          <a:pt x="913" y="3232"/>
                        </a:lnTo>
                        <a:lnTo>
                          <a:pt x="957" y="3246"/>
                        </a:lnTo>
                        <a:lnTo>
                          <a:pt x="1003" y="3260"/>
                        </a:lnTo>
                        <a:lnTo>
                          <a:pt x="1049" y="3272"/>
                        </a:lnTo>
                        <a:lnTo>
                          <a:pt x="1094" y="3282"/>
                        </a:lnTo>
                        <a:lnTo>
                          <a:pt x="1140" y="3291"/>
                        </a:lnTo>
                        <a:lnTo>
                          <a:pt x="1185" y="3296"/>
                        </a:lnTo>
                        <a:lnTo>
                          <a:pt x="1264" y="3306"/>
                        </a:lnTo>
                        <a:lnTo>
                          <a:pt x="1350" y="3316"/>
                        </a:lnTo>
                        <a:lnTo>
                          <a:pt x="1439" y="3327"/>
                        </a:lnTo>
                        <a:lnTo>
                          <a:pt x="1532" y="3339"/>
                        </a:lnTo>
                        <a:lnTo>
                          <a:pt x="1624" y="3350"/>
                        </a:lnTo>
                        <a:lnTo>
                          <a:pt x="1716" y="3359"/>
                        </a:lnTo>
                        <a:lnTo>
                          <a:pt x="1761" y="3363"/>
                        </a:lnTo>
                        <a:lnTo>
                          <a:pt x="1805" y="3366"/>
                        </a:lnTo>
                        <a:lnTo>
                          <a:pt x="1849" y="3369"/>
                        </a:lnTo>
                        <a:lnTo>
                          <a:pt x="1890" y="3371"/>
                        </a:lnTo>
                        <a:lnTo>
                          <a:pt x="1933" y="3371"/>
                        </a:lnTo>
                        <a:lnTo>
                          <a:pt x="1978" y="3370"/>
                        </a:lnTo>
                        <a:lnTo>
                          <a:pt x="2021" y="3367"/>
                        </a:lnTo>
                        <a:lnTo>
                          <a:pt x="2065" y="3364"/>
                        </a:lnTo>
                        <a:lnTo>
                          <a:pt x="2108" y="3359"/>
                        </a:lnTo>
                        <a:lnTo>
                          <a:pt x="2152" y="3353"/>
                        </a:lnTo>
                        <a:lnTo>
                          <a:pt x="2195" y="3346"/>
                        </a:lnTo>
                        <a:lnTo>
                          <a:pt x="2238" y="3340"/>
                        </a:lnTo>
                        <a:lnTo>
                          <a:pt x="2324" y="3325"/>
                        </a:lnTo>
                        <a:lnTo>
                          <a:pt x="2410" y="3313"/>
                        </a:lnTo>
                        <a:lnTo>
                          <a:pt x="2452" y="3307"/>
                        </a:lnTo>
                        <a:lnTo>
                          <a:pt x="2494" y="3302"/>
                        </a:lnTo>
                        <a:lnTo>
                          <a:pt x="2536" y="3298"/>
                        </a:lnTo>
                        <a:lnTo>
                          <a:pt x="2578" y="3296"/>
                        </a:lnTo>
                        <a:lnTo>
                          <a:pt x="2615" y="3294"/>
                        </a:lnTo>
                        <a:lnTo>
                          <a:pt x="2655" y="3291"/>
                        </a:lnTo>
                        <a:lnTo>
                          <a:pt x="2698" y="3285"/>
                        </a:lnTo>
                        <a:lnTo>
                          <a:pt x="2745" y="3278"/>
                        </a:lnTo>
                        <a:lnTo>
                          <a:pt x="2793" y="3270"/>
                        </a:lnTo>
                        <a:lnTo>
                          <a:pt x="2842" y="3261"/>
                        </a:lnTo>
                        <a:lnTo>
                          <a:pt x="2892" y="3251"/>
                        </a:lnTo>
                        <a:lnTo>
                          <a:pt x="2942" y="3239"/>
                        </a:lnTo>
                        <a:lnTo>
                          <a:pt x="3040" y="3218"/>
                        </a:lnTo>
                        <a:lnTo>
                          <a:pt x="3133" y="3196"/>
                        </a:lnTo>
                        <a:lnTo>
                          <a:pt x="3214" y="3175"/>
                        </a:lnTo>
                        <a:lnTo>
                          <a:pt x="3282" y="3158"/>
                        </a:lnTo>
                        <a:lnTo>
                          <a:pt x="3327" y="3146"/>
                        </a:lnTo>
                        <a:lnTo>
                          <a:pt x="3375" y="3132"/>
                        </a:lnTo>
                        <a:lnTo>
                          <a:pt x="3425" y="3115"/>
                        </a:lnTo>
                        <a:lnTo>
                          <a:pt x="3477" y="3096"/>
                        </a:lnTo>
                        <a:lnTo>
                          <a:pt x="3531" y="3075"/>
                        </a:lnTo>
                        <a:lnTo>
                          <a:pt x="3584" y="3053"/>
                        </a:lnTo>
                        <a:lnTo>
                          <a:pt x="3637" y="3027"/>
                        </a:lnTo>
                        <a:lnTo>
                          <a:pt x="3689" y="3000"/>
                        </a:lnTo>
                        <a:lnTo>
                          <a:pt x="3714" y="2986"/>
                        </a:lnTo>
                        <a:lnTo>
                          <a:pt x="3740" y="2971"/>
                        </a:lnTo>
                        <a:lnTo>
                          <a:pt x="3764" y="2957"/>
                        </a:lnTo>
                        <a:lnTo>
                          <a:pt x="3788" y="2941"/>
                        </a:lnTo>
                        <a:lnTo>
                          <a:pt x="3810" y="2926"/>
                        </a:lnTo>
                        <a:lnTo>
                          <a:pt x="3832" y="2909"/>
                        </a:lnTo>
                        <a:lnTo>
                          <a:pt x="3853" y="2892"/>
                        </a:lnTo>
                        <a:lnTo>
                          <a:pt x="3873" y="2874"/>
                        </a:lnTo>
                        <a:lnTo>
                          <a:pt x="3892" y="2858"/>
                        </a:lnTo>
                        <a:lnTo>
                          <a:pt x="3910" y="2840"/>
                        </a:lnTo>
                        <a:lnTo>
                          <a:pt x="3927" y="2821"/>
                        </a:lnTo>
                        <a:lnTo>
                          <a:pt x="3941" y="2802"/>
                        </a:lnTo>
                        <a:lnTo>
                          <a:pt x="3955" y="2783"/>
                        </a:lnTo>
                        <a:lnTo>
                          <a:pt x="3967" y="2764"/>
                        </a:lnTo>
                        <a:lnTo>
                          <a:pt x="3977" y="2744"/>
                        </a:lnTo>
                        <a:lnTo>
                          <a:pt x="3986" y="2724"/>
                        </a:lnTo>
                        <a:lnTo>
                          <a:pt x="3990" y="2703"/>
                        </a:lnTo>
                        <a:lnTo>
                          <a:pt x="3992" y="2671"/>
                        </a:lnTo>
                        <a:lnTo>
                          <a:pt x="3991" y="2627"/>
                        </a:lnTo>
                        <a:lnTo>
                          <a:pt x="3988" y="2575"/>
                        </a:lnTo>
                        <a:lnTo>
                          <a:pt x="3982" y="2514"/>
                        </a:lnTo>
                        <a:lnTo>
                          <a:pt x="3974" y="2445"/>
                        </a:lnTo>
                        <a:lnTo>
                          <a:pt x="3962" y="2368"/>
                        </a:lnTo>
                        <a:lnTo>
                          <a:pt x="3948" y="2284"/>
                        </a:lnTo>
                        <a:lnTo>
                          <a:pt x="3931" y="2195"/>
                        </a:lnTo>
                        <a:lnTo>
                          <a:pt x="3911" y="2099"/>
                        </a:lnTo>
                        <a:lnTo>
                          <a:pt x="3888" y="1999"/>
                        </a:lnTo>
                        <a:lnTo>
                          <a:pt x="3862" y="1894"/>
                        </a:lnTo>
                        <a:lnTo>
                          <a:pt x="3833" y="1787"/>
                        </a:lnTo>
                        <a:lnTo>
                          <a:pt x="3802" y="1677"/>
                        </a:lnTo>
                        <a:lnTo>
                          <a:pt x="3768" y="1565"/>
                        </a:lnTo>
                        <a:lnTo>
                          <a:pt x="3730" y="1451"/>
                        </a:lnTo>
                        <a:lnTo>
                          <a:pt x="3689" y="1338"/>
                        </a:lnTo>
                        <a:lnTo>
                          <a:pt x="3644" y="1223"/>
                        </a:lnTo>
                        <a:lnTo>
                          <a:pt x="3597" y="1111"/>
                        </a:lnTo>
                        <a:lnTo>
                          <a:pt x="3547" y="999"/>
                        </a:lnTo>
                        <a:lnTo>
                          <a:pt x="3494" y="889"/>
                        </a:lnTo>
                        <a:lnTo>
                          <a:pt x="3437" y="783"/>
                        </a:lnTo>
                        <a:lnTo>
                          <a:pt x="3377" y="680"/>
                        </a:lnTo>
                        <a:lnTo>
                          <a:pt x="3314" y="582"/>
                        </a:lnTo>
                        <a:lnTo>
                          <a:pt x="3247" y="489"/>
                        </a:lnTo>
                        <a:lnTo>
                          <a:pt x="3175" y="401"/>
                        </a:lnTo>
                        <a:lnTo>
                          <a:pt x="3102" y="319"/>
                        </a:lnTo>
                        <a:lnTo>
                          <a:pt x="3025" y="245"/>
                        </a:lnTo>
                        <a:lnTo>
                          <a:pt x="2945" y="178"/>
                        </a:lnTo>
                        <a:lnTo>
                          <a:pt x="2861" y="120"/>
                        </a:lnTo>
                        <a:lnTo>
                          <a:pt x="2773" y="71"/>
                        </a:lnTo>
                        <a:lnTo>
                          <a:pt x="2681" y="32"/>
                        </a:lnTo>
                        <a:close/>
                      </a:path>
                    </a:pathLst>
                  </a:custGeom>
                  <a:solidFill>
                    <a:srgbClr val="311F74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123" name="Freeform 182"/>
                  <p:cNvSpPr>
                    <a:spLocks noEditPoints="1"/>
                  </p:cNvSpPr>
                  <p:nvPr/>
                </p:nvSpPr>
                <p:spPr bwMode="auto">
                  <a:xfrm>
                    <a:off x="3333" y="3710"/>
                    <a:ext cx="230" cy="174"/>
                  </a:xfrm>
                  <a:custGeom>
                    <a:avLst/>
                    <a:gdLst>
                      <a:gd name="T0" fmla="*/ 0 w 1608"/>
                      <a:gd name="T1" fmla="*/ 0 h 1215"/>
                      <a:gd name="T2" fmla="*/ 0 w 1608"/>
                      <a:gd name="T3" fmla="*/ 0 h 1215"/>
                      <a:gd name="T4" fmla="*/ 0 w 1608"/>
                      <a:gd name="T5" fmla="*/ 0 h 1215"/>
                      <a:gd name="T6" fmla="*/ 0 w 1608"/>
                      <a:gd name="T7" fmla="*/ 0 h 1215"/>
                      <a:gd name="T8" fmla="*/ 0 w 1608"/>
                      <a:gd name="T9" fmla="*/ 0 h 1215"/>
                      <a:gd name="T10" fmla="*/ 0 w 1608"/>
                      <a:gd name="T11" fmla="*/ 0 h 1215"/>
                      <a:gd name="T12" fmla="*/ 0 w 1608"/>
                      <a:gd name="T13" fmla="*/ 0 h 1215"/>
                      <a:gd name="T14" fmla="*/ 0 w 1608"/>
                      <a:gd name="T15" fmla="*/ 0 h 1215"/>
                      <a:gd name="T16" fmla="*/ 0 w 1608"/>
                      <a:gd name="T17" fmla="*/ 0 h 1215"/>
                      <a:gd name="T18" fmla="*/ 0 w 1608"/>
                      <a:gd name="T19" fmla="*/ 0 h 1215"/>
                      <a:gd name="T20" fmla="*/ 0 w 1608"/>
                      <a:gd name="T21" fmla="*/ 0 h 1215"/>
                      <a:gd name="T22" fmla="*/ 0 w 1608"/>
                      <a:gd name="T23" fmla="*/ 0 h 1215"/>
                      <a:gd name="T24" fmla="*/ 0 w 1608"/>
                      <a:gd name="T25" fmla="*/ 0 h 1215"/>
                      <a:gd name="T26" fmla="*/ 0 w 1608"/>
                      <a:gd name="T27" fmla="*/ 0 h 1215"/>
                      <a:gd name="T28" fmla="*/ 0 w 1608"/>
                      <a:gd name="T29" fmla="*/ 0 h 1215"/>
                      <a:gd name="T30" fmla="*/ 0 w 1608"/>
                      <a:gd name="T31" fmla="*/ 0 h 1215"/>
                      <a:gd name="T32" fmla="*/ 0 w 1608"/>
                      <a:gd name="T33" fmla="*/ 0 h 1215"/>
                      <a:gd name="T34" fmla="*/ 0 w 1608"/>
                      <a:gd name="T35" fmla="*/ 0 h 1215"/>
                      <a:gd name="T36" fmla="*/ 0 w 1608"/>
                      <a:gd name="T37" fmla="*/ 0 h 1215"/>
                      <a:gd name="T38" fmla="*/ 0 w 1608"/>
                      <a:gd name="T39" fmla="*/ 0 h 1215"/>
                      <a:gd name="T40" fmla="*/ 0 w 1608"/>
                      <a:gd name="T41" fmla="*/ 0 h 1215"/>
                      <a:gd name="T42" fmla="*/ 0 w 1608"/>
                      <a:gd name="T43" fmla="*/ 0 h 1215"/>
                      <a:gd name="T44" fmla="*/ 0 w 1608"/>
                      <a:gd name="T45" fmla="*/ 0 h 1215"/>
                      <a:gd name="T46" fmla="*/ 0 w 1608"/>
                      <a:gd name="T47" fmla="*/ 0 h 1215"/>
                      <a:gd name="T48" fmla="*/ 0 w 1608"/>
                      <a:gd name="T49" fmla="*/ 0 h 1215"/>
                      <a:gd name="T50" fmla="*/ 0 w 1608"/>
                      <a:gd name="T51" fmla="*/ 0 h 1215"/>
                      <a:gd name="T52" fmla="*/ 0 w 1608"/>
                      <a:gd name="T53" fmla="*/ 0 h 1215"/>
                      <a:gd name="T54" fmla="*/ 0 w 1608"/>
                      <a:gd name="T55" fmla="*/ 0 h 1215"/>
                      <a:gd name="T56" fmla="*/ 0 w 1608"/>
                      <a:gd name="T57" fmla="*/ 0 h 1215"/>
                      <a:gd name="T58" fmla="*/ 0 w 1608"/>
                      <a:gd name="T59" fmla="*/ 0 h 1215"/>
                      <a:gd name="T60" fmla="*/ 0 w 1608"/>
                      <a:gd name="T61" fmla="*/ 0 h 1215"/>
                      <a:gd name="T62" fmla="*/ 0 w 1608"/>
                      <a:gd name="T63" fmla="*/ 0 h 1215"/>
                      <a:gd name="T64" fmla="*/ 0 w 1608"/>
                      <a:gd name="T65" fmla="*/ 0 h 1215"/>
                      <a:gd name="T66" fmla="*/ 0 w 1608"/>
                      <a:gd name="T67" fmla="*/ 0 h 1215"/>
                      <a:gd name="T68" fmla="*/ 0 w 1608"/>
                      <a:gd name="T69" fmla="*/ 0 h 1215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w 1608"/>
                      <a:gd name="T106" fmla="*/ 0 h 1215"/>
                      <a:gd name="T107" fmla="*/ 1608 w 1608"/>
                      <a:gd name="T108" fmla="*/ 1215 h 1215"/>
                    </a:gdLst>
                    <a:ahLst/>
                    <a:cxnLst>
                      <a:cxn ang="T70">
                        <a:pos x="T0" y="T1"/>
                      </a:cxn>
                      <a:cxn ang="T71">
                        <a:pos x="T2" y="T3"/>
                      </a:cxn>
                      <a:cxn ang="T72">
                        <a:pos x="T4" y="T5"/>
                      </a:cxn>
                      <a:cxn ang="T73">
                        <a:pos x="T6" y="T7"/>
                      </a:cxn>
                      <a:cxn ang="T74">
                        <a:pos x="T8" y="T9"/>
                      </a:cxn>
                      <a:cxn ang="T75">
                        <a:pos x="T10" y="T11"/>
                      </a:cxn>
                      <a:cxn ang="T76">
                        <a:pos x="T12" y="T13"/>
                      </a:cxn>
                      <a:cxn ang="T77">
                        <a:pos x="T14" y="T15"/>
                      </a:cxn>
                      <a:cxn ang="T78">
                        <a:pos x="T16" y="T17"/>
                      </a:cxn>
                      <a:cxn ang="T79">
                        <a:pos x="T18" y="T19"/>
                      </a:cxn>
                      <a:cxn ang="T80">
                        <a:pos x="T20" y="T21"/>
                      </a:cxn>
                      <a:cxn ang="T81">
                        <a:pos x="T22" y="T23"/>
                      </a:cxn>
                      <a:cxn ang="T82">
                        <a:pos x="T24" y="T25"/>
                      </a:cxn>
                      <a:cxn ang="T83">
                        <a:pos x="T26" y="T27"/>
                      </a:cxn>
                      <a:cxn ang="T84">
                        <a:pos x="T28" y="T29"/>
                      </a:cxn>
                      <a:cxn ang="T85">
                        <a:pos x="T30" y="T31"/>
                      </a:cxn>
                      <a:cxn ang="T86">
                        <a:pos x="T32" y="T33"/>
                      </a:cxn>
                      <a:cxn ang="T87">
                        <a:pos x="T34" y="T35"/>
                      </a:cxn>
                      <a:cxn ang="T88">
                        <a:pos x="T36" y="T37"/>
                      </a:cxn>
                      <a:cxn ang="T89">
                        <a:pos x="T38" y="T39"/>
                      </a:cxn>
                      <a:cxn ang="T90">
                        <a:pos x="T40" y="T41"/>
                      </a:cxn>
                      <a:cxn ang="T91">
                        <a:pos x="T42" y="T43"/>
                      </a:cxn>
                      <a:cxn ang="T92">
                        <a:pos x="T44" y="T45"/>
                      </a:cxn>
                      <a:cxn ang="T93">
                        <a:pos x="T46" y="T47"/>
                      </a:cxn>
                      <a:cxn ang="T94">
                        <a:pos x="T48" y="T49"/>
                      </a:cxn>
                      <a:cxn ang="T95">
                        <a:pos x="T50" y="T51"/>
                      </a:cxn>
                      <a:cxn ang="T96">
                        <a:pos x="T52" y="T53"/>
                      </a:cxn>
                      <a:cxn ang="T97">
                        <a:pos x="T54" y="T55"/>
                      </a:cxn>
                      <a:cxn ang="T98">
                        <a:pos x="T56" y="T57"/>
                      </a:cxn>
                      <a:cxn ang="T99">
                        <a:pos x="T58" y="T59"/>
                      </a:cxn>
                      <a:cxn ang="T100">
                        <a:pos x="T60" y="T61"/>
                      </a:cxn>
                      <a:cxn ang="T101">
                        <a:pos x="T62" y="T63"/>
                      </a:cxn>
                      <a:cxn ang="T102">
                        <a:pos x="T64" y="T65"/>
                      </a:cxn>
                      <a:cxn ang="T103">
                        <a:pos x="T66" y="T67"/>
                      </a:cxn>
                      <a:cxn ang="T104">
                        <a:pos x="T68" y="T69"/>
                      </a:cxn>
                    </a:cxnLst>
                    <a:rect l="T105" t="T106" r="T107" b="T108"/>
                    <a:pathLst>
                      <a:path w="1608" h="1215">
                        <a:moveTo>
                          <a:pt x="1573" y="0"/>
                        </a:moveTo>
                        <a:lnTo>
                          <a:pt x="0" y="0"/>
                        </a:lnTo>
                        <a:lnTo>
                          <a:pt x="1" y="1215"/>
                        </a:lnTo>
                        <a:lnTo>
                          <a:pt x="1596" y="1215"/>
                        </a:lnTo>
                        <a:lnTo>
                          <a:pt x="1608" y="0"/>
                        </a:lnTo>
                        <a:lnTo>
                          <a:pt x="1573" y="0"/>
                        </a:lnTo>
                        <a:close/>
                        <a:moveTo>
                          <a:pt x="1537" y="54"/>
                        </a:moveTo>
                        <a:lnTo>
                          <a:pt x="1537" y="75"/>
                        </a:lnTo>
                        <a:lnTo>
                          <a:pt x="1537" y="115"/>
                        </a:lnTo>
                        <a:lnTo>
                          <a:pt x="1536" y="171"/>
                        </a:lnTo>
                        <a:lnTo>
                          <a:pt x="1535" y="241"/>
                        </a:lnTo>
                        <a:lnTo>
                          <a:pt x="1535" y="324"/>
                        </a:lnTo>
                        <a:lnTo>
                          <a:pt x="1534" y="414"/>
                        </a:lnTo>
                        <a:lnTo>
                          <a:pt x="1533" y="510"/>
                        </a:lnTo>
                        <a:lnTo>
                          <a:pt x="1532" y="609"/>
                        </a:lnTo>
                        <a:lnTo>
                          <a:pt x="1530" y="708"/>
                        </a:lnTo>
                        <a:lnTo>
                          <a:pt x="1529" y="803"/>
                        </a:lnTo>
                        <a:lnTo>
                          <a:pt x="1529" y="894"/>
                        </a:lnTo>
                        <a:lnTo>
                          <a:pt x="1528" y="975"/>
                        </a:lnTo>
                        <a:lnTo>
                          <a:pt x="1527" y="1046"/>
                        </a:lnTo>
                        <a:lnTo>
                          <a:pt x="1527" y="1103"/>
                        </a:lnTo>
                        <a:lnTo>
                          <a:pt x="1526" y="1142"/>
                        </a:lnTo>
                        <a:lnTo>
                          <a:pt x="1526" y="1162"/>
                        </a:lnTo>
                        <a:lnTo>
                          <a:pt x="1500" y="1162"/>
                        </a:lnTo>
                        <a:lnTo>
                          <a:pt x="1448" y="1162"/>
                        </a:lnTo>
                        <a:lnTo>
                          <a:pt x="1373" y="1162"/>
                        </a:lnTo>
                        <a:lnTo>
                          <a:pt x="1281" y="1162"/>
                        </a:lnTo>
                        <a:lnTo>
                          <a:pt x="1173" y="1162"/>
                        </a:lnTo>
                        <a:lnTo>
                          <a:pt x="1054" y="1162"/>
                        </a:lnTo>
                        <a:lnTo>
                          <a:pt x="928" y="1162"/>
                        </a:lnTo>
                        <a:lnTo>
                          <a:pt x="799" y="1162"/>
                        </a:lnTo>
                        <a:lnTo>
                          <a:pt x="669" y="1162"/>
                        </a:lnTo>
                        <a:lnTo>
                          <a:pt x="543" y="1162"/>
                        </a:lnTo>
                        <a:lnTo>
                          <a:pt x="425" y="1162"/>
                        </a:lnTo>
                        <a:lnTo>
                          <a:pt x="317" y="1162"/>
                        </a:lnTo>
                        <a:lnTo>
                          <a:pt x="225" y="1162"/>
                        </a:lnTo>
                        <a:lnTo>
                          <a:pt x="150" y="1162"/>
                        </a:lnTo>
                        <a:lnTo>
                          <a:pt x="98" y="1162"/>
                        </a:lnTo>
                        <a:lnTo>
                          <a:pt x="71" y="1162"/>
                        </a:lnTo>
                        <a:lnTo>
                          <a:pt x="71" y="1142"/>
                        </a:lnTo>
                        <a:lnTo>
                          <a:pt x="71" y="1103"/>
                        </a:lnTo>
                        <a:lnTo>
                          <a:pt x="71" y="1046"/>
                        </a:lnTo>
                        <a:lnTo>
                          <a:pt x="71" y="975"/>
                        </a:lnTo>
                        <a:lnTo>
                          <a:pt x="71" y="894"/>
                        </a:lnTo>
                        <a:lnTo>
                          <a:pt x="71" y="803"/>
                        </a:lnTo>
                        <a:lnTo>
                          <a:pt x="71" y="708"/>
                        </a:lnTo>
                        <a:lnTo>
                          <a:pt x="71" y="609"/>
                        </a:lnTo>
                        <a:lnTo>
                          <a:pt x="71" y="510"/>
                        </a:lnTo>
                        <a:lnTo>
                          <a:pt x="71" y="414"/>
                        </a:lnTo>
                        <a:lnTo>
                          <a:pt x="71" y="324"/>
                        </a:lnTo>
                        <a:lnTo>
                          <a:pt x="71" y="241"/>
                        </a:lnTo>
                        <a:lnTo>
                          <a:pt x="71" y="171"/>
                        </a:lnTo>
                        <a:lnTo>
                          <a:pt x="71" y="115"/>
                        </a:lnTo>
                        <a:lnTo>
                          <a:pt x="71" y="75"/>
                        </a:lnTo>
                        <a:lnTo>
                          <a:pt x="71" y="54"/>
                        </a:lnTo>
                        <a:lnTo>
                          <a:pt x="98" y="54"/>
                        </a:lnTo>
                        <a:lnTo>
                          <a:pt x="150" y="54"/>
                        </a:lnTo>
                        <a:lnTo>
                          <a:pt x="225" y="54"/>
                        </a:lnTo>
                        <a:lnTo>
                          <a:pt x="318" y="54"/>
                        </a:lnTo>
                        <a:lnTo>
                          <a:pt x="427" y="54"/>
                        </a:lnTo>
                        <a:lnTo>
                          <a:pt x="547" y="54"/>
                        </a:lnTo>
                        <a:lnTo>
                          <a:pt x="673" y="54"/>
                        </a:lnTo>
                        <a:lnTo>
                          <a:pt x="804" y="54"/>
                        </a:lnTo>
                        <a:lnTo>
                          <a:pt x="935" y="54"/>
                        </a:lnTo>
                        <a:lnTo>
                          <a:pt x="1062" y="54"/>
                        </a:lnTo>
                        <a:lnTo>
                          <a:pt x="1181" y="54"/>
                        </a:lnTo>
                        <a:lnTo>
                          <a:pt x="1289" y="54"/>
                        </a:lnTo>
                        <a:lnTo>
                          <a:pt x="1382" y="54"/>
                        </a:lnTo>
                        <a:lnTo>
                          <a:pt x="1458" y="54"/>
                        </a:lnTo>
                        <a:lnTo>
                          <a:pt x="1510" y="54"/>
                        </a:lnTo>
                        <a:lnTo>
                          <a:pt x="1537" y="54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124" name="Freeform 183"/>
                  <p:cNvSpPr>
                    <a:spLocks noEditPoints="1"/>
                  </p:cNvSpPr>
                  <p:nvPr/>
                </p:nvSpPr>
                <p:spPr bwMode="auto">
                  <a:xfrm>
                    <a:off x="3359" y="3730"/>
                    <a:ext cx="178" cy="134"/>
                  </a:xfrm>
                  <a:custGeom>
                    <a:avLst/>
                    <a:gdLst>
                      <a:gd name="T0" fmla="*/ 0 w 1245"/>
                      <a:gd name="T1" fmla="*/ 0 h 941"/>
                      <a:gd name="T2" fmla="*/ 0 w 1245"/>
                      <a:gd name="T3" fmla="*/ 0 h 941"/>
                      <a:gd name="T4" fmla="*/ 0 w 1245"/>
                      <a:gd name="T5" fmla="*/ 0 h 941"/>
                      <a:gd name="T6" fmla="*/ 0 w 1245"/>
                      <a:gd name="T7" fmla="*/ 0 h 941"/>
                      <a:gd name="T8" fmla="*/ 0 w 1245"/>
                      <a:gd name="T9" fmla="*/ 0 h 941"/>
                      <a:gd name="T10" fmla="*/ 0 w 1245"/>
                      <a:gd name="T11" fmla="*/ 0 h 941"/>
                      <a:gd name="T12" fmla="*/ 0 w 1245"/>
                      <a:gd name="T13" fmla="*/ 0 h 941"/>
                      <a:gd name="T14" fmla="*/ 0 w 1245"/>
                      <a:gd name="T15" fmla="*/ 0 h 941"/>
                      <a:gd name="T16" fmla="*/ 0 w 1245"/>
                      <a:gd name="T17" fmla="*/ 0 h 941"/>
                      <a:gd name="T18" fmla="*/ 0 w 1245"/>
                      <a:gd name="T19" fmla="*/ 0 h 941"/>
                      <a:gd name="T20" fmla="*/ 0 w 1245"/>
                      <a:gd name="T21" fmla="*/ 0 h 941"/>
                      <a:gd name="T22" fmla="*/ 0 w 1245"/>
                      <a:gd name="T23" fmla="*/ 0 h 941"/>
                      <a:gd name="T24" fmla="*/ 0 w 1245"/>
                      <a:gd name="T25" fmla="*/ 0 h 941"/>
                      <a:gd name="T26" fmla="*/ 0 w 1245"/>
                      <a:gd name="T27" fmla="*/ 0 h 941"/>
                      <a:gd name="T28" fmla="*/ 0 w 1245"/>
                      <a:gd name="T29" fmla="*/ 0 h 941"/>
                      <a:gd name="T30" fmla="*/ 0 w 1245"/>
                      <a:gd name="T31" fmla="*/ 0 h 941"/>
                      <a:gd name="T32" fmla="*/ 0 w 1245"/>
                      <a:gd name="T33" fmla="*/ 0 h 941"/>
                      <a:gd name="T34" fmla="*/ 0 w 1245"/>
                      <a:gd name="T35" fmla="*/ 0 h 941"/>
                      <a:gd name="T36" fmla="*/ 0 w 1245"/>
                      <a:gd name="T37" fmla="*/ 0 h 941"/>
                      <a:gd name="T38" fmla="*/ 0 w 1245"/>
                      <a:gd name="T39" fmla="*/ 0 h 941"/>
                      <a:gd name="T40" fmla="*/ 0 w 1245"/>
                      <a:gd name="T41" fmla="*/ 0 h 941"/>
                      <a:gd name="T42" fmla="*/ 0 w 1245"/>
                      <a:gd name="T43" fmla="*/ 0 h 941"/>
                      <a:gd name="T44" fmla="*/ 0 w 1245"/>
                      <a:gd name="T45" fmla="*/ 0 h 941"/>
                      <a:gd name="T46" fmla="*/ 0 w 1245"/>
                      <a:gd name="T47" fmla="*/ 0 h 941"/>
                      <a:gd name="T48" fmla="*/ 0 w 1245"/>
                      <a:gd name="T49" fmla="*/ 0 h 941"/>
                      <a:gd name="T50" fmla="*/ 0 w 1245"/>
                      <a:gd name="T51" fmla="*/ 0 h 941"/>
                      <a:gd name="T52" fmla="*/ 0 w 1245"/>
                      <a:gd name="T53" fmla="*/ 0 h 941"/>
                      <a:gd name="T54" fmla="*/ 0 w 1245"/>
                      <a:gd name="T55" fmla="*/ 0 h 941"/>
                      <a:gd name="T56" fmla="*/ 0 w 1245"/>
                      <a:gd name="T57" fmla="*/ 0 h 941"/>
                      <a:gd name="T58" fmla="*/ 0 w 1245"/>
                      <a:gd name="T59" fmla="*/ 0 h 941"/>
                      <a:gd name="T60" fmla="*/ 0 w 1245"/>
                      <a:gd name="T61" fmla="*/ 0 h 941"/>
                      <a:gd name="T62" fmla="*/ 0 w 1245"/>
                      <a:gd name="T63" fmla="*/ 0 h 941"/>
                      <a:gd name="T64" fmla="*/ 0 w 1245"/>
                      <a:gd name="T65" fmla="*/ 0 h 941"/>
                      <a:gd name="T66" fmla="*/ 0 w 1245"/>
                      <a:gd name="T67" fmla="*/ 0 h 941"/>
                      <a:gd name="T68" fmla="*/ 0 w 1245"/>
                      <a:gd name="T69" fmla="*/ 0 h 941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w 1245"/>
                      <a:gd name="T106" fmla="*/ 0 h 941"/>
                      <a:gd name="T107" fmla="*/ 1245 w 1245"/>
                      <a:gd name="T108" fmla="*/ 941 h 941"/>
                    </a:gdLst>
                    <a:ahLst/>
                    <a:cxnLst>
                      <a:cxn ang="T70">
                        <a:pos x="T0" y="T1"/>
                      </a:cxn>
                      <a:cxn ang="T71">
                        <a:pos x="T2" y="T3"/>
                      </a:cxn>
                      <a:cxn ang="T72">
                        <a:pos x="T4" y="T5"/>
                      </a:cxn>
                      <a:cxn ang="T73">
                        <a:pos x="T6" y="T7"/>
                      </a:cxn>
                      <a:cxn ang="T74">
                        <a:pos x="T8" y="T9"/>
                      </a:cxn>
                      <a:cxn ang="T75">
                        <a:pos x="T10" y="T11"/>
                      </a:cxn>
                      <a:cxn ang="T76">
                        <a:pos x="T12" y="T13"/>
                      </a:cxn>
                      <a:cxn ang="T77">
                        <a:pos x="T14" y="T15"/>
                      </a:cxn>
                      <a:cxn ang="T78">
                        <a:pos x="T16" y="T17"/>
                      </a:cxn>
                      <a:cxn ang="T79">
                        <a:pos x="T18" y="T19"/>
                      </a:cxn>
                      <a:cxn ang="T80">
                        <a:pos x="T20" y="T21"/>
                      </a:cxn>
                      <a:cxn ang="T81">
                        <a:pos x="T22" y="T23"/>
                      </a:cxn>
                      <a:cxn ang="T82">
                        <a:pos x="T24" y="T25"/>
                      </a:cxn>
                      <a:cxn ang="T83">
                        <a:pos x="T26" y="T27"/>
                      </a:cxn>
                      <a:cxn ang="T84">
                        <a:pos x="T28" y="T29"/>
                      </a:cxn>
                      <a:cxn ang="T85">
                        <a:pos x="T30" y="T31"/>
                      </a:cxn>
                      <a:cxn ang="T86">
                        <a:pos x="T32" y="T33"/>
                      </a:cxn>
                      <a:cxn ang="T87">
                        <a:pos x="T34" y="T35"/>
                      </a:cxn>
                      <a:cxn ang="T88">
                        <a:pos x="T36" y="T37"/>
                      </a:cxn>
                      <a:cxn ang="T89">
                        <a:pos x="T38" y="T39"/>
                      </a:cxn>
                      <a:cxn ang="T90">
                        <a:pos x="T40" y="T41"/>
                      </a:cxn>
                      <a:cxn ang="T91">
                        <a:pos x="T42" y="T43"/>
                      </a:cxn>
                      <a:cxn ang="T92">
                        <a:pos x="T44" y="T45"/>
                      </a:cxn>
                      <a:cxn ang="T93">
                        <a:pos x="T46" y="T47"/>
                      </a:cxn>
                      <a:cxn ang="T94">
                        <a:pos x="T48" y="T49"/>
                      </a:cxn>
                      <a:cxn ang="T95">
                        <a:pos x="T50" y="T51"/>
                      </a:cxn>
                      <a:cxn ang="T96">
                        <a:pos x="T52" y="T53"/>
                      </a:cxn>
                      <a:cxn ang="T97">
                        <a:pos x="T54" y="T55"/>
                      </a:cxn>
                      <a:cxn ang="T98">
                        <a:pos x="T56" y="T57"/>
                      </a:cxn>
                      <a:cxn ang="T99">
                        <a:pos x="T58" y="T59"/>
                      </a:cxn>
                      <a:cxn ang="T100">
                        <a:pos x="T60" y="T61"/>
                      </a:cxn>
                      <a:cxn ang="T101">
                        <a:pos x="T62" y="T63"/>
                      </a:cxn>
                      <a:cxn ang="T102">
                        <a:pos x="T64" y="T65"/>
                      </a:cxn>
                      <a:cxn ang="T103">
                        <a:pos x="T66" y="T67"/>
                      </a:cxn>
                      <a:cxn ang="T104">
                        <a:pos x="T68" y="T69"/>
                      </a:cxn>
                    </a:cxnLst>
                    <a:rect l="T105" t="T106" r="T107" b="T108"/>
                    <a:pathLst>
                      <a:path w="1245" h="941">
                        <a:moveTo>
                          <a:pt x="1210" y="0"/>
                        </a:moveTo>
                        <a:lnTo>
                          <a:pt x="0" y="0"/>
                        </a:lnTo>
                        <a:lnTo>
                          <a:pt x="0" y="941"/>
                        </a:lnTo>
                        <a:lnTo>
                          <a:pt x="1237" y="941"/>
                        </a:lnTo>
                        <a:lnTo>
                          <a:pt x="1245" y="0"/>
                        </a:lnTo>
                        <a:lnTo>
                          <a:pt x="1210" y="0"/>
                        </a:lnTo>
                        <a:close/>
                        <a:moveTo>
                          <a:pt x="1174" y="54"/>
                        </a:moveTo>
                        <a:lnTo>
                          <a:pt x="1174" y="71"/>
                        </a:lnTo>
                        <a:lnTo>
                          <a:pt x="1174" y="102"/>
                        </a:lnTo>
                        <a:lnTo>
                          <a:pt x="1174" y="145"/>
                        </a:lnTo>
                        <a:lnTo>
                          <a:pt x="1172" y="198"/>
                        </a:lnTo>
                        <a:lnTo>
                          <a:pt x="1172" y="259"/>
                        </a:lnTo>
                        <a:lnTo>
                          <a:pt x="1171" y="327"/>
                        </a:lnTo>
                        <a:lnTo>
                          <a:pt x="1171" y="398"/>
                        </a:lnTo>
                        <a:lnTo>
                          <a:pt x="1170" y="472"/>
                        </a:lnTo>
                        <a:lnTo>
                          <a:pt x="1170" y="545"/>
                        </a:lnTo>
                        <a:lnTo>
                          <a:pt x="1169" y="616"/>
                        </a:lnTo>
                        <a:lnTo>
                          <a:pt x="1168" y="683"/>
                        </a:lnTo>
                        <a:lnTo>
                          <a:pt x="1168" y="744"/>
                        </a:lnTo>
                        <a:lnTo>
                          <a:pt x="1168" y="798"/>
                        </a:lnTo>
                        <a:lnTo>
                          <a:pt x="1167" y="840"/>
                        </a:lnTo>
                        <a:lnTo>
                          <a:pt x="1167" y="871"/>
                        </a:lnTo>
                        <a:lnTo>
                          <a:pt x="1167" y="888"/>
                        </a:lnTo>
                        <a:lnTo>
                          <a:pt x="1146" y="888"/>
                        </a:lnTo>
                        <a:lnTo>
                          <a:pt x="1106" y="888"/>
                        </a:lnTo>
                        <a:lnTo>
                          <a:pt x="1049" y="888"/>
                        </a:lnTo>
                        <a:lnTo>
                          <a:pt x="980" y="888"/>
                        </a:lnTo>
                        <a:lnTo>
                          <a:pt x="900" y="888"/>
                        </a:lnTo>
                        <a:lnTo>
                          <a:pt x="812" y="888"/>
                        </a:lnTo>
                        <a:lnTo>
                          <a:pt x="718" y="888"/>
                        </a:lnTo>
                        <a:lnTo>
                          <a:pt x="623" y="888"/>
                        </a:lnTo>
                        <a:lnTo>
                          <a:pt x="526" y="888"/>
                        </a:lnTo>
                        <a:lnTo>
                          <a:pt x="432" y="888"/>
                        </a:lnTo>
                        <a:lnTo>
                          <a:pt x="343" y="888"/>
                        </a:lnTo>
                        <a:lnTo>
                          <a:pt x="262" y="888"/>
                        </a:lnTo>
                        <a:lnTo>
                          <a:pt x="192" y="888"/>
                        </a:lnTo>
                        <a:lnTo>
                          <a:pt x="135" y="888"/>
                        </a:lnTo>
                        <a:lnTo>
                          <a:pt x="94" y="888"/>
                        </a:lnTo>
                        <a:lnTo>
                          <a:pt x="71" y="888"/>
                        </a:lnTo>
                        <a:lnTo>
                          <a:pt x="71" y="871"/>
                        </a:lnTo>
                        <a:lnTo>
                          <a:pt x="71" y="840"/>
                        </a:lnTo>
                        <a:lnTo>
                          <a:pt x="71" y="798"/>
                        </a:lnTo>
                        <a:lnTo>
                          <a:pt x="71" y="744"/>
                        </a:lnTo>
                        <a:lnTo>
                          <a:pt x="71" y="683"/>
                        </a:lnTo>
                        <a:lnTo>
                          <a:pt x="71" y="615"/>
                        </a:lnTo>
                        <a:lnTo>
                          <a:pt x="71" y="544"/>
                        </a:lnTo>
                        <a:lnTo>
                          <a:pt x="71" y="472"/>
                        </a:lnTo>
                        <a:lnTo>
                          <a:pt x="71" y="398"/>
                        </a:lnTo>
                        <a:lnTo>
                          <a:pt x="71" y="327"/>
                        </a:lnTo>
                        <a:lnTo>
                          <a:pt x="71" y="259"/>
                        </a:lnTo>
                        <a:lnTo>
                          <a:pt x="71" y="198"/>
                        </a:lnTo>
                        <a:lnTo>
                          <a:pt x="71" y="145"/>
                        </a:lnTo>
                        <a:lnTo>
                          <a:pt x="72" y="102"/>
                        </a:lnTo>
                        <a:lnTo>
                          <a:pt x="72" y="71"/>
                        </a:lnTo>
                        <a:lnTo>
                          <a:pt x="72" y="53"/>
                        </a:lnTo>
                        <a:lnTo>
                          <a:pt x="94" y="53"/>
                        </a:lnTo>
                        <a:lnTo>
                          <a:pt x="134" y="53"/>
                        </a:lnTo>
                        <a:lnTo>
                          <a:pt x="192" y="53"/>
                        </a:lnTo>
                        <a:lnTo>
                          <a:pt x="262" y="53"/>
                        </a:lnTo>
                        <a:lnTo>
                          <a:pt x="342" y="53"/>
                        </a:lnTo>
                        <a:lnTo>
                          <a:pt x="431" y="53"/>
                        </a:lnTo>
                        <a:lnTo>
                          <a:pt x="526" y="53"/>
                        </a:lnTo>
                        <a:lnTo>
                          <a:pt x="623" y="53"/>
                        </a:lnTo>
                        <a:lnTo>
                          <a:pt x="719" y="53"/>
                        </a:lnTo>
                        <a:lnTo>
                          <a:pt x="814" y="53"/>
                        </a:lnTo>
                        <a:lnTo>
                          <a:pt x="902" y="53"/>
                        </a:lnTo>
                        <a:lnTo>
                          <a:pt x="983" y="53"/>
                        </a:lnTo>
                        <a:lnTo>
                          <a:pt x="1053" y="54"/>
                        </a:lnTo>
                        <a:lnTo>
                          <a:pt x="1110" y="54"/>
                        </a:lnTo>
                        <a:lnTo>
                          <a:pt x="1151" y="54"/>
                        </a:lnTo>
                        <a:lnTo>
                          <a:pt x="1174" y="54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125" name="Freeform 184"/>
                  <p:cNvSpPr>
                    <a:spLocks noEditPoints="1"/>
                  </p:cNvSpPr>
                  <p:nvPr/>
                </p:nvSpPr>
                <p:spPr bwMode="auto">
                  <a:xfrm>
                    <a:off x="3382" y="3748"/>
                    <a:ext cx="132" cy="103"/>
                  </a:xfrm>
                  <a:custGeom>
                    <a:avLst/>
                    <a:gdLst>
                      <a:gd name="T0" fmla="*/ 0 w 926"/>
                      <a:gd name="T1" fmla="*/ 0 h 700"/>
                      <a:gd name="T2" fmla="*/ 0 w 926"/>
                      <a:gd name="T3" fmla="*/ 0 h 700"/>
                      <a:gd name="T4" fmla="*/ 0 w 926"/>
                      <a:gd name="T5" fmla="*/ 0 h 700"/>
                      <a:gd name="T6" fmla="*/ 0 w 926"/>
                      <a:gd name="T7" fmla="*/ 0 h 700"/>
                      <a:gd name="T8" fmla="*/ 0 w 926"/>
                      <a:gd name="T9" fmla="*/ 0 h 700"/>
                      <a:gd name="T10" fmla="*/ 0 w 926"/>
                      <a:gd name="T11" fmla="*/ 0 h 700"/>
                      <a:gd name="T12" fmla="*/ 0 w 926"/>
                      <a:gd name="T13" fmla="*/ 0 h 700"/>
                      <a:gd name="T14" fmla="*/ 0 w 926"/>
                      <a:gd name="T15" fmla="*/ 0 h 700"/>
                      <a:gd name="T16" fmla="*/ 0 w 926"/>
                      <a:gd name="T17" fmla="*/ 0 h 700"/>
                      <a:gd name="T18" fmla="*/ 0 w 926"/>
                      <a:gd name="T19" fmla="*/ 0 h 700"/>
                      <a:gd name="T20" fmla="*/ 0 w 926"/>
                      <a:gd name="T21" fmla="*/ 0 h 700"/>
                      <a:gd name="T22" fmla="*/ 0 w 926"/>
                      <a:gd name="T23" fmla="*/ 0 h 700"/>
                      <a:gd name="T24" fmla="*/ 0 w 926"/>
                      <a:gd name="T25" fmla="*/ 0 h 700"/>
                      <a:gd name="T26" fmla="*/ 0 w 926"/>
                      <a:gd name="T27" fmla="*/ 0 h 700"/>
                      <a:gd name="T28" fmla="*/ 0 w 926"/>
                      <a:gd name="T29" fmla="*/ 0 h 700"/>
                      <a:gd name="T30" fmla="*/ 0 w 926"/>
                      <a:gd name="T31" fmla="*/ 0 h 700"/>
                      <a:gd name="T32" fmla="*/ 0 w 926"/>
                      <a:gd name="T33" fmla="*/ 0 h 700"/>
                      <a:gd name="T34" fmla="*/ 0 w 926"/>
                      <a:gd name="T35" fmla="*/ 0 h 700"/>
                      <a:gd name="T36" fmla="*/ 0 w 926"/>
                      <a:gd name="T37" fmla="*/ 0 h 700"/>
                      <a:gd name="T38" fmla="*/ 0 w 926"/>
                      <a:gd name="T39" fmla="*/ 0 h 700"/>
                      <a:gd name="T40" fmla="*/ 0 w 926"/>
                      <a:gd name="T41" fmla="*/ 0 h 700"/>
                      <a:gd name="T42" fmla="*/ 0 w 926"/>
                      <a:gd name="T43" fmla="*/ 0 h 700"/>
                      <a:gd name="T44" fmla="*/ 0 w 926"/>
                      <a:gd name="T45" fmla="*/ 0 h 700"/>
                      <a:gd name="T46" fmla="*/ 0 w 926"/>
                      <a:gd name="T47" fmla="*/ 0 h 700"/>
                      <a:gd name="T48" fmla="*/ 0 w 926"/>
                      <a:gd name="T49" fmla="*/ 0 h 700"/>
                      <a:gd name="T50" fmla="*/ 0 w 926"/>
                      <a:gd name="T51" fmla="*/ 0 h 700"/>
                      <a:gd name="T52" fmla="*/ 0 w 926"/>
                      <a:gd name="T53" fmla="*/ 0 h 700"/>
                      <a:gd name="T54" fmla="*/ 0 w 926"/>
                      <a:gd name="T55" fmla="*/ 0 h 700"/>
                      <a:gd name="T56" fmla="*/ 0 w 926"/>
                      <a:gd name="T57" fmla="*/ 0 h 700"/>
                      <a:gd name="T58" fmla="*/ 0 w 926"/>
                      <a:gd name="T59" fmla="*/ 0 h 700"/>
                      <a:gd name="T60" fmla="*/ 0 w 926"/>
                      <a:gd name="T61" fmla="*/ 0 h 700"/>
                      <a:gd name="T62" fmla="*/ 0 w 926"/>
                      <a:gd name="T63" fmla="*/ 0 h 700"/>
                      <a:gd name="T64" fmla="*/ 0 w 926"/>
                      <a:gd name="T65" fmla="*/ 0 h 700"/>
                      <a:gd name="T66" fmla="*/ 0 w 926"/>
                      <a:gd name="T67" fmla="*/ 0 h 700"/>
                      <a:gd name="T68" fmla="*/ 0 w 926"/>
                      <a:gd name="T69" fmla="*/ 0 h 700"/>
                      <a:gd name="T70" fmla="*/ 0 w 926"/>
                      <a:gd name="T71" fmla="*/ 0 h 700"/>
                      <a:gd name="T72" fmla="*/ 0 w 926"/>
                      <a:gd name="T73" fmla="*/ 0 h 700"/>
                      <a:gd name="T74" fmla="*/ 0 w 926"/>
                      <a:gd name="T75" fmla="*/ 0 h 700"/>
                      <a:gd name="T76" fmla="*/ 0 w 926"/>
                      <a:gd name="T77" fmla="*/ 0 h 700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w 926"/>
                      <a:gd name="T118" fmla="*/ 0 h 700"/>
                      <a:gd name="T119" fmla="*/ 926 w 926"/>
                      <a:gd name="T120" fmla="*/ 700 h 700"/>
                    </a:gdLst>
                    <a:ahLst/>
                    <a:cxnLst>
                      <a:cxn ang="T78">
                        <a:pos x="T0" y="T1"/>
                      </a:cxn>
                      <a:cxn ang="T79">
                        <a:pos x="T2" y="T3"/>
                      </a:cxn>
                      <a:cxn ang="T80">
                        <a:pos x="T4" y="T5"/>
                      </a:cxn>
                      <a:cxn ang="T81">
                        <a:pos x="T6" y="T7"/>
                      </a:cxn>
                      <a:cxn ang="T82">
                        <a:pos x="T8" y="T9"/>
                      </a:cxn>
                      <a:cxn ang="T83">
                        <a:pos x="T10" y="T11"/>
                      </a:cxn>
                      <a:cxn ang="T84">
                        <a:pos x="T12" y="T13"/>
                      </a:cxn>
                      <a:cxn ang="T85">
                        <a:pos x="T14" y="T15"/>
                      </a:cxn>
                      <a:cxn ang="T86">
                        <a:pos x="T16" y="T17"/>
                      </a:cxn>
                      <a:cxn ang="T87">
                        <a:pos x="T18" y="T19"/>
                      </a:cxn>
                      <a:cxn ang="T88">
                        <a:pos x="T20" y="T21"/>
                      </a:cxn>
                      <a:cxn ang="T89">
                        <a:pos x="T22" y="T23"/>
                      </a:cxn>
                      <a:cxn ang="T90">
                        <a:pos x="T24" y="T25"/>
                      </a:cxn>
                      <a:cxn ang="T91">
                        <a:pos x="T26" y="T27"/>
                      </a:cxn>
                      <a:cxn ang="T92">
                        <a:pos x="T28" y="T29"/>
                      </a:cxn>
                      <a:cxn ang="T93">
                        <a:pos x="T30" y="T31"/>
                      </a:cxn>
                      <a:cxn ang="T94">
                        <a:pos x="T32" y="T33"/>
                      </a:cxn>
                      <a:cxn ang="T95">
                        <a:pos x="T34" y="T35"/>
                      </a:cxn>
                      <a:cxn ang="T96">
                        <a:pos x="T36" y="T37"/>
                      </a:cxn>
                      <a:cxn ang="T97">
                        <a:pos x="T38" y="T39"/>
                      </a:cxn>
                      <a:cxn ang="T98">
                        <a:pos x="T40" y="T41"/>
                      </a:cxn>
                      <a:cxn ang="T99">
                        <a:pos x="T42" y="T43"/>
                      </a:cxn>
                      <a:cxn ang="T100">
                        <a:pos x="T44" y="T45"/>
                      </a:cxn>
                      <a:cxn ang="T101">
                        <a:pos x="T46" y="T47"/>
                      </a:cxn>
                      <a:cxn ang="T102">
                        <a:pos x="T48" y="T49"/>
                      </a:cxn>
                      <a:cxn ang="T103">
                        <a:pos x="T50" y="T51"/>
                      </a:cxn>
                      <a:cxn ang="T104">
                        <a:pos x="T52" y="T53"/>
                      </a:cxn>
                      <a:cxn ang="T105">
                        <a:pos x="T54" y="T55"/>
                      </a:cxn>
                      <a:cxn ang="T106">
                        <a:pos x="T56" y="T57"/>
                      </a:cxn>
                      <a:cxn ang="T107">
                        <a:pos x="T58" y="T59"/>
                      </a:cxn>
                      <a:cxn ang="T108">
                        <a:pos x="T60" y="T61"/>
                      </a:cxn>
                      <a:cxn ang="T109">
                        <a:pos x="T62" y="T63"/>
                      </a:cxn>
                      <a:cxn ang="T110">
                        <a:pos x="T64" y="T65"/>
                      </a:cxn>
                      <a:cxn ang="T111">
                        <a:pos x="T66" y="T67"/>
                      </a:cxn>
                      <a:cxn ang="T112">
                        <a:pos x="T68" y="T69"/>
                      </a:cxn>
                      <a:cxn ang="T113">
                        <a:pos x="T70" y="T71"/>
                      </a:cxn>
                      <a:cxn ang="T114">
                        <a:pos x="T72" y="T73"/>
                      </a:cxn>
                      <a:cxn ang="T115">
                        <a:pos x="T74" y="T75"/>
                      </a:cxn>
                      <a:cxn ang="T116">
                        <a:pos x="T76" y="T77"/>
                      </a:cxn>
                    </a:cxnLst>
                    <a:rect l="T117" t="T118" r="T119" b="T120"/>
                    <a:pathLst>
                      <a:path w="926" h="700">
                        <a:moveTo>
                          <a:pt x="890" y="0"/>
                        </a:moveTo>
                        <a:lnTo>
                          <a:pt x="1" y="0"/>
                        </a:lnTo>
                        <a:lnTo>
                          <a:pt x="0" y="700"/>
                        </a:lnTo>
                        <a:lnTo>
                          <a:pt x="920" y="700"/>
                        </a:lnTo>
                        <a:lnTo>
                          <a:pt x="926" y="0"/>
                        </a:lnTo>
                        <a:lnTo>
                          <a:pt x="890" y="0"/>
                        </a:lnTo>
                        <a:close/>
                        <a:moveTo>
                          <a:pt x="854" y="54"/>
                        </a:moveTo>
                        <a:lnTo>
                          <a:pt x="854" y="91"/>
                        </a:lnTo>
                        <a:lnTo>
                          <a:pt x="853" y="160"/>
                        </a:lnTo>
                        <a:lnTo>
                          <a:pt x="853" y="251"/>
                        </a:lnTo>
                        <a:lnTo>
                          <a:pt x="852" y="351"/>
                        </a:lnTo>
                        <a:lnTo>
                          <a:pt x="852" y="451"/>
                        </a:lnTo>
                        <a:lnTo>
                          <a:pt x="851" y="541"/>
                        </a:lnTo>
                        <a:lnTo>
                          <a:pt x="851" y="610"/>
                        </a:lnTo>
                        <a:lnTo>
                          <a:pt x="850" y="647"/>
                        </a:lnTo>
                        <a:lnTo>
                          <a:pt x="801" y="647"/>
                        </a:lnTo>
                        <a:lnTo>
                          <a:pt x="711" y="647"/>
                        </a:lnTo>
                        <a:lnTo>
                          <a:pt x="593" y="647"/>
                        </a:lnTo>
                        <a:lnTo>
                          <a:pt x="460" y="647"/>
                        </a:lnTo>
                        <a:lnTo>
                          <a:pt x="328" y="647"/>
                        </a:lnTo>
                        <a:lnTo>
                          <a:pt x="210" y="647"/>
                        </a:lnTo>
                        <a:lnTo>
                          <a:pt x="119" y="647"/>
                        </a:lnTo>
                        <a:lnTo>
                          <a:pt x="71" y="647"/>
                        </a:lnTo>
                        <a:lnTo>
                          <a:pt x="71" y="610"/>
                        </a:lnTo>
                        <a:lnTo>
                          <a:pt x="71" y="541"/>
                        </a:lnTo>
                        <a:lnTo>
                          <a:pt x="71" y="451"/>
                        </a:lnTo>
                        <a:lnTo>
                          <a:pt x="71" y="351"/>
                        </a:lnTo>
                        <a:lnTo>
                          <a:pt x="71" y="251"/>
                        </a:lnTo>
                        <a:lnTo>
                          <a:pt x="71" y="160"/>
                        </a:lnTo>
                        <a:lnTo>
                          <a:pt x="72" y="91"/>
                        </a:lnTo>
                        <a:lnTo>
                          <a:pt x="72" y="54"/>
                        </a:lnTo>
                        <a:lnTo>
                          <a:pt x="121" y="54"/>
                        </a:lnTo>
                        <a:lnTo>
                          <a:pt x="211" y="54"/>
                        </a:lnTo>
                        <a:lnTo>
                          <a:pt x="330" y="54"/>
                        </a:lnTo>
                        <a:lnTo>
                          <a:pt x="463" y="54"/>
                        </a:lnTo>
                        <a:lnTo>
                          <a:pt x="596" y="54"/>
                        </a:lnTo>
                        <a:lnTo>
                          <a:pt x="714" y="54"/>
                        </a:lnTo>
                        <a:lnTo>
                          <a:pt x="805" y="54"/>
                        </a:lnTo>
                        <a:lnTo>
                          <a:pt x="854" y="54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126" name="Freeform 185"/>
                  <p:cNvSpPr>
                    <a:spLocks noEditPoints="1"/>
                  </p:cNvSpPr>
                  <p:nvPr/>
                </p:nvSpPr>
                <p:spPr bwMode="auto">
                  <a:xfrm>
                    <a:off x="3403" y="3763"/>
                    <a:ext cx="89" cy="68"/>
                  </a:xfrm>
                  <a:custGeom>
                    <a:avLst/>
                    <a:gdLst>
                      <a:gd name="T0" fmla="*/ 0 w 624"/>
                      <a:gd name="T1" fmla="*/ 0 h 472"/>
                      <a:gd name="T2" fmla="*/ 0 w 624"/>
                      <a:gd name="T3" fmla="*/ 0 h 472"/>
                      <a:gd name="T4" fmla="*/ 0 w 624"/>
                      <a:gd name="T5" fmla="*/ 0 h 472"/>
                      <a:gd name="T6" fmla="*/ 0 w 624"/>
                      <a:gd name="T7" fmla="*/ 0 h 472"/>
                      <a:gd name="T8" fmla="*/ 0 w 624"/>
                      <a:gd name="T9" fmla="*/ 0 h 472"/>
                      <a:gd name="T10" fmla="*/ 0 w 624"/>
                      <a:gd name="T11" fmla="*/ 0 h 472"/>
                      <a:gd name="T12" fmla="*/ 0 w 624"/>
                      <a:gd name="T13" fmla="*/ 0 h 472"/>
                      <a:gd name="T14" fmla="*/ 0 w 624"/>
                      <a:gd name="T15" fmla="*/ 0 h 472"/>
                      <a:gd name="T16" fmla="*/ 0 w 624"/>
                      <a:gd name="T17" fmla="*/ 0 h 472"/>
                      <a:gd name="T18" fmla="*/ 0 w 624"/>
                      <a:gd name="T19" fmla="*/ 0 h 472"/>
                      <a:gd name="T20" fmla="*/ 0 w 624"/>
                      <a:gd name="T21" fmla="*/ 0 h 472"/>
                      <a:gd name="T22" fmla="*/ 0 w 624"/>
                      <a:gd name="T23" fmla="*/ 0 h 472"/>
                      <a:gd name="T24" fmla="*/ 0 w 624"/>
                      <a:gd name="T25" fmla="*/ 0 h 472"/>
                      <a:gd name="T26" fmla="*/ 0 w 624"/>
                      <a:gd name="T27" fmla="*/ 0 h 472"/>
                      <a:gd name="T28" fmla="*/ 0 w 624"/>
                      <a:gd name="T29" fmla="*/ 0 h 472"/>
                      <a:gd name="T30" fmla="*/ 0 w 624"/>
                      <a:gd name="T31" fmla="*/ 0 h 472"/>
                      <a:gd name="T32" fmla="*/ 0 w 624"/>
                      <a:gd name="T33" fmla="*/ 0 h 472"/>
                      <a:gd name="T34" fmla="*/ 0 w 624"/>
                      <a:gd name="T35" fmla="*/ 0 h 472"/>
                      <a:gd name="T36" fmla="*/ 0 w 624"/>
                      <a:gd name="T37" fmla="*/ 0 h 472"/>
                      <a:gd name="T38" fmla="*/ 0 w 624"/>
                      <a:gd name="T39" fmla="*/ 0 h 472"/>
                      <a:gd name="T40" fmla="*/ 0 w 624"/>
                      <a:gd name="T41" fmla="*/ 0 h 472"/>
                      <a:gd name="T42" fmla="*/ 0 w 624"/>
                      <a:gd name="T43" fmla="*/ 0 h 472"/>
                      <a:gd name="T44" fmla="*/ 0 w 624"/>
                      <a:gd name="T45" fmla="*/ 0 h 472"/>
                      <a:gd name="T46" fmla="*/ 0 w 624"/>
                      <a:gd name="T47" fmla="*/ 0 h 472"/>
                      <a:gd name="T48" fmla="*/ 0 w 624"/>
                      <a:gd name="T49" fmla="*/ 0 h 472"/>
                      <a:gd name="T50" fmla="*/ 0 w 624"/>
                      <a:gd name="T51" fmla="*/ 0 h 472"/>
                      <a:gd name="T52" fmla="*/ 0 w 624"/>
                      <a:gd name="T53" fmla="*/ 0 h 472"/>
                      <a:gd name="T54" fmla="*/ 0 w 624"/>
                      <a:gd name="T55" fmla="*/ 0 h 472"/>
                      <a:gd name="T56" fmla="*/ 0 w 624"/>
                      <a:gd name="T57" fmla="*/ 0 h 472"/>
                      <a:gd name="T58" fmla="*/ 0 w 624"/>
                      <a:gd name="T59" fmla="*/ 0 h 472"/>
                      <a:gd name="T60" fmla="*/ 0 w 624"/>
                      <a:gd name="T61" fmla="*/ 0 h 472"/>
                      <a:gd name="T62" fmla="*/ 0 w 624"/>
                      <a:gd name="T63" fmla="*/ 0 h 472"/>
                      <a:gd name="T64" fmla="*/ 0 w 624"/>
                      <a:gd name="T65" fmla="*/ 0 h 472"/>
                      <a:gd name="T66" fmla="*/ 0 w 624"/>
                      <a:gd name="T67" fmla="*/ 0 h 472"/>
                      <a:gd name="T68" fmla="*/ 0 w 624"/>
                      <a:gd name="T69" fmla="*/ 0 h 472"/>
                      <a:gd name="T70" fmla="*/ 0 w 624"/>
                      <a:gd name="T71" fmla="*/ 0 h 472"/>
                      <a:gd name="T72" fmla="*/ 0 w 624"/>
                      <a:gd name="T73" fmla="*/ 0 h 472"/>
                      <a:gd name="T74" fmla="*/ 0 w 624"/>
                      <a:gd name="T75" fmla="*/ 0 h 472"/>
                      <a:gd name="T76" fmla="*/ 0 w 624"/>
                      <a:gd name="T77" fmla="*/ 0 h 472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w 624"/>
                      <a:gd name="T118" fmla="*/ 0 h 472"/>
                      <a:gd name="T119" fmla="*/ 624 w 624"/>
                      <a:gd name="T120" fmla="*/ 472 h 472"/>
                    </a:gdLst>
                    <a:ahLst/>
                    <a:cxnLst>
                      <a:cxn ang="T78">
                        <a:pos x="T0" y="T1"/>
                      </a:cxn>
                      <a:cxn ang="T79">
                        <a:pos x="T2" y="T3"/>
                      </a:cxn>
                      <a:cxn ang="T80">
                        <a:pos x="T4" y="T5"/>
                      </a:cxn>
                      <a:cxn ang="T81">
                        <a:pos x="T6" y="T7"/>
                      </a:cxn>
                      <a:cxn ang="T82">
                        <a:pos x="T8" y="T9"/>
                      </a:cxn>
                      <a:cxn ang="T83">
                        <a:pos x="T10" y="T11"/>
                      </a:cxn>
                      <a:cxn ang="T84">
                        <a:pos x="T12" y="T13"/>
                      </a:cxn>
                      <a:cxn ang="T85">
                        <a:pos x="T14" y="T15"/>
                      </a:cxn>
                      <a:cxn ang="T86">
                        <a:pos x="T16" y="T17"/>
                      </a:cxn>
                      <a:cxn ang="T87">
                        <a:pos x="T18" y="T19"/>
                      </a:cxn>
                      <a:cxn ang="T88">
                        <a:pos x="T20" y="T21"/>
                      </a:cxn>
                      <a:cxn ang="T89">
                        <a:pos x="T22" y="T23"/>
                      </a:cxn>
                      <a:cxn ang="T90">
                        <a:pos x="T24" y="T25"/>
                      </a:cxn>
                      <a:cxn ang="T91">
                        <a:pos x="T26" y="T27"/>
                      </a:cxn>
                      <a:cxn ang="T92">
                        <a:pos x="T28" y="T29"/>
                      </a:cxn>
                      <a:cxn ang="T93">
                        <a:pos x="T30" y="T31"/>
                      </a:cxn>
                      <a:cxn ang="T94">
                        <a:pos x="T32" y="T33"/>
                      </a:cxn>
                      <a:cxn ang="T95">
                        <a:pos x="T34" y="T35"/>
                      </a:cxn>
                      <a:cxn ang="T96">
                        <a:pos x="T36" y="T37"/>
                      </a:cxn>
                      <a:cxn ang="T97">
                        <a:pos x="T38" y="T39"/>
                      </a:cxn>
                      <a:cxn ang="T98">
                        <a:pos x="T40" y="T41"/>
                      </a:cxn>
                      <a:cxn ang="T99">
                        <a:pos x="T42" y="T43"/>
                      </a:cxn>
                      <a:cxn ang="T100">
                        <a:pos x="T44" y="T45"/>
                      </a:cxn>
                      <a:cxn ang="T101">
                        <a:pos x="T46" y="T47"/>
                      </a:cxn>
                      <a:cxn ang="T102">
                        <a:pos x="T48" y="T49"/>
                      </a:cxn>
                      <a:cxn ang="T103">
                        <a:pos x="T50" y="T51"/>
                      </a:cxn>
                      <a:cxn ang="T104">
                        <a:pos x="T52" y="T53"/>
                      </a:cxn>
                      <a:cxn ang="T105">
                        <a:pos x="T54" y="T55"/>
                      </a:cxn>
                      <a:cxn ang="T106">
                        <a:pos x="T56" y="T57"/>
                      </a:cxn>
                      <a:cxn ang="T107">
                        <a:pos x="T58" y="T59"/>
                      </a:cxn>
                      <a:cxn ang="T108">
                        <a:pos x="T60" y="T61"/>
                      </a:cxn>
                      <a:cxn ang="T109">
                        <a:pos x="T62" y="T63"/>
                      </a:cxn>
                      <a:cxn ang="T110">
                        <a:pos x="T64" y="T65"/>
                      </a:cxn>
                      <a:cxn ang="T111">
                        <a:pos x="T66" y="T67"/>
                      </a:cxn>
                      <a:cxn ang="T112">
                        <a:pos x="T68" y="T69"/>
                      </a:cxn>
                      <a:cxn ang="T113">
                        <a:pos x="T70" y="T71"/>
                      </a:cxn>
                      <a:cxn ang="T114">
                        <a:pos x="T72" y="T73"/>
                      </a:cxn>
                      <a:cxn ang="T115">
                        <a:pos x="T74" y="T75"/>
                      </a:cxn>
                      <a:cxn ang="T116">
                        <a:pos x="T76" y="T77"/>
                      </a:cxn>
                    </a:cxnLst>
                    <a:rect l="T117" t="T118" r="T119" b="T120"/>
                    <a:pathLst>
                      <a:path w="624" h="472">
                        <a:moveTo>
                          <a:pt x="589" y="0"/>
                        </a:moveTo>
                        <a:lnTo>
                          <a:pt x="1" y="0"/>
                        </a:lnTo>
                        <a:lnTo>
                          <a:pt x="0" y="472"/>
                        </a:lnTo>
                        <a:lnTo>
                          <a:pt x="621" y="472"/>
                        </a:lnTo>
                        <a:lnTo>
                          <a:pt x="624" y="0"/>
                        </a:lnTo>
                        <a:lnTo>
                          <a:pt x="589" y="0"/>
                        </a:lnTo>
                        <a:close/>
                        <a:moveTo>
                          <a:pt x="553" y="53"/>
                        </a:moveTo>
                        <a:lnTo>
                          <a:pt x="553" y="80"/>
                        </a:lnTo>
                        <a:lnTo>
                          <a:pt x="553" y="123"/>
                        </a:lnTo>
                        <a:lnTo>
                          <a:pt x="552" y="177"/>
                        </a:lnTo>
                        <a:lnTo>
                          <a:pt x="552" y="236"/>
                        </a:lnTo>
                        <a:lnTo>
                          <a:pt x="552" y="296"/>
                        </a:lnTo>
                        <a:lnTo>
                          <a:pt x="552" y="349"/>
                        </a:lnTo>
                        <a:lnTo>
                          <a:pt x="551" y="392"/>
                        </a:lnTo>
                        <a:lnTo>
                          <a:pt x="551" y="418"/>
                        </a:lnTo>
                        <a:lnTo>
                          <a:pt x="516" y="418"/>
                        </a:lnTo>
                        <a:lnTo>
                          <a:pt x="459" y="418"/>
                        </a:lnTo>
                        <a:lnTo>
                          <a:pt x="388" y="418"/>
                        </a:lnTo>
                        <a:lnTo>
                          <a:pt x="310" y="418"/>
                        </a:lnTo>
                        <a:lnTo>
                          <a:pt x="232" y="418"/>
                        </a:lnTo>
                        <a:lnTo>
                          <a:pt x="162" y="418"/>
                        </a:lnTo>
                        <a:lnTo>
                          <a:pt x="106" y="418"/>
                        </a:lnTo>
                        <a:lnTo>
                          <a:pt x="71" y="418"/>
                        </a:lnTo>
                        <a:lnTo>
                          <a:pt x="71" y="392"/>
                        </a:lnTo>
                        <a:lnTo>
                          <a:pt x="71" y="349"/>
                        </a:lnTo>
                        <a:lnTo>
                          <a:pt x="71" y="296"/>
                        </a:lnTo>
                        <a:lnTo>
                          <a:pt x="71" y="236"/>
                        </a:lnTo>
                        <a:lnTo>
                          <a:pt x="71" y="177"/>
                        </a:lnTo>
                        <a:lnTo>
                          <a:pt x="72" y="123"/>
                        </a:lnTo>
                        <a:lnTo>
                          <a:pt x="72" y="80"/>
                        </a:lnTo>
                        <a:lnTo>
                          <a:pt x="72" y="53"/>
                        </a:lnTo>
                        <a:lnTo>
                          <a:pt x="107" y="53"/>
                        </a:lnTo>
                        <a:lnTo>
                          <a:pt x="163" y="53"/>
                        </a:lnTo>
                        <a:lnTo>
                          <a:pt x="235" y="53"/>
                        </a:lnTo>
                        <a:lnTo>
                          <a:pt x="313" y="53"/>
                        </a:lnTo>
                        <a:lnTo>
                          <a:pt x="390" y="53"/>
                        </a:lnTo>
                        <a:lnTo>
                          <a:pt x="462" y="53"/>
                        </a:lnTo>
                        <a:lnTo>
                          <a:pt x="518" y="53"/>
                        </a:lnTo>
                        <a:lnTo>
                          <a:pt x="553" y="53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127" name="Freeform 186"/>
                  <p:cNvSpPr>
                    <a:spLocks/>
                  </p:cNvSpPr>
                  <p:nvPr/>
                </p:nvSpPr>
                <p:spPr bwMode="auto">
                  <a:xfrm>
                    <a:off x="3408" y="3768"/>
                    <a:ext cx="79" cy="62"/>
                  </a:xfrm>
                  <a:custGeom>
                    <a:avLst/>
                    <a:gdLst>
                      <a:gd name="T0" fmla="*/ 0 w 556"/>
                      <a:gd name="T1" fmla="*/ 0 h 421"/>
                      <a:gd name="T2" fmla="*/ 0 w 556"/>
                      <a:gd name="T3" fmla="*/ 0 h 421"/>
                      <a:gd name="T4" fmla="*/ 0 w 556"/>
                      <a:gd name="T5" fmla="*/ 0 h 421"/>
                      <a:gd name="T6" fmla="*/ 0 w 556"/>
                      <a:gd name="T7" fmla="*/ 0 h 421"/>
                      <a:gd name="T8" fmla="*/ 0 w 556"/>
                      <a:gd name="T9" fmla="*/ 0 h 421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556"/>
                      <a:gd name="T16" fmla="*/ 0 h 421"/>
                      <a:gd name="T17" fmla="*/ 556 w 556"/>
                      <a:gd name="T18" fmla="*/ 421 h 421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556" h="421">
                        <a:moveTo>
                          <a:pt x="0" y="421"/>
                        </a:moveTo>
                        <a:lnTo>
                          <a:pt x="1" y="0"/>
                        </a:lnTo>
                        <a:lnTo>
                          <a:pt x="556" y="0"/>
                        </a:lnTo>
                        <a:lnTo>
                          <a:pt x="553" y="421"/>
                        </a:lnTo>
                        <a:lnTo>
                          <a:pt x="0" y="421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128" name="Freeform 187"/>
                  <p:cNvSpPr>
                    <a:spLocks/>
                  </p:cNvSpPr>
                  <p:nvPr/>
                </p:nvSpPr>
                <p:spPr bwMode="auto">
                  <a:xfrm>
                    <a:off x="3189" y="3727"/>
                    <a:ext cx="508" cy="134"/>
                  </a:xfrm>
                  <a:custGeom>
                    <a:avLst/>
                    <a:gdLst>
                      <a:gd name="T0" fmla="*/ 0 w 3561"/>
                      <a:gd name="T1" fmla="*/ 0 h 941"/>
                      <a:gd name="T2" fmla="*/ 0 w 3561"/>
                      <a:gd name="T3" fmla="*/ 0 h 941"/>
                      <a:gd name="T4" fmla="*/ 0 w 3561"/>
                      <a:gd name="T5" fmla="*/ 0 h 941"/>
                      <a:gd name="T6" fmla="*/ 0 w 3561"/>
                      <a:gd name="T7" fmla="*/ 0 h 941"/>
                      <a:gd name="T8" fmla="*/ 0 w 3561"/>
                      <a:gd name="T9" fmla="*/ 0 h 941"/>
                      <a:gd name="T10" fmla="*/ 0 w 3561"/>
                      <a:gd name="T11" fmla="*/ 0 h 941"/>
                      <a:gd name="T12" fmla="*/ 0 w 3561"/>
                      <a:gd name="T13" fmla="*/ 0 h 941"/>
                      <a:gd name="T14" fmla="*/ 0 w 3561"/>
                      <a:gd name="T15" fmla="*/ 0 h 941"/>
                      <a:gd name="T16" fmla="*/ 0 w 3561"/>
                      <a:gd name="T17" fmla="*/ 0 h 941"/>
                      <a:gd name="T18" fmla="*/ 0 w 3561"/>
                      <a:gd name="T19" fmla="*/ 0 h 941"/>
                      <a:gd name="T20" fmla="*/ 0 w 3561"/>
                      <a:gd name="T21" fmla="*/ 0 h 941"/>
                      <a:gd name="T22" fmla="*/ 0 w 3561"/>
                      <a:gd name="T23" fmla="*/ 0 h 941"/>
                      <a:gd name="T24" fmla="*/ 0 w 3561"/>
                      <a:gd name="T25" fmla="*/ 0 h 941"/>
                      <a:gd name="T26" fmla="*/ 0 w 3561"/>
                      <a:gd name="T27" fmla="*/ 0 h 941"/>
                      <a:gd name="T28" fmla="*/ 0 w 3561"/>
                      <a:gd name="T29" fmla="*/ 0 h 941"/>
                      <a:gd name="T30" fmla="*/ 0 w 3561"/>
                      <a:gd name="T31" fmla="*/ 0 h 941"/>
                      <a:gd name="T32" fmla="*/ 0 w 3561"/>
                      <a:gd name="T33" fmla="*/ 0 h 941"/>
                      <a:gd name="T34" fmla="*/ 0 w 3561"/>
                      <a:gd name="T35" fmla="*/ 0 h 941"/>
                      <a:gd name="T36" fmla="*/ 0 w 3561"/>
                      <a:gd name="T37" fmla="*/ 0 h 941"/>
                      <a:gd name="T38" fmla="*/ 0 w 3561"/>
                      <a:gd name="T39" fmla="*/ 0 h 941"/>
                      <a:gd name="T40" fmla="*/ 0 w 3561"/>
                      <a:gd name="T41" fmla="*/ 0 h 941"/>
                      <a:gd name="T42" fmla="*/ 0 w 3561"/>
                      <a:gd name="T43" fmla="*/ 0 h 941"/>
                      <a:gd name="T44" fmla="*/ 0 w 3561"/>
                      <a:gd name="T45" fmla="*/ 0 h 941"/>
                      <a:gd name="T46" fmla="*/ 0 w 3561"/>
                      <a:gd name="T47" fmla="*/ 0 h 941"/>
                      <a:gd name="T48" fmla="*/ 0 w 3561"/>
                      <a:gd name="T49" fmla="*/ 0 h 941"/>
                      <a:gd name="T50" fmla="*/ 0 w 3561"/>
                      <a:gd name="T51" fmla="*/ 0 h 941"/>
                      <a:gd name="T52" fmla="*/ 0 w 3561"/>
                      <a:gd name="T53" fmla="*/ 0 h 941"/>
                      <a:gd name="T54" fmla="*/ 0 w 3561"/>
                      <a:gd name="T55" fmla="*/ 0 h 941"/>
                      <a:gd name="T56" fmla="*/ 0 w 3561"/>
                      <a:gd name="T57" fmla="*/ 0 h 941"/>
                      <a:gd name="T58" fmla="*/ 0 w 3561"/>
                      <a:gd name="T59" fmla="*/ 0 h 941"/>
                      <a:gd name="T60" fmla="*/ 0 w 3561"/>
                      <a:gd name="T61" fmla="*/ 0 h 941"/>
                      <a:gd name="T62" fmla="*/ 0 w 3561"/>
                      <a:gd name="T63" fmla="*/ 0 h 941"/>
                      <a:gd name="T64" fmla="*/ 0 w 3561"/>
                      <a:gd name="T65" fmla="*/ 0 h 941"/>
                      <a:gd name="T66" fmla="*/ 0 w 3561"/>
                      <a:gd name="T67" fmla="*/ 0 h 941"/>
                      <a:gd name="T68" fmla="*/ 0 w 3561"/>
                      <a:gd name="T69" fmla="*/ 0 h 941"/>
                      <a:gd name="T70" fmla="*/ 0 w 3561"/>
                      <a:gd name="T71" fmla="*/ 0 h 941"/>
                      <a:gd name="T72" fmla="*/ 0 w 3561"/>
                      <a:gd name="T73" fmla="*/ 0 h 941"/>
                      <a:gd name="T74" fmla="*/ 0 w 3561"/>
                      <a:gd name="T75" fmla="*/ 0 h 941"/>
                      <a:gd name="T76" fmla="*/ 0 w 3561"/>
                      <a:gd name="T77" fmla="*/ 0 h 941"/>
                      <a:gd name="T78" fmla="*/ 0 w 3561"/>
                      <a:gd name="T79" fmla="*/ 0 h 941"/>
                      <a:gd name="T80" fmla="*/ 0 w 3561"/>
                      <a:gd name="T81" fmla="*/ 0 h 941"/>
                      <a:gd name="T82" fmla="*/ 0 w 3561"/>
                      <a:gd name="T83" fmla="*/ 0 h 941"/>
                      <a:gd name="T84" fmla="*/ 0 w 3561"/>
                      <a:gd name="T85" fmla="*/ 0 h 941"/>
                      <a:gd name="T86" fmla="*/ 0 w 3561"/>
                      <a:gd name="T87" fmla="*/ 0 h 941"/>
                      <a:gd name="T88" fmla="*/ 0 w 3561"/>
                      <a:gd name="T89" fmla="*/ 0 h 941"/>
                      <a:gd name="T90" fmla="*/ 0 w 3561"/>
                      <a:gd name="T91" fmla="*/ 0 h 941"/>
                      <a:gd name="T92" fmla="*/ 0 w 3561"/>
                      <a:gd name="T93" fmla="*/ 0 h 941"/>
                      <a:gd name="T94" fmla="*/ 0 w 3561"/>
                      <a:gd name="T95" fmla="*/ 0 h 941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w 3561"/>
                      <a:gd name="T145" fmla="*/ 0 h 941"/>
                      <a:gd name="T146" fmla="*/ 3561 w 3561"/>
                      <a:gd name="T147" fmla="*/ 941 h 941"/>
                    </a:gdLst>
                    <a:ahLst/>
                    <a:cxnLst>
                      <a:cxn ang="T96">
                        <a:pos x="T0" y="T1"/>
                      </a:cxn>
                      <a:cxn ang="T97">
                        <a:pos x="T2" y="T3"/>
                      </a:cxn>
                      <a:cxn ang="T98">
                        <a:pos x="T4" y="T5"/>
                      </a:cxn>
                      <a:cxn ang="T99">
                        <a:pos x="T6" y="T7"/>
                      </a:cxn>
                      <a:cxn ang="T100">
                        <a:pos x="T8" y="T9"/>
                      </a:cxn>
                      <a:cxn ang="T101">
                        <a:pos x="T10" y="T11"/>
                      </a:cxn>
                      <a:cxn ang="T102">
                        <a:pos x="T12" y="T13"/>
                      </a:cxn>
                      <a:cxn ang="T103">
                        <a:pos x="T14" y="T15"/>
                      </a:cxn>
                      <a:cxn ang="T104">
                        <a:pos x="T16" y="T17"/>
                      </a:cxn>
                      <a:cxn ang="T105">
                        <a:pos x="T18" y="T19"/>
                      </a:cxn>
                      <a:cxn ang="T106">
                        <a:pos x="T20" y="T21"/>
                      </a:cxn>
                      <a:cxn ang="T107">
                        <a:pos x="T22" y="T23"/>
                      </a:cxn>
                      <a:cxn ang="T108">
                        <a:pos x="T24" y="T25"/>
                      </a:cxn>
                      <a:cxn ang="T109">
                        <a:pos x="T26" y="T27"/>
                      </a:cxn>
                      <a:cxn ang="T110">
                        <a:pos x="T28" y="T29"/>
                      </a:cxn>
                      <a:cxn ang="T111">
                        <a:pos x="T30" y="T31"/>
                      </a:cxn>
                      <a:cxn ang="T112">
                        <a:pos x="T32" y="T33"/>
                      </a:cxn>
                      <a:cxn ang="T113">
                        <a:pos x="T34" y="T35"/>
                      </a:cxn>
                      <a:cxn ang="T114">
                        <a:pos x="T36" y="T37"/>
                      </a:cxn>
                      <a:cxn ang="T115">
                        <a:pos x="T38" y="T39"/>
                      </a:cxn>
                      <a:cxn ang="T116">
                        <a:pos x="T40" y="T41"/>
                      </a:cxn>
                      <a:cxn ang="T117">
                        <a:pos x="T42" y="T43"/>
                      </a:cxn>
                      <a:cxn ang="T118">
                        <a:pos x="T44" y="T45"/>
                      </a:cxn>
                      <a:cxn ang="T119">
                        <a:pos x="T46" y="T47"/>
                      </a:cxn>
                      <a:cxn ang="T120">
                        <a:pos x="T48" y="T49"/>
                      </a:cxn>
                      <a:cxn ang="T121">
                        <a:pos x="T50" y="T51"/>
                      </a:cxn>
                      <a:cxn ang="T122">
                        <a:pos x="T52" y="T53"/>
                      </a:cxn>
                      <a:cxn ang="T123">
                        <a:pos x="T54" y="T55"/>
                      </a:cxn>
                      <a:cxn ang="T124">
                        <a:pos x="T56" y="T57"/>
                      </a:cxn>
                      <a:cxn ang="T125">
                        <a:pos x="T58" y="T59"/>
                      </a:cxn>
                      <a:cxn ang="T126">
                        <a:pos x="T60" y="T61"/>
                      </a:cxn>
                      <a:cxn ang="T127">
                        <a:pos x="T62" y="T63"/>
                      </a:cxn>
                      <a:cxn ang="T128">
                        <a:pos x="T64" y="T65"/>
                      </a:cxn>
                      <a:cxn ang="T129">
                        <a:pos x="T66" y="T67"/>
                      </a:cxn>
                      <a:cxn ang="T130">
                        <a:pos x="T68" y="T69"/>
                      </a:cxn>
                      <a:cxn ang="T131">
                        <a:pos x="T70" y="T71"/>
                      </a:cxn>
                      <a:cxn ang="T132">
                        <a:pos x="T72" y="T73"/>
                      </a:cxn>
                      <a:cxn ang="T133">
                        <a:pos x="T74" y="T75"/>
                      </a:cxn>
                      <a:cxn ang="T134">
                        <a:pos x="T76" y="T77"/>
                      </a:cxn>
                      <a:cxn ang="T135">
                        <a:pos x="T78" y="T79"/>
                      </a:cxn>
                      <a:cxn ang="T136">
                        <a:pos x="T80" y="T81"/>
                      </a:cxn>
                      <a:cxn ang="T137">
                        <a:pos x="T82" y="T83"/>
                      </a:cxn>
                      <a:cxn ang="T138">
                        <a:pos x="T84" y="T85"/>
                      </a:cxn>
                      <a:cxn ang="T139">
                        <a:pos x="T86" y="T87"/>
                      </a:cxn>
                      <a:cxn ang="T140">
                        <a:pos x="T88" y="T89"/>
                      </a:cxn>
                      <a:cxn ang="T141">
                        <a:pos x="T90" y="T91"/>
                      </a:cxn>
                      <a:cxn ang="T142">
                        <a:pos x="T92" y="T93"/>
                      </a:cxn>
                      <a:cxn ang="T143">
                        <a:pos x="T94" y="T95"/>
                      </a:cxn>
                    </a:cxnLst>
                    <a:rect l="T144" t="T145" r="T146" b="T147"/>
                    <a:pathLst>
                      <a:path w="3561" h="941">
                        <a:moveTo>
                          <a:pt x="3519" y="41"/>
                        </a:moveTo>
                        <a:lnTo>
                          <a:pt x="3462" y="83"/>
                        </a:lnTo>
                        <a:lnTo>
                          <a:pt x="3404" y="123"/>
                        </a:lnTo>
                        <a:lnTo>
                          <a:pt x="3347" y="160"/>
                        </a:lnTo>
                        <a:lnTo>
                          <a:pt x="3289" y="194"/>
                        </a:lnTo>
                        <a:lnTo>
                          <a:pt x="3231" y="226"/>
                        </a:lnTo>
                        <a:lnTo>
                          <a:pt x="3172" y="255"/>
                        </a:lnTo>
                        <a:lnTo>
                          <a:pt x="3115" y="283"/>
                        </a:lnTo>
                        <a:lnTo>
                          <a:pt x="3056" y="308"/>
                        </a:lnTo>
                        <a:lnTo>
                          <a:pt x="2997" y="330"/>
                        </a:lnTo>
                        <a:lnTo>
                          <a:pt x="2936" y="351"/>
                        </a:lnTo>
                        <a:lnTo>
                          <a:pt x="2876" y="370"/>
                        </a:lnTo>
                        <a:lnTo>
                          <a:pt x="2816" y="387"/>
                        </a:lnTo>
                        <a:lnTo>
                          <a:pt x="2756" y="401"/>
                        </a:lnTo>
                        <a:lnTo>
                          <a:pt x="2695" y="414"/>
                        </a:lnTo>
                        <a:lnTo>
                          <a:pt x="2635" y="427"/>
                        </a:lnTo>
                        <a:lnTo>
                          <a:pt x="2572" y="437"/>
                        </a:lnTo>
                        <a:lnTo>
                          <a:pt x="2511" y="446"/>
                        </a:lnTo>
                        <a:lnTo>
                          <a:pt x="2449" y="453"/>
                        </a:lnTo>
                        <a:lnTo>
                          <a:pt x="2387" y="460"/>
                        </a:lnTo>
                        <a:lnTo>
                          <a:pt x="2323" y="464"/>
                        </a:lnTo>
                        <a:lnTo>
                          <a:pt x="2260" y="469"/>
                        </a:lnTo>
                        <a:lnTo>
                          <a:pt x="2196" y="472"/>
                        </a:lnTo>
                        <a:lnTo>
                          <a:pt x="2132" y="475"/>
                        </a:lnTo>
                        <a:lnTo>
                          <a:pt x="2068" y="476"/>
                        </a:lnTo>
                        <a:lnTo>
                          <a:pt x="1937" y="478"/>
                        </a:lnTo>
                        <a:lnTo>
                          <a:pt x="1806" y="477"/>
                        </a:lnTo>
                        <a:lnTo>
                          <a:pt x="1672" y="475"/>
                        </a:lnTo>
                        <a:lnTo>
                          <a:pt x="1536" y="472"/>
                        </a:lnTo>
                        <a:lnTo>
                          <a:pt x="1468" y="470"/>
                        </a:lnTo>
                        <a:lnTo>
                          <a:pt x="1400" y="466"/>
                        </a:lnTo>
                        <a:lnTo>
                          <a:pt x="1334" y="458"/>
                        </a:lnTo>
                        <a:lnTo>
                          <a:pt x="1267" y="449"/>
                        </a:lnTo>
                        <a:lnTo>
                          <a:pt x="1202" y="438"/>
                        </a:lnTo>
                        <a:lnTo>
                          <a:pt x="1137" y="424"/>
                        </a:lnTo>
                        <a:lnTo>
                          <a:pt x="1073" y="410"/>
                        </a:lnTo>
                        <a:lnTo>
                          <a:pt x="1011" y="393"/>
                        </a:lnTo>
                        <a:lnTo>
                          <a:pt x="950" y="375"/>
                        </a:lnTo>
                        <a:lnTo>
                          <a:pt x="890" y="358"/>
                        </a:lnTo>
                        <a:lnTo>
                          <a:pt x="831" y="338"/>
                        </a:lnTo>
                        <a:lnTo>
                          <a:pt x="774" y="318"/>
                        </a:lnTo>
                        <a:lnTo>
                          <a:pt x="719" y="296"/>
                        </a:lnTo>
                        <a:lnTo>
                          <a:pt x="666" y="275"/>
                        </a:lnTo>
                        <a:lnTo>
                          <a:pt x="614" y="253"/>
                        </a:lnTo>
                        <a:lnTo>
                          <a:pt x="565" y="232"/>
                        </a:lnTo>
                        <a:lnTo>
                          <a:pt x="517" y="210"/>
                        </a:lnTo>
                        <a:lnTo>
                          <a:pt x="471" y="189"/>
                        </a:lnTo>
                        <a:lnTo>
                          <a:pt x="429" y="167"/>
                        </a:lnTo>
                        <a:lnTo>
                          <a:pt x="389" y="146"/>
                        </a:lnTo>
                        <a:lnTo>
                          <a:pt x="315" y="107"/>
                        </a:lnTo>
                        <a:lnTo>
                          <a:pt x="254" y="72"/>
                        </a:lnTo>
                        <a:lnTo>
                          <a:pt x="204" y="43"/>
                        </a:lnTo>
                        <a:lnTo>
                          <a:pt x="168" y="19"/>
                        </a:lnTo>
                        <a:lnTo>
                          <a:pt x="145" y="5"/>
                        </a:lnTo>
                        <a:lnTo>
                          <a:pt x="137" y="0"/>
                        </a:lnTo>
                        <a:lnTo>
                          <a:pt x="122" y="34"/>
                        </a:lnTo>
                        <a:lnTo>
                          <a:pt x="107" y="65"/>
                        </a:lnTo>
                        <a:lnTo>
                          <a:pt x="93" y="93"/>
                        </a:lnTo>
                        <a:lnTo>
                          <a:pt x="78" y="118"/>
                        </a:lnTo>
                        <a:lnTo>
                          <a:pt x="53" y="164"/>
                        </a:lnTo>
                        <a:lnTo>
                          <a:pt x="31" y="202"/>
                        </a:lnTo>
                        <a:lnTo>
                          <a:pt x="23" y="220"/>
                        </a:lnTo>
                        <a:lnTo>
                          <a:pt x="15" y="236"/>
                        </a:lnTo>
                        <a:lnTo>
                          <a:pt x="8" y="252"/>
                        </a:lnTo>
                        <a:lnTo>
                          <a:pt x="4" y="268"/>
                        </a:lnTo>
                        <a:lnTo>
                          <a:pt x="1" y="283"/>
                        </a:lnTo>
                        <a:lnTo>
                          <a:pt x="0" y="299"/>
                        </a:lnTo>
                        <a:lnTo>
                          <a:pt x="0" y="314"/>
                        </a:lnTo>
                        <a:lnTo>
                          <a:pt x="4" y="331"/>
                        </a:lnTo>
                        <a:lnTo>
                          <a:pt x="9" y="348"/>
                        </a:lnTo>
                        <a:lnTo>
                          <a:pt x="19" y="365"/>
                        </a:lnTo>
                        <a:lnTo>
                          <a:pt x="33" y="385"/>
                        </a:lnTo>
                        <a:lnTo>
                          <a:pt x="49" y="406"/>
                        </a:lnTo>
                        <a:lnTo>
                          <a:pt x="70" y="427"/>
                        </a:lnTo>
                        <a:lnTo>
                          <a:pt x="94" y="450"/>
                        </a:lnTo>
                        <a:lnTo>
                          <a:pt x="122" y="472"/>
                        </a:lnTo>
                        <a:lnTo>
                          <a:pt x="152" y="497"/>
                        </a:lnTo>
                        <a:lnTo>
                          <a:pt x="185" y="521"/>
                        </a:lnTo>
                        <a:lnTo>
                          <a:pt x="222" y="546"/>
                        </a:lnTo>
                        <a:lnTo>
                          <a:pt x="261" y="570"/>
                        </a:lnTo>
                        <a:lnTo>
                          <a:pt x="303" y="596"/>
                        </a:lnTo>
                        <a:lnTo>
                          <a:pt x="348" y="620"/>
                        </a:lnTo>
                        <a:lnTo>
                          <a:pt x="395" y="646"/>
                        </a:lnTo>
                        <a:lnTo>
                          <a:pt x="444" y="670"/>
                        </a:lnTo>
                        <a:lnTo>
                          <a:pt x="497" y="695"/>
                        </a:lnTo>
                        <a:lnTo>
                          <a:pt x="550" y="718"/>
                        </a:lnTo>
                        <a:lnTo>
                          <a:pt x="606" y="742"/>
                        </a:lnTo>
                        <a:lnTo>
                          <a:pt x="664" y="765"/>
                        </a:lnTo>
                        <a:lnTo>
                          <a:pt x="724" y="786"/>
                        </a:lnTo>
                        <a:lnTo>
                          <a:pt x="785" y="807"/>
                        </a:lnTo>
                        <a:lnTo>
                          <a:pt x="847" y="827"/>
                        </a:lnTo>
                        <a:lnTo>
                          <a:pt x="912" y="846"/>
                        </a:lnTo>
                        <a:lnTo>
                          <a:pt x="978" y="863"/>
                        </a:lnTo>
                        <a:lnTo>
                          <a:pt x="1044" y="878"/>
                        </a:lnTo>
                        <a:lnTo>
                          <a:pt x="1112" y="893"/>
                        </a:lnTo>
                        <a:lnTo>
                          <a:pt x="1181" y="906"/>
                        </a:lnTo>
                        <a:lnTo>
                          <a:pt x="1250" y="916"/>
                        </a:lnTo>
                        <a:lnTo>
                          <a:pt x="1321" y="926"/>
                        </a:lnTo>
                        <a:lnTo>
                          <a:pt x="1393" y="933"/>
                        </a:lnTo>
                        <a:lnTo>
                          <a:pt x="1464" y="937"/>
                        </a:lnTo>
                        <a:lnTo>
                          <a:pt x="1536" y="940"/>
                        </a:lnTo>
                        <a:lnTo>
                          <a:pt x="1608" y="941"/>
                        </a:lnTo>
                        <a:lnTo>
                          <a:pt x="1679" y="941"/>
                        </a:lnTo>
                        <a:lnTo>
                          <a:pt x="1749" y="941"/>
                        </a:lnTo>
                        <a:lnTo>
                          <a:pt x="1819" y="940"/>
                        </a:lnTo>
                        <a:lnTo>
                          <a:pt x="1888" y="937"/>
                        </a:lnTo>
                        <a:lnTo>
                          <a:pt x="1957" y="935"/>
                        </a:lnTo>
                        <a:lnTo>
                          <a:pt x="2025" y="932"/>
                        </a:lnTo>
                        <a:lnTo>
                          <a:pt x="2093" y="927"/>
                        </a:lnTo>
                        <a:lnTo>
                          <a:pt x="2160" y="922"/>
                        </a:lnTo>
                        <a:lnTo>
                          <a:pt x="2225" y="915"/>
                        </a:lnTo>
                        <a:lnTo>
                          <a:pt x="2291" y="909"/>
                        </a:lnTo>
                        <a:lnTo>
                          <a:pt x="2357" y="900"/>
                        </a:lnTo>
                        <a:lnTo>
                          <a:pt x="2421" y="890"/>
                        </a:lnTo>
                        <a:lnTo>
                          <a:pt x="2485" y="880"/>
                        </a:lnTo>
                        <a:lnTo>
                          <a:pt x="2549" y="867"/>
                        </a:lnTo>
                        <a:lnTo>
                          <a:pt x="2611" y="854"/>
                        </a:lnTo>
                        <a:lnTo>
                          <a:pt x="2674" y="841"/>
                        </a:lnTo>
                        <a:lnTo>
                          <a:pt x="2736" y="825"/>
                        </a:lnTo>
                        <a:lnTo>
                          <a:pt x="2797" y="808"/>
                        </a:lnTo>
                        <a:lnTo>
                          <a:pt x="2859" y="789"/>
                        </a:lnTo>
                        <a:lnTo>
                          <a:pt x="2919" y="771"/>
                        </a:lnTo>
                        <a:lnTo>
                          <a:pt x="2979" y="749"/>
                        </a:lnTo>
                        <a:lnTo>
                          <a:pt x="3039" y="727"/>
                        </a:lnTo>
                        <a:lnTo>
                          <a:pt x="3098" y="703"/>
                        </a:lnTo>
                        <a:lnTo>
                          <a:pt x="3157" y="678"/>
                        </a:lnTo>
                        <a:lnTo>
                          <a:pt x="3216" y="650"/>
                        </a:lnTo>
                        <a:lnTo>
                          <a:pt x="3274" y="623"/>
                        </a:lnTo>
                        <a:lnTo>
                          <a:pt x="3330" y="592"/>
                        </a:lnTo>
                        <a:lnTo>
                          <a:pt x="3388" y="560"/>
                        </a:lnTo>
                        <a:lnTo>
                          <a:pt x="3445" y="527"/>
                        </a:lnTo>
                        <a:lnTo>
                          <a:pt x="3502" y="491"/>
                        </a:lnTo>
                        <a:lnTo>
                          <a:pt x="3557" y="453"/>
                        </a:lnTo>
                        <a:lnTo>
                          <a:pt x="3560" y="437"/>
                        </a:lnTo>
                        <a:lnTo>
                          <a:pt x="3561" y="416"/>
                        </a:lnTo>
                        <a:lnTo>
                          <a:pt x="3561" y="391"/>
                        </a:lnTo>
                        <a:lnTo>
                          <a:pt x="3561" y="364"/>
                        </a:lnTo>
                        <a:lnTo>
                          <a:pt x="3559" y="303"/>
                        </a:lnTo>
                        <a:lnTo>
                          <a:pt x="3553" y="239"/>
                        </a:lnTo>
                        <a:lnTo>
                          <a:pt x="3545" y="174"/>
                        </a:lnTo>
                        <a:lnTo>
                          <a:pt x="3537" y="116"/>
                        </a:lnTo>
                        <a:lnTo>
                          <a:pt x="3533" y="92"/>
                        </a:lnTo>
                        <a:lnTo>
                          <a:pt x="3527" y="71"/>
                        </a:lnTo>
                        <a:lnTo>
                          <a:pt x="3523" y="53"/>
                        </a:lnTo>
                        <a:lnTo>
                          <a:pt x="3519" y="41"/>
                        </a:lnTo>
                        <a:close/>
                      </a:path>
                    </a:pathLst>
                  </a:custGeom>
                  <a:solidFill>
                    <a:srgbClr val="C93A27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129" name="Freeform 188"/>
                  <p:cNvSpPr>
                    <a:spLocks/>
                  </p:cNvSpPr>
                  <p:nvPr/>
                </p:nvSpPr>
                <p:spPr bwMode="auto">
                  <a:xfrm>
                    <a:off x="3186" y="3764"/>
                    <a:ext cx="511" cy="95"/>
                  </a:xfrm>
                  <a:custGeom>
                    <a:avLst/>
                    <a:gdLst>
                      <a:gd name="T0" fmla="*/ 0 w 3561"/>
                      <a:gd name="T1" fmla="*/ 0 h 668"/>
                      <a:gd name="T2" fmla="*/ 0 w 3561"/>
                      <a:gd name="T3" fmla="*/ 0 h 668"/>
                      <a:gd name="T4" fmla="*/ 0 w 3561"/>
                      <a:gd name="T5" fmla="*/ 0 h 668"/>
                      <a:gd name="T6" fmla="*/ 0 w 3561"/>
                      <a:gd name="T7" fmla="*/ 0 h 668"/>
                      <a:gd name="T8" fmla="*/ 0 w 3561"/>
                      <a:gd name="T9" fmla="*/ 0 h 668"/>
                      <a:gd name="T10" fmla="*/ 0 w 3561"/>
                      <a:gd name="T11" fmla="*/ 0 h 668"/>
                      <a:gd name="T12" fmla="*/ 0 w 3561"/>
                      <a:gd name="T13" fmla="*/ 0 h 668"/>
                      <a:gd name="T14" fmla="*/ 0 w 3561"/>
                      <a:gd name="T15" fmla="*/ 0 h 668"/>
                      <a:gd name="T16" fmla="*/ 0 w 3561"/>
                      <a:gd name="T17" fmla="*/ 0 h 668"/>
                      <a:gd name="T18" fmla="*/ 0 w 3561"/>
                      <a:gd name="T19" fmla="*/ 0 h 668"/>
                      <a:gd name="T20" fmla="*/ 0 w 3561"/>
                      <a:gd name="T21" fmla="*/ 0 h 668"/>
                      <a:gd name="T22" fmla="*/ 0 w 3561"/>
                      <a:gd name="T23" fmla="*/ 0 h 668"/>
                      <a:gd name="T24" fmla="*/ 0 w 3561"/>
                      <a:gd name="T25" fmla="*/ 0 h 668"/>
                      <a:gd name="T26" fmla="*/ 0 w 3561"/>
                      <a:gd name="T27" fmla="*/ 0 h 668"/>
                      <a:gd name="T28" fmla="*/ 0 w 3561"/>
                      <a:gd name="T29" fmla="*/ 0 h 668"/>
                      <a:gd name="T30" fmla="*/ 0 w 3561"/>
                      <a:gd name="T31" fmla="*/ 0 h 668"/>
                      <a:gd name="T32" fmla="*/ 0 w 3561"/>
                      <a:gd name="T33" fmla="*/ 0 h 668"/>
                      <a:gd name="T34" fmla="*/ 0 w 3561"/>
                      <a:gd name="T35" fmla="*/ 0 h 668"/>
                      <a:gd name="T36" fmla="*/ 0 w 3561"/>
                      <a:gd name="T37" fmla="*/ 0 h 668"/>
                      <a:gd name="T38" fmla="*/ 0 w 3561"/>
                      <a:gd name="T39" fmla="*/ 0 h 668"/>
                      <a:gd name="T40" fmla="*/ 0 w 3561"/>
                      <a:gd name="T41" fmla="*/ 0 h 668"/>
                      <a:gd name="T42" fmla="*/ 0 w 3561"/>
                      <a:gd name="T43" fmla="*/ 0 h 668"/>
                      <a:gd name="T44" fmla="*/ 0 w 3561"/>
                      <a:gd name="T45" fmla="*/ 0 h 668"/>
                      <a:gd name="T46" fmla="*/ 0 w 3561"/>
                      <a:gd name="T47" fmla="*/ 0 h 668"/>
                      <a:gd name="T48" fmla="*/ 0 w 3561"/>
                      <a:gd name="T49" fmla="*/ 0 h 668"/>
                      <a:gd name="T50" fmla="*/ 0 w 3561"/>
                      <a:gd name="T51" fmla="*/ 0 h 668"/>
                      <a:gd name="T52" fmla="*/ 0 w 3561"/>
                      <a:gd name="T53" fmla="*/ 0 h 668"/>
                      <a:gd name="T54" fmla="*/ 0 w 3561"/>
                      <a:gd name="T55" fmla="*/ 0 h 668"/>
                      <a:gd name="T56" fmla="*/ 0 w 3561"/>
                      <a:gd name="T57" fmla="*/ 0 h 668"/>
                      <a:gd name="T58" fmla="*/ 0 w 3561"/>
                      <a:gd name="T59" fmla="*/ 0 h 668"/>
                      <a:gd name="T60" fmla="*/ 0 w 3561"/>
                      <a:gd name="T61" fmla="*/ 0 h 668"/>
                      <a:gd name="T62" fmla="*/ 0 w 3561"/>
                      <a:gd name="T63" fmla="*/ 0 h 668"/>
                      <a:gd name="T64" fmla="*/ 0 w 3561"/>
                      <a:gd name="T65" fmla="*/ 0 h 668"/>
                      <a:gd name="T66" fmla="*/ 0 w 3561"/>
                      <a:gd name="T67" fmla="*/ 0 h 668"/>
                      <a:gd name="T68" fmla="*/ 0 w 3561"/>
                      <a:gd name="T69" fmla="*/ 0 h 668"/>
                      <a:gd name="T70" fmla="*/ 0 w 3561"/>
                      <a:gd name="T71" fmla="*/ 0 h 668"/>
                      <a:gd name="T72" fmla="*/ 0 w 3561"/>
                      <a:gd name="T73" fmla="*/ 0 h 668"/>
                      <a:gd name="T74" fmla="*/ 0 w 3561"/>
                      <a:gd name="T75" fmla="*/ 0 h 668"/>
                      <a:gd name="T76" fmla="*/ 0 w 3561"/>
                      <a:gd name="T77" fmla="*/ 0 h 668"/>
                      <a:gd name="T78" fmla="*/ 0 w 3561"/>
                      <a:gd name="T79" fmla="*/ 0 h 668"/>
                      <a:gd name="T80" fmla="*/ 0 w 3561"/>
                      <a:gd name="T81" fmla="*/ 0 h 668"/>
                      <a:gd name="T82" fmla="*/ 0 w 3561"/>
                      <a:gd name="T83" fmla="*/ 0 h 668"/>
                      <a:gd name="T84" fmla="*/ 0 w 3561"/>
                      <a:gd name="T85" fmla="*/ 0 h 668"/>
                      <a:gd name="T86" fmla="*/ 0 w 3561"/>
                      <a:gd name="T87" fmla="*/ 0 h 668"/>
                      <a:gd name="T88" fmla="*/ 0 w 3561"/>
                      <a:gd name="T89" fmla="*/ 0 h 668"/>
                      <a:gd name="T90" fmla="*/ 0 w 3561"/>
                      <a:gd name="T91" fmla="*/ 0 h 668"/>
                      <a:gd name="T92" fmla="*/ 0 w 3561"/>
                      <a:gd name="T93" fmla="*/ 0 h 668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w 3561"/>
                      <a:gd name="T142" fmla="*/ 0 h 668"/>
                      <a:gd name="T143" fmla="*/ 3561 w 3561"/>
                      <a:gd name="T144" fmla="*/ 668 h 668"/>
                    </a:gdLst>
                    <a:ahLst/>
                    <a:cxnLst>
                      <a:cxn ang="T94">
                        <a:pos x="T0" y="T1"/>
                      </a:cxn>
                      <a:cxn ang="T95">
                        <a:pos x="T2" y="T3"/>
                      </a:cxn>
                      <a:cxn ang="T96">
                        <a:pos x="T4" y="T5"/>
                      </a:cxn>
                      <a:cxn ang="T97">
                        <a:pos x="T6" y="T7"/>
                      </a:cxn>
                      <a:cxn ang="T98">
                        <a:pos x="T8" y="T9"/>
                      </a:cxn>
                      <a:cxn ang="T99">
                        <a:pos x="T10" y="T11"/>
                      </a:cxn>
                      <a:cxn ang="T100">
                        <a:pos x="T12" y="T13"/>
                      </a:cxn>
                      <a:cxn ang="T101">
                        <a:pos x="T14" y="T15"/>
                      </a:cxn>
                      <a:cxn ang="T102">
                        <a:pos x="T16" y="T17"/>
                      </a:cxn>
                      <a:cxn ang="T103">
                        <a:pos x="T18" y="T19"/>
                      </a:cxn>
                      <a:cxn ang="T104">
                        <a:pos x="T20" y="T21"/>
                      </a:cxn>
                      <a:cxn ang="T105">
                        <a:pos x="T22" y="T23"/>
                      </a:cxn>
                      <a:cxn ang="T106">
                        <a:pos x="T24" y="T25"/>
                      </a:cxn>
                      <a:cxn ang="T107">
                        <a:pos x="T26" y="T27"/>
                      </a:cxn>
                      <a:cxn ang="T108">
                        <a:pos x="T28" y="T29"/>
                      </a:cxn>
                      <a:cxn ang="T109">
                        <a:pos x="T30" y="T31"/>
                      </a:cxn>
                      <a:cxn ang="T110">
                        <a:pos x="T32" y="T33"/>
                      </a:cxn>
                      <a:cxn ang="T111">
                        <a:pos x="T34" y="T35"/>
                      </a:cxn>
                      <a:cxn ang="T112">
                        <a:pos x="T36" y="T37"/>
                      </a:cxn>
                      <a:cxn ang="T113">
                        <a:pos x="T38" y="T39"/>
                      </a:cxn>
                      <a:cxn ang="T114">
                        <a:pos x="T40" y="T41"/>
                      </a:cxn>
                      <a:cxn ang="T115">
                        <a:pos x="T42" y="T43"/>
                      </a:cxn>
                      <a:cxn ang="T116">
                        <a:pos x="T44" y="T45"/>
                      </a:cxn>
                      <a:cxn ang="T117">
                        <a:pos x="T46" y="T47"/>
                      </a:cxn>
                      <a:cxn ang="T118">
                        <a:pos x="T48" y="T49"/>
                      </a:cxn>
                      <a:cxn ang="T119">
                        <a:pos x="T50" y="T51"/>
                      </a:cxn>
                      <a:cxn ang="T120">
                        <a:pos x="T52" y="T53"/>
                      </a:cxn>
                      <a:cxn ang="T121">
                        <a:pos x="T54" y="T55"/>
                      </a:cxn>
                      <a:cxn ang="T122">
                        <a:pos x="T56" y="T57"/>
                      </a:cxn>
                      <a:cxn ang="T123">
                        <a:pos x="T58" y="T59"/>
                      </a:cxn>
                      <a:cxn ang="T124">
                        <a:pos x="T60" y="T61"/>
                      </a:cxn>
                      <a:cxn ang="T125">
                        <a:pos x="T62" y="T63"/>
                      </a:cxn>
                      <a:cxn ang="T126">
                        <a:pos x="T64" y="T65"/>
                      </a:cxn>
                      <a:cxn ang="T127">
                        <a:pos x="T66" y="T67"/>
                      </a:cxn>
                      <a:cxn ang="T128">
                        <a:pos x="T68" y="T69"/>
                      </a:cxn>
                      <a:cxn ang="T129">
                        <a:pos x="T70" y="T71"/>
                      </a:cxn>
                      <a:cxn ang="T130">
                        <a:pos x="T72" y="T73"/>
                      </a:cxn>
                      <a:cxn ang="T131">
                        <a:pos x="T74" y="T75"/>
                      </a:cxn>
                      <a:cxn ang="T132">
                        <a:pos x="T76" y="T77"/>
                      </a:cxn>
                      <a:cxn ang="T133">
                        <a:pos x="T78" y="T79"/>
                      </a:cxn>
                      <a:cxn ang="T134">
                        <a:pos x="T80" y="T81"/>
                      </a:cxn>
                      <a:cxn ang="T135">
                        <a:pos x="T82" y="T83"/>
                      </a:cxn>
                      <a:cxn ang="T136">
                        <a:pos x="T84" y="T85"/>
                      </a:cxn>
                      <a:cxn ang="T137">
                        <a:pos x="T86" y="T87"/>
                      </a:cxn>
                      <a:cxn ang="T138">
                        <a:pos x="T88" y="T89"/>
                      </a:cxn>
                      <a:cxn ang="T139">
                        <a:pos x="T90" y="T91"/>
                      </a:cxn>
                      <a:cxn ang="T140">
                        <a:pos x="T92" y="T93"/>
                      </a:cxn>
                    </a:cxnLst>
                    <a:rect l="T141" t="T142" r="T143" b="T144"/>
                    <a:pathLst>
                      <a:path w="3561" h="668">
                        <a:moveTo>
                          <a:pt x="3557" y="128"/>
                        </a:moveTo>
                        <a:lnTo>
                          <a:pt x="3501" y="165"/>
                        </a:lnTo>
                        <a:lnTo>
                          <a:pt x="3444" y="200"/>
                        </a:lnTo>
                        <a:lnTo>
                          <a:pt x="3388" y="234"/>
                        </a:lnTo>
                        <a:lnTo>
                          <a:pt x="3330" y="266"/>
                        </a:lnTo>
                        <a:lnTo>
                          <a:pt x="3273" y="296"/>
                        </a:lnTo>
                        <a:lnTo>
                          <a:pt x="3215" y="325"/>
                        </a:lnTo>
                        <a:lnTo>
                          <a:pt x="3156" y="352"/>
                        </a:lnTo>
                        <a:lnTo>
                          <a:pt x="3097" y="377"/>
                        </a:lnTo>
                        <a:lnTo>
                          <a:pt x="3038" y="401"/>
                        </a:lnTo>
                        <a:lnTo>
                          <a:pt x="2979" y="424"/>
                        </a:lnTo>
                        <a:lnTo>
                          <a:pt x="2918" y="444"/>
                        </a:lnTo>
                        <a:lnTo>
                          <a:pt x="2858" y="464"/>
                        </a:lnTo>
                        <a:lnTo>
                          <a:pt x="2797" y="482"/>
                        </a:lnTo>
                        <a:lnTo>
                          <a:pt x="2735" y="499"/>
                        </a:lnTo>
                        <a:lnTo>
                          <a:pt x="2673" y="514"/>
                        </a:lnTo>
                        <a:lnTo>
                          <a:pt x="2611" y="529"/>
                        </a:lnTo>
                        <a:lnTo>
                          <a:pt x="2548" y="542"/>
                        </a:lnTo>
                        <a:lnTo>
                          <a:pt x="2485" y="553"/>
                        </a:lnTo>
                        <a:lnTo>
                          <a:pt x="2420" y="564"/>
                        </a:lnTo>
                        <a:lnTo>
                          <a:pt x="2356" y="573"/>
                        </a:lnTo>
                        <a:lnTo>
                          <a:pt x="2290" y="582"/>
                        </a:lnTo>
                        <a:lnTo>
                          <a:pt x="2225" y="590"/>
                        </a:lnTo>
                        <a:lnTo>
                          <a:pt x="2159" y="595"/>
                        </a:lnTo>
                        <a:lnTo>
                          <a:pt x="2092" y="601"/>
                        </a:lnTo>
                        <a:lnTo>
                          <a:pt x="2024" y="605"/>
                        </a:lnTo>
                        <a:lnTo>
                          <a:pt x="1956" y="609"/>
                        </a:lnTo>
                        <a:lnTo>
                          <a:pt x="1888" y="612"/>
                        </a:lnTo>
                        <a:lnTo>
                          <a:pt x="1818" y="614"/>
                        </a:lnTo>
                        <a:lnTo>
                          <a:pt x="1749" y="615"/>
                        </a:lnTo>
                        <a:lnTo>
                          <a:pt x="1678" y="615"/>
                        </a:lnTo>
                        <a:lnTo>
                          <a:pt x="1607" y="615"/>
                        </a:lnTo>
                        <a:lnTo>
                          <a:pt x="1536" y="614"/>
                        </a:lnTo>
                        <a:lnTo>
                          <a:pt x="1463" y="612"/>
                        </a:lnTo>
                        <a:lnTo>
                          <a:pt x="1392" y="607"/>
                        </a:lnTo>
                        <a:lnTo>
                          <a:pt x="1321" y="600"/>
                        </a:lnTo>
                        <a:lnTo>
                          <a:pt x="1250" y="591"/>
                        </a:lnTo>
                        <a:lnTo>
                          <a:pt x="1181" y="580"/>
                        </a:lnTo>
                        <a:lnTo>
                          <a:pt x="1112" y="568"/>
                        </a:lnTo>
                        <a:lnTo>
                          <a:pt x="1044" y="553"/>
                        </a:lnTo>
                        <a:lnTo>
                          <a:pt x="977" y="538"/>
                        </a:lnTo>
                        <a:lnTo>
                          <a:pt x="911" y="520"/>
                        </a:lnTo>
                        <a:lnTo>
                          <a:pt x="847" y="501"/>
                        </a:lnTo>
                        <a:lnTo>
                          <a:pt x="784" y="482"/>
                        </a:lnTo>
                        <a:lnTo>
                          <a:pt x="723" y="461"/>
                        </a:lnTo>
                        <a:lnTo>
                          <a:pt x="663" y="439"/>
                        </a:lnTo>
                        <a:lnTo>
                          <a:pt x="605" y="416"/>
                        </a:lnTo>
                        <a:lnTo>
                          <a:pt x="549" y="393"/>
                        </a:lnTo>
                        <a:lnTo>
                          <a:pt x="496" y="368"/>
                        </a:lnTo>
                        <a:lnTo>
                          <a:pt x="444" y="344"/>
                        </a:lnTo>
                        <a:lnTo>
                          <a:pt x="395" y="319"/>
                        </a:lnTo>
                        <a:lnTo>
                          <a:pt x="347" y="295"/>
                        </a:lnTo>
                        <a:lnTo>
                          <a:pt x="302" y="269"/>
                        </a:lnTo>
                        <a:lnTo>
                          <a:pt x="260" y="245"/>
                        </a:lnTo>
                        <a:lnTo>
                          <a:pt x="221" y="219"/>
                        </a:lnTo>
                        <a:lnTo>
                          <a:pt x="184" y="195"/>
                        </a:lnTo>
                        <a:lnTo>
                          <a:pt x="151" y="170"/>
                        </a:lnTo>
                        <a:lnTo>
                          <a:pt x="121" y="147"/>
                        </a:lnTo>
                        <a:lnTo>
                          <a:pt x="93" y="124"/>
                        </a:lnTo>
                        <a:lnTo>
                          <a:pt x="70" y="101"/>
                        </a:lnTo>
                        <a:lnTo>
                          <a:pt x="49" y="80"/>
                        </a:lnTo>
                        <a:lnTo>
                          <a:pt x="32" y="59"/>
                        </a:lnTo>
                        <a:lnTo>
                          <a:pt x="19" y="40"/>
                        </a:lnTo>
                        <a:lnTo>
                          <a:pt x="9" y="22"/>
                        </a:lnTo>
                        <a:lnTo>
                          <a:pt x="3" y="5"/>
                        </a:lnTo>
                        <a:lnTo>
                          <a:pt x="3" y="2"/>
                        </a:lnTo>
                        <a:lnTo>
                          <a:pt x="2" y="0"/>
                        </a:lnTo>
                        <a:lnTo>
                          <a:pt x="0" y="15"/>
                        </a:lnTo>
                        <a:lnTo>
                          <a:pt x="0" y="28"/>
                        </a:lnTo>
                        <a:lnTo>
                          <a:pt x="1" y="42"/>
                        </a:lnTo>
                        <a:lnTo>
                          <a:pt x="3" y="58"/>
                        </a:lnTo>
                        <a:lnTo>
                          <a:pt x="9" y="75"/>
                        </a:lnTo>
                        <a:lnTo>
                          <a:pt x="19" y="92"/>
                        </a:lnTo>
                        <a:lnTo>
                          <a:pt x="32" y="112"/>
                        </a:lnTo>
                        <a:lnTo>
                          <a:pt x="49" y="133"/>
                        </a:lnTo>
                        <a:lnTo>
                          <a:pt x="70" y="154"/>
                        </a:lnTo>
                        <a:lnTo>
                          <a:pt x="93" y="177"/>
                        </a:lnTo>
                        <a:lnTo>
                          <a:pt x="121" y="199"/>
                        </a:lnTo>
                        <a:lnTo>
                          <a:pt x="151" y="224"/>
                        </a:lnTo>
                        <a:lnTo>
                          <a:pt x="184" y="248"/>
                        </a:lnTo>
                        <a:lnTo>
                          <a:pt x="221" y="273"/>
                        </a:lnTo>
                        <a:lnTo>
                          <a:pt x="260" y="297"/>
                        </a:lnTo>
                        <a:lnTo>
                          <a:pt x="302" y="323"/>
                        </a:lnTo>
                        <a:lnTo>
                          <a:pt x="347" y="347"/>
                        </a:lnTo>
                        <a:lnTo>
                          <a:pt x="395" y="373"/>
                        </a:lnTo>
                        <a:lnTo>
                          <a:pt x="444" y="397"/>
                        </a:lnTo>
                        <a:lnTo>
                          <a:pt x="496" y="422"/>
                        </a:lnTo>
                        <a:lnTo>
                          <a:pt x="549" y="445"/>
                        </a:lnTo>
                        <a:lnTo>
                          <a:pt x="605" y="469"/>
                        </a:lnTo>
                        <a:lnTo>
                          <a:pt x="663" y="492"/>
                        </a:lnTo>
                        <a:lnTo>
                          <a:pt x="723" y="513"/>
                        </a:lnTo>
                        <a:lnTo>
                          <a:pt x="784" y="534"/>
                        </a:lnTo>
                        <a:lnTo>
                          <a:pt x="847" y="554"/>
                        </a:lnTo>
                        <a:lnTo>
                          <a:pt x="911" y="573"/>
                        </a:lnTo>
                        <a:lnTo>
                          <a:pt x="977" y="590"/>
                        </a:lnTo>
                        <a:lnTo>
                          <a:pt x="1044" y="605"/>
                        </a:lnTo>
                        <a:lnTo>
                          <a:pt x="1112" y="620"/>
                        </a:lnTo>
                        <a:lnTo>
                          <a:pt x="1181" y="633"/>
                        </a:lnTo>
                        <a:lnTo>
                          <a:pt x="1250" y="643"/>
                        </a:lnTo>
                        <a:lnTo>
                          <a:pt x="1321" y="653"/>
                        </a:lnTo>
                        <a:lnTo>
                          <a:pt x="1392" y="660"/>
                        </a:lnTo>
                        <a:lnTo>
                          <a:pt x="1463" y="664"/>
                        </a:lnTo>
                        <a:lnTo>
                          <a:pt x="1536" y="667"/>
                        </a:lnTo>
                        <a:lnTo>
                          <a:pt x="1607" y="668"/>
                        </a:lnTo>
                        <a:lnTo>
                          <a:pt x="1678" y="668"/>
                        </a:lnTo>
                        <a:lnTo>
                          <a:pt x="1749" y="668"/>
                        </a:lnTo>
                        <a:lnTo>
                          <a:pt x="1818" y="667"/>
                        </a:lnTo>
                        <a:lnTo>
                          <a:pt x="1888" y="664"/>
                        </a:lnTo>
                        <a:lnTo>
                          <a:pt x="1956" y="662"/>
                        </a:lnTo>
                        <a:lnTo>
                          <a:pt x="2024" y="659"/>
                        </a:lnTo>
                        <a:lnTo>
                          <a:pt x="2092" y="654"/>
                        </a:lnTo>
                        <a:lnTo>
                          <a:pt x="2159" y="649"/>
                        </a:lnTo>
                        <a:lnTo>
                          <a:pt x="2225" y="642"/>
                        </a:lnTo>
                        <a:lnTo>
                          <a:pt x="2290" y="636"/>
                        </a:lnTo>
                        <a:lnTo>
                          <a:pt x="2356" y="627"/>
                        </a:lnTo>
                        <a:lnTo>
                          <a:pt x="2420" y="617"/>
                        </a:lnTo>
                        <a:lnTo>
                          <a:pt x="2485" y="607"/>
                        </a:lnTo>
                        <a:lnTo>
                          <a:pt x="2548" y="594"/>
                        </a:lnTo>
                        <a:lnTo>
                          <a:pt x="2611" y="581"/>
                        </a:lnTo>
                        <a:lnTo>
                          <a:pt x="2673" y="568"/>
                        </a:lnTo>
                        <a:lnTo>
                          <a:pt x="2735" y="552"/>
                        </a:lnTo>
                        <a:lnTo>
                          <a:pt x="2797" y="535"/>
                        </a:lnTo>
                        <a:lnTo>
                          <a:pt x="2858" y="516"/>
                        </a:lnTo>
                        <a:lnTo>
                          <a:pt x="2918" y="498"/>
                        </a:lnTo>
                        <a:lnTo>
                          <a:pt x="2979" y="476"/>
                        </a:lnTo>
                        <a:lnTo>
                          <a:pt x="3038" y="454"/>
                        </a:lnTo>
                        <a:lnTo>
                          <a:pt x="3097" y="430"/>
                        </a:lnTo>
                        <a:lnTo>
                          <a:pt x="3156" y="405"/>
                        </a:lnTo>
                        <a:lnTo>
                          <a:pt x="3215" y="377"/>
                        </a:lnTo>
                        <a:lnTo>
                          <a:pt x="3273" y="350"/>
                        </a:lnTo>
                        <a:lnTo>
                          <a:pt x="3330" y="319"/>
                        </a:lnTo>
                        <a:lnTo>
                          <a:pt x="3388" y="287"/>
                        </a:lnTo>
                        <a:lnTo>
                          <a:pt x="3444" y="254"/>
                        </a:lnTo>
                        <a:lnTo>
                          <a:pt x="3501" y="218"/>
                        </a:lnTo>
                        <a:lnTo>
                          <a:pt x="3557" y="180"/>
                        </a:lnTo>
                        <a:lnTo>
                          <a:pt x="3559" y="164"/>
                        </a:lnTo>
                        <a:lnTo>
                          <a:pt x="3560" y="143"/>
                        </a:lnTo>
                        <a:lnTo>
                          <a:pt x="3561" y="118"/>
                        </a:lnTo>
                        <a:lnTo>
                          <a:pt x="3560" y="90"/>
                        </a:lnTo>
                        <a:lnTo>
                          <a:pt x="3560" y="101"/>
                        </a:lnTo>
                        <a:lnTo>
                          <a:pt x="3559" y="111"/>
                        </a:lnTo>
                        <a:lnTo>
                          <a:pt x="3558" y="120"/>
                        </a:lnTo>
                        <a:lnTo>
                          <a:pt x="3557" y="128"/>
                        </a:lnTo>
                        <a:close/>
                      </a:path>
                    </a:pathLst>
                  </a:custGeom>
                  <a:solidFill>
                    <a:srgbClr val="99312C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130" name="Freeform 189"/>
                  <p:cNvSpPr>
                    <a:spLocks/>
                  </p:cNvSpPr>
                  <p:nvPr/>
                </p:nvSpPr>
                <p:spPr bwMode="auto">
                  <a:xfrm>
                    <a:off x="3223" y="3764"/>
                    <a:ext cx="20" cy="18"/>
                  </a:xfrm>
                  <a:custGeom>
                    <a:avLst/>
                    <a:gdLst>
                      <a:gd name="T0" fmla="*/ 0 w 139"/>
                      <a:gd name="T1" fmla="*/ 0 h 125"/>
                      <a:gd name="T2" fmla="*/ 0 w 139"/>
                      <a:gd name="T3" fmla="*/ 0 h 125"/>
                      <a:gd name="T4" fmla="*/ 0 w 139"/>
                      <a:gd name="T5" fmla="*/ 0 h 125"/>
                      <a:gd name="T6" fmla="*/ 0 w 139"/>
                      <a:gd name="T7" fmla="*/ 0 h 125"/>
                      <a:gd name="T8" fmla="*/ 0 w 139"/>
                      <a:gd name="T9" fmla="*/ 0 h 12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39"/>
                      <a:gd name="T16" fmla="*/ 0 h 125"/>
                      <a:gd name="T17" fmla="*/ 139 w 139"/>
                      <a:gd name="T18" fmla="*/ 125 h 12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39" h="125">
                        <a:moveTo>
                          <a:pt x="69" y="125"/>
                        </a:moveTo>
                        <a:lnTo>
                          <a:pt x="0" y="62"/>
                        </a:lnTo>
                        <a:lnTo>
                          <a:pt x="69" y="0"/>
                        </a:lnTo>
                        <a:lnTo>
                          <a:pt x="139" y="62"/>
                        </a:lnTo>
                        <a:lnTo>
                          <a:pt x="69" y="125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131" name="Freeform 190"/>
                  <p:cNvSpPr>
                    <a:spLocks/>
                  </p:cNvSpPr>
                  <p:nvPr/>
                </p:nvSpPr>
                <p:spPr bwMode="auto">
                  <a:xfrm>
                    <a:off x="3251" y="3779"/>
                    <a:ext cx="35" cy="31"/>
                  </a:xfrm>
                  <a:custGeom>
                    <a:avLst/>
                    <a:gdLst>
                      <a:gd name="T0" fmla="*/ 0 w 233"/>
                      <a:gd name="T1" fmla="*/ 0 h 207"/>
                      <a:gd name="T2" fmla="*/ 0 w 233"/>
                      <a:gd name="T3" fmla="*/ 0 h 207"/>
                      <a:gd name="T4" fmla="*/ 0 w 233"/>
                      <a:gd name="T5" fmla="*/ 0 h 207"/>
                      <a:gd name="T6" fmla="*/ 0 w 233"/>
                      <a:gd name="T7" fmla="*/ 0 h 207"/>
                      <a:gd name="T8" fmla="*/ 0 w 233"/>
                      <a:gd name="T9" fmla="*/ 0 h 20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33"/>
                      <a:gd name="T16" fmla="*/ 0 h 207"/>
                      <a:gd name="T17" fmla="*/ 233 w 233"/>
                      <a:gd name="T18" fmla="*/ 207 h 20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33" h="207">
                        <a:moveTo>
                          <a:pt x="96" y="207"/>
                        </a:moveTo>
                        <a:lnTo>
                          <a:pt x="0" y="85"/>
                        </a:lnTo>
                        <a:lnTo>
                          <a:pt x="137" y="0"/>
                        </a:lnTo>
                        <a:lnTo>
                          <a:pt x="233" y="122"/>
                        </a:lnTo>
                        <a:lnTo>
                          <a:pt x="96" y="207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132" name="Freeform 191"/>
                  <p:cNvSpPr>
                    <a:spLocks/>
                  </p:cNvSpPr>
                  <p:nvPr/>
                </p:nvSpPr>
                <p:spPr bwMode="auto">
                  <a:xfrm>
                    <a:off x="3300" y="3802"/>
                    <a:ext cx="17" cy="15"/>
                  </a:xfrm>
                  <a:custGeom>
                    <a:avLst/>
                    <a:gdLst>
                      <a:gd name="T0" fmla="*/ 0 w 122"/>
                      <a:gd name="T1" fmla="*/ 0 h 109"/>
                      <a:gd name="T2" fmla="*/ 0 w 122"/>
                      <a:gd name="T3" fmla="*/ 0 h 109"/>
                      <a:gd name="T4" fmla="*/ 0 w 122"/>
                      <a:gd name="T5" fmla="*/ 0 h 109"/>
                      <a:gd name="T6" fmla="*/ 0 w 122"/>
                      <a:gd name="T7" fmla="*/ 0 h 109"/>
                      <a:gd name="T8" fmla="*/ 0 w 122"/>
                      <a:gd name="T9" fmla="*/ 0 h 10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22"/>
                      <a:gd name="T16" fmla="*/ 0 h 109"/>
                      <a:gd name="T17" fmla="*/ 122 w 122"/>
                      <a:gd name="T18" fmla="*/ 109 h 10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22" h="109">
                        <a:moveTo>
                          <a:pt x="37" y="109"/>
                        </a:moveTo>
                        <a:lnTo>
                          <a:pt x="0" y="32"/>
                        </a:lnTo>
                        <a:lnTo>
                          <a:pt x="86" y="0"/>
                        </a:lnTo>
                        <a:lnTo>
                          <a:pt x="122" y="76"/>
                        </a:lnTo>
                        <a:lnTo>
                          <a:pt x="37" y="109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133" name="Freeform 192"/>
                  <p:cNvSpPr>
                    <a:spLocks/>
                  </p:cNvSpPr>
                  <p:nvPr/>
                </p:nvSpPr>
                <p:spPr bwMode="auto">
                  <a:xfrm>
                    <a:off x="3341" y="3811"/>
                    <a:ext cx="22" cy="19"/>
                  </a:xfrm>
                  <a:custGeom>
                    <a:avLst/>
                    <a:gdLst>
                      <a:gd name="T0" fmla="*/ 0 w 143"/>
                      <a:gd name="T1" fmla="*/ 0 h 128"/>
                      <a:gd name="T2" fmla="*/ 0 w 143"/>
                      <a:gd name="T3" fmla="*/ 0 h 128"/>
                      <a:gd name="T4" fmla="*/ 0 w 143"/>
                      <a:gd name="T5" fmla="*/ 0 h 128"/>
                      <a:gd name="T6" fmla="*/ 0 w 143"/>
                      <a:gd name="T7" fmla="*/ 0 h 128"/>
                      <a:gd name="T8" fmla="*/ 0 w 143"/>
                      <a:gd name="T9" fmla="*/ 0 h 12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43"/>
                      <a:gd name="T16" fmla="*/ 0 h 128"/>
                      <a:gd name="T17" fmla="*/ 143 w 143"/>
                      <a:gd name="T18" fmla="*/ 128 h 12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43" h="128">
                        <a:moveTo>
                          <a:pt x="57" y="128"/>
                        </a:moveTo>
                        <a:lnTo>
                          <a:pt x="0" y="52"/>
                        </a:lnTo>
                        <a:lnTo>
                          <a:pt x="86" y="0"/>
                        </a:lnTo>
                        <a:lnTo>
                          <a:pt x="143" y="77"/>
                        </a:lnTo>
                        <a:lnTo>
                          <a:pt x="57" y="128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134" name="Freeform 193"/>
                  <p:cNvSpPr>
                    <a:spLocks/>
                  </p:cNvSpPr>
                  <p:nvPr/>
                </p:nvSpPr>
                <p:spPr bwMode="auto">
                  <a:xfrm>
                    <a:off x="3668" y="3764"/>
                    <a:ext cx="20" cy="18"/>
                  </a:xfrm>
                  <a:custGeom>
                    <a:avLst/>
                    <a:gdLst>
                      <a:gd name="T0" fmla="*/ 0 w 139"/>
                      <a:gd name="T1" fmla="*/ 0 h 125"/>
                      <a:gd name="T2" fmla="*/ 0 w 139"/>
                      <a:gd name="T3" fmla="*/ 0 h 125"/>
                      <a:gd name="T4" fmla="*/ 0 w 139"/>
                      <a:gd name="T5" fmla="*/ 0 h 125"/>
                      <a:gd name="T6" fmla="*/ 0 w 139"/>
                      <a:gd name="T7" fmla="*/ 0 h 125"/>
                      <a:gd name="T8" fmla="*/ 0 w 139"/>
                      <a:gd name="T9" fmla="*/ 0 h 12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39"/>
                      <a:gd name="T16" fmla="*/ 0 h 125"/>
                      <a:gd name="T17" fmla="*/ 139 w 139"/>
                      <a:gd name="T18" fmla="*/ 125 h 12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39" h="125">
                        <a:moveTo>
                          <a:pt x="69" y="125"/>
                        </a:moveTo>
                        <a:lnTo>
                          <a:pt x="139" y="62"/>
                        </a:lnTo>
                        <a:lnTo>
                          <a:pt x="69" y="0"/>
                        </a:lnTo>
                        <a:lnTo>
                          <a:pt x="0" y="62"/>
                        </a:lnTo>
                        <a:lnTo>
                          <a:pt x="69" y="125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135" name="Freeform 194"/>
                  <p:cNvSpPr>
                    <a:spLocks/>
                  </p:cNvSpPr>
                  <p:nvPr/>
                </p:nvSpPr>
                <p:spPr bwMode="auto">
                  <a:xfrm>
                    <a:off x="3627" y="3779"/>
                    <a:ext cx="33" cy="31"/>
                  </a:xfrm>
                  <a:custGeom>
                    <a:avLst/>
                    <a:gdLst>
                      <a:gd name="T0" fmla="*/ 0 w 231"/>
                      <a:gd name="T1" fmla="*/ 0 h 207"/>
                      <a:gd name="T2" fmla="*/ 0 w 231"/>
                      <a:gd name="T3" fmla="*/ 0 h 207"/>
                      <a:gd name="T4" fmla="*/ 0 w 231"/>
                      <a:gd name="T5" fmla="*/ 0 h 207"/>
                      <a:gd name="T6" fmla="*/ 0 w 231"/>
                      <a:gd name="T7" fmla="*/ 0 h 207"/>
                      <a:gd name="T8" fmla="*/ 0 w 231"/>
                      <a:gd name="T9" fmla="*/ 0 h 20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31"/>
                      <a:gd name="T16" fmla="*/ 0 h 207"/>
                      <a:gd name="T17" fmla="*/ 231 w 231"/>
                      <a:gd name="T18" fmla="*/ 207 h 20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31" h="207">
                        <a:moveTo>
                          <a:pt x="137" y="207"/>
                        </a:moveTo>
                        <a:lnTo>
                          <a:pt x="231" y="85"/>
                        </a:lnTo>
                        <a:lnTo>
                          <a:pt x="95" y="0"/>
                        </a:lnTo>
                        <a:lnTo>
                          <a:pt x="0" y="122"/>
                        </a:lnTo>
                        <a:lnTo>
                          <a:pt x="137" y="207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136" name="Freeform 195"/>
                  <p:cNvSpPr>
                    <a:spLocks/>
                  </p:cNvSpPr>
                  <p:nvPr/>
                </p:nvSpPr>
                <p:spPr bwMode="auto">
                  <a:xfrm>
                    <a:off x="3594" y="3802"/>
                    <a:ext cx="18" cy="15"/>
                  </a:xfrm>
                  <a:custGeom>
                    <a:avLst/>
                    <a:gdLst>
                      <a:gd name="T0" fmla="*/ 0 w 122"/>
                      <a:gd name="T1" fmla="*/ 0 h 109"/>
                      <a:gd name="T2" fmla="*/ 0 w 122"/>
                      <a:gd name="T3" fmla="*/ 0 h 109"/>
                      <a:gd name="T4" fmla="*/ 0 w 122"/>
                      <a:gd name="T5" fmla="*/ 0 h 109"/>
                      <a:gd name="T6" fmla="*/ 0 w 122"/>
                      <a:gd name="T7" fmla="*/ 0 h 109"/>
                      <a:gd name="T8" fmla="*/ 0 w 122"/>
                      <a:gd name="T9" fmla="*/ 0 h 10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22"/>
                      <a:gd name="T16" fmla="*/ 0 h 109"/>
                      <a:gd name="T17" fmla="*/ 122 w 122"/>
                      <a:gd name="T18" fmla="*/ 109 h 10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22" h="109">
                        <a:moveTo>
                          <a:pt x="85" y="109"/>
                        </a:moveTo>
                        <a:lnTo>
                          <a:pt x="122" y="32"/>
                        </a:lnTo>
                        <a:lnTo>
                          <a:pt x="36" y="0"/>
                        </a:lnTo>
                        <a:lnTo>
                          <a:pt x="0" y="76"/>
                        </a:lnTo>
                        <a:lnTo>
                          <a:pt x="85" y="109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137" name="Freeform 196"/>
                  <p:cNvSpPr>
                    <a:spLocks/>
                  </p:cNvSpPr>
                  <p:nvPr/>
                </p:nvSpPr>
                <p:spPr bwMode="auto">
                  <a:xfrm>
                    <a:off x="3550" y="3811"/>
                    <a:ext cx="20" cy="19"/>
                  </a:xfrm>
                  <a:custGeom>
                    <a:avLst/>
                    <a:gdLst>
                      <a:gd name="T0" fmla="*/ 0 w 141"/>
                      <a:gd name="T1" fmla="*/ 0 h 128"/>
                      <a:gd name="T2" fmla="*/ 0 w 141"/>
                      <a:gd name="T3" fmla="*/ 0 h 128"/>
                      <a:gd name="T4" fmla="*/ 0 w 141"/>
                      <a:gd name="T5" fmla="*/ 0 h 128"/>
                      <a:gd name="T6" fmla="*/ 0 w 141"/>
                      <a:gd name="T7" fmla="*/ 0 h 128"/>
                      <a:gd name="T8" fmla="*/ 0 w 141"/>
                      <a:gd name="T9" fmla="*/ 0 h 12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41"/>
                      <a:gd name="T16" fmla="*/ 0 h 128"/>
                      <a:gd name="T17" fmla="*/ 141 w 141"/>
                      <a:gd name="T18" fmla="*/ 128 h 12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41" h="128">
                        <a:moveTo>
                          <a:pt x="85" y="128"/>
                        </a:moveTo>
                        <a:lnTo>
                          <a:pt x="141" y="52"/>
                        </a:lnTo>
                        <a:lnTo>
                          <a:pt x="57" y="0"/>
                        </a:lnTo>
                        <a:lnTo>
                          <a:pt x="0" y="77"/>
                        </a:lnTo>
                        <a:lnTo>
                          <a:pt x="85" y="128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138" name="Freeform 197"/>
                  <p:cNvSpPr>
                    <a:spLocks/>
                  </p:cNvSpPr>
                  <p:nvPr/>
                </p:nvSpPr>
                <p:spPr bwMode="auto">
                  <a:xfrm>
                    <a:off x="3165" y="3511"/>
                    <a:ext cx="294" cy="330"/>
                  </a:xfrm>
                  <a:custGeom>
                    <a:avLst/>
                    <a:gdLst>
                      <a:gd name="T0" fmla="*/ 0 w 2056"/>
                      <a:gd name="T1" fmla="*/ 0 h 2325"/>
                      <a:gd name="T2" fmla="*/ 0 w 2056"/>
                      <a:gd name="T3" fmla="*/ 0 h 2325"/>
                      <a:gd name="T4" fmla="*/ 0 w 2056"/>
                      <a:gd name="T5" fmla="*/ 0 h 2325"/>
                      <a:gd name="T6" fmla="*/ 0 w 2056"/>
                      <a:gd name="T7" fmla="*/ 0 h 2325"/>
                      <a:gd name="T8" fmla="*/ 0 w 2056"/>
                      <a:gd name="T9" fmla="*/ 0 h 2325"/>
                      <a:gd name="T10" fmla="*/ 0 w 2056"/>
                      <a:gd name="T11" fmla="*/ 0 h 2325"/>
                      <a:gd name="T12" fmla="*/ 0 w 2056"/>
                      <a:gd name="T13" fmla="*/ 0 h 2325"/>
                      <a:gd name="T14" fmla="*/ 0 w 2056"/>
                      <a:gd name="T15" fmla="*/ 0 h 2325"/>
                      <a:gd name="T16" fmla="*/ 0 w 2056"/>
                      <a:gd name="T17" fmla="*/ 0 h 2325"/>
                      <a:gd name="T18" fmla="*/ 0 w 2056"/>
                      <a:gd name="T19" fmla="*/ 0 h 2325"/>
                      <a:gd name="T20" fmla="*/ 0 w 2056"/>
                      <a:gd name="T21" fmla="*/ 0 h 2325"/>
                      <a:gd name="T22" fmla="*/ 0 w 2056"/>
                      <a:gd name="T23" fmla="*/ 0 h 2325"/>
                      <a:gd name="T24" fmla="*/ 0 w 2056"/>
                      <a:gd name="T25" fmla="*/ 0 h 2325"/>
                      <a:gd name="T26" fmla="*/ 0 w 2056"/>
                      <a:gd name="T27" fmla="*/ 0 h 2325"/>
                      <a:gd name="T28" fmla="*/ 0 w 2056"/>
                      <a:gd name="T29" fmla="*/ 0 h 2325"/>
                      <a:gd name="T30" fmla="*/ 0 w 2056"/>
                      <a:gd name="T31" fmla="*/ 0 h 2325"/>
                      <a:gd name="T32" fmla="*/ 0 w 2056"/>
                      <a:gd name="T33" fmla="*/ 0 h 2325"/>
                      <a:gd name="T34" fmla="*/ 0 w 2056"/>
                      <a:gd name="T35" fmla="*/ 0 h 2325"/>
                      <a:gd name="T36" fmla="*/ 0 w 2056"/>
                      <a:gd name="T37" fmla="*/ 0 h 2325"/>
                      <a:gd name="T38" fmla="*/ 0 w 2056"/>
                      <a:gd name="T39" fmla="*/ 0 h 2325"/>
                      <a:gd name="T40" fmla="*/ 0 w 2056"/>
                      <a:gd name="T41" fmla="*/ 0 h 2325"/>
                      <a:gd name="T42" fmla="*/ 0 w 2056"/>
                      <a:gd name="T43" fmla="*/ 0 h 2325"/>
                      <a:gd name="T44" fmla="*/ 0 w 2056"/>
                      <a:gd name="T45" fmla="*/ 0 h 2325"/>
                      <a:gd name="T46" fmla="*/ 0 w 2056"/>
                      <a:gd name="T47" fmla="*/ 0 h 2325"/>
                      <a:gd name="T48" fmla="*/ 0 w 2056"/>
                      <a:gd name="T49" fmla="*/ 0 h 2325"/>
                      <a:gd name="T50" fmla="*/ 0 w 2056"/>
                      <a:gd name="T51" fmla="*/ 0 h 2325"/>
                      <a:gd name="T52" fmla="*/ 0 w 2056"/>
                      <a:gd name="T53" fmla="*/ 0 h 2325"/>
                      <a:gd name="T54" fmla="*/ 0 w 2056"/>
                      <a:gd name="T55" fmla="*/ 0 h 2325"/>
                      <a:gd name="T56" fmla="*/ 0 w 2056"/>
                      <a:gd name="T57" fmla="*/ 0 h 2325"/>
                      <a:gd name="T58" fmla="*/ 0 w 2056"/>
                      <a:gd name="T59" fmla="*/ 0 h 2325"/>
                      <a:gd name="T60" fmla="*/ 0 w 2056"/>
                      <a:gd name="T61" fmla="*/ 0 h 2325"/>
                      <a:gd name="T62" fmla="*/ 0 w 2056"/>
                      <a:gd name="T63" fmla="*/ 0 h 2325"/>
                      <a:gd name="T64" fmla="*/ 0 w 2056"/>
                      <a:gd name="T65" fmla="*/ 0 h 2325"/>
                      <a:gd name="T66" fmla="*/ 0 w 2056"/>
                      <a:gd name="T67" fmla="*/ 0 h 2325"/>
                      <a:gd name="T68" fmla="*/ 0 w 2056"/>
                      <a:gd name="T69" fmla="*/ 0 h 2325"/>
                      <a:gd name="T70" fmla="*/ 0 w 2056"/>
                      <a:gd name="T71" fmla="*/ 0 h 2325"/>
                      <a:gd name="T72" fmla="*/ 0 w 2056"/>
                      <a:gd name="T73" fmla="*/ 0 h 2325"/>
                      <a:gd name="T74" fmla="*/ 0 w 2056"/>
                      <a:gd name="T75" fmla="*/ 0 h 2325"/>
                      <a:gd name="T76" fmla="*/ 0 w 2056"/>
                      <a:gd name="T77" fmla="*/ 0 h 2325"/>
                      <a:gd name="T78" fmla="*/ 0 w 2056"/>
                      <a:gd name="T79" fmla="*/ 0 h 2325"/>
                      <a:gd name="T80" fmla="*/ 0 w 2056"/>
                      <a:gd name="T81" fmla="*/ 0 h 2325"/>
                      <a:gd name="T82" fmla="*/ 0 w 2056"/>
                      <a:gd name="T83" fmla="*/ 0 h 2325"/>
                      <a:gd name="T84" fmla="*/ 0 w 2056"/>
                      <a:gd name="T85" fmla="*/ 0 h 2325"/>
                      <a:gd name="T86" fmla="*/ 0 w 2056"/>
                      <a:gd name="T87" fmla="*/ 0 h 2325"/>
                      <a:gd name="T88" fmla="*/ 0 w 2056"/>
                      <a:gd name="T89" fmla="*/ 0 h 2325"/>
                      <a:gd name="T90" fmla="*/ 0 w 2056"/>
                      <a:gd name="T91" fmla="*/ 0 h 2325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w 2056"/>
                      <a:gd name="T139" fmla="*/ 0 h 2325"/>
                      <a:gd name="T140" fmla="*/ 2056 w 2056"/>
                      <a:gd name="T141" fmla="*/ 2325 h 2325"/>
                    </a:gdLst>
                    <a:ahLst/>
                    <a:cxnLst>
                      <a:cxn ang="T92">
                        <a:pos x="T0" y="T1"/>
                      </a:cxn>
                      <a:cxn ang="T93">
                        <a:pos x="T2" y="T3"/>
                      </a:cxn>
                      <a:cxn ang="T94">
                        <a:pos x="T4" y="T5"/>
                      </a:cxn>
                      <a:cxn ang="T95">
                        <a:pos x="T6" y="T7"/>
                      </a:cxn>
                      <a:cxn ang="T96">
                        <a:pos x="T8" y="T9"/>
                      </a:cxn>
                      <a:cxn ang="T97">
                        <a:pos x="T10" y="T11"/>
                      </a:cxn>
                      <a:cxn ang="T98">
                        <a:pos x="T12" y="T13"/>
                      </a:cxn>
                      <a:cxn ang="T99">
                        <a:pos x="T14" y="T15"/>
                      </a:cxn>
                      <a:cxn ang="T100">
                        <a:pos x="T16" y="T17"/>
                      </a:cxn>
                      <a:cxn ang="T101">
                        <a:pos x="T18" y="T19"/>
                      </a:cxn>
                      <a:cxn ang="T102">
                        <a:pos x="T20" y="T21"/>
                      </a:cxn>
                      <a:cxn ang="T103">
                        <a:pos x="T22" y="T23"/>
                      </a:cxn>
                      <a:cxn ang="T104">
                        <a:pos x="T24" y="T25"/>
                      </a:cxn>
                      <a:cxn ang="T105">
                        <a:pos x="T26" y="T27"/>
                      </a:cxn>
                      <a:cxn ang="T106">
                        <a:pos x="T28" y="T29"/>
                      </a:cxn>
                      <a:cxn ang="T107">
                        <a:pos x="T30" y="T31"/>
                      </a:cxn>
                      <a:cxn ang="T108">
                        <a:pos x="T32" y="T33"/>
                      </a:cxn>
                      <a:cxn ang="T109">
                        <a:pos x="T34" y="T35"/>
                      </a:cxn>
                      <a:cxn ang="T110">
                        <a:pos x="T36" y="T37"/>
                      </a:cxn>
                      <a:cxn ang="T111">
                        <a:pos x="T38" y="T39"/>
                      </a:cxn>
                      <a:cxn ang="T112">
                        <a:pos x="T40" y="T41"/>
                      </a:cxn>
                      <a:cxn ang="T113">
                        <a:pos x="T42" y="T43"/>
                      </a:cxn>
                      <a:cxn ang="T114">
                        <a:pos x="T44" y="T45"/>
                      </a:cxn>
                      <a:cxn ang="T115">
                        <a:pos x="T46" y="T47"/>
                      </a:cxn>
                      <a:cxn ang="T116">
                        <a:pos x="T48" y="T49"/>
                      </a:cxn>
                      <a:cxn ang="T117">
                        <a:pos x="T50" y="T51"/>
                      </a:cxn>
                      <a:cxn ang="T118">
                        <a:pos x="T52" y="T53"/>
                      </a:cxn>
                      <a:cxn ang="T119">
                        <a:pos x="T54" y="T55"/>
                      </a:cxn>
                      <a:cxn ang="T120">
                        <a:pos x="T56" y="T57"/>
                      </a:cxn>
                      <a:cxn ang="T121">
                        <a:pos x="T58" y="T59"/>
                      </a:cxn>
                      <a:cxn ang="T122">
                        <a:pos x="T60" y="T61"/>
                      </a:cxn>
                      <a:cxn ang="T123">
                        <a:pos x="T62" y="T63"/>
                      </a:cxn>
                      <a:cxn ang="T124">
                        <a:pos x="T64" y="T65"/>
                      </a:cxn>
                      <a:cxn ang="T125">
                        <a:pos x="T66" y="T67"/>
                      </a:cxn>
                      <a:cxn ang="T126">
                        <a:pos x="T68" y="T69"/>
                      </a:cxn>
                      <a:cxn ang="T127">
                        <a:pos x="T70" y="T71"/>
                      </a:cxn>
                      <a:cxn ang="T128">
                        <a:pos x="T72" y="T73"/>
                      </a:cxn>
                      <a:cxn ang="T129">
                        <a:pos x="T74" y="T75"/>
                      </a:cxn>
                      <a:cxn ang="T130">
                        <a:pos x="T76" y="T77"/>
                      </a:cxn>
                      <a:cxn ang="T131">
                        <a:pos x="T78" y="T79"/>
                      </a:cxn>
                      <a:cxn ang="T132">
                        <a:pos x="T80" y="T81"/>
                      </a:cxn>
                      <a:cxn ang="T133">
                        <a:pos x="T82" y="T83"/>
                      </a:cxn>
                      <a:cxn ang="T134">
                        <a:pos x="T84" y="T85"/>
                      </a:cxn>
                      <a:cxn ang="T135">
                        <a:pos x="T86" y="T87"/>
                      </a:cxn>
                      <a:cxn ang="T136">
                        <a:pos x="T88" y="T89"/>
                      </a:cxn>
                      <a:cxn ang="T137">
                        <a:pos x="T90" y="T91"/>
                      </a:cxn>
                    </a:cxnLst>
                    <a:rect l="T138" t="T139" r="T140" b="T141"/>
                    <a:pathLst>
                      <a:path w="2056" h="2325">
                        <a:moveTo>
                          <a:pt x="297" y="0"/>
                        </a:moveTo>
                        <a:lnTo>
                          <a:pt x="307" y="2"/>
                        </a:lnTo>
                        <a:lnTo>
                          <a:pt x="335" y="9"/>
                        </a:lnTo>
                        <a:lnTo>
                          <a:pt x="379" y="20"/>
                        </a:lnTo>
                        <a:lnTo>
                          <a:pt x="437" y="35"/>
                        </a:lnTo>
                        <a:lnTo>
                          <a:pt x="507" y="51"/>
                        </a:lnTo>
                        <a:lnTo>
                          <a:pt x="588" y="69"/>
                        </a:lnTo>
                        <a:lnTo>
                          <a:pt x="679" y="88"/>
                        </a:lnTo>
                        <a:lnTo>
                          <a:pt x="774" y="107"/>
                        </a:lnTo>
                        <a:lnTo>
                          <a:pt x="876" y="126"/>
                        </a:lnTo>
                        <a:lnTo>
                          <a:pt x="979" y="144"/>
                        </a:lnTo>
                        <a:lnTo>
                          <a:pt x="1032" y="152"/>
                        </a:lnTo>
                        <a:lnTo>
                          <a:pt x="1085" y="158"/>
                        </a:lnTo>
                        <a:lnTo>
                          <a:pt x="1136" y="165"/>
                        </a:lnTo>
                        <a:lnTo>
                          <a:pt x="1188" y="170"/>
                        </a:lnTo>
                        <a:lnTo>
                          <a:pt x="1239" y="175"/>
                        </a:lnTo>
                        <a:lnTo>
                          <a:pt x="1290" y="179"/>
                        </a:lnTo>
                        <a:lnTo>
                          <a:pt x="1337" y="182"/>
                        </a:lnTo>
                        <a:lnTo>
                          <a:pt x="1385" y="183"/>
                        </a:lnTo>
                        <a:lnTo>
                          <a:pt x="1431" y="183"/>
                        </a:lnTo>
                        <a:lnTo>
                          <a:pt x="1474" y="182"/>
                        </a:lnTo>
                        <a:lnTo>
                          <a:pt x="1517" y="179"/>
                        </a:lnTo>
                        <a:lnTo>
                          <a:pt x="1556" y="175"/>
                        </a:lnTo>
                        <a:lnTo>
                          <a:pt x="1629" y="166"/>
                        </a:lnTo>
                        <a:lnTo>
                          <a:pt x="1695" y="158"/>
                        </a:lnTo>
                        <a:lnTo>
                          <a:pt x="1725" y="156"/>
                        </a:lnTo>
                        <a:lnTo>
                          <a:pt x="1751" y="155"/>
                        </a:lnTo>
                        <a:lnTo>
                          <a:pt x="1777" y="154"/>
                        </a:lnTo>
                        <a:lnTo>
                          <a:pt x="1802" y="154"/>
                        </a:lnTo>
                        <a:lnTo>
                          <a:pt x="1824" y="154"/>
                        </a:lnTo>
                        <a:lnTo>
                          <a:pt x="1844" y="156"/>
                        </a:lnTo>
                        <a:lnTo>
                          <a:pt x="1863" y="158"/>
                        </a:lnTo>
                        <a:lnTo>
                          <a:pt x="1879" y="163"/>
                        </a:lnTo>
                        <a:lnTo>
                          <a:pt x="1895" y="167"/>
                        </a:lnTo>
                        <a:lnTo>
                          <a:pt x="1910" y="173"/>
                        </a:lnTo>
                        <a:lnTo>
                          <a:pt x="1922" y="179"/>
                        </a:lnTo>
                        <a:lnTo>
                          <a:pt x="1934" y="187"/>
                        </a:lnTo>
                        <a:lnTo>
                          <a:pt x="1944" y="197"/>
                        </a:lnTo>
                        <a:lnTo>
                          <a:pt x="1953" y="208"/>
                        </a:lnTo>
                        <a:lnTo>
                          <a:pt x="1961" y="219"/>
                        </a:lnTo>
                        <a:lnTo>
                          <a:pt x="1969" y="233"/>
                        </a:lnTo>
                        <a:lnTo>
                          <a:pt x="1974" y="248"/>
                        </a:lnTo>
                        <a:lnTo>
                          <a:pt x="1980" y="264"/>
                        </a:lnTo>
                        <a:lnTo>
                          <a:pt x="1984" y="282"/>
                        </a:lnTo>
                        <a:lnTo>
                          <a:pt x="1987" y="302"/>
                        </a:lnTo>
                        <a:lnTo>
                          <a:pt x="1991" y="323"/>
                        </a:lnTo>
                        <a:lnTo>
                          <a:pt x="1993" y="345"/>
                        </a:lnTo>
                        <a:lnTo>
                          <a:pt x="1994" y="370"/>
                        </a:lnTo>
                        <a:lnTo>
                          <a:pt x="1995" y="395"/>
                        </a:lnTo>
                        <a:lnTo>
                          <a:pt x="1997" y="453"/>
                        </a:lnTo>
                        <a:lnTo>
                          <a:pt x="1997" y="519"/>
                        </a:lnTo>
                        <a:lnTo>
                          <a:pt x="1997" y="557"/>
                        </a:lnTo>
                        <a:lnTo>
                          <a:pt x="1999" y="598"/>
                        </a:lnTo>
                        <a:lnTo>
                          <a:pt x="2001" y="640"/>
                        </a:lnTo>
                        <a:lnTo>
                          <a:pt x="2004" y="686"/>
                        </a:lnTo>
                        <a:lnTo>
                          <a:pt x="2011" y="780"/>
                        </a:lnTo>
                        <a:lnTo>
                          <a:pt x="2020" y="882"/>
                        </a:lnTo>
                        <a:lnTo>
                          <a:pt x="2030" y="987"/>
                        </a:lnTo>
                        <a:lnTo>
                          <a:pt x="2039" y="1095"/>
                        </a:lnTo>
                        <a:lnTo>
                          <a:pt x="2046" y="1206"/>
                        </a:lnTo>
                        <a:lnTo>
                          <a:pt x="2053" y="1318"/>
                        </a:lnTo>
                        <a:lnTo>
                          <a:pt x="2054" y="1373"/>
                        </a:lnTo>
                        <a:lnTo>
                          <a:pt x="2056" y="1429"/>
                        </a:lnTo>
                        <a:lnTo>
                          <a:pt x="2056" y="1485"/>
                        </a:lnTo>
                        <a:lnTo>
                          <a:pt x="2055" y="1538"/>
                        </a:lnTo>
                        <a:lnTo>
                          <a:pt x="2053" y="1592"/>
                        </a:lnTo>
                        <a:lnTo>
                          <a:pt x="2050" y="1644"/>
                        </a:lnTo>
                        <a:lnTo>
                          <a:pt x="2045" y="1695"/>
                        </a:lnTo>
                        <a:lnTo>
                          <a:pt x="2039" y="1745"/>
                        </a:lnTo>
                        <a:lnTo>
                          <a:pt x="2031" y="1794"/>
                        </a:lnTo>
                        <a:lnTo>
                          <a:pt x="2022" y="1841"/>
                        </a:lnTo>
                        <a:lnTo>
                          <a:pt x="2010" y="1885"/>
                        </a:lnTo>
                        <a:lnTo>
                          <a:pt x="1996" y="1929"/>
                        </a:lnTo>
                        <a:lnTo>
                          <a:pt x="1982" y="1970"/>
                        </a:lnTo>
                        <a:lnTo>
                          <a:pt x="1964" y="2008"/>
                        </a:lnTo>
                        <a:lnTo>
                          <a:pt x="1944" y="2044"/>
                        </a:lnTo>
                        <a:lnTo>
                          <a:pt x="1922" y="2078"/>
                        </a:lnTo>
                        <a:lnTo>
                          <a:pt x="1872" y="2141"/>
                        </a:lnTo>
                        <a:lnTo>
                          <a:pt x="1819" y="2194"/>
                        </a:lnTo>
                        <a:lnTo>
                          <a:pt x="1766" y="2237"/>
                        </a:lnTo>
                        <a:lnTo>
                          <a:pt x="1711" y="2270"/>
                        </a:lnTo>
                        <a:lnTo>
                          <a:pt x="1655" y="2296"/>
                        </a:lnTo>
                        <a:lnTo>
                          <a:pt x="1598" y="2313"/>
                        </a:lnTo>
                        <a:lnTo>
                          <a:pt x="1540" y="2323"/>
                        </a:lnTo>
                        <a:lnTo>
                          <a:pt x="1482" y="2325"/>
                        </a:lnTo>
                        <a:lnTo>
                          <a:pt x="1423" y="2319"/>
                        </a:lnTo>
                        <a:lnTo>
                          <a:pt x="1364" y="2308"/>
                        </a:lnTo>
                        <a:lnTo>
                          <a:pt x="1304" y="2292"/>
                        </a:lnTo>
                        <a:lnTo>
                          <a:pt x="1245" y="2268"/>
                        </a:lnTo>
                        <a:lnTo>
                          <a:pt x="1186" y="2241"/>
                        </a:lnTo>
                        <a:lnTo>
                          <a:pt x="1127" y="2209"/>
                        </a:lnTo>
                        <a:lnTo>
                          <a:pt x="1068" y="2174"/>
                        </a:lnTo>
                        <a:lnTo>
                          <a:pt x="1010" y="2133"/>
                        </a:lnTo>
                        <a:lnTo>
                          <a:pt x="953" y="2091"/>
                        </a:lnTo>
                        <a:lnTo>
                          <a:pt x="897" y="2046"/>
                        </a:lnTo>
                        <a:lnTo>
                          <a:pt x="842" y="1999"/>
                        </a:lnTo>
                        <a:lnTo>
                          <a:pt x="788" y="1950"/>
                        </a:lnTo>
                        <a:lnTo>
                          <a:pt x="735" y="1900"/>
                        </a:lnTo>
                        <a:lnTo>
                          <a:pt x="685" y="1849"/>
                        </a:lnTo>
                        <a:lnTo>
                          <a:pt x="636" y="1797"/>
                        </a:lnTo>
                        <a:lnTo>
                          <a:pt x="588" y="1746"/>
                        </a:lnTo>
                        <a:lnTo>
                          <a:pt x="543" y="1696"/>
                        </a:lnTo>
                        <a:lnTo>
                          <a:pt x="500" y="1647"/>
                        </a:lnTo>
                        <a:lnTo>
                          <a:pt x="459" y="1599"/>
                        </a:lnTo>
                        <a:lnTo>
                          <a:pt x="421" y="1554"/>
                        </a:lnTo>
                        <a:lnTo>
                          <a:pt x="354" y="1471"/>
                        </a:lnTo>
                        <a:lnTo>
                          <a:pt x="297" y="1402"/>
                        </a:lnTo>
                        <a:lnTo>
                          <a:pt x="277" y="1376"/>
                        </a:lnTo>
                        <a:lnTo>
                          <a:pt x="256" y="1346"/>
                        </a:lnTo>
                        <a:lnTo>
                          <a:pt x="234" y="1311"/>
                        </a:lnTo>
                        <a:lnTo>
                          <a:pt x="213" y="1273"/>
                        </a:lnTo>
                        <a:lnTo>
                          <a:pt x="192" y="1233"/>
                        </a:lnTo>
                        <a:lnTo>
                          <a:pt x="171" y="1190"/>
                        </a:lnTo>
                        <a:lnTo>
                          <a:pt x="150" y="1143"/>
                        </a:lnTo>
                        <a:lnTo>
                          <a:pt x="130" y="1095"/>
                        </a:lnTo>
                        <a:lnTo>
                          <a:pt x="111" y="1045"/>
                        </a:lnTo>
                        <a:lnTo>
                          <a:pt x="92" y="994"/>
                        </a:lnTo>
                        <a:lnTo>
                          <a:pt x="75" y="941"/>
                        </a:lnTo>
                        <a:lnTo>
                          <a:pt x="60" y="886"/>
                        </a:lnTo>
                        <a:lnTo>
                          <a:pt x="45" y="830"/>
                        </a:lnTo>
                        <a:lnTo>
                          <a:pt x="32" y="775"/>
                        </a:lnTo>
                        <a:lnTo>
                          <a:pt x="21" y="719"/>
                        </a:lnTo>
                        <a:lnTo>
                          <a:pt x="13" y="663"/>
                        </a:lnTo>
                        <a:lnTo>
                          <a:pt x="6" y="608"/>
                        </a:lnTo>
                        <a:lnTo>
                          <a:pt x="2" y="552"/>
                        </a:lnTo>
                        <a:lnTo>
                          <a:pt x="0" y="499"/>
                        </a:lnTo>
                        <a:lnTo>
                          <a:pt x="2" y="445"/>
                        </a:lnTo>
                        <a:lnTo>
                          <a:pt x="5" y="394"/>
                        </a:lnTo>
                        <a:lnTo>
                          <a:pt x="13" y="344"/>
                        </a:lnTo>
                        <a:lnTo>
                          <a:pt x="23" y="296"/>
                        </a:lnTo>
                        <a:lnTo>
                          <a:pt x="37" y="249"/>
                        </a:lnTo>
                        <a:lnTo>
                          <a:pt x="55" y="207"/>
                        </a:lnTo>
                        <a:lnTo>
                          <a:pt x="76" y="166"/>
                        </a:lnTo>
                        <a:lnTo>
                          <a:pt x="102" y="129"/>
                        </a:lnTo>
                        <a:lnTo>
                          <a:pt x="132" y="96"/>
                        </a:lnTo>
                        <a:lnTo>
                          <a:pt x="167" y="66"/>
                        </a:lnTo>
                        <a:lnTo>
                          <a:pt x="206" y="39"/>
                        </a:lnTo>
                        <a:lnTo>
                          <a:pt x="249" y="17"/>
                        </a:lnTo>
                        <a:lnTo>
                          <a:pt x="297" y="0"/>
                        </a:lnTo>
                        <a:close/>
                      </a:path>
                    </a:pathLst>
                  </a:custGeom>
                  <a:solidFill>
                    <a:srgbClr val="311F74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139" name="Freeform 198"/>
                  <p:cNvSpPr>
                    <a:spLocks/>
                  </p:cNvSpPr>
                  <p:nvPr/>
                </p:nvSpPr>
                <p:spPr bwMode="auto">
                  <a:xfrm>
                    <a:off x="3193" y="3511"/>
                    <a:ext cx="257" cy="72"/>
                  </a:xfrm>
                  <a:custGeom>
                    <a:avLst/>
                    <a:gdLst>
                      <a:gd name="T0" fmla="*/ 0 w 1797"/>
                      <a:gd name="T1" fmla="*/ 0 h 519"/>
                      <a:gd name="T2" fmla="*/ 0 w 1797"/>
                      <a:gd name="T3" fmla="*/ 0 h 519"/>
                      <a:gd name="T4" fmla="*/ 0 w 1797"/>
                      <a:gd name="T5" fmla="*/ 0 h 519"/>
                      <a:gd name="T6" fmla="*/ 0 w 1797"/>
                      <a:gd name="T7" fmla="*/ 0 h 519"/>
                      <a:gd name="T8" fmla="*/ 0 w 1797"/>
                      <a:gd name="T9" fmla="*/ 0 h 519"/>
                      <a:gd name="T10" fmla="*/ 0 w 1797"/>
                      <a:gd name="T11" fmla="*/ 0 h 519"/>
                      <a:gd name="T12" fmla="*/ 0 w 1797"/>
                      <a:gd name="T13" fmla="*/ 0 h 519"/>
                      <a:gd name="T14" fmla="*/ 0 w 1797"/>
                      <a:gd name="T15" fmla="*/ 0 h 519"/>
                      <a:gd name="T16" fmla="*/ 0 w 1797"/>
                      <a:gd name="T17" fmla="*/ 0 h 519"/>
                      <a:gd name="T18" fmla="*/ 0 w 1797"/>
                      <a:gd name="T19" fmla="*/ 0 h 519"/>
                      <a:gd name="T20" fmla="*/ 0 w 1797"/>
                      <a:gd name="T21" fmla="*/ 0 h 519"/>
                      <a:gd name="T22" fmla="*/ 0 w 1797"/>
                      <a:gd name="T23" fmla="*/ 0 h 519"/>
                      <a:gd name="T24" fmla="*/ 0 w 1797"/>
                      <a:gd name="T25" fmla="*/ 0 h 519"/>
                      <a:gd name="T26" fmla="*/ 0 w 1797"/>
                      <a:gd name="T27" fmla="*/ 0 h 519"/>
                      <a:gd name="T28" fmla="*/ 0 w 1797"/>
                      <a:gd name="T29" fmla="*/ 0 h 519"/>
                      <a:gd name="T30" fmla="*/ 0 w 1797"/>
                      <a:gd name="T31" fmla="*/ 0 h 519"/>
                      <a:gd name="T32" fmla="*/ 0 w 1797"/>
                      <a:gd name="T33" fmla="*/ 0 h 519"/>
                      <a:gd name="T34" fmla="*/ 0 w 1797"/>
                      <a:gd name="T35" fmla="*/ 0 h 519"/>
                      <a:gd name="T36" fmla="*/ 0 w 1797"/>
                      <a:gd name="T37" fmla="*/ 0 h 519"/>
                      <a:gd name="T38" fmla="*/ 0 w 1797"/>
                      <a:gd name="T39" fmla="*/ 0 h 519"/>
                      <a:gd name="T40" fmla="*/ 0 w 1797"/>
                      <a:gd name="T41" fmla="*/ 0 h 519"/>
                      <a:gd name="T42" fmla="*/ 0 w 1797"/>
                      <a:gd name="T43" fmla="*/ 0 h 519"/>
                      <a:gd name="T44" fmla="*/ 0 w 1797"/>
                      <a:gd name="T45" fmla="*/ 0 h 519"/>
                      <a:gd name="T46" fmla="*/ 0 w 1797"/>
                      <a:gd name="T47" fmla="*/ 0 h 519"/>
                      <a:gd name="T48" fmla="*/ 0 w 1797"/>
                      <a:gd name="T49" fmla="*/ 0 h 519"/>
                      <a:gd name="T50" fmla="*/ 0 w 1797"/>
                      <a:gd name="T51" fmla="*/ 0 h 519"/>
                      <a:gd name="T52" fmla="*/ 0 w 1797"/>
                      <a:gd name="T53" fmla="*/ 0 h 519"/>
                      <a:gd name="T54" fmla="*/ 0 w 1797"/>
                      <a:gd name="T55" fmla="*/ 0 h 519"/>
                      <a:gd name="T56" fmla="*/ 0 w 1797"/>
                      <a:gd name="T57" fmla="*/ 0 h 519"/>
                      <a:gd name="T58" fmla="*/ 0 w 1797"/>
                      <a:gd name="T59" fmla="*/ 0 h 519"/>
                      <a:gd name="T60" fmla="*/ 0 w 1797"/>
                      <a:gd name="T61" fmla="*/ 0 h 519"/>
                      <a:gd name="T62" fmla="*/ 0 w 1797"/>
                      <a:gd name="T63" fmla="*/ 0 h 519"/>
                      <a:gd name="T64" fmla="*/ 0 w 1797"/>
                      <a:gd name="T65" fmla="*/ 0 h 519"/>
                      <a:gd name="T66" fmla="*/ 0 w 1797"/>
                      <a:gd name="T67" fmla="*/ 0 h 519"/>
                      <a:gd name="T68" fmla="*/ 0 w 1797"/>
                      <a:gd name="T69" fmla="*/ 0 h 519"/>
                      <a:gd name="T70" fmla="*/ 0 w 1797"/>
                      <a:gd name="T71" fmla="*/ 0 h 519"/>
                      <a:gd name="T72" fmla="*/ 0 w 1797"/>
                      <a:gd name="T73" fmla="*/ 0 h 519"/>
                      <a:gd name="T74" fmla="*/ 0 w 1797"/>
                      <a:gd name="T75" fmla="*/ 0 h 519"/>
                      <a:gd name="T76" fmla="*/ 0 w 1797"/>
                      <a:gd name="T77" fmla="*/ 0 h 519"/>
                      <a:gd name="T78" fmla="*/ 0 w 1797"/>
                      <a:gd name="T79" fmla="*/ 0 h 519"/>
                      <a:gd name="T80" fmla="*/ 0 w 1797"/>
                      <a:gd name="T81" fmla="*/ 0 h 519"/>
                      <a:gd name="T82" fmla="*/ 0 w 1797"/>
                      <a:gd name="T83" fmla="*/ 0 h 519"/>
                      <a:gd name="T84" fmla="*/ 0 w 1797"/>
                      <a:gd name="T85" fmla="*/ 0 h 519"/>
                      <a:gd name="T86" fmla="*/ 0 w 1797"/>
                      <a:gd name="T87" fmla="*/ 0 h 519"/>
                      <a:gd name="T88" fmla="*/ 0 w 1797"/>
                      <a:gd name="T89" fmla="*/ 0 h 519"/>
                      <a:gd name="T90" fmla="*/ 0 w 1797"/>
                      <a:gd name="T91" fmla="*/ 0 h 519"/>
                      <a:gd name="T92" fmla="*/ 0 w 1797"/>
                      <a:gd name="T93" fmla="*/ 0 h 519"/>
                      <a:gd name="T94" fmla="*/ 0 w 1797"/>
                      <a:gd name="T95" fmla="*/ 0 h 519"/>
                      <a:gd name="T96" fmla="*/ 0 w 1797"/>
                      <a:gd name="T97" fmla="*/ 0 h 519"/>
                      <a:gd name="T98" fmla="*/ 0 w 1797"/>
                      <a:gd name="T99" fmla="*/ 0 h 519"/>
                      <a:gd name="T100" fmla="*/ 0 w 1797"/>
                      <a:gd name="T101" fmla="*/ 0 h 519"/>
                      <a:gd name="T102" fmla="*/ 0 w 1797"/>
                      <a:gd name="T103" fmla="*/ 0 h 519"/>
                      <a:gd name="T104" fmla="*/ 0 w 1797"/>
                      <a:gd name="T105" fmla="*/ 0 h 519"/>
                      <a:gd name="T106" fmla="*/ 0 w 1797"/>
                      <a:gd name="T107" fmla="*/ 0 h 519"/>
                      <a:gd name="T108" fmla="*/ 0 w 1797"/>
                      <a:gd name="T109" fmla="*/ 0 h 519"/>
                      <a:gd name="T110" fmla="*/ 0 w 1797"/>
                      <a:gd name="T111" fmla="*/ 0 h 519"/>
                      <a:gd name="T112" fmla="*/ 0 w 1797"/>
                      <a:gd name="T113" fmla="*/ 0 h 519"/>
                      <a:gd name="T114" fmla="*/ 0 w 1797"/>
                      <a:gd name="T115" fmla="*/ 0 h 519"/>
                      <a:gd name="T116" fmla="*/ 0 w 1797"/>
                      <a:gd name="T117" fmla="*/ 0 h 519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w 1797"/>
                      <a:gd name="T178" fmla="*/ 0 h 519"/>
                      <a:gd name="T179" fmla="*/ 1797 w 1797"/>
                      <a:gd name="T180" fmla="*/ 519 h 519"/>
                    </a:gdLst>
                    <a:ahLst/>
                    <a:cxnLst>
                      <a:cxn ang="T118">
                        <a:pos x="T0" y="T1"/>
                      </a:cxn>
                      <a:cxn ang="T119">
                        <a:pos x="T2" y="T3"/>
                      </a:cxn>
                      <a:cxn ang="T120">
                        <a:pos x="T4" y="T5"/>
                      </a:cxn>
                      <a:cxn ang="T121">
                        <a:pos x="T6" y="T7"/>
                      </a:cxn>
                      <a:cxn ang="T122">
                        <a:pos x="T8" y="T9"/>
                      </a:cxn>
                      <a:cxn ang="T123">
                        <a:pos x="T10" y="T11"/>
                      </a:cxn>
                      <a:cxn ang="T124">
                        <a:pos x="T12" y="T13"/>
                      </a:cxn>
                      <a:cxn ang="T125">
                        <a:pos x="T14" y="T15"/>
                      </a:cxn>
                      <a:cxn ang="T126">
                        <a:pos x="T16" y="T17"/>
                      </a:cxn>
                      <a:cxn ang="T127">
                        <a:pos x="T18" y="T19"/>
                      </a:cxn>
                      <a:cxn ang="T128">
                        <a:pos x="T20" y="T21"/>
                      </a:cxn>
                      <a:cxn ang="T129">
                        <a:pos x="T22" y="T23"/>
                      </a:cxn>
                      <a:cxn ang="T130">
                        <a:pos x="T24" y="T25"/>
                      </a:cxn>
                      <a:cxn ang="T131">
                        <a:pos x="T26" y="T27"/>
                      </a:cxn>
                      <a:cxn ang="T132">
                        <a:pos x="T28" y="T29"/>
                      </a:cxn>
                      <a:cxn ang="T133">
                        <a:pos x="T30" y="T31"/>
                      </a:cxn>
                      <a:cxn ang="T134">
                        <a:pos x="T32" y="T33"/>
                      </a:cxn>
                      <a:cxn ang="T135">
                        <a:pos x="T34" y="T35"/>
                      </a:cxn>
                      <a:cxn ang="T136">
                        <a:pos x="T36" y="T37"/>
                      </a:cxn>
                      <a:cxn ang="T137">
                        <a:pos x="T38" y="T39"/>
                      </a:cxn>
                      <a:cxn ang="T138">
                        <a:pos x="T40" y="T41"/>
                      </a:cxn>
                      <a:cxn ang="T139">
                        <a:pos x="T42" y="T43"/>
                      </a:cxn>
                      <a:cxn ang="T140">
                        <a:pos x="T44" y="T45"/>
                      </a:cxn>
                      <a:cxn ang="T141">
                        <a:pos x="T46" y="T47"/>
                      </a:cxn>
                      <a:cxn ang="T142">
                        <a:pos x="T48" y="T49"/>
                      </a:cxn>
                      <a:cxn ang="T143">
                        <a:pos x="T50" y="T51"/>
                      </a:cxn>
                      <a:cxn ang="T144">
                        <a:pos x="T52" y="T53"/>
                      </a:cxn>
                      <a:cxn ang="T145">
                        <a:pos x="T54" y="T55"/>
                      </a:cxn>
                      <a:cxn ang="T146">
                        <a:pos x="T56" y="T57"/>
                      </a:cxn>
                      <a:cxn ang="T147">
                        <a:pos x="T58" y="T59"/>
                      </a:cxn>
                      <a:cxn ang="T148">
                        <a:pos x="T60" y="T61"/>
                      </a:cxn>
                      <a:cxn ang="T149">
                        <a:pos x="T62" y="T63"/>
                      </a:cxn>
                      <a:cxn ang="T150">
                        <a:pos x="T64" y="T65"/>
                      </a:cxn>
                      <a:cxn ang="T151">
                        <a:pos x="T66" y="T67"/>
                      </a:cxn>
                      <a:cxn ang="T152">
                        <a:pos x="T68" y="T69"/>
                      </a:cxn>
                      <a:cxn ang="T153">
                        <a:pos x="T70" y="T71"/>
                      </a:cxn>
                      <a:cxn ang="T154">
                        <a:pos x="T72" y="T73"/>
                      </a:cxn>
                      <a:cxn ang="T155">
                        <a:pos x="T74" y="T75"/>
                      </a:cxn>
                      <a:cxn ang="T156">
                        <a:pos x="T76" y="T77"/>
                      </a:cxn>
                      <a:cxn ang="T157">
                        <a:pos x="T78" y="T79"/>
                      </a:cxn>
                      <a:cxn ang="T158">
                        <a:pos x="T80" y="T81"/>
                      </a:cxn>
                      <a:cxn ang="T159">
                        <a:pos x="T82" y="T83"/>
                      </a:cxn>
                      <a:cxn ang="T160">
                        <a:pos x="T84" y="T85"/>
                      </a:cxn>
                      <a:cxn ang="T161">
                        <a:pos x="T86" y="T87"/>
                      </a:cxn>
                      <a:cxn ang="T162">
                        <a:pos x="T88" y="T89"/>
                      </a:cxn>
                      <a:cxn ang="T163">
                        <a:pos x="T90" y="T91"/>
                      </a:cxn>
                      <a:cxn ang="T164">
                        <a:pos x="T92" y="T93"/>
                      </a:cxn>
                      <a:cxn ang="T165">
                        <a:pos x="T94" y="T95"/>
                      </a:cxn>
                      <a:cxn ang="T166">
                        <a:pos x="T96" y="T97"/>
                      </a:cxn>
                      <a:cxn ang="T167">
                        <a:pos x="T98" y="T99"/>
                      </a:cxn>
                      <a:cxn ang="T168">
                        <a:pos x="T100" y="T101"/>
                      </a:cxn>
                      <a:cxn ang="T169">
                        <a:pos x="T102" y="T103"/>
                      </a:cxn>
                      <a:cxn ang="T170">
                        <a:pos x="T104" y="T105"/>
                      </a:cxn>
                      <a:cxn ang="T171">
                        <a:pos x="T106" y="T107"/>
                      </a:cxn>
                      <a:cxn ang="T172">
                        <a:pos x="T108" y="T109"/>
                      </a:cxn>
                      <a:cxn ang="T173">
                        <a:pos x="T110" y="T111"/>
                      </a:cxn>
                      <a:cxn ang="T174">
                        <a:pos x="T112" y="T113"/>
                      </a:cxn>
                      <a:cxn ang="T175">
                        <a:pos x="T114" y="T115"/>
                      </a:cxn>
                      <a:cxn ang="T176">
                        <a:pos x="T116" y="T117"/>
                      </a:cxn>
                    </a:cxnLst>
                    <a:rect l="T177" t="T178" r="T179" b="T180"/>
                    <a:pathLst>
                      <a:path w="1797" h="519">
                        <a:moveTo>
                          <a:pt x="1355" y="176"/>
                        </a:moveTo>
                        <a:lnTo>
                          <a:pt x="1316" y="180"/>
                        </a:lnTo>
                        <a:lnTo>
                          <a:pt x="1274" y="182"/>
                        </a:lnTo>
                        <a:lnTo>
                          <a:pt x="1230" y="183"/>
                        </a:lnTo>
                        <a:lnTo>
                          <a:pt x="1185" y="183"/>
                        </a:lnTo>
                        <a:lnTo>
                          <a:pt x="1137" y="182"/>
                        </a:lnTo>
                        <a:lnTo>
                          <a:pt x="1089" y="179"/>
                        </a:lnTo>
                        <a:lnTo>
                          <a:pt x="1039" y="176"/>
                        </a:lnTo>
                        <a:lnTo>
                          <a:pt x="988" y="171"/>
                        </a:lnTo>
                        <a:lnTo>
                          <a:pt x="935" y="166"/>
                        </a:lnTo>
                        <a:lnTo>
                          <a:pt x="884" y="159"/>
                        </a:lnTo>
                        <a:lnTo>
                          <a:pt x="831" y="151"/>
                        </a:lnTo>
                        <a:lnTo>
                          <a:pt x="778" y="143"/>
                        </a:lnTo>
                        <a:lnTo>
                          <a:pt x="675" y="127"/>
                        </a:lnTo>
                        <a:lnTo>
                          <a:pt x="574" y="108"/>
                        </a:lnTo>
                        <a:lnTo>
                          <a:pt x="478" y="89"/>
                        </a:lnTo>
                        <a:lnTo>
                          <a:pt x="388" y="70"/>
                        </a:lnTo>
                        <a:lnTo>
                          <a:pt x="307" y="52"/>
                        </a:lnTo>
                        <a:lnTo>
                          <a:pt x="236" y="35"/>
                        </a:lnTo>
                        <a:lnTo>
                          <a:pt x="177" y="21"/>
                        </a:lnTo>
                        <a:lnTo>
                          <a:pt x="134" y="10"/>
                        </a:lnTo>
                        <a:lnTo>
                          <a:pt x="106" y="3"/>
                        </a:lnTo>
                        <a:lnTo>
                          <a:pt x="96" y="0"/>
                        </a:lnTo>
                        <a:lnTo>
                          <a:pt x="75" y="6"/>
                        </a:lnTo>
                        <a:lnTo>
                          <a:pt x="57" y="13"/>
                        </a:lnTo>
                        <a:lnTo>
                          <a:pt x="42" y="20"/>
                        </a:lnTo>
                        <a:lnTo>
                          <a:pt x="29" y="26"/>
                        </a:lnTo>
                        <a:lnTo>
                          <a:pt x="19" y="33"/>
                        </a:lnTo>
                        <a:lnTo>
                          <a:pt x="12" y="39"/>
                        </a:lnTo>
                        <a:lnTo>
                          <a:pt x="6" y="45"/>
                        </a:lnTo>
                        <a:lnTo>
                          <a:pt x="2" y="51"/>
                        </a:lnTo>
                        <a:lnTo>
                          <a:pt x="0" y="58"/>
                        </a:lnTo>
                        <a:lnTo>
                          <a:pt x="0" y="63"/>
                        </a:lnTo>
                        <a:lnTo>
                          <a:pt x="2" y="69"/>
                        </a:lnTo>
                        <a:lnTo>
                          <a:pt x="4" y="74"/>
                        </a:lnTo>
                        <a:lnTo>
                          <a:pt x="8" y="80"/>
                        </a:lnTo>
                        <a:lnTo>
                          <a:pt x="13" y="84"/>
                        </a:lnTo>
                        <a:lnTo>
                          <a:pt x="18" y="89"/>
                        </a:lnTo>
                        <a:lnTo>
                          <a:pt x="25" y="94"/>
                        </a:lnTo>
                        <a:lnTo>
                          <a:pt x="39" y="102"/>
                        </a:lnTo>
                        <a:lnTo>
                          <a:pt x="55" y="110"/>
                        </a:lnTo>
                        <a:lnTo>
                          <a:pt x="70" y="115"/>
                        </a:lnTo>
                        <a:lnTo>
                          <a:pt x="84" y="121"/>
                        </a:lnTo>
                        <a:lnTo>
                          <a:pt x="101" y="127"/>
                        </a:lnTo>
                        <a:lnTo>
                          <a:pt x="96" y="125"/>
                        </a:lnTo>
                        <a:lnTo>
                          <a:pt x="106" y="128"/>
                        </a:lnTo>
                        <a:lnTo>
                          <a:pt x="134" y="136"/>
                        </a:lnTo>
                        <a:lnTo>
                          <a:pt x="177" y="147"/>
                        </a:lnTo>
                        <a:lnTo>
                          <a:pt x="236" y="160"/>
                        </a:lnTo>
                        <a:lnTo>
                          <a:pt x="307" y="177"/>
                        </a:lnTo>
                        <a:lnTo>
                          <a:pt x="388" y="194"/>
                        </a:lnTo>
                        <a:lnTo>
                          <a:pt x="478" y="215"/>
                        </a:lnTo>
                        <a:lnTo>
                          <a:pt x="574" y="233"/>
                        </a:lnTo>
                        <a:lnTo>
                          <a:pt x="675" y="251"/>
                        </a:lnTo>
                        <a:lnTo>
                          <a:pt x="778" y="269"/>
                        </a:lnTo>
                        <a:lnTo>
                          <a:pt x="831" y="277"/>
                        </a:lnTo>
                        <a:lnTo>
                          <a:pt x="884" y="284"/>
                        </a:lnTo>
                        <a:lnTo>
                          <a:pt x="935" y="290"/>
                        </a:lnTo>
                        <a:lnTo>
                          <a:pt x="988" y="296"/>
                        </a:lnTo>
                        <a:lnTo>
                          <a:pt x="1039" y="300"/>
                        </a:lnTo>
                        <a:lnTo>
                          <a:pt x="1089" y="305"/>
                        </a:lnTo>
                        <a:lnTo>
                          <a:pt x="1137" y="307"/>
                        </a:lnTo>
                        <a:lnTo>
                          <a:pt x="1185" y="308"/>
                        </a:lnTo>
                        <a:lnTo>
                          <a:pt x="1230" y="309"/>
                        </a:lnTo>
                        <a:lnTo>
                          <a:pt x="1274" y="308"/>
                        </a:lnTo>
                        <a:lnTo>
                          <a:pt x="1316" y="305"/>
                        </a:lnTo>
                        <a:lnTo>
                          <a:pt x="1355" y="300"/>
                        </a:lnTo>
                        <a:lnTo>
                          <a:pt x="1393" y="296"/>
                        </a:lnTo>
                        <a:lnTo>
                          <a:pt x="1430" y="294"/>
                        </a:lnTo>
                        <a:lnTo>
                          <a:pt x="1463" y="294"/>
                        </a:lnTo>
                        <a:lnTo>
                          <a:pt x="1494" y="294"/>
                        </a:lnTo>
                        <a:lnTo>
                          <a:pt x="1524" y="297"/>
                        </a:lnTo>
                        <a:lnTo>
                          <a:pt x="1551" y="300"/>
                        </a:lnTo>
                        <a:lnTo>
                          <a:pt x="1577" y="305"/>
                        </a:lnTo>
                        <a:lnTo>
                          <a:pt x="1601" y="311"/>
                        </a:lnTo>
                        <a:lnTo>
                          <a:pt x="1622" y="318"/>
                        </a:lnTo>
                        <a:lnTo>
                          <a:pt x="1643" y="327"/>
                        </a:lnTo>
                        <a:lnTo>
                          <a:pt x="1661" y="336"/>
                        </a:lnTo>
                        <a:lnTo>
                          <a:pt x="1679" y="346"/>
                        </a:lnTo>
                        <a:lnTo>
                          <a:pt x="1694" y="356"/>
                        </a:lnTo>
                        <a:lnTo>
                          <a:pt x="1708" y="366"/>
                        </a:lnTo>
                        <a:lnTo>
                          <a:pt x="1721" y="378"/>
                        </a:lnTo>
                        <a:lnTo>
                          <a:pt x="1732" y="389"/>
                        </a:lnTo>
                        <a:lnTo>
                          <a:pt x="1743" y="400"/>
                        </a:lnTo>
                        <a:lnTo>
                          <a:pt x="1752" y="413"/>
                        </a:lnTo>
                        <a:lnTo>
                          <a:pt x="1760" y="424"/>
                        </a:lnTo>
                        <a:lnTo>
                          <a:pt x="1767" y="435"/>
                        </a:lnTo>
                        <a:lnTo>
                          <a:pt x="1778" y="457"/>
                        </a:lnTo>
                        <a:lnTo>
                          <a:pt x="1787" y="477"/>
                        </a:lnTo>
                        <a:lnTo>
                          <a:pt x="1795" y="507"/>
                        </a:lnTo>
                        <a:lnTo>
                          <a:pt x="1797" y="519"/>
                        </a:lnTo>
                        <a:lnTo>
                          <a:pt x="1797" y="454"/>
                        </a:lnTo>
                        <a:lnTo>
                          <a:pt x="1795" y="396"/>
                        </a:lnTo>
                        <a:lnTo>
                          <a:pt x="1794" y="370"/>
                        </a:lnTo>
                        <a:lnTo>
                          <a:pt x="1792" y="346"/>
                        </a:lnTo>
                        <a:lnTo>
                          <a:pt x="1790" y="324"/>
                        </a:lnTo>
                        <a:lnTo>
                          <a:pt x="1787" y="302"/>
                        </a:lnTo>
                        <a:lnTo>
                          <a:pt x="1784" y="282"/>
                        </a:lnTo>
                        <a:lnTo>
                          <a:pt x="1779" y="265"/>
                        </a:lnTo>
                        <a:lnTo>
                          <a:pt x="1774" y="249"/>
                        </a:lnTo>
                        <a:lnTo>
                          <a:pt x="1768" y="233"/>
                        </a:lnTo>
                        <a:lnTo>
                          <a:pt x="1760" y="220"/>
                        </a:lnTo>
                        <a:lnTo>
                          <a:pt x="1752" y="208"/>
                        </a:lnTo>
                        <a:lnTo>
                          <a:pt x="1743" y="198"/>
                        </a:lnTo>
                        <a:lnTo>
                          <a:pt x="1733" y="188"/>
                        </a:lnTo>
                        <a:lnTo>
                          <a:pt x="1721" y="180"/>
                        </a:lnTo>
                        <a:lnTo>
                          <a:pt x="1709" y="173"/>
                        </a:lnTo>
                        <a:lnTo>
                          <a:pt x="1694" y="168"/>
                        </a:lnTo>
                        <a:lnTo>
                          <a:pt x="1679" y="162"/>
                        </a:lnTo>
                        <a:lnTo>
                          <a:pt x="1662" y="159"/>
                        </a:lnTo>
                        <a:lnTo>
                          <a:pt x="1643" y="157"/>
                        </a:lnTo>
                        <a:lnTo>
                          <a:pt x="1623" y="154"/>
                        </a:lnTo>
                        <a:lnTo>
                          <a:pt x="1601" y="153"/>
                        </a:lnTo>
                        <a:lnTo>
                          <a:pt x="1577" y="154"/>
                        </a:lnTo>
                        <a:lnTo>
                          <a:pt x="1551" y="154"/>
                        </a:lnTo>
                        <a:lnTo>
                          <a:pt x="1524" y="157"/>
                        </a:lnTo>
                        <a:lnTo>
                          <a:pt x="1494" y="159"/>
                        </a:lnTo>
                        <a:lnTo>
                          <a:pt x="1430" y="166"/>
                        </a:lnTo>
                        <a:lnTo>
                          <a:pt x="1355" y="176"/>
                        </a:lnTo>
                        <a:close/>
                      </a:path>
                    </a:pathLst>
                  </a:custGeom>
                  <a:solidFill>
                    <a:srgbClr val="3D4189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140" name="Freeform 199"/>
                  <p:cNvSpPr>
                    <a:spLocks/>
                  </p:cNvSpPr>
                  <p:nvPr/>
                </p:nvSpPr>
                <p:spPr bwMode="auto">
                  <a:xfrm>
                    <a:off x="3167" y="3609"/>
                    <a:ext cx="292" cy="225"/>
                  </a:xfrm>
                  <a:custGeom>
                    <a:avLst/>
                    <a:gdLst>
                      <a:gd name="T0" fmla="*/ 0 w 2030"/>
                      <a:gd name="T1" fmla="*/ 0 h 1579"/>
                      <a:gd name="T2" fmla="*/ 0 w 2030"/>
                      <a:gd name="T3" fmla="*/ 0 h 1579"/>
                      <a:gd name="T4" fmla="*/ 0 w 2030"/>
                      <a:gd name="T5" fmla="*/ 0 h 1579"/>
                      <a:gd name="T6" fmla="*/ 0 w 2030"/>
                      <a:gd name="T7" fmla="*/ 0 h 1579"/>
                      <a:gd name="T8" fmla="*/ 0 w 2030"/>
                      <a:gd name="T9" fmla="*/ 0 h 1579"/>
                      <a:gd name="T10" fmla="*/ 0 w 2030"/>
                      <a:gd name="T11" fmla="*/ 0 h 1579"/>
                      <a:gd name="T12" fmla="*/ 0 w 2030"/>
                      <a:gd name="T13" fmla="*/ 0 h 1579"/>
                      <a:gd name="T14" fmla="*/ 0 w 2030"/>
                      <a:gd name="T15" fmla="*/ 0 h 1579"/>
                      <a:gd name="T16" fmla="*/ 0 w 2030"/>
                      <a:gd name="T17" fmla="*/ 0 h 1579"/>
                      <a:gd name="T18" fmla="*/ 0 w 2030"/>
                      <a:gd name="T19" fmla="*/ 0 h 1579"/>
                      <a:gd name="T20" fmla="*/ 0 w 2030"/>
                      <a:gd name="T21" fmla="*/ 0 h 1579"/>
                      <a:gd name="T22" fmla="*/ 0 w 2030"/>
                      <a:gd name="T23" fmla="*/ 0 h 1579"/>
                      <a:gd name="T24" fmla="*/ 0 w 2030"/>
                      <a:gd name="T25" fmla="*/ 0 h 1579"/>
                      <a:gd name="T26" fmla="*/ 0 w 2030"/>
                      <a:gd name="T27" fmla="*/ 0 h 1579"/>
                      <a:gd name="T28" fmla="*/ 0 w 2030"/>
                      <a:gd name="T29" fmla="*/ 0 h 1579"/>
                      <a:gd name="T30" fmla="*/ 0 w 2030"/>
                      <a:gd name="T31" fmla="*/ 0 h 1579"/>
                      <a:gd name="T32" fmla="*/ 0 w 2030"/>
                      <a:gd name="T33" fmla="*/ 0 h 1579"/>
                      <a:gd name="T34" fmla="*/ 0 w 2030"/>
                      <a:gd name="T35" fmla="*/ 0 h 1579"/>
                      <a:gd name="T36" fmla="*/ 0 w 2030"/>
                      <a:gd name="T37" fmla="*/ 0 h 1579"/>
                      <a:gd name="T38" fmla="*/ 0 w 2030"/>
                      <a:gd name="T39" fmla="*/ 0 h 1579"/>
                      <a:gd name="T40" fmla="*/ 0 w 2030"/>
                      <a:gd name="T41" fmla="*/ 0 h 1579"/>
                      <a:gd name="T42" fmla="*/ 0 w 2030"/>
                      <a:gd name="T43" fmla="*/ 0 h 1579"/>
                      <a:gd name="T44" fmla="*/ 0 w 2030"/>
                      <a:gd name="T45" fmla="*/ 0 h 1579"/>
                      <a:gd name="T46" fmla="*/ 0 w 2030"/>
                      <a:gd name="T47" fmla="*/ 0 h 1579"/>
                      <a:gd name="T48" fmla="*/ 0 w 2030"/>
                      <a:gd name="T49" fmla="*/ 0 h 1579"/>
                      <a:gd name="T50" fmla="*/ 0 w 2030"/>
                      <a:gd name="T51" fmla="*/ 0 h 1579"/>
                      <a:gd name="T52" fmla="*/ 0 w 2030"/>
                      <a:gd name="T53" fmla="*/ 0 h 1579"/>
                      <a:gd name="T54" fmla="*/ 0 w 2030"/>
                      <a:gd name="T55" fmla="*/ 0 h 1579"/>
                      <a:gd name="T56" fmla="*/ 0 w 2030"/>
                      <a:gd name="T57" fmla="*/ 0 h 1579"/>
                      <a:gd name="T58" fmla="*/ 0 w 2030"/>
                      <a:gd name="T59" fmla="*/ 0 h 1579"/>
                      <a:gd name="T60" fmla="*/ 0 w 2030"/>
                      <a:gd name="T61" fmla="*/ 0 h 1579"/>
                      <a:gd name="T62" fmla="*/ 0 w 2030"/>
                      <a:gd name="T63" fmla="*/ 0 h 1579"/>
                      <a:gd name="T64" fmla="*/ 0 w 2030"/>
                      <a:gd name="T65" fmla="*/ 0 h 1579"/>
                      <a:gd name="T66" fmla="*/ 0 w 2030"/>
                      <a:gd name="T67" fmla="*/ 0 h 1579"/>
                      <a:gd name="T68" fmla="*/ 0 w 2030"/>
                      <a:gd name="T69" fmla="*/ 0 h 1579"/>
                      <a:gd name="T70" fmla="*/ 0 w 2030"/>
                      <a:gd name="T71" fmla="*/ 0 h 1579"/>
                      <a:gd name="T72" fmla="*/ 0 w 2030"/>
                      <a:gd name="T73" fmla="*/ 0 h 1579"/>
                      <a:gd name="T74" fmla="*/ 0 w 2030"/>
                      <a:gd name="T75" fmla="*/ 0 h 1579"/>
                      <a:gd name="T76" fmla="*/ 0 w 2030"/>
                      <a:gd name="T77" fmla="*/ 0 h 1579"/>
                      <a:gd name="T78" fmla="*/ 0 w 2030"/>
                      <a:gd name="T79" fmla="*/ 0 h 1579"/>
                      <a:gd name="T80" fmla="*/ 0 w 2030"/>
                      <a:gd name="T81" fmla="*/ 0 h 1579"/>
                      <a:gd name="T82" fmla="*/ 0 w 2030"/>
                      <a:gd name="T83" fmla="*/ 0 h 1579"/>
                      <a:gd name="T84" fmla="*/ 0 w 2030"/>
                      <a:gd name="T85" fmla="*/ 0 h 1579"/>
                      <a:gd name="T86" fmla="*/ 0 w 2030"/>
                      <a:gd name="T87" fmla="*/ 0 h 1579"/>
                      <a:gd name="T88" fmla="*/ 0 w 2030"/>
                      <a:gd name="T89" fmla="*/ 0 h 1579"/>
                      <a:gd name="T90" fmla="*/ 0 w 2030"/>
                      <a:gd name="T91" fmla="*/ 0 h 1579"/>
                      <a:gd name="T92" fmla="*/ 0 w 2030"/>
                      <a:gd name="T93" fmla="*/ 0 h 1579"/>
                      <a:gd name="T94" fmla="*/ 0 w 2030"/>
                      <a:gd name="T95" fmla="*/ 0 h 1579"/>
                      <a:gd name="T96" fmla="*/ 0 w 2030"/>
                      <a:gd name="T97" fmla="*/ 0 h 1579"/>
                      <a:gd name="T98" fmla="*/ 0 w 2030"/>
                      <a:gd name="T99" fmla="*/ 0 h 1579"/>
                      <a:gd name="T100" fmla="*/ 0 w 2030"/>
                      <a:gd name="T101" fmla="*/ 0 h 1579"/>
                      <a:gd name="T102" fmla="*/ 0 w 2030"/>
                      <a:gd name="T103" fmla="*/ 0 h 1579"/>
                      <a:gd name="T104" fmla="*/ 0 w 2030"/>
                      <a:gd name="T105" fmla="*/ 0 h 1579"/>
                      <a:gd name="T106" fmla="*/ 0 w 2030"/>
                      <a:gd name="T107" fmla="*/ 0 h 1579"/>
                      <a:gd name="T108" fmla="*/ 0 w 2030"/>
                      <a:gd name="T109" fmla="*/ 0 h 1579"/>
                      <a:gd name="T110" fmla="*/ 0 w 2030"/>
                      <a:gd name="T111" fmla="*/ 0 h 1579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w 2030"/>
                      <a:gd name="T169" fmla="*/ 0 h 1579"/>
                      <a:gd name="T170" fmla="*/ 2030 w 2030"/>
                      <a:gd name="T171" fmla="*/ 1579 h 1579"/>
                    </a:gdLst>
                    <a:ahLst/>
                    <a:cxnLst>
                      <a:cxn ang="T112">
                        <a:pos x="T0" y="T1"/>
                      </a:cxn>
                      <a:cxn ang="T113">
                        <a:pos x="T2" y="T3"/>
                      </a:cxn>
                      <a:cxn ang="T114">
                        <a:pos x="T4" y="T5"/>
                      </a:cxn>
                      <a:cxn ang="T115">
                        <a:pos x="T6" y="T7"/>
                      </a:cxn>
                      <a:cxn ang="T116">
                        <a:pos x="T8" y="T9"/>
                      </a:cxn>
                      <a:cxn ang="T117">
                        <a:pos x="T10" y="T11"/>
                      </a:cxn>
                      <a:cxn ang="T118">
                        <a:pos x="T12" y="T13"/>
                      </a:cxn>
                      <a:cxn ang="T119">
                        <a:pos x="T14" y="T15"/>
                      </a:cxn>
                      <a:cxn ang="T120">
                        <a:pos x="T16" y="T17"/>
                      </a:cxn>
                      <a:cxn ang="T121">
                        <a:pos x="T18" y="T19"/>
                      </a:cxn>
                      <a:cxn ang="T122">
                        <a:pos x="T20" y="T21"/>
                      </a:cxn>
                      <a:cxn ang="T123">
                        <a:pos x="T22" y="T23"/>
                      </a:cxn>
                      <a:cxn ang="T124">
                        <a:pos x="T24" y="T25"/>
                      </a:cxn>
                      <a:cxn ang="T125">
                        <a:pos x="T26" y="T27"/>
                      </a:cxn>
                      <a:cxn ang="T126">
                        <a:pos x="T28" y="T29"/>
                      </a:cxn>
                      <a:cxn ang="T127">
                        <a:pos x="T30" y="T31"/>
                      </a:cxn>
                      <a:cxn ang="T128">
                        <a:pos x="T32" y="T33"/>
                      </a:cxn>
                      <a:cxn ang="T129">
                        <a:pos x="T34" y="T35"/>
                      </a:cxn>
                      <a:cxn ang="T130">
                        <a:pos x="T36" y="T37"/>
                      </a:cxn>
                      <a:cxn ang="T131">
                        <a:pos x="T38" y="T39"/>
                      </a:cxn>
                      <a:cxn ang="T132">
                        <a:pos x="T40" y="T41"/>
                      </a:cxn>
                      <a:cxn ang="T133">
                        <a:pos x="T42" y="T43"/>
                      </a:cxn>
                      <a:cxn ang="T134">
                        <a:pos x="T44" y="T45"/>
                      </a:cxn>
                      <a:cxn ang="T135">
                        <a:pos x="T46" y="T47"/>
                      </a:cxn>
                      <a:cxn ang="T136">
                        <a:pos x="T48" y="T49"/>
                      </a:cxn>
                      <a:cxn ang="T137">
                        <a:pos x="T50" y="T51"/>
                      </a:cxn>
                      <a:cxn ang="T138">
                        <a:pos x="T52" y="T53"/>
                      </a:cxn>
                      <a:cxn ang="T139">
                        <a:pos x="T54" y="T55"/>
                      </a:cxn>
                      <a:cxn ang="T140">
                        <a:pos x="T56" y="T57"/>
                      </a:cxn>
                      <a:cxn ang="T141">
                        <a:pos x="T58" y="T59"/>
                      </a:cxn>
                      <a:cxn ang="T142">
                        <a:pos x="T60" y="T61"/>
                      </a:cxn>
                      <a:cxn ang="T143">
                        <a:pos x="T62" y="T63"/>
                      </a:cxn>
                      <a:cxn ang="T144">
                        <a:pos x="T64" y="T65"/>
                      </a:cxn>
                      <a:cxn ang="T145">
                        <a:pos x="T66" y="T67"/>
                      </a:cxn>
                      <a:cxn ang="T146">
                        <a:pos x="T68" y="T69"/>
                      </a:cxn>
                      <a:cxn ang="T147">
                        <a:pos x="T70" y="T71"/>
                      </a:cxn>
                      <a:cxn ang="T148">
                        <a:pos x="T72" y="T73"/>
                      </a:cxn>
                      <a:cxn ang="T149">
                        <a:pos x="T74" y="T75"/>
                      </a:cxn>
                      <a:cxn ang="T150">
                        <a:pos x="T76" y="T77"/>
                      </a:cxn>
                      <a:cxn ang="T151">
                        <a:pos x="T78" y="T79"/>
                      </a:cxn>
                      <a:cxn ang="T152">
                        <a:pos x="T80" y="T81"/>
                      </a:cxn>
                      <a:cxn ang="T153">
                        <a:pos x="T82" y="T83"/>
                      </a:cxn>
                      <a:cxn ang="T154">
                        <a:pos x="T84" y="T85"/>
                      </a:cxn>
                      <a:cxn ang="T155">
                        <a:pos x="T86" y="T87"/>
                      </a:cxn>
                      <a:cxn ang="T156">
                        <a:pos x="T88" y="T89"/>
                      </a:cxn>
                      <a:cxn ang="T157">
                        <a:pos x="T90" y="T91"/>
                      </a:cxn>
                      <a:cxn ang="T158">
                        <a:pos x="T92" y="T93"/>
                      </a:cxn>
                      <a:cxn ang="T159">
                        <a:pos x="T94" y="T95"/>
                      </a:cxn>
                      <a:cxn ang="T160">
                        <a:pos x="T96" y="T97"/>
                      </a:cxn>
                      <a:cxn ang="T161">
                        <a:pos x="T98" y="T99"/>
                      </a:cxn>
                      <a:cxn ang="T162">
                        <a:pos x="T100" y="T101"/>
                      </a:cxn>
                      <a:cxn ang="T163">
                        <a:pos x="T102" y="T103"/>
                      </a:cxn>
                      <a:cxn ang="T164">
                        <a:pos x="T104" y="T105"/>
                      </a:cxn>
                      <a:cxn ang="T165">
                        <a:pos x="T106" y="T107"/>
                      </a:cxn>
                      <a:cxn ang="T166">
                        <a:pos x="T108" y="T109"/>
                      </a:cxn>
                      <a:cxn ang="T167">
                        <a:pos x="T110" y="T111"/>
                      </a:cxn>
                    </a:cxnLst>
                    <a:rect l="T168" t="T169" r="T170" b="T171"/>
                    <a:pathLst>
                      <a:path w="2030" h="1579">
                        <a:moveTo>
                          <a:pt x="916" y="671"/>
                        </a:moveTo>
                        <a:lnTo>
                          <a:pt x="959" y="695"/>
                        </a:lnTo>
                        <a:lnTo>
                          <a:pt x="1000" y="717"/>
                        </a:lnTo>
                        <a:lnTo>
                          <a:pt x="1040" y="737"/>
                        </a:lnTo>
                        <a:lnTo>
                          <a:pt x="1080" y="756"/>
                        </a:lnTo>
                        <a:lnTo>
                          <a:pt x="1120" y="774"/>
                        </a:lnTo>
                        <a:lnTo>
                          <a:pt x="1159" y="789"/>
                        </a:lnTo>
                        <a:lnTo>
                          <a:pt x="1197" y="804"/>
                        </a:lnTo>
                        <a:lnTo>
                          <a:pt x="1236" y="816"/>
                        </a:lnTo>
                        <a:lnTo>
                          <a:pt x="1272" y="827"/>
                        </a:lnTo>
                        <a:lnTo>
                          <a:pt x="1310" y="837"/>
                        </a:lnTo>
                        <a:lnTo>
                          <a:pt x="1347" y="846"/>
                        </a:lnTo>
                        <a:lnTo>
                          <a:pt x="1383" y="853"/>
                        </a:lnTo>
                        <a:lnTo>
                          <a:pt x="1419" y="858"/>
                        </a:lnTo>
                        <a:lnTo>
                          <a:pt x="1454" y="863"/>
                        </a:lnTo>
                        <a:lnTo>
                          <a:pt x="1490" y="865"/>
                        </a:lnTo>
                        <a:lnTo>
                          <a:pt x="1524" y="866"/>
                        </a:lnTo>
                        <a:lnTo>
                          <a:pt x="1559" y="866"/>
                        </a:lnTo>
                        <a:lnTo>
                          <a:pt x="1592" y="865"/>
                        </a:lnTo>
                        <a:lnTo>
                          <a:pt x="1625" y="862"/>
                        </a:lnTo>
                        <a:lnTo>
                          <a:pt x="1659" y="858"/>
                        </a:lnTo>
                        <a:lnTo>
                          <a:pt x="1691" y="853"/>
                        </a:lnTo>
                        <a:lnTo>
                          <a:pt x="1723" y="846"/>
                        </a:lnTo>
                        <a:lnTo>
                          <a:pt x="1756" y="838"/>
                        </a:lnTo>
                        <a:lnTo>
                          <a:pt x="1788" y="828"/>
                        </a:lnTo>
                        <a:lnTo>
                          <a:pt x="1819" y="818"/>
                        </a:lnTo>
                        <a:lnTo>
                          <a:pt x="1850" y="806"/>
                        </a:lnTo>
                        <a:lnTo>
                          <a:pt x="1880" y="794"/>
                        </a:lnTo>
                        <a:lnTo>
                          <a:pt x="1911" y="779"/>
                        </a:lnTo>
                        <a:lnTo>
                          <a:pt x="1941" y="764"/>
                        </a:lnTo>
                        <a:lnTo>
                          <a:pt x="1971" y="747"/>
                        </a:lnTo>
                        <a:lnTo>
                          <a:pt x="2000" y="729"/>
                        </a:lnTo>
                        <a:lnTo>
                          <a:pt x="2030" y="710"/>
                        </a:lnTo>
                        <a:lnTo>
                          <a:pt x="2029" y="756"/>
                        </a:lnTo>
                        <a:lnTo>
                          <a:pt x="2029" y="801"/>
                        </a:lnTo>
                        <a:lnTo>
                          <a:pt x="2027" y="847"/>
                        </a:lnTo>
                        <a:lnTo>
                          <a:pt x="2025" y="892"/>
                        </a:lnTo>
                        <a:lnTo>
                          <a:pt x="2020" y="935"/>
                        </a:lnTo>
                        <a:lnTo>
                          <a:pt x="2016" y="977"/>
                        </a:lnTo>
                        <a:lnTo>
                          <a:pt x="2010" y="1020"/>
                        </a:lnTo>
                        <a:lnTo>
                          <a:pt x="2003" y="1060"/>
                        </a:lnTo>
                        <a:lnTo>
                          <a:pt x="1995" y="1100"/>
                        </a:lnTo>
                        <a:lnTo>
                          <a:pt x="1985" y="1138"/>
                        </a:lnTo>
                        <a:lnTo>
                          <a:pt x="1974" y="1174"/>
                        </a:lnTo>
                        <a:lnTo>
                          <a:pt x="1961" y="1210"/>
                        </a:lnTo>
                        <a:lnTo>
                          <a:pt x="1948" y="1243"/>
                        </a:lnTo>
                        <a:lnTo>
                          <a:pt x="1932" y="1274"/>
                        </a:lnTo>
                        <a:lnTo>
                          <a:pt x="1924" y="1290"/>
                        </a:lnTo>
                        <a:lnTo>
                          <a:pt x="1915" y="1304"/>
                        </a:lnTo>
                        <a:lnTo>
                          <a:pt x="1906" y="1319"/>
                        </a:lnTo>
                        <a:lnTo>
                          <a:pt x="1896" y="1333"/>
                        </a:lnTo>
                        <a:lnTo>
                          <a:pt x="1846" y="1396"/>
                        </a:lnTo>
                        <a:lnTo>
                          <a:pt x="1793" y="1449"/>
                        </a:lnTo>
                        <a:lnTo>
                          <a:pt x="1740" y="1491"/>
                        </a:lnTo>
                        <a:lnTo>
                          <a:pt x="1685" y="1526"/>
                        </a:lnTo>
                        <a:lnTo>
                          <a:pt x="1629" y="1551"/>
                        </a:lnTo>
                        <a:lnTo>
                          <a:pt x="1572" y="1568"/>
                        </a:lnTo>
                        <a:lnTo>
                          <a:pt x="1514" y="1577"/>
                        </a:lnTo>
                        <a:lnTo>
                          <a:pt x="1456" y="1579"/>
                        </a:lnTo>
                        <a:lnTo>
                          <a:pt x="1397" y="1575"/>
                        </a:lnTo>
                        <a:lnTo>
                          <a:pt x="1338" y="1564"/>
                        </a:lnTo>
                        <a:lnTo>
                          <a:pt x="1278" y="1546"/>
                        </a:lnTo>
                        <a:lnTo>
                          <a:pt x="1219" y="1524"/>
                        </a:lnTo>
                        <a:lnTo>
                          <a:pt x="1160" y="1496"/>
                        </a:lnTo>
                        <a:lnTo>
                          <a:pt x="1101" y="1464"/>
                        </a:lnTo>
                        <a:lnTo>
                          <a:pt x="1042" y="1428"/>
                        </a:lnTo>
                        <a:lnTo>
                          <a:pt x="984" y="1389"/>
                        </a:lnTo>
                        <a:lnTo>
                          <a:pt x="927" y="1346"/>
                        </a:lnTo>
                        <a:lnTo>
                          <a:pt x="871" y="1301"/>
                        </a:lnTo>
                        <a:lnTo>
                          <a:pt x="816" y="1253"/>
                        </a:lnTo>
                        <a:lnTo>
                          <a:pt x="762" y="1204"/>
                        </a:lnTo>
                        <a:lnTo>
                          <a:pt x="709" y="1154"/>
                        </a:lnTo>
                        <a:lnTo>
                          <a:pt x="659" y="1103"/>
                        </a:lnTo>
                        <a:lnTo>
                          <a:pt x="610" y="1052"/>
                        </a:lnTo>
                        <a:lnTo>
                          <a:pt x="562" y="1001"/>
                        </a:lnTo>
                        <a:lnTo>
                          <a:pt x="517" y="951"/>
                        </a:lnTo>
                        <a:lnTo>
                          <a:pt x="474" y="902"/>
                        </a:lnTo>
                        <a:lnTo>
                          <a:pt x="433" y="854"/>
                        </a:lnTo>
                        <a:lnTo>
                          <a:pt x="395" y="809"/>
                        </a:lnTo>
                        <a:lnTo>
                          <a:pt x="328" y="726"/>
                        </a:lnTo>
                        <a:lnTo>
                          <a:pt x="271" y="657"/>
                        </a:lnTo>
                        <a:lnTo>
                          <a:pt x="253" y="633"/>
                        </a:lnTo>
                        <a:lnTo>
                          <a:pt x="234" y="606"/>
                        </a:lnTo>
                        <a:lnTo>
                          <a:pt x="214" y="576"/>
                        </a:lnTo>
                        <a:lnTo>
                          <a:pt x="195" y="542"/>
                        </a:lnTo>
                        <a:lnTo>
                          <a:pt x="176" y="507"/>
                        </a:lnTo>
                        <a:lnTo>
                          <a:pt x="156" y="469"/>
                        </a:lnTo>
                        <a:lnTo>
                          <a:pt x="137" y="429"/>
                        </a:lnTo>
                        <a:lnTo>
                          <a:pt x="118" y="385"/>
                        </a:lnTo>
                        <a:lnTo>
                          <a:pt x="100" y="342"/>
                        </a:lnTo>
                        <a:lnTo>
                          <a:pt x="84" y="296"/>
                        </a:lnTo>
                        <a:lnTo>
                          <a:pt x="67" y="248"/>
                        </a:lnTo>
                        <a:lnTo>
                          <a:pt x="52" y="200"/>
                        </a:lnTo>
                        <a:lnTo>
                          <a:pt x="36" y="152"/>
                        </a:lnTo>
                        <a:lnTo>
                          <a:pt x="23" y="101"/>
                        </a:lnTo>
                        <a:lnTo>
                          <a:pt x="10" y="50"/>
                        </a:lnTo>
                        <a:lnTo>
                          <a:pt x="0" y="0"/>
                        </a:lnTo>
                        <a:lnTo>
                          <a:pt x="53" y="47"/>
                        </a:lnTo>
                        <a:lnTo>
                          <a:pt x="105" y="93"/>
                        </a:lnTo>
                        <a:lnTo>
                          <a:pt x="158" y="138"/>
                        </a:lnTo>
                        <a:lnTo>
                          <a:pt x="212" y="183"/>
                        </a:lnTo>
                        <a:lnTo>
                          <a:pt x="266" y="227"/>
                        </a:lnTo>
                        <a:lnTo>
                          <a:pt x="322" y="271"/>
                        </a:lnTo>
                        <a:lnTo>
                          <a:pt x="378" y="313"/>
                        </a:lnTo>
                        <a:lnTo>
                          <a:pt x="434" y="355"/>
                        </a:lnTo>
                        <a:lnTo>
                          <a:pt x="492" y="396"/>
                        </a:lnTo>
                        <a:lnTo>
                          <a:pt x="550" y="438"/>
                        </a:lnTo>
                        <a:lnTo>
                          <a:pt x="609" y="479"/>
                        </a:lnTo>
                        <a:lnTo>
                          <a:pt x="669" y="518"/>
                        </a:lnTo>
                        <a:lnTo>
                          <a:pt x="729" y="557"/>
                        </a:lnTo>
                        <a:lnTo>
                          <a:pt x="792" y="596"/>
                        </a:lnTo>
                        <a:lnTo>
                          <a:pt x="854" y="633"/>
                        </a:lnTo>
                        <a:lnTo>
                          <a:pt x="916" y="671"/>
                        </a:lnTo>
                        <a:close/>
                      </a:path>
                    </a:pathLst>
                  </a:custGeom>
                  <a:solidFill>
                    <a:srgbClr val="312276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141" name="Freeform 200"/>
                  <p:cNvSpPr>
                    <a:spLocks/>
                  </p:cNvSpPr>
                  <p:nvPr/>
                </p:nvSpPr>
                <p:spPr bwMode="auto">
                  <a:xfrm>
                    <a:off x="3173" y="3841"/>
                    <a:ext cx="562" cy="216"/>
                  </a:xfrm>
                  <a:custGeom>
                    <a:avLst/>
                    <a:gdLst>
                      <a:gd name="T0" fmla="*/ 0 w 3934"/>
                      <a:gd name="T1" fmla="*/ 0 h 1507"/>
                      <a:gd name="T2" fmla="*/ 0 w 3934"/>
                      <a:gd name="T3" fmla="*/ 0 h 1507"/>
                      <a:gd name="T4" fmla="*/ 0 w 3934"/>
                      <a:gd name="T5" fmla="*/ 0 h 1507"/>
                      <a:gd name="T6" fmla="*/ 0 w 3934"/>
                      <a:gd name="T7" fmla="*/ 0 h 1507"/>
                      <a:gd name="T8" fmla="*/ 0 w 3934"/>
                      <a:gd name="T9" fmla="*/ 0 h 1507"/>
                      <a:gd name="T10" fmla="*/ 0 w 3934"/>
                      <a:gd name="T11" fmla="*/ 0 h 1507"/>
                      <a:gd name="T12" fmla="*/ 0 w 3934"/>
                      <a:gd name="T13" fmla="*/ 0 h 1507"/>
                      <a:gd name="T14" fmla="*/ 0 w 3934"/>
                      <a:gd name="T15" fmla="*/ 0 h 1507"/>
                      <a:gd name="T16" fmla="*/ 0 w 3934"/>
                      <a:gd name="T17" fmla="*/ 0 h 1507"/>
                      <a:gd name="T18" fmla="*/ 0 w 3934"/>
                      <a:gd name="T19" fmla="*/ 0 h 1507"/>
                      <a:gd name="T20" fmla="*/ 0 w 3934"/>
                      <a:gd name="T21" fmla="*/ 0 h 1507"/>
                      <a:gd name="T22" fmla="*/ 0 w 3934"/>
                      <a:gd name="T23" fmla="*/ 0 h 1507"/>
                      <a:gd name="T24" fmla="*/ 0 w 3934"/>
                      <a:gd name="T25" fmla="*/ 0 h 1507"/>
                      <a:gd name="T26" fmla="*/ 0 w 3934"/>
                      <a:gd name="T27" fmla="*/ 0 h 1507"/>
                      <a:gd name="T28" fmla="*/ 0 w 3934"/>
                      <a:gd name="T29" fmla="*/ 0 h 1507"/>
                      <a:gd name="T30" fmla="*/ 0 w 3934"/>
                      <a:gd name="T31" fmla="*/ 0 h 1507"/>
                      <a:gd name="T32" fmla="*/ 0 w 3934"/>
                      <a:gd name="T33" fmla="*/ 0 h 1507"/>
                      <a:gd name="T34" fmla="*/ 0 w 3934"/>
                      <a:gd name="T35" fmla="*/ 0 h 1507"/>
                      <a:gd name="T36" fmla="*/ 0 w 3934"/>
                      <a:gd name="T37" fmla="*/ 0 h 1507"/>
                      <a:gd name="T38" fmla="*/ 0 w 3934"/>
                      <a:gd name="T39" fmla="*/ 0 h 1507"/>
                      <a:gd name="T40" fmla="*/ 0 w 3934"/>
                      <a:gd name="T41" fmla="*/ 0 h 1507"/>
                      <a:gd name="T42" fmla="*/ 0 w 3934"/>
                      <a:gd name="T43" fmla="*/ 0 h 1507"/>
                      <a:gd name="T44" fmla="*/ 0 w 3934"/>
                      <a:gd name="T45" fmla="*/ 0 h 1507"/>
                      <a:gd name="T46" fmla="*/ 0 w 3934"/>
                      <a:gd name="T47" fmla="*/ 0 h 1507"/>
                      <a:gd name="T48" fmla="*/ 0 w 3934"/>
                      <a:gd name="T49" fmla="*/ 0 h 1507"/>
                      <a:gd name="T50" fmla="*/ 0 w 3934"/>
                      <a:gd name="T51" fmla="*/ 0 h 1507"/>
                      <a:gd name="T52" fmla="*/ 0 w 3934"/>
                      <a:gd name="T53" fmla="*/ 0 h 1507"/>
                      <a:gd name="T54" fmla="*/ 0 w 3934"/>
                      <a:gd name="T55" fmla="*/ 0 h 1507"/>
                      <a:gd name="T56" fmla="*/ 0 w 3934"/>
                      <a:gd name="T57" fmla="*/ 0 h 1507"/>
                      <a:gd name="T58" fmla="*/ 0 w 3934"/>
                      <a:gd name="T59" fmla="*/ 0 h 1507"/>
                      <a:gd name="T60" fmla="*/ 0 w 3934"/>
                      <a:gd name="T61" fmla="*/ 0 h 1507"/>
                      <a:gd name="T62" fmla="*/ 0 w 3934"/>
                      <a:gd name="T63" fmla="*/ 0 h 1507"/>
                      <a:gd name="T64" fmla="*/ 0 w 3934"/>
                      <a:gd name="T65" fmla="*/ 0 h 1507"/>
                      <a:gd name="T66" fmla="*/ 0 w 3934"/>
                      <a:gd name="T67" fmla="*/ 0 h 1507"/>
                      <a:gd name="T68" fmla="*/ 0 w 3934"/>
                      <a:gd name="T69" fmla="*/ 0 h 1507"/>
                      <a:gd name="T70" fmla="*/ 0 w 3934"/>
                      <a:gd name="T71" fmla="*/ 0 h 1507"/>
                      <a:gd name="T72" fmla="*/ 0 w 3934"/>
                      <a:gd name="T73" fmla="*/ 0 h 1507"/>
                      <a:gd name="T74" fmla="*/ 0 w 3934"/>
                      <a:gd name="T75" fmla="*/ 0 h 1507"/>
                      <a:gd name="T76" fmla="*/ 0 w 3934"/>
                      <a:gd name="T77" fmla="*/ 0 h 1507"/>
                      <a:gd name="T78" fmla="*/ 0 w 3934"/>
                      <a:gd name="T79" fmla="*/ 0 h 1507"/>
                      <a:gd name="T80" fmla="*/ 0 w 3934"/>
                      <a:gd name="T81" fmla="*/ 0 h 1507"/>
                      <a:gd name="T82" fmla="*/ 0 w 3934"/>
                      <a:gd name="T83" fmla="*/ 0 h 1507"/>
                      <a:gd name="T84" fmla="*/ 0 w 3934"/>
                      <a:gd name="T85" fmla="*/ 0 h 1507"/>
                      <a:gd name="T86" fmla="*/ 0 w 3934"/>
                      <a:gd name="T87" fmla="*/ 0 h 1507"/>
                      <a:gd name="T88" fmla="*/ 0 w 3934"/>
                      <a:gd name="T89" fmla="*/ 0 h 1507"/>
                      <a:gd name="T90" fmla="*/ 0 w 3934"/>
                      <a:gd name="T91" fmla="*/ 0 h 1507"/>
                      <a:gd name="T92" fmla="*/ 0 w 3934"/>
                      <a:gd name="T93" fmla="*/ 0 h 1507"/>
                      <a:gd name="T94" fmla="*/ 0 w 3934"/>
                      <a:gd name="T95" fmla="*/ 0 h 1507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w 3934"/>
                      <a:gd name="T145" fmla="*/ 0 h 1507"/>
                      <a:gd name="T146" fmla="*/ 3934 w 3934"/>
                      <a:gd name="T147" fmla="*/ 1507 h 1507"/>
                    </a:gdLst>
                    <a:ahLst/>
                    <a:cxnLst>
                      <a:cxn ang="T96">
                        <a:pos x="T0" y="T1"/>
                      </a:cxn>
                      <a:cxn ang="T97">
                        <a:pos x="T2" y="T3"/>
                      </a:cxn>
                      <a:cxn ang="T98">
                        <a:pos x="T4" y="T5"/>
                      </a:cxn>
                      <a:cxn ang="T99">
                        <a:pos x="T6" y="T7"/>
                      </a:cxn>
                      <a:cxn ang="T100">
                        <a:pos x="T8" y="T9"/>
                      </a:cxn>
                      <a:cxn ang="T101">
                        <a:pos x="T10" y="T11"/>
                      </a:cxn>
                      <a:cxn ang="T102">
                        <a:pos x="T12" y="T13"/>
                      </a:cxn>
                      <a:cxn ang="T103">
                        <a:pos x="T14" y="T15"/>
                      </a:cxn>
                      <a:cxn ang="T104">
                        <a:pos x="T16" y="T17"/>
                      </a:cxn>
                      <a:cxn ang="T105">
                        <a:pos x="T18" y="T19"/>
                      </a:cxn>
                      <a:cxn ang="T106">
                        <a:pos x="T20" y="T21"/>
                      </a:cxn>
                      <a:cxn ang="T107">
                        <a:pos x="T22" y="T23"/>
                      </a:cxn>
                      <a:cxn ang="T108">
                        <a:pos x="T24" y="T25"/>
                      </a:cxn>
                      <a:cxn ang="T109">
                        <a:pos x="T26" y="T27"/>
                      </a:cxn>
                      <a:cxn ang="T110">
                        <a:pos x="T28" y="T29"/>
                      </a:cxn>
                      <a:cxn ang="T111">
                        <a:pos x="T30" y="T31"/>
                      </a:cxn>
                      <a:cxn ang="T112">
                        <a:pos x="T32" y="T33"/>
                      </a:cxn>
                      <a:cxn ang="T113">
                        <a:pos x="T34" y="T35"/>
                      </a:cxn>
                      <a:cxn ang="T114">
                        <a:pos x="T36" y="T37"/>
                      </a:cxn>
                      <a:cxn ang="T115">
                        <a:pos x="T38" y="T39"/>
                      </a:cxn>
                      <a:cxn ang="T116">
                        <a:pos x="T40" y="T41"/>
                      </a:cxn>
                      <a:cxn ang="T117">
                        <a:pos x="T42" y="T43"/>
                      </a:cxn>
                      <a:cxn ang="T118">
                        <a:pos x="T44" y="T45"/>
                      </a:cxn>
                      <a:cxn ang="T119">
                        <a:pos x="T46" y="T47"/>
                      </a:cxn>
                      <a:cxn ang="T120">
                        <a:pos x="T48" y="T49"/>
                      </a:cxn>
                      <a:cxn ang="T121">
                        <a:pos x="T50" y="T51"/>
                      </a:cxn>
                      <a:cxn ang="T122">
                        <a:pos x="T52" y="T53"/>
                      </a:cxn>
                      <a:cxn ang="T123">
                        <a:pos x="T54" y="T55"/>
                      </a:cxn>
                      <a:cxn ang="T124">
                        <a:pos x="T56" y="T57"/>
                      </a:cxn>
                      <a:cxn ang="T125">
                        <a:pos x="T58" y="T59"/>
                      </a:cxn>
                      <a:cxn ang="T126">
                        <a:pos x="T60" y="T61"/>
                      </a:cxn>
                      <a:cxn ang="T127">
                        <a:pos x="T62" y="T63"/>
                      </a:cxn>
                      <a:cxn ang="T128">
                        <a:pos x="T64" y="T65"/>
                      </a:cxn>
                      <a:cxn ang="T129">
                        <a:pos x="T66" y="T67"/>
                      </a:cxn>
                      <a:cxn ang="T130">
                        <a:pos x="T68" y="T69"/>
                      </a:cxn>
                      <a:cxn ang="T131">
                        <a:pos x="T70" y="T71"/>
                      </a:cxn>
                      <a:cxn ang="T132">
                        <a:pos x="T72" y="T73"/>
                      </a:cxn>
                      <a:cxn ang="T133">
                        <a:pos x="T74" y="T75"/>
                      </a:cxn>
                      <a:cxn ang="T134">
                        <a:pos x="T76" y="T77"/>
                      </a:cxn>
                      <a:cxn ang="T135">
                        <a:pos x="T78" y="T79"/>
                      </a:cxn>
                      <a:cxn ang="T136">
                        <a:pos x="T80" y="T81"/>
                      </a:cxn>
                      <a:cxn ang="T137">
                        <a:pos x="T82" y="T83"/>
                      </a:cxn>
                      <a:cxn ang="T138">
                        <a:pos x="T84" y="T85"/>
                      </a:cxn>
                      <a:cxn ang="T139">
                        <a:pos x="T86" y="T87"/>
                      </a:cxn>
                      <a:cxn ang="T140">
                        <a:pos x="T88" y="T89"/>
                      </a:cxn>
                      <a:cxn ang="T141">
                        <a:pos x="T90" y="T91"/>
                      </a:cxn>
                      <a:cxn ang="T142">
                        <a:pos x="T92" y="T93"/>
                      </a:cxn>
                      <a:cxn ang="T143">
                        <a:pos x="T94" y="T95"/>
                      </a:cxn>
                    </a:cxnLst>
                    <a:rect l="T144" t="T145" r="T146" b="T147"/>
                    <a:pathLst>
                      <a:path w="3934" h="1507">
                        <a:moveTo>
                          <a:pt x="3766" y="0"/>
                        </a:moveTo>
                        <a:lnTo>
                          <a:pt x="3783" y="139"/>
                        </a:lnTo>
                        <a:lnTo>
                          <a:pt x="3781" y="269"/>
                        </a:lnTo>
                        <a:lnTo>
                          <a:pt x="3761" y="390"/>
                        </a:lnTo>
                        <a:lnTo>
                          <a:pt x="3725" y="500"/>
                        </a:lnTo>
                        <a:lnTo>
                          <a:pt x="3674" y="601"/>
                        </a:lnTo>
                        <a:lnTo>
                          <a:pt x="3608" y="693"/>
                        </a:lnTo>
                        <a:lnTo>
                          <a:pt x="3529" y="778"/>
                        </a:lnTo>
                        <a:lnTo>
                          <a:pt x="3438" y="852"/>
                        </a:lnTo>
                        <a:lnTo>
                          <a:pt x="3335" y="920"/>
                        </a:lnTo>
                        <a:lnTo>
                          <a:pt x="3221" y="979"/>
                        </a:lnTo>
                        <a:lnTo>
                          <a:pt x="3098" y="1032"/>
                        </a:lnTo>
                        <a:lnTo>
                          <a:pt x="2966" y="1076"/>
                        </a:lnTo>
                        <a:lnTo>
                          <a:pt x="2827" y="1113"/>
                        </a:lnTo>
                        <a:lnTo>
                          <a:pt x="2680" y="1144"/>
                        </a:lnTo>
                        <a:lnTo>
                          <a:pt x="2529" y="1168"/>
                        </a:lnTo>
                        <a:lnTo>
                          <a:pt x="2372" y="1186"/>
                        </a:lnTo>
                        <a:lnTo>
                          <a:pt x="2210" y="1199"/>
                        </a:lnTo>
                        <a:lnTo>
                          <a:pt x="2048" y="1205"/>
                        </a:lnTo>
                        <a:lnTo>
                          <a:pt x="1882" y="1206"/>
                        </a:lnTo>
                        <a:lnTo>
                          <a:pt x="1716" y="1203"/>
                        </a:lnTo>
                        <a:lnTo>
                          <a:pt x="1549" y="1194"/>
                        </a:lnTo>
                        <a:lnTo>
                          <a:pt x="1385" y="1181"/>
                        </a:lnTo>
                        <a:lnTo>
                          <a:pt x="1221" y="1163"/>
                        </a:lnTo>
                        <a:lnTo>
                          <a:pt x="1061" y="1142"/>
                        </a:lnTo>
                        <a:lnTo>
                          <a:pt x="905" y="1116"/>
                        </a:lnTo>
                        <a:lnTo>
                          <a:pt x="754" y="1087"/>
                        </a:lnTo>
                        <a:lnTo>
                          <a:pt x="608" y="1055"/>
                        </a:lnTo>
                        <a:lnTo>
                          <a:pt x="469" y="1020"/>
                        </a:lnTo>
                        <a:lnTo>
                          <a:pt x="337" y="983"/>
                        </a:lnTo>
                        <a:lnTo>
                          <a:pt x="215" y="943"/>
                        </a:lnTo>
                        <a:lnTo>
                          <a:pt x="102" y="901"/>
                        </a:lnTo>
                        <a:lnTo>
                          <a:pt x="0" y="857"/>
                        </a:lnTo>
                        <a:lnTo>
                          <a:pt x="12" y="878"/>
                        </a:lnTo>
                        <a:lnTo>
                          <a:pt x="26" y="898"/>
                        </a:lnTo>
                        <a:lnTo>
                          <a:pt x="39" y="918"/>
                        </a:lnTo>
                        <a:lnTo>
                          <a:pt x="52" y="937"/>
                        </a:lnTo>
                        <a:lnTo>
                          <a:pt x="67" y="955"/>
                        </a:lnTo>
                        <a:lnTo>
                          <a:pt x="80" y="973"/>
                        </a:lnTo>
                        <a:lnTo>
                          <a:pt x="95" y="989"/>
                        </a:lnTo>
                        <a:lnTo>
                          <a:pt x="109" y="1006"/>
                        </a:lnTo>
                        <a:lnTo>
                          <a:pt x="139" y="1036"/>
                        </a:lnTo>
                        <a:lnTo>
                          <a:pt x="169" y="1064"/>
                        </a:lnTo>
                        <a:lnTo>
                          <a:pt x="199" y="1089"/>
                        </a:lnTo>
                        <a:lnTo>
                          <a:pt x="229" y="1113"/>
                        </a:lnTo>
                        <a:lnTo>
                          <a:pt x="260" y="1134"/>
                        </a:lnTo>
                        <a:lnTo>
                          <a:pt x="291" y="1153"/>
                        </a:lnTo>
                        <a:lnTo>
                          <a:pt x="321" y="1170"/>
                        </a:lnTo>
                        <a:lnTo>
                          <a:pt x="351" y="1184"/>
                        </a:lnTo>
                        <a:lnTo>
                          <a:pt x="380" y="1197"/>
                        </a:lnTo>
                        <a:lnTo>
                          <a:pt x="407" y="1209"/>
                        </a:lnTo>
                        <a:lnTo>
                          <a:pt x="434" y="1219"/>
                        </a:lnTo>
                        <a:lnTo>
                          <a:pt x="461" y="1226"/>
                        </a:lnTo>
                        <a:lnTo>
                          <a:pt x="494" y="1236"/>
                        </a:lnTo>
                        <a:lnTo>
                          <a:pt x="529" y="1247"/>
                        </a:lnTo>
                        <a:lnTo>
                          <a:pt x="565" y="1261"/>
                        </a:lnTo>
                        <a:lnTo>
                          <a:pt x="604" y="1274"/>
                        </a:lnTo>
                        <a:lnTo>
                          <a:pt x="685" y="1305"/>
                        </a:lnTo>
                        <a:lnTo>
                          <a:pt x="769" y="1337"/>
                        </a:lnTo>
                        <a:lnTo>
                          <a:pt x="813" y="1352"/>
                        </a:lnTo>
                        <a:lnTo>
                          <a:pt x="857" y="1368"/>
                        </a:lnTo>
                        <a:lnTo>
                          <a:pt x="902" y="1382"/>
                        </a:lnTo>
                        <a:lnTo>
                          <a:pt x="947" y="1396"/>
                        </a:lnTo>
                        <a:lnTo>
                          <a:pt x="992" y="1408"/>
                        </a:lnTo>
                        <a:lnTo>
                          <a:pt x="1038" y="1418"/>
                        </a:lnTo>
                        <a:lnTo>
                          <a:pt x="1084" y="1427"/>
                        </a:lnTo>
                        <a:lnTo>
                          <a:pt x="1130" y="1432"/>
                        </a:lnTo>
                        <a:lnTo>
                          <a:pt x="1209" y="1442"/>
                        </a:lnTo>
                        <a:lnTo>
                          <a:pt x="1293" y="1452"/>
                        </a:lnTo>
                        <a:lnTo>
                          <a:pt x="1383" y="1463"/>
                        </a:lnTo>
                        <a:lnTo>
                          <a:pt x="1475" y="1475"/>
                        </a:lnTo>
                        <a:lnTo>
                          <a:pt x="1568" y="1486"/>
                        </a:lnTo>
                        <a:lnTo>
                          <a:pt x="1660" y="1495"/>
                        </a:lnTo>
                        <a:lnTo>
                          <a:pt x="1705" y="1499"/>
                        </a:lnTo>
                        <a:lnTo>
                          <a:pt x="1750" y="1502"/>
                        </a:lnTo>
                        <a:lnTo>
                          <a:pt x="1792" y="1505"/>
                        </a:lnTo>
                        <a:lnTo>
                          <a:pt x="1834" y="1507"/>
                        </a:lnTo>
                        <a:lnTo>
                          <a:pt x="1878" y="1507"/>
                        </a:lnTo>
                        <a:lnTo>
                          <a:pt x="1921" y="1506"/>
                        </a:lnTo>
                        <a:lnTo>
                          <a:pt x="1964" y="1503"/>
                        </a:lnTo>
                        <a:lnTo>
                          <a:pt x="2008" y="1500"/>
                        </a:lnTo>
                        <a:lnTo>
                          <a:pt x="2051" y="1495"/>
                        </a:lnTo>
                        <a:lnTo>
                          <a:pt x="2095" y="1489"/>
                        </a:lnTo>
                        <a:lnTo>
                          <a:pt x="2138" y="1482"/>
                        </a:lnTo>
                        <a:lnTo>
                          <a:pt x="2182" y="1476"/>
                        </a:lnTo>
                        <a:lnTo>
                          <a:pt x="2268" y="1461"/>
                        </a:lnTo>
                        <a:lnTo>
                          <a:pt x="2353" y="1449"/>
                        </a:lnTo>
                        <a:lnTo>
                          <a:pt x="2396" y="1443"/>
                        </a:lnTo>
                        <a:lnTo>
                          <a:pt x="2438" y="1438"/>
                        </a:lnTo>
                        <a:lnTo>
                          <a:pt x="2480" y="1434"/>
                        </a:lnTo>
                        <a:lnTo>
                          <a:pt x="2521" y="1432"/>
                        </a:lnTo>
                        <a:lnTo>
                          <a:pt x="2559" y="1430"/>
                        </a:lnTo>
                        <a:lnTo>
                          <a:pt x="2599" y="1427"/>
                        </a:lnTo>
                        <a:lnTo>
                          <a:pt x="2642" y="1421"/>
                        </a:lnTo>
                        <a:lnTo>
                          <a:pt x="2688" y="1414"/>
                        </a:lnTo>
                        <a:lnTo>
                          <a:pt x="2736" y="1406"/>
                        </a:lnTo>
                        <a:lnTo>
                          <a:pt x="2785" y="1397"/>
                        </a:lnTo>
                        <a:lnTo>
                          <a:pt x="2835" y="1387"/>
                        </a:lnTo>
                        <a:lnTo>
                          <a:pt x="2885" y="1375"/>
                        </a:lnTo>
                        <a:lnTo>
                          <a:pt x="2984" y="1354"/>
                        </a:lnTo>
                        <a:lnTo>
                          <a:pt x="3076" y="1332"/>
                        </a:lnTo>
                        <a:lnTo>
                          <a:pt x="3159" y="1311"/>
                        </a:lnTo>
                        <a:lnTo>
                          <a:pt x="3226" y="1294"/>
                        </a:lnTo>
                        <a:lnTo>
                          <a:pt x="3270" y="1282"/>
                        </a:lnTo>
                        <a:lnTo>
                          <a:pt x="3318" y="1268"/>
                        </a:lnTo>
                        <a:lnTo>
                          <a:pt x="3369" y="1251"/>
                        </a:lnTo>
                        <a:lnTo>
                          <a:pt x="3420" y="1232"/>
                        </a:lnTo>
                        <a:lnTo>
                          <a:pt x="3474" y="1211"/>
                        </a:lnTo>
                        <a:lnTo>
                          <a:pt x="3527" y="1189"/>
                        </a:lnTo>
                        <a:lnTo>
                          <a:pt x="3581" y="1163"/>
                        </a:lnTo>
                        <a:lnTo>
                          <a:pt x="3633" y="1136"/>
                        </a:lnTo>
                        <a:lnTo>
                          <a:pt x="3658" y="1122"/>
                        </a:lnTo>
                        <a:lnTo>
                          <a:pt x="3683" y="1107"/>
                        </a:lnTo>
                        <a:lnTo>
                          <a:pt x="3707" y="1093"/>
                        </a:lnTo>
                        <a:lnTo>
                          <a:pt x="3731" y="1077"/>
                        </a:lnTo>
                        <a:lnTo>
                          <a:pt x="3754" y="1062"/>
                        </a:lnTo>
                        <a:lnTo>
                          <a:pt x="3776" y="1045"/>
                        </a:lnTo>
                        <a:lnTo>
                          <a:pt x="3798" y="1028"/>
                        </a:lnTo>
                        <a:lnTo>
                          <a:pt x="3818" y="1010"/>
                        </a:lnTo>
                        <a:lnTo>
                          <a:pt x="3837" y="994"/>
                        </a:lnTo>
                        <a:lnTo>
                          <a:pt x="3854" y="976"/>
                        </a:lnTo>
                        <a:lnTo>
                          <a:pt x="3870" y="957"/>
                        </a:lnTo>
                        <a:lnTo>
                          <a:pt x="3886" y="938"/>
                        </a:lnTo>
                        <a:lnTo>
                          <a:pt x="3899" y="919"/>
                        </a:lnTo>
                        <a:lnTo>
                          <a:pt x="3911" y="900"/>
                        </a:lnTo>
                        <a:lnTo>
                          <a:pt x="3921" y="880"/>
                        </a:lnTo>
                        <a:lnTo>
                          <a:pt x="3930" y="860"/>
                        </a:lnTo>
                        <a:lnTo>
                          <a:pt x="3931" y="852"/>
                        </a:lnTo>
                        <a:lnTo>
                          <a:pt x="3933" y="845"/>
                        </a:lnTo>
                        <a:lnTo>
                          <a:pt x="3934" y="835"/>
                        </a:lnTo>
                        <a:lnTo>
                          <a:pt x="3934" y="822"/>
                        </a:lnTo>
                        <a:lnTo>
                          <a:pt x="3934" y="795"/>
                        </a:lnTo>
                        <a:lnTo>
                          <a:pt x="3931" y="761"/>
                        </a:lnTo>
                        <a:lnTo>
                          <a:pt x="3927" y="722"/>
                        </a:lnTo>
                        <a:lnTo>
                          <a:pt x="3921" y="679"/>
                        </a:lnTo>
                        <a:lnTo>
                          <a:pt x="3912" y="629"/>
                        </a:lnTo>
                        <a:lnTo>
                          <a:pt x="3903" y="575"/>
                        </a:lnTo>
                        <a:lnTo>
                          <a:pt x="3891" y="516"/>
                        </a:lnTo>
                        <a:lnTo>
                          <a:pt x="3878" y="454"/>
                        </a:lnTo>
                        <a:lnTo>
                          <a:pt x="3863" y="387"/>
                        </a:lnTo>
                        <a:lnTo>
                          <a:pt x="3847" y="316"/>
                        </a:lnTo>
                        <a:lnTo>
                          <a:pt x="3829" y="241"/>
                        </a:lnTo>
                        <a:lnTo>
                          <a:pt x="3810" y="164"/>
                        </a:lnTo>
                        <a:lnTo>
                          <a:pt x="3789" y="83"/>
                        </a:lnTo>
                        <a:lnTo>
                          <a:pt x="3766" y="0"/>
                        </a:lnTo>
                        <a:close/>
                      </a:path>
                    </a:pathLst>
                  </a:custGeom>
                  <a:solidFill>
                    <a:srgbClr val="312276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142" name="Freeform 201"/>
                  <p:cNvSpPr>
                    <a:spLocks/>
                  </p:cNvSpPr>
                  <p:nvPr/>
                </p:nvSpPr>
                <p:spPr bwMode="auto">
                  <a:xfrm>
                    <a:off x="3433" y="3505"/>
                    <a:ext cx="329" cy="332"/>
                  </a:xfrm>
                  <a:custGeom>
                    <a:avLst/>
                    <a:gdLst>
                      <a:gd name="T0" fmla="*/ 0 w 2305"/>
                      <a:gd name="T1" fmla="*/ 0 h 2325"/>
                      <a:gd name="T2" fmla="*/ 0 w 2305"/>
                      <a:gd name="T3" fmla="*/ 0 h 2325"/>
                      <a:gd name="T4" fmla="*/ 0 w 2305"/>
                      <a:gd name="T5" fmla="*/ 0 h 2325"/>
                      <a:gd name="T6" fmla="*/ 0 w 2305"/>
                      <a:gd name="T7" fmla="*/ 0 h 2325"/>
                      <a:gd name="T8" fmla="*/ 0 w 2305"/>
                      <a:gd name="T9" fmla="*/ 0 h 2325"/>
                      <a:gd name="T10" fmla="*/ 0 w 2305"/>
                      <a:gd name="T11" fmla="*/ 0 h 2325"/>
                      <a:gd name="T12" fmla="*/ 0 w 2305"/>
                      <a:gd name="T13" fmla="*/ 0 h 2325"/>
                      <a:gd name="T14" fmla="*/ 0 w 2305"/>
                      <a:gd name="T15" fmla="*/ 0 h 2325"/>
                      <a:gd name="T16" fmla="*/ 0 w 2305"/>
                      <a:gd name="T17" fmla="*/ 0 h 2325"/>
                      <a:gd name="T18" fmla="*/ 0 w 2305"/>
                      <a:gd name="T19" fmla="*/ 0 h 2325"/>
                      <a:gd name="T20" fmla="*/ 0 w 2305"/>
                      <a:gd name="T21" fmla="*/ 0 h 2325"/>
                      <a:gd name="T22" fmla="*/ 0 w 2305"/>
                      <a:gd name="T23" fmla="*/ 0 h 2325"/>
                      <a:gd name="T24" fmla="*/ 0 w 2305"/>
                      <a:gd name="T25" fmla="*/ 0 h 2325"/>
                      <a:gd name="T26" fmla="*/ 0 w 2305"/>
                      <a:gd name="T27" fmla="*/ 0 h 2325"/>
                      <a:gd name="T28" fmla="*/ 0 w 2305"/>
                      <a:gd name="T29" fmla="*/ 0 h 2325"/>
                      <a:gd name="T30" fmla="*/ 0 w 2305"/>
                      <a:gd name="T31" fmla="*/ 0 h 2325"/>
                      <a:gd name="T32" fmla="*/ 0 w 2305"/>
                      <a:gd name="T33" fmla="*/ 0 h 2325"/>
                      <a:gd name="T34" fmla="*/ 0 w 2305"/>
                      <a:gd name="T35" fmla="*/ 0 h 2325"/>
                      <a:gd name="T36" fmla="*/ 0 w 2305"/>
                      <a:gd name="T37" fmla="*/ 0 h 2325"/>
                      <a:gd name="T38" fmla="*/ 0 w 2305"/>
                      <a:gd name="T39" fmla="*/ 0 h 2325"/>
                      <a:gd name="T40" fmla="*/ 0 w 2305"/>
                      <a:gd name="T41" fmla="*/ 0 h 2325"/>
                      <a:gd name="T42" fmla="*/ 0 w 2305"/>
                      <a:gd name="T43" fmla="*/ 0 h 2325"/>
                      <a:gd name="T44" fmla="*/ 0 w 2305"/>
                      <a:gd name="T45" fmla="*/ 0 h 2325"/>
                      <a:gd name="T46" fmla="*/ 0 w 2305"/>
                      <a:gd name="T47" fmla="*/ 0 h 2325"/>
                      <a:gd name="T48" fmla="*/ 0 w 2305"/>
                      <a:gd name="T49" fmla="*/ 0 h 2325"/>
                      <a:gd name="T50" fmla="*/ 0 w 2305"/>
                      <a:gd name="T51" fmla="*/ 0 h 2325"/>
                      <a:gd name="T52" fmla="*/ 0 w 2305"/>
                      <a:gd name="T53" fmla="*/ 0 h 2325"/>
                      <a:gd name="T54" fmla="*/ 0 w 2305"/>
                      <a:gd name="T55" fmla="*/ 0 h 2325"/>
                      <a:gd name="T56" fmla="*/ 0 w 2305"/>
                      <a:gd name="T57" fmla="*/ 0 h 2325"/>
                      <a:gd name="T58" fmla="*/ 0 w 2305"/>
                      <a:gd name="T59" fmla="*/ 0 h 2325"/>
                      <a:gd name="T60" fmla="*/ 0 w 2305"/>
                      <a:gd name="T61" fmla="*/ 0 h 2325"/>
                      <a:gd name="T62" fmla="*/ 0 w 2305"/>
                      <a:gd name="T63" fmla="*/ 0 h 2325"/>
                      <a:gd name="T64" fmla="*/ 0 w 2305"/>
                      <a:gd name="T65" fmla="*/ 0 h 2325"/>
                      <a:gd name="T66" fmla="*/ 0 w 2305"/>
                      <a:gd name="T67" fmla="*/ 0 h 2325"/>
                      <a:gd name="T68" fmla="*/ 0 w 2305"/>
                      <a:gd name="T69" fmla="*/ 0 h 2325"/>
                      <a:gd name="T70" fmla="*/ 0 w 2305"/>
                      <a:gd name="T71" fmla="*/ 0 h 2325"/>
                      <a:gd name="T72" fmla="*/ 0 w 2305"/>
                      <a:gd name="T73" fmla="*/ 0 h 2325"/>
                      <a:gd name="T74" fmla="*/ 0 w 2305"/>
                      <a:gd name="T75" fmla="*/ 0 h 2325"/>
                      <a:gd name="T76" fmla="*/ 0 w 2305"/>
                      <a:gd name="T77" fmla="*/ 0 h 2325"/>
                      <a:gd name="T78" fmla="*/ 0 w 2305"/>
                      <a:gd name="T79" fmla="*/ 0 h 2325"/>
                      <a:gd name="T80" fmla="*/ 0 w 2305"/>
                      <a:gd name="T81" fmla="*/ 0 h 2325"/>
                      <a:gd name="T82" fmla="*/ 0 w 2305"/>
                      <a:gd name="T83" fmla="*/ 0 h 2325"/>
                      <a:gd name="T84" fmla="*/ 0 w 2305"/>
                      <a:gd name="T85" fmla="*/ 0 h 2325"/>
                      <a:gd name="T86" fmla="*/ 0 w 2305"/>
                      <a:gd name="T87" fmla="*/ 0 h 2325"/>
                      <a:gd name="T88" fmla="*/ 0 w 2305"/>
                      <a:gd name="T89" fmla="*/ 0 h 2325"/>
                      <a:gd name="T90" fmla="*/ 0 w 2305"/>
                      <a:gd name="T91" fmla="*/ 0 h 2325"/>
                      <a:gd name="T92" fmla="*/ 0 w 2305"/>
                      <a:gd name="T93" fmla="*/ 0 h 2325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w 2305"/>
                      <a:gd name="T142" fmla="*/ 0 h 2325"/>
                      <a:gd name="T143" fmla="*/ 2305 w 2305"/>
                      <a:gd name="T144" fmla="*/ 2325 h 2325"/>
                    </a:gdLst>
                    <a:ahLst/>
                    <a:cxnLst>
                      <a:cxn ang="T94">
                        <a:pos x="T0" y="T1"/>
                      </a:cxn>
                      <a:cxn ang="T95">
                        <a:pos x="T2" y="T3"/>
                      </a:cxn>
                      <a:cxn ang="T96">
                        <a:pos x="T4" y="T5"/>
                      </a:cxn>
                      <a:cxn ang="T97">
                        <a:pos x="T6" y="T7"/>
                      </a:cxn>
                      <a:cxn ang="T98">
                        <a:pos x="T8" y="T9"/>
                      </a:cxn>
                      <a:cxn ang="T99">
                        <a:pos x="T10" y="T11"/>
                      </a:cxn>
                      <a:cxn ang="T100">
                        <a:pos x="T12" y="T13"/>
                      </a:cxn>
                      <a:cxn ang="T101">
                        <a:pos x="T14" y="T15"/>
                      </a:cxn>
                      <a:cxn ang="T102">
                        <a:pos x="T16" y="T17"/>
                      </a:cxn>
                      <a:cxn ang="T103">
                        <a:pos x="T18" y="T19"/>
                      </a:cxn>
                      <a:cxn ang="T104">
                        <a:pos x="T20" y="T21"/>
                      </a:cxn>
                      <a:cxn ang="T105">
                        <a:pos x="T22" y="T23"/>
                      </a:cxn>
                      <a:cxn ang="T106">
                        <a:pos x="T24" y="T25"/>
                      </a:cxn>
                      <a:cxn ang="T107">
                        <a:pos x="T26" y="T27"/>
                      </a:cxn>
                      <a:cxn ang="T108">
                        <a:pos x="T28" y="T29"/>
                      </a:cxn>
                      <a:cxn ang="T109">
                        <a:pos x="T30" y="T31"/>
                      </a:cxn>
                      <a:cxn ang="T110">
                        <a:pos x="T32" y="T33"/>
                      </a:cxn>
                      <a:cxn ang="T111">
                        <a:pos x="T34" y="T35"/>
                      </a:cxn>
                      <a:cxn ang="T112">
                        <a:pos x="T36" y="T37"/>
                      </a:cxn>
                      <a:cxn ang="T113">
                        <a:pos x="T38" y="T39"/>
                      </a:cxn>
                      <a:cxn ang="T114">
                        <a:pos x="T40" y="T41"/>
                      </a:cxn>
                      <a:cxn ang="T115">
                        <a:pos x="T42" y="T43"/>
                      </a:cxn>
                      <a:cxn ang="T116">
                        <a:pos x="T44" y="T45"/>
                      </a:cxn>
                      <a:cxn ang="T117">
                        <a:pos x="T46" y="T47"/>
                      </a:cxn>
                      <a:cxn ang="T118">
                        <a:pos x="T48" y="T49"/>
                      </a:cxn>
                      <a:cxn ang="T119">
                        <a:pos x="T50" y="T51"/>
                      </a:cxn>
                      <a:cxn ang="T120">
                        <a:pos x="T52" y="T53"/>
                      </a:cxn>
                      <a:cxn ang="T121">
                        <a:pos x="T54" y="T55"/>
                      </a:cxn>
                      <a:cxn ang="T122">
                        <a:pos x="T56" y="T57"/>
                      </a:cxn>
                      <a:cxn ang="T123">
                        <a:pos x="T58" y="T59"/>
                      </a:cxn>
                      <a:cxn ang="T124">
                        <a:pos x="T60" y="T61"/>
                      </a:cxn>
                      <a:cxn ang="T125">
                        <a:pos x="T62" y="T63"/>
                      </a:cxn>
                      <a:cxn ang="T126">
                        <a:pos x="T64" y="T65"/>
                      </a:cxn>
                      <a:cxn ang="T127">
                        <a:pos x="T66" y="T67"/>
                      </a:cxn>
                      <a:cxn ang="T128">
                        <a:pos x="T68" y="T69"/>
                      </a:cxn>
                      <a:cxn ang="T129">
                        <a:pos x="T70" y="T71"/>
                      </a:cxn>
                      <a:cxn ang="T130">
                        <a:pos x="T72" y="T73"/>
                      </a:cxn>
                      <a:cxn ang="T131">
                        <a:pos x="T74" y="T75"/>
                      </a:cxn>
                      <a:cxn ang="T132">
                        <a:pos x="T76" y="T77"/>
                      </a:cxn>
                      <a:cxn ang="T133">
                        <a:pos x="T78" y="T79"/>
                      </a:cxn>
                      <a:cxn ang="T134">
                        <a:pos x="T80" y="T81"/>
                      </a:cxn>
                      <a:cxn ang="T135">
                        <a:pos x="T82" y="T83"/>
                      </a:cxn>
                      <a:cxn ang="T136">
                        <a:pos x="T84" y="T85"/>
                      </a:cxn>
                      <a:cxn ang="T137">
                        <a:pos x="T86" y="T87"/>
                      </a:cxn>
                      <a:cxn ang="T138">
                        <a:pos x="T88" y="T89"/>
                      </a:cxn>
                      <a:cxn ang="T139">
                        <a:pos x="T90" y="T91"/>
                      </a:cxn>
                      <a:cxn ang="T140">
                        <a:pos x="T92" y="T93"/>
                      </a:cxn>
                    </a:cxnLst>
                    <a:rect l="T141" t="T142" r="T143" b="T144"/>
                    <a:pathLst>
                      <a:path w="2305" h="2325">
                        <a:moveTo>
                          <a:pt x="1972" y="0"/>
                        </a:moveTo>
                        <a:lnTo>
                          <a:pt x="1961" y="3"/>
                        </a:lnTo>
                        <a:lnTo>
                          <a:pt x="1931" y="10"/>
                        </a:lnTo>
                        <a:lnTo>
                          <a:pt x="1881" y="20"/>
                        </a:lnTo>
                        <a:lnTo>
                          <a:pt x="1816" y="35"/>
                        </a:lnTo>
                        <a:lnTo>
                          <a:pt x="1736" y="52"/>
                        </a:lnTo>
                        <a:lnTo>
                          <a:pt x="1646" y="69"/>
                        </a:lnTo>
                        <a:lnTo>
                          <a:pt x="1545" y="89"/>
                        </a:lnTo>
                        <a:lnTo>
                          <a:pt x="1437" y="108"/>
                        </a:lnTo>
                        <a:lnTo>
                          <a:pt x="1324" y="126"/>
                        </a:lnTo>
                        <a:lnTo>
                          <a:pt x="1208" y="144"/>
                        </a:lnTo>
                        <a:lnTo>
                          <a:pt x="1149" y="152"/>
                        </a:lnTo>
                        <a:lnTo>
                          <a:pt x="1090" y="158"/>
                        </a:lnTo>
                        <a:lnTo>
                          <a:pt x="1032" y="165"/>
                        </a:lnTo>
                        <a:lnTo>
                          <a:pt x="974" y="171"/>
                        </a:lnTo>
                        <a:lnTo>
                          <a:pt x="916" y="175"/>
                        </a:lnTo>
                        <a:lnTo>
                          <a:pt x="860" y="180"/>
                        </a:lnTo>
                        <a:lnTo>
                          <a:pt x="806" y="182"/>
                        </a:lnTo>
                        <a:lnTo>
                          <a:pt x="752" y="183"/>
                        </a:lnTo>
                        <a:lnTo>
                          <a:pt x="701" y="184"/>
                        </a:lnTo>
                        <a:lnTo>
                          <a:pt x="652" y="182"/>
                        </a:lnTo>
                        <a:lnTo>
                          <a:pt x="605" y="180"/>
                        </a:lnTo>
                        <a:lnTo>
                          <a:pt x="562" y="175"/>
                        </a:lnTo>
                        <a:lnTo>
                          <a:pt x="479" y="166"/>
                        </a:lnTo>
                        <a:lnTo>
                          <a:pt x="405" y="160"/>
                        </a:lnTo>
                        <a:lnTo>
                          <a:pt x="373" y="156"/>
                        </a:lnTo>
                        <a:lnTo>
                          <a:pt x="342" y="155"/>
                        </a:lnTo>
                        <a:lnTo>
                          <a:pt x="313" y="154"/>
                        </a:lnTo>
                        <a:lnTo>
                          <a:pt x="286" y="154"/>
                        </a:lnTo>
                        <a:lnTo>
                          <a:pt x="262" y="155"/>
                        </a:lnTo>
                        <a:lnTo>
                          <a:pt x="238" y="156"/>
                        </a:lnTo>
                        <a:lnTo>
                          <a:pt x="218" y="158"/>
                        </a:lnTo>
                        <a:lnTo>
                          <a:pt x="198" y="163"/>
                        </a:lnTo>
                        <a:lnTo>
                          <a:pt x="181" y="167"/>
                        </a:lnTo>
                        <a:lnTo>
                          <a:pt x="165" y="173"/>
                        </a:lnTo>
                        <a:lnTo>
                          <a:pt x="150" y="180"/>
                        </a:lnTo>
                        <a:lnTo>
                          <a:pt x="138" y="188"/>
                        </a:lnTo>
                        <a:lnTo>
                          <a:pt x="126" y="197"/>
                        </a:lnTo>
                        <a:lnTo>
                          <a:pt x="116" y="208"/>
                        </a:lnTo>
                        <a:lnTo>
                          <a:pt x="107" y="221"/>
                        </a:lnTo>
                        <a:lnTo>
                          <a:pt x="99" y="234"/>
                        </a:lnTo>
                        <a:lnTo>
                          <a:pt x="92" y="249"/>
                        </a:lnTo>
                        <a:lnTo>
                          <a:pt x="87" y="265"/>
                        </a:lnTo>
                        <a:lnTo>
                          <a:pt x="81" y="283"/>
                        </a:lnTo>
                        <a:lnTo>
                          <a:pt x="78" y="302"/>
                        </a:lnTo>
                        <a:lnTo>
                          <a:pt x="75" y="323"/>
                        </a:lnTo>
                        <a:lnTo>
                          <a:pt x="71" y="345"/>
                        </a:lnTo>
                        <a:lnTo>
                          <a:pt x="69" y="370"/>
                        </a:lnTo>
                        <a:lnTo>
                          <a:pt x="68" y="397"/>
                        </a:lnTo>
                        <a:lnTo>
                          <a:pt x="67" y="453"/>
                        </a:lnTo>
                        <a:lnTo>
                          <a:pt x="67" y="519"/>
                        </a:lnTo>
                        <a:lnTo>
                          <a:pt x="66" y="558"/>
                        </a:lnTo>
                        <a:lnTo>
                          <a:pt x="65" y="598"/>
                        </a:lnTo>
                        <a:lnTo>
                          <a:pt x="62" y="641"/>
                        </a:lnTo>
                        <a:lnTo>
                          <a:pt x="59" y="686"/>
                        </a:lnTo>
                        <a:lnTo>
                          <a:pt x="51" y="780"/>
                        </a:lnTo>
                        <a:lnTo>
                          <a:pt x="41" y="882"/>
                        </a:lnTo>
                        <a:lnTo>
                          <a:pt x="30" y="987"/>
                        </a:lnTo>
                        <a:lnTo>
                          <a:pt x="20" y="1097"/>
                        </a:lnTo>
                        <a:lnTo>
                          <a:pt x="16" y="1151"/>
                        </a:lnTo>
                        <a:lnTo>
                          <a:pt x="11" y="1207"/>
                        </a:lnTo>
                        <a:lnTo>
                          <a:pt x="8" y="1262"/>
                        </a:lnTo>
                        <a:lnTo>
                          <a:pt x="4" y="1319"/>
                        </a:lnTo>
                        <a:lnTo>
                          <a:pt x="2" y="1375"/>
                        </a:lnTo>
                        <a:lnTo>
                          <a:pt x="1" y="1429"/>
                        </a:lnTo>
                        <a:lnTo>
                          <a:pt x="0" y="1485"/>
                        </a:lnTo>
                        <a:lnTo>
                          <a:pt x="1" y="1538"/>
                        </a:lnTo>
                        <a:lnTo>
                          <a:pt x="3" y="1592"/>
                        </a:lnTo>
                        <a:lnTo>
                          <a:pt x="8" y="1644"/>
                        </a:lnTo>
                        <a:lnTo>
                          <a:pt x="12" y="1696"/>
                        </a:lnTo>
                        <a:lnTo>
                          <a:pt x="20" y="1745"/>
                        </a:lnTo>
                        <a:lnTo>
                          <a:pt x="29" y="1794"/>
                        </a:lnTo>
                        <a:lnTo>
                          <a:pt x="39" y="1841"/>
                        </a:lnTo>
                        <a:lnTo>
                          <a:pt x="52" y="1887"/>
                        </a:lnTo>
                        <a:lnTo>
                          <a:pt x="67" y="1929"/>
                        </a:lnTo>
                        <a:lnTo>
                          <a:pt x="85" y="1970"/>
                        </a:lnTo>
                        <a:lnTo>
                          <a:pt x="104" y="2009"/>
                        </a:lnTo>
                        <a:lnTo>
                          <a:pt x="126" y="2045"/>
                        </a:lnTo>
                        <a:lnTo>
                          <a:pt x="151" y="2078"/>
                        </a:lnTo>
                        <a:lnTo>
                          <a:pt x="207" y="2141"/>
                        </a:lnTo>
                        <a:lnTo>
                          <a:pt x="266" y="2194"/>
                        </a:lnTo>
                        <a:lnTo>
                          <a:pt x="326" y="2237"/>
                        </a:lnTo>
                        <a:lnTo>
                          <a:pt x="387" y="2272"/>
                        </a:lnTo>
                        <a:lnTo>
                          <a:pt x="450" y="2296"/>
                        </a:lnTo>
                        <a:lnTo>
                          <a:pt x="514" y="2314"/>
                        </a:lnTo>
                        <a:lnTo>
                          <a:pt x="579" y="2323"/>
                        </a:lnTo>
                        <a:lnTo>
                          <a:pt x="644" y="2325"/>
                        </a:lnTo>
                        <a:lnTo>
                          <a:pt x="710" y="2320"/>
                        </a:lnTo>
                        <a:lnTo>
                          <a:pt x="777" y="2308"/>
                        </a:lnTo>
                        <a:lnTo>
                          <a:pt x="844" y="2292"/>
                        </a:lnTo>
                        <a:lnTo>
                          <a:pt x="909" y="2269"/>
                        </a:lnTo>
                        <a:lnTo>
                          <a:pt x="976" y="2242"/>
                        </a:lnTo>
                        <a:lnTo>
                          <a:pt x="1043" y="2209"/>
                        </a:lnTo>
                        <a:lnTo>
                          <a:pt x="1107" y="2174"/>
                        </a:lnTo>
                        <a:lnTo>
                          <a:pt x="1173" y="2134"/>
                        </a:lnTo>
                        <a:lnTo>
                          <a:pt x="1237" y="2091"/>
                        </a:lnTo>
                        <a:lnTo>
                          <a:pt x="1300" y="2046"/>
                        </a:lnTo>
                        <a:lnTo>
                          <a:pt x="1361" y="1999"/>
                        </a:lnTo>
                        <a:lnTo>
                          <a:pt x="1422" y="1950"/>
                        </a:lnTo>
                        <a:lnTo>
                          <a:pt x="1480" y="1900"/>
                        </a:lnTo>
                        <a:lnTo>
                          <a:pt x="1538" y="1849"/>
                        </a:lnTo>
                        <a:lnTo>
                          <a:pt x="1593" y="1798"/>
                        </a:lnTo>
                        <a:lnTo>
                          <a:pt x="1646" y="1746"/>
                        </a:lnTo>
                        <a:lnTo>
                          <a:pt x="1696" y="1696"/>
                        </a:lnTo>
                        <a:lnTo>
                          <a:pt x="1745" y="1647"/>
                        </a:lnTo>
                        <a:lnTo>
                          <a:pt x="1791" y="1600"/>
                        </a:lnTo>
                        <a:lnTo>
                          <a:pt x="1833" y="1554"/>
                        </a:lnTo>
                        <a:lnTo>
                          <a:pt x="1910" y="1472"/>
                        </a:lnTo>
                        <a:lnTo>
                          <a:pt x="1972" y="1403"/>
                        </a:lnTo>
                        <a:lnTo>
                          <a:pt x="1996" y="1376"/>
                        </a:lnTo>
                        <a:lnTo>
                          <a:pt x="2019" y="1346"/>
                        </a:lnTo>
                        <a:lnTo>
                          <a:pt x="2042" y="1311"/>
                        </a:lnTo>
                        <a:lnTo>
                          <a:pt x="2067" y="1273"/>
                        </a:lnTo>
                        <a:lnTo>
                          <a:pt x="2090" y="1233"/>
                        </a:lnTo>
                        <a:lnTo>
                          <a:pt x="2115" y="1190"/>
                        </a:lnTo>
                        <a:lnTo>
                          <a:pt x="2137" y="1144"/>
                        </a:lnTo>
                        <a:lnTo>
                          <a:pt x="2160" y="1095"/>
                        </a:lnTo>
                        <a:lnTo>
                          <a:pt x="2181" y="1045"/>
                        </a:lnTo>
                        <a:lnTo>
                          <a:pt x="2203" y="994"/>
                        </a:lnTo>
                        <a:lnTo>
                          <a:pt x="2222" y="941"/>
                        </a:lnTo>
                        <a:lnTo>
                          <a:pt x="2239" y="886"/>
                        </a:lnTo>
                        <a:lnTo>
                          <a:pt x="2255" y="832"/>
                        </a:lnTo>
                        <a:lnTo>
                          <a:pt x="2269" y="776"/>
                        </a:lnTo>
                        <a:lnTo>
                          <a:pt x="2282" y="719"/>
                        </a:lnTo>
                        <a:lnTo>
                          <a:pt x="2292" y="664"/>
                        </a:lnTo>
                        <a:lnTo>
                          <a:pt x="2299" y="608"/>
                        </a:lnTo>
                        <a:lnTo>
                          <a:pt x="2304" y="553"/>
                        </a:lnTo>
                        <a:lnTo>
                          <a:pt x="2305" y="499"/>
                        </a:lnTo>
                        <a:lnTo>
                          <a:pt x="2304" y="446"/>
                        </a:lnTo>
                        <a:lnTo>
                          <a:pt x="2299" y="394"/>
                        </a:lnTo>
                        <a:lnTo>
                          <a:pt x="2292" y="344"/>
                        </a:lnTo>
                        <a:lnTo>
                          <a:pt x="2279" y="296"/>
                        </a:lnTo>
                        <a:lnTo>
                          <a:pt x="2264" y="251"/>
                        </a:lnTo>
                        <a:lnTo>
                          <a:pt x="2244" y="207"/>
                        </a:lnTo>
                        <a:lnTo>
                          <a:pt x="2219" y="167"/>
                        </a:lnTo>
                        <a:lnTo>
                          <a:pt x="2192" y="129"/>
                        </a:lnTo>
                        <a:lnTo>
                          <a:pt x="2158" y="96"/>
                        </a:lnTo>
                        <a:lnTo>
                          <a:pt x="2119" y="66"/>
                        </a:lnTo>
                        <a:lnTo>
                          <a:pt x="2076" y="39"/>
                        </a:lnTo>
                        <a:lnTo>
                          <a:pt x="2027" y="17"/>
                        </a:lnTo>
                        <a:lnTo>
                          <a:pt x="1972" y="0"/>
                        </a:lnTo>
                        <a:close/>
                      </a:path>
                    </a:pathLst>
                  </a:custGeom>
                  <a:solidFill>
                    <a:srgbClr val="311F74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143" name="Freeform 202"/>
                  <p:cNvSpPr>
                    <a:spLocks/>
                  </p:cNvSpPr>
                  <p:nvPr/>
                </p:nvSpPr>
                <p:spPr bwMode="auto">
                  <a:xfrm>
                    <a:off x="3443" y="3593"/>
                    <a:ext cx="1" cy="10"/>
                  </a:xfrm>
                  <a:custGeom>
                    <a:avLst/>
                    <a:gdLst>
                      <a:gd name="T0" fmla="*/ 0 w 1"/>
                      <a:gd name="T1" fmla="*/ 0 h 39"/>
                      <a:gd name="T2" fmla="*/ 0 w 1"/>
                      <a:gd name="T3" fmla="*/ 0 h 39"/>
                      <a:gd name="T4" fmla="*/ 0 w 1"/>
                      <a:gd name="T5" fmla="*/ 0 h 39"/>
                      <a:gd name="T6" fmla="*/ 0 w 1"/>
                      <a:gd name="T7" fmla="*/ 0 h 39"/>
                      <a:gd name="T8" fmla="*/ 0 w 1"/>
                      <a:gd name="T9" fmla="*/ 0 h 39"/>
                      <a:gd name="T10" fmla="*/ 0 w 1"/>
                      <a:gd name="T11" fmla="*/ 0 h 39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"/>
                      <a:gd name="T19" fmla="*/ 0 h 39"/>
                      <a:gd name="T20" fmla="*/ 1 w 1"/>
                      <a:gd name="T21" fmla="*/ 39 h 39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" h="39">
                        <a:moveTo>
                          <a:pt x="0" y="39"/>
                        </a:moveTo>
                        <a:lnTo>
                          <a:pt x="0" y="0"/>
                        </a:lnTo>
                        <a:lnTo>
                          <a:pt x="0" y="10"/>
                        </a:lnTo>
                        <a:lnTo>
                          <a:pt x="0" y="19"/>
                        </a:lnTo>
                        <a:lnTo>
                          <a:pt x="0" y="29"/>
                        </a:lnTo>
                        <a:lnTo>
                          <a:pt x="0" y="39"/>
                        </a:lnTo>
                        <a:close/>
                      </a:path>
                    </a:pathLst>
                  </a:custGeom>
                  <a:solidFill>
                    <a:srgbClr val="3D4189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144" name="Freeform 203"/>
                  <p:cNvSpPr>
                    <a:spLocks/>
                  </p:cNvSpPr>
                  <p:nvPr/>
                </p:nvSpPr>
                <p:spPr bwMode="auto">
                  <a:xfrm>
                    <a:off x="3443" y="3511"/>
                    <a:ext cx="288" cy="72"/>
                  </a:xfrm>
                  <a:custGeom>
                    <a:avLst/>
                    <a:gdLst>
                      <a:gd name="T0" fmla="*/ 0 w 2014"/>
                      <a:gd name="T1" fmla="*/ 0 h 520"/>
                      <a:gd name="T2" fmla="*/ 0 w 2014"/>
                      <a:gd name="T3" fmla="*/ 0 h 520"/>
                      <a:gd name="T4" fmla="*/ 0 w 2014"/>
                      <a:gd name="T5" fmla="*/ 0 h 520"/>
                      <a:gd name="T6" fmla="*/ 0 w 2014"/>
                      <a:gd name="T7" fmla="*/ 0 h 520"/>
                      <a:gd name="T8" fmla="*/ 0 w 2014"/>
                      <a:gd name="T9" fmla="*/ 0 h 520"/>
                      <a:gd name="T10" fmla="*/ 0 w 2014"/>
                      <a:gd name="T11" fmla="*/ 0 h 520"/>
                      <a:gd name="T12" fmla="*/ 0 w 2014"/>
                      <a:gd name="T13" fmla="*/ 0 h 520"/>
                      <a:gd name="T14" fmla="*/ 0 w 2014"/>
                      <a:gd name="T15" fmla="*/ 0 h 520"/>
                      <a:gd name="T16" fmla="*/ 0 w 2014"/>
                      <a:gd name="T17" fmla="*/ 0 h 520"/>
                      <a:gd name="T18" fmla="*/ 0 w 2014"/>
                      <a:gd name="T19" fmla="*/ 0 h 520"/>
                      <a:gd name="T20" fmla="*/ 0 w 2014"/>
                      <a:gd name="T21" fmla="*/ 0 h 520"/>
                      <a:gd name="T22" fmla="*/ 0 w 2014"/>
                      <a:gd name="T23" fmla="*/ 0 h 520"/>
                      <a:gd name="T24" fmla="*/ 0 w 2014"/>
                      <a:gd name="T25" fmla="*/ 0 h 520"/>
                      <a:gd name="T26" fmla="*/ 0 w 2014"/>
                      <a:gd name="T27" fmla="*/ 0 h 520"/>
                      <a:gd name="T28" fmla="*/ 0 w 2014"/>
                      <a:gd name="T29" fmla="*/ 0 h 520"/>
                      <a:gd name="T30" fmla="*/ 0 w 2014"/>
                      <a:gd name="T31" fmla="*/ 0 h 520"/>
                      <a:gd name="T32" fmla="*/ 0 w 2014"/>
                      <a:gd name="T33" fmla="*/ 0 h 520"/>
                      <a:gd name="T34" fmla="*/ 0 w 2014"/>
                      <a:gd name="T35" fmla="*/ 0 h 520"/>
                      <a:gd name="T36" fmla="*/ 0 w 2014"/>
                      <a:gd name="T37" fmla="*/ 0 h 520"/>
                      <a:gd name="T38" fmla="*/ 0 w 2014"/>
                      <a:gd name="T39" fmla="*/ 0 h 520"/>
                      <a:gd name="T40" fmla="*/ 0 w 2014"/>
                      <a:gd name="T41" fmla="*/ 0 h 520"/>
                      <a:gd name="T42" fmla="*/ 0 w 2014"/>
                      <a:gd name="T43" fmla="*/ 0 h 520"/>
                      <a:gd name="T44" fmla="*/ 0 w 2014"/>
                      <a:gd name="T45" fmla="*/ 0 h 520"/>
                      <a:gd name="T46" fmla="*/ 0 w 2014"/>
                      <a:gd name="T47" fmla="*/ 0 h 520"/>
                      <a:gd name="T48" fmla="*/ 0 w 2014"/>
                      <a:gd name="T49" fmla="*/ 0 h 520"/>
                      <a:gd name="T50" fmla="*/ 0 w 2014"/>
                      <a:gd name="T51" fmla="*/ 0 h 520"/>
                      <a:gd name="T52" fmla="*/ 0 w 2014"/>
                      <a:gd name="T53" fmla="*/ 0 h 520"/>
                      <a:gd name="T54" fmla="*/ 0 w 2014"/>
                      <a:gd name="T55" fmla="*/ 0 h 520"/>
                      <a:gd name="T56" fmla="*/ 0 w 2014"/>
                      <a:gd name="T57" fmla="*/ 0 h 520"/>
                      <a:gd name="T58" fmla="*/ 0 w 2014"/>
                      <a:gd name="T59" fmla="*/ 0 h 520"/>
                      <a:gd name="T60" fmla="*/ 0 w 2014"/>
                      <a:gd name="T61" fmla="*/ 0 h 520"/>
                      <a:gd name="T62" fmla="*/ 0 w 2014"/>
                      <a:gd name="T63" fmla="*/ 0 h 520"/>
                      <a:gd name="T64" fmla="*/ 0 w 2014"/>
                      <a:gd name="T65" fmla="*/ 0 h 520"/>
                      <a:gd name="T66" fmla="*/ 0 w 2014"/>
                      <a:gd name="T67" fmla="*/ 0 h 520"/>
                      <a:gd name="T68" fmla="*/ 0 w 2014"/>
                      <a:gd name="T69" fmla="*/ 0 h 520"/>
                      <a:gd name="T70" fmla="*/ 0 w 2014"/>
                      <a:gd name="T71" fmla="*/ 0 h 520"/>
                      <a:gd name="T72" fmla="*/ 0 w 2014"/>
                      <a:gd name="T73" fmla="*/ 0 h 520"/>
                      <a:gd name="T74" fmla="*/ 0 w 2014"/>
                      <a:gd name="T75" fmla="*/ 0 h 520"/>
                      <a:gd name="T76" fmla="*/ 0 w 2014"/>
                      <a:gd name="T77" fmla="*/ 0 h 520"/>
                      <a:gd name="T78" fmla="*/ 0 w 2014"/>
                      <a:gd name="T79" fmla="*/ 0 h 520"/>
                      <a:gd name="T80" fmla="*/ 0 w 2014"/>
                      <a:gd name="T81" fmla="*/ 0 h 520"/>
                      <a:gd name="T82" fmla="*/ 0 w 2014"/>
                      <a:gd name="T83" fmla="*/ 0 h 520"/>
                      <a:gd name="T84" fmla="*/ 0 w 2014"/>
                      <a:gd name="T85" fmla="*/ 0 h 520"/>
                      <a:gd name="T86" fmla="*/ 0 w 2014"/>
                      <a:gd name="T87" fmla="*/ 0 h 520"/>
                      <a:gd name="T88" fmla="*/ 0 w 2014"/>
                      <a:gd name="T89" fmla="*/ 0 h 520"/>
                      <a:gd name="T90" fmla="*/ 0 w 2014"/>
                      <a:gd name="T91" fmla="*/ 0 h 520"/>
                      <a:gd name="T92" fmla="*/ 0 w 2014"/>
                      <a:gd name="T93" fmla="*/ 0 h 520"/>
                      <a:gd name="T94" fmla="*/ 0 w 2014"/>
                      <a:gd name="T95" fmla="*/ 0 h 520"/>
                      <a:gd name="T96" fmla="*/ 0 w 2014"/>
                      <a:gd name="T97" fmla="*/ 0 h 520"/>
                      <a:gd name="T98" fmla="*/ 0 w 2014"/>
                      <a:gd name="T99" fmla="*/ 0 h 520"/>
                      <a:gd name="T100" fmla="*/ 0 w 2014"/>
                      <a:gd name="T101" fmla="*/ 0 h 520"/>
                      <a:gd name="T102" fmla="*/ 0 w 2014"/>
                      <a:gd name="T103" fmla="*/ 0 h 520"/>
                      <a:gd name="T104" fmla="*/ 0 w 2014"/>
                      <a:gd name="T105" fmla="*/ 0 h 520"/>
                      <a:gd name="T106" fmla="*/ 0 w 2014"/>
                      <a:gd name="T107" fmla="*/ 0 h 520"/>
                      <a:gd name="T108" fmla="*/ 0 w 2014"/>
                      <a:gd name="T109" fmla="*/ 0 h 520"/>
                      <a:gd name="T110" fmla="*/ 0 w 2014"/>
                      <a:gd name="T111" fmla="*/ 0 h 520"/>
                      <a:gd name="T112" fmla="*/ 0 w 2014"/>
                      <a:gd name="T113" fmla="*/ 0 h 520"/>
                      <a:gd name="T114" fmla="*/ 0 w 2014"/>
                      <a:gd name="T115" fmla="*/ 0 h 520"/>
                      <a:gd name="T116" fmla="*/ 0 w 2014"/>
                      <a:gd name="T117" fmla="*/ 0 h 520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w 2014"/>
                      <a:gd name="T178" fmla="*/ 0 h 520"/>
                      <a:gd name="T179" fmla="*/ 2014 w 2014"/>
                      <a:gd name="T180" fmla="*/ 520 h 520"/>
                    </a:gdLst>
                    <a:ahLst/>
                    <a:cxnLst>
                      <a:cxn ang="T118">
                        <a:pos x="T0" y="T1"/>
                      </a:cxn>
                      <a:cxn ang="T119">
                        <a:pos x="T2" y="T3"/>
                      </a:cxn>
                      <a:cxn ang="T120">
                        <a:pos x="T4" y="T5"/>
                      </a:cxn>
                      <a:cxn ang="T121">
                        <a:pos x="T6" y="T7"/>
                      </a:cxn>
                      <a:cxn ang="T122">
                        <a:pos x="T8" y="T9"/>
                      </a:cxn>
                      <a:cxn ang="T123">
                        <a:pos x="T10" y="T11"/>
                      </a:cxn>
                      <a:cxn ang="T124">
                        <a:pos x="T12" y="T13"/>
                      </a:cxn>
                      <a:cxn ang="T125">
                        <a:pos x="T14" y="T15"/>
                      </a:cxn>
                      <a:cxn ang="T126">
                        <a:pos x="T16" y="T17"/>
                      </a:cxn>
                      <a:cxn ang="T127">
                        <a:pos x="T18" y="T19"/>
                      </a:cxn>
                      <a:cxn ang="T128">
                        <a:pos x="T20" y="T21"/>
                      </a:cxn>
                      <a:cxn ang="T129">
                        <a:pos x="T22" y="T23"/>
                      </a:cxn>
                      <a:cxn ang="T130">
                        <a:pos x="T24" y="T25"/>
                      </a:cxn>
                      <a:cxn ang="T131">
                        <a:pos x="T26" y="T27"/>
                      </a:cxn>
                      <a:cxn ang="T132">
                        <a:pos x="T28" y="T29"/>
                      </a:cxn>
                      <a:cxn ang="T133">
                        <a:pos x="T30" y="T31"/>
                      </a:cxn>
                      <a:cxn ang="T134">
                        <a:pos x="T32" y="T33"/>
                      </a:cxn>
                      <a:cxn ang="T135">
                        <a:pos x="T34" y="T35"/>
                      </a:cxn>
                      <a:cxn ang="T136">
                        <a:pos x="T36" y="T37"/>
                      </a:cxn>
                      <a:cxn ang="T137">
                        <a:pos x="T38" y="T39"/>
                      </a:cxn>
                      <a:cxn ang="T138">
                        <a:pos x="T40" y="T41"/>
                      </a:cxn>
                      <a:cxn ang="T139">
                        <a:pos x="T42" y="T43"/>
                      </a:cxn>
                      <a:cxn ang="T140">
                        <a:pos x="T44" y="T45"/>
                      </a:cxn>
                      <a:cxn ang="T141">
                        <a:pos x="T46" y="T47"/>
                      </a:cxn>
                      <a:cxn ang="T142">
                        <a:pos x="T48" y="T49"/>
                      </a:cxn>
                      <a:cxn ang="T143">
                        <a:pos x="T50" y="T51"/>
                      </a:cxn>
                      <a:cxn ang="T144">
                        <a:pos x="T52" y="T53"/>
                      </a:cxn>
                      <a:cxn ang="T145">
                        <a:pos x="T54" y="T55"/>
                      </a:cxn>
                      <a:cxn ang="T146">
                        <a:pos x="T56" y="T57"/>
                      </a:cxn>
                      <a:cxn ang="T147">
                        <a:pos x="T58" y="T59"/>
                      </a:cxn>
                      <a:cxn ang="T148">
                        <a:pos x="T60" y="T61"/>
                      </a:cxn>
                      <a:cxn ang="T149">
                        <a:pos x="T62" y="T63"/>
                      </a:cxn>
                      <a:cxn ang="T150">
                        <a:pos x="T64" y="T65"/>
                      </a:cxn>
                      <a:cxn ang="T151">
                        <a:pos x="T66" y="T67"/>
                      </a:cxn>
                      <a:cxn ang="T152">
                        <a:pos x="T68" y="T69"/>
                      </a:cxn>
                      <a:cxn ang="T153">
                        <a:pos x="T70" y="T71"/>
                      </a:cxn>
                      <a:cxn ang="T154">
                        <a:pos x="T72" y="T73"/>
                      </a:cxn>
                      <a:cxn ang="T155">
                        <a:pos x="T74" y="T75"/>
                      </a:cxn>
                      <a:cxn ang="T156">
                        <a:pos x="T76" y="T77"/>
                      </a:cxn>
                      <a:cxn ang="T157">
                        <a:pos x="T78" y="T79"/>
                      </a:cxn>
                      <a:cxn ang="T158">
                        <a:pos x="T80" y="T81"/>
                      </a:cxn>
                      <a:cxn ang="T159">
                        <a:pos x="T82" y="T83"/>
                      </a:cxn>
                      <a:cxn ang="T160">
                        <a:pos x="T84" y="T85"/>
                      </a:cxn>
                      <a:cxn ang="T161">
                        <a:pos x="T86" y="T87"/>
                      </a:cxn>
                      <a:cxn ang="T162">
                        <a:pos x="T88" y="T89"/>
                      </a:cxn>
                      <a:cxn ang="T163">
                        <a:pos x="T90" y="T91"/>
                      </a:cxn>
                      <a:cxn ang="T164">
                        <a:pos x="T92" y="T93"/>
                      </a:cxn>
                      <a:cxn ang="T165">
                        <a:pos x="T94" y="T95"/>
                      </a:cxn>
                      <a:cxn ang="T166">
                        <a:pos x="T96" y="T97"/>
                      </a:cxn>
                      <a:cxn ang="T167">
                        <a:pos x="T98" y="T99"/>
                      </a:cxn>
                      <a:cxn ang="T168">
                        <a:pos x="T100" y="T101"/>
                      </a:cxn>
                      <a:cxn ang="T169">
                        <a:pos x="T102" y="T103"/>
                      </a:cxn>
                      <a:cxn ang="T170">
                        <a:pos x="T104" y="T105"/>
                      </a:cxn>
                      <a:cxn ang="T171">
                        <a:pos x="T106" y="T107"/>
                      </a:cxn>
                      <a:cxn ang="T172">
                        <a:pos x="T108" y="T109"/>
                      </a:cxn>
                      <a:cxn ang="T173">
                        <a:pos x="T110" y="T111"/>
                      </a:cxn>
                      <a:cxn ang="T174">
                        <a:pos x="T112" y="T113"/>
                      </a:cxn>
                      <a:cxn ang="T175">
                        <a:pos x="T114" y="T115"/>
                      </a:cxn>
                      <a:cxn ang="T176">
                        <a:pos x="T116" y="T117"/>
                      </a:cxn>
                    </a:cxnLst>
                    <a:rect l="T177" t="T178" r="T179" b="T180"/>
                    <a:pathLst>
                      <a:path w="2014" h="520">
                        <a:moveTo>
                          <a:pt x="1906" y="0"/>
                        </a:moveTo>
                        <a:lnTo>
                          <a:pt x="1895" y="3"/>
                        </a:lnTo>
                        <a:lnTo>
                          <a:pt x="1864" y="10"/>
                        </a:lnTo>
                        <a:lnTo>
                          <a:pt x="1815" y="21"/>
                        </a:lnTo>
                        <a:lnTo>
                          <a:pt x="1749" y="36"/>
                        </a:lnTo>
                        <a:lnTo>
                          <a:pt x="1670" y="52"/>
                        </a:lnTo>
                        <a:lnTo>
                          <a:pt x="1579" y="70"/>
                        </a:lnTo>
                        <a:lnTo>
                          <a:pt x="1479" y="89"/>
                        </a:lnTo>
                        <a:lnTo>
                          <a:pt x="1371" y="108"/>
                        </a:lnTo>
                        <a:lnTo>
                          <a:pt x="1257" y="127"/>
                        </a:lnTo>
                        <a:lnTo>
                          <a:pt x="1141" y="145"/>
                        </a:lnTo>
                        <a:lnTo>
                          <a:pt x="1082" y="152"/>
                        </a:lnTo>
                        <a:lnTo>
                          <a:pt x="1023" y="159"/>
                        </a:lnTo>
                        <a:lnTo>
                          <a:pt x="964" y="166"/>
                        </a:lnTo>
                        <a:lnTo>
                          <a:pt x="906" y="171"/>
                        </a:lnTo>
                        <a:lnTo>
                          <a:pt x="850" y="176"/>
                        </a:lnTo>
                        <a:lnTo>
                          <a:pt x="794" y="180"/>
                        </a:lnTo>
                        <a:lnTo>
                          <a:pt x="738" y="182"/>
                        </a:lnTo>
                        <a:lnTo>
                          <a:pt x="686" y="184"/>
                        </a:lnTo>
                        <a:lnTo>
                          <a:pt x="635" y="184"/>
                        </a:lnTo>
                        <a:lnTo>
                          <a:pt x="586" y="182"/>
                        </a:lnTo>
                        <a:lnTo>
                          <a:pt x="539" y="180"/>
                        </a:lnTo>
                        <a:lnTo>
                          <a:pt x="495" y="176"/>
                        </a:lnTo>
                        <a:lnTo>
                          <a:pt x="412" y="167"/>
                        </a:lnTo>
                        <a:lnTo>
                          <a:pt x="339" y="159"/>
                        </a:lnTo>
                        <a:lnTo>
                          <a:pt x="305" y="157"/>
                        </a:lnTo>
                        <a:lnTo>
                          <a:pt x="275" y="156"/>
                        </a:lnTo>
                        <a:lnTo>
                          <a:pt x="246" y="155"/>
                        </a:lnTo>
                        <a:lnTo>
                          <a:pt x="220" y="155"/>
                        </a:lnTo>
                        <a:lnTo>
                          <a:pt x="195" y="155"/>
                        </a:lnTo>
                        <a:lnTo>
                          <a:pt x="172" y="157"/>
                        </a:lnTo>
                        <a:lnTo>
                          <a:pt x="151" y="159"/>
                        </a:lnTo>
                        <a:lnTo>
                          <a:pt x="132" y="162"/>
                        </a:lnTo>
                        <a:lnTo>
                          <a:pt x="114" y="168"/>
                        </a:lnTo>
                        <a:lnTo>
                          <a:pt x="98" y="174"/>
                        </a:lnTo>
                        <a:lnTo>
                          <a:pt x="84" y="180"/>
                        </a:lnTo>
                        <a:lnTo>
                          <a:pt x="71" y="188"/>
                        </a:lnTo>
                        <a:lnTo>
                          <a:pt x="59" y="198"/>
                        </a:lnTo>
                        <a:lnTo>
                          <a:pt x="49" y="208"/>
                        </a:lnTo>
                        <a:lnTo>
                          <a:pt x="41" y="220"/>
                        </a:lnTo>
                        <a:lnTo>
                          <a:pt x="33" y="234"/>
                        </a:lnTo>
                        <a:lnTo>
                          <a:pt x="25" y="249"/>
                        </a:lnTo>
                        <a:lnTo>
                          <a:pt x="19" y="265"/>
                        </a:lnTo>
                        <a:lnTo>
                          <a:pt x="15" y="283"/>
                        </a:lnTo>
                        <a:lnTo>
                          <a:pt x="10" y="303"/>
                        </a:lnTo>
                        <a:lnTo>
                          <a:pt x="7" y="324"/>
                        </a:lnTo>
                        <a:lnTo>
                          <a:pt x="5" y="346"/>
                        </a:lnTo>
                        <a:lnTo>
                          <a:pt x="3" y="371"/>
                        </a:lnTo>
                        <a:lnTo>
                          <a:pt x="2" y="396"/>
                        </a:lnTo>
                        <a:lnTo>
                          <a:pt x="0" y="454"/>
                        </a:lnTo>
                        <a:lnTo>
                          <a:pt x="0" y="520"/>
                        </a:lnTo>
                        <a:lnTo>
                          <a:pt x="3" y="507"/>
                        </a:lnTo>
                        <a:lnTo>
                          <a:pt x="14" y="477"/>
                        </a:lnTo>
                        <a:lnTo>
                          <a:pt x="24" y="458"/>
                        </a:lnTo>
                        <a:lnTo>
                          <a:pt x="37" y="436"/>
                        </a:lnTo>
                        <a:lnTo>
                          <a:pt x="46" y="425"/>
                        </a:lnTo>
                        <a:lnTo>
                          <a:pt x="55" y="413"/>
                        </a:lnTo>
                        <a:lnTo>
                          <a:pt x="66" y="402"/>
                        </a:lnTo>
                        <a:lnTo>
                          <a:pt x="78" y="391"/>
                        </a:lnTo>
                        <a:lnTo>
                          <a:pt x="92" y="378"/>
                        </a:lnTo>
                        <a:lnTo>
                          <a:pt x="106" y="367"/>
                        </a:lnTo>
                        <a:lnTo>
                          <a:pt x="122" y="357"/>
                        </a:lnTo>
                        <a:lnTo>
                          <a:pt x="140" y="347"/>
                        </a:lnTo>
                        <a:lnTo>
                          <a:pt x="159" y="337"/>
                        </a:lnTo>
                        <a:lnTo>
                          <a:pt x="180" y="328"/>
                        </a:lnTo>
                        <a:lnTo>
                          <a:pt x="202" y="319"/>
                        </a:lnTo>
                        <a:lnTo>
                          <a:pt x="226" y="313"/>
                        </a:lnTo>
                        <a:lnTo>
                          <a:pt x="253" y="306"/>
                        </a:lnTo>
                        <a:lnTo>
                          <a:pt x="281" y="302"/>
                        </a:lnTo>
                        <a:lnTo>
                          <a:pt x="312" y="297"/>
                        </a:lnTo>
                        <a:lnTo>
                          <a:pt x="344" y="295"/>
                        </a:lnTo>
                        <a:lnTo>
                          <a:pt x="378" y="294"/>
                        </a:lnTo>
                        <a:lnTo>
                          <a:pt x="415" y="295"/>
                        </a:lnTo>
                        <a:lnTo>
                          <a:pt x="453" y="297"/>
                        </a:lnTo>
                        <a:lnTo>
                          <a:pt x="495" y="302"/>
                        </a:lnTo>
                        <a:lnTo>
                          <a:pt x="539" y="305"/>
                        </a:lnTo>
                        <a:lnTo>
                          <a:pt x="586" y="308"/>
                        </a:lnTo>
                        <a:lnTo>
                          <a:pt x="635" y="309"/>
                        </a:lnTo>
                        <a:lnTo>
                          <a:pt x="686" y="309"/>
                        </a:lnTo>
                        <a:lnTo>
                          <a:pt x="738" y="307"/>
                        </a:lnTo>
                        <a:lnTo>
                          <a:pt x="794" y="305"/>
                        </a:lnTo>
                        <a:lnTo>
                          <a:pt x="850" y="302"/>
                        </a:lnTo>
                        <a:lnTo>
                          <a:pt x="906" y="296"/>
                        </a:lnTo>
                        <a:lnTo>
                          <a:pt x="964" y="290"/>
                        </a:lnTo>
                        <a:lnTo>
                          <a:pt x="1023" y="285"/>
                        </a:lnTo>
                        <a:lnTo>
                          <a:pt x="1082" y="277"/>
                        </a:lnTo>
                        <a:lnTo>
                          <a:pt x="1141" y="269"/>
                        </a:lnTo>
                        <a:lnTo>
                          <a:pt x="1257" y="253"/>
                        </a:lnTo>
                        <a:lnTo>
                          <a:pt x="1371" y="234"/>
                        </a:lnTo>
                        <a:lnTo>
                          <a:pt x="1479" y="215"/>
                        </a:lnTo>
                        <a:lnTo>
                          <a:pt x="1579" y="196"/>
                        </a:lnTo>
                        <a:lnTo>
                          <a:pt x="1670" y="177"/>
                        </a:lnTo>
                        <a:lnTo>
                          <a:pt x="1749" y="160"/>
                        </a:lnTo>
                        <a:lnTo>
                          <a:pt x="1815" y="147"/>
                        </a:lnTo>
                        <a:lnTo>
                          <a:pt x="1864" y="136"/>
                        </a:lnTo>
                        <a:lnTo>
                          <a:pt x="1895" y="128"/>
                        </a:lnTo>
                        <a:lnTo>
                          <a:pt x="1906" y="126"/>
                        </a:lnTo>
                        <a:lnTo>
                          <a:pt x="1901" y="127"/>
                        </a:lnTo>
                        <a:lnTo>
                          <a:pt x="1920" y="121"/>
                        </a:lnTo>
                        <a:lnTo>
                          <a:pt x="1936" y="117"/>
                        </a:lnTo>
                        <a:lnTo>
                          <a:pt x="1953" y="110"/>
                        </a:lnTo>
                        <a:lnTo>
                          <a:pt x="1969" y="102"/>
                        </a:lnTo>
                        <a:lnTo>
                          <a:pt x="1986" y="95"/>
                        </a:lnTo>
                        <a:lnTo>
                          <a:pt x="1994" y="90"/>
                        </a:lnTo>
                        <a:lnTo>
                          <a:pt x="1999" y="85"/>
                        </a:lnTo>
                        <a:lnTo>
                          <a:pt x="2005" y="80"/>
                        </a:lnTo>
                        <a:lnTo>
                          <a:pt x="2009" y="75"/>
                        </a:lnTo>
                        <a:lnTo>
                          <a:pt x="2013" y="69"/>
                        </a:lnTo>
                        <a:lnTo>
                          <a:pt x="2014" y="63"/>
                        </a:lnTo>
                        <a:lnTo>
                          <a:pt x="2014" y="58"/>
                        </a:lnTo>
                        <a:lnTo>
                          <a:pt x="2012" y="51"/>
                        </a:lnTo>
                        <a:lnTo>
                          <a:pt x="2007" y="46"/>
                        </a:lnTo>
                        <a:lnTo>
                          <a:pt x="2002" y="40"/>
                        </a:lnTo>
                        <a:lnTo>
                          <a:pt x="1993" y="33"/>
                        </a:lnTo>
                        <a:lnTo>
                          <a:pt x="1980" y="27"/>
                        </a:lnTo>
                        <a:lnTo>
                          <a:pt x="1967" y="20"/>
                        </a:lnTo>
                        <a:lnTo>
                          <a:pt x="1949" y="13"/>
                        </a:lnTo>
                        <a:lnTo>
                          <a:pt x="1929" y="7"/>
                        </a:lnTo>
                        <a:lnTo>
                          <a:pt x="1906" y="0"/>
                        </a:lnTo>
                        <a:close/>
                      </a:path>
                    </a:pathLst>
                  </a:custGeom>
                  <a:solidFill>
                    <a:srgbClr val="3D4189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145" name="Freeform 204"/>
                  <p:cNvSpPr>
                    <a:spLocks/>
                  </p:cNvSpPr>
                  <p:nvPr/>
                </p:nvSpPr>
                <p:spPr bwMode="auto">
                  <a:xfrm>
                    <a:off x="3433" y="3608"/>
                    <a:ext cx="324" cy="225"/>
                  </a:xfrm>
                  <a:custGeom>
                    <a:avLst/>
                    <a:gdLst>
                      <a:gd name="T0" fmla="*/ 0 w 2275"/>
                      <a:gd name="T1" fmla="*/ 0 h 1580"/>
                      <a:gd name="T2" fmla="*/ 0 w 2275"/>
                      <a:gd name="T3" fmla="*/ 0 h 1580"/>
                      <a:gd name="T4" fmla="*/ 0 w 2275"/>
                      <a:gd name="T5" fmla="*/ 0 h 1580"/>
                      <a:gd name="T6" fmla="*/ 0 w 2275"/>
                      <a:gd name="T7" fmla="*/ 0 h 1580"/>
                      <a:gd name="T8" fmla="*/ 0 w 2275"/>
                      <a:gd name="T9" fmla="*/ 0 h 1580"/>
                      <a:gd name="T10" fmla="*/ 0 w 2275"/>
                      <a:gd name="T11" fmla="*/ 0 h 1580"/>
                      <a:gd name="T12" fmla="*/ 0 w 2275"/>
                      <a:gd name="T13" fmla="*/ 0 h 1580"/>
                      <a:gd name="T14" fmla="*/ 0 w 2275"/>
                      <a:gd name="T15" fmla="*/ 0 h 1580"/>
                      <a:gd name="T16" fmla="*/ 0 w 2275"/>
                      <a:gd name="T17" fmla="*/ 0 h 1580"/>
                      <a:gd name="T18" fmla="*/ 0 w 2275"/>
                      <a:gd name="T19" fmla="*/ 0 h 1580"/>
                      <a:gd name="T20" fmla="*/ 0 w 2275"/>
                      <a:gd name="T21" fmla="*/ 0 h 1580"/>
                      <a:gd name="T22" fmla="*/ 0 w 2275"/>
                      <a:gd name="T23" fmla="*/ 0 h 1580"/>
                      <a:gd name="T24" fmla="*/ 0 w 2275"/>
                      <a:gd name="T25" fmla="*/ 0 h 1580"/>
                      <a:gd name="T26" fmla="*/ 0 w 2275"/>
                      <a:gd name="T27" fmla="*/ 0 h 1580"/>
                      <a:gd name="T28" fmla="*/ 0 w 2275"/>
                      <a:gd name="T29" fmla="*/ 0 h 1580"/>
                      <a:gd name="T30" fmla="*/ 0 w 2275"/>
                      <a:gd name="T31" fmla="*/ 0 h 1580"/>
                      <a:gd name="T32" fmla="*/ 0 w 2275"/>
                      <a:gd name="T33" fmla="*/ 0 h 1580"/>
                      <a:gd name="T34" fmla="*/ 0 w 2275"/>
                      <a:gd name="T35" fmla="*/ 0 h 1580"/>
                      <a:gd name="T36" fmla="*/ 0 w 2275"/>
                      <a:gd name="T37" fmla="*/ 0 h 1580"/>
                      <a:gd name="T38" fmla="*/ 0 w 2275"/>
                      <a:gd name="T39" fmla="*/ 0 h 1580"/>
                      <a:gd name="T40" fmla="*/ 0 w 2275"/>
                      <a:gd name="T41" fmla="*/ 0 h 1580"/>
                      <a:gd name="T42" fmla="*/ 0 w 2275"/>
                      <a:gd name="T43" fmla="*/ 0 h 1580"/>
                      <a:gd name="T44" fmla="*/ 0 w 2275"/>
                      <a:gd name="T45" fmla="*/ 0 h 1580"/>
                      <a:gd name="T46" fmla="*/ 0 w 2275"/>
                      <a:gd name="T47" fmla="*/ 0 h 1580"/>
                      <a:gd name="T48" fmla="*/ 0 w 2275"/>
                      <a:gd name="T49" fmla="*/ 0 h 1580"/>
                      <a:gd name="T50" fmla="*/ 0 w 2275"/>
                      <a:gd name="T51" fmla="*/ 0 h 1580"/>
                      <a:gd name="T52" fmla="*/ 0 w 2275"/>
                      <a:gd name="T53" fmla="*/ 0 h 1580"/>
                      <a:gd name="T54" fmla="*/ 0 w 2275"/>
                      <a:gd name="T55" fmla="*/ 0 h 1580"/>
                      <a:gd name="T56" fmla="*/ 0 w 2275"/>
                      <a:gd name="T57" fmla="*/ 0 h 1580"/>
                      <a:gd name="T58" fmla="*/ 0 w 2275"/>
                      <a:gd name="T59" fmla="*/ 0 h 1580"/>
                      <a:gd name="T60" fmla="*/ 0 w 2275"/>
                      <a:gd name="T61" fmla="*/ 0 h 1580"/>
                      <a:gd name="T62" fmla="*/ 0 w 2275"/>
                      <a:gd name="T63" fmla="*/ 0 h 1580"/>
                      <a:gd name="T64" fmla="*/ 0 w 2275"/>
                      <a:gd name="T65" fmla="*/ 0 h 1580"/>
                      <a:gd name="T66" fmla="*/ 0 w 2275"/>
                      <a:gd name="T67" fmla="*/ 0 h 1580"/>
                      <a:gd name="T68" fmla="*/ 0 w 2275"/>
                      <a:gd name="T69" fmla="*/ 0 h 1580"/>
                      <a:gd name="T70" fmla="*/ 0 w 2275"/>
                      <a:gd name="T71" fmla="*/ 0 h 1580"/>
                      <a:gd name="T72" fmla="*/ 0 w 2275"/>
                      <a:gd name="T73" fmla="*/ 0 h 1580"/>
                      <a:gd name="T74" fmla="*/ 0 w 2275"/>
                      <a:gd name="T75" fmla="*/ 0 h 1580"/>
                      <a:gd name="T76" fmla="*/ 0 w 2275"/>
                      <a:gd name="T77" fmla="*/ 0 h 1580"/>
                      <a:gd name="T78" fmla="*/ 0 w 2275"/>
                      <a:gd name="T79" fmla="*/ 0 h 1580"/>
                      <a:gd name="T80" fmla="*/ 0 w 2275"/>
                      <a:gd name="T81" fmla="*/ 0 h 1580"/>
                      <a:gd name="T82" fmla="*/ 0 w 2275"/>
                      <a:gd name="T83" fmla="*/ 0 h 1580"/>
                      <a:gd name="T84" fmla="*/ 0 w 2275"/>
                      <a:gd name="T85" fmla="*/ 0 h 1580"/>
                      <a:gd name="T86" fmla="*/ 0 w 2275"/>
                      <a:gd name="T87" fmla="*/ 0 h 1580"/>
                      <a:gd name="T88" fmla="*/ 0 w 2275"/>
                      <a:gd name="T89" fmla="*/ 0 h 1580"/>
                      <a:gd name="T90" fmla="*/ 0 w 2275"/>
                      <a:gd name="T91" fmla="*/ 0 h 1580"/>
                      <a:gd name="T92" fmla="*/ 0 w 2275"/>
                      <a:gd name="T93" fmla="*/ 0 h 1580"/>
                      <a:gd name="T94" fmla="*/ 0 w 2275"/>
                      <a:gd name="T95" fmla="*/ 0 h 1580"/>
                      <a:gd name="T96" fmla="*/ 0 w 2275"/>
                      <a:gd name="T97" fmla="*/ 0 h 1580"/>
                      <a:gd name="T98" fmla="*/ 0 w 2275"/>
                      <a:gd name="T99" fmla="*/ 0 h 1580"/>
                      <a:gd name="T100" fmla="*/ 0 w 2275"/>
                      <a:gd name="T101" fmla="*/ 0 h 1580"/>
                      <a:gd name="T102" fmla="*/ 0 w 2275"/>
                      <a:gd name="T103" fmla="*/ 0 h 1580"/>
                      <a:gd name="T104" fmla="*/ 0 w 2275"/>
                      <a:gd name="T105" fmla="*/ 0 h 1580"/>
                      <a:gd name="T106" fmla="*/ 0 w 2275"/>
                      <a:gd name="T107" fmla="*/ 0 h 1580"/>
                      <a:gd name="T108" fmla="*/ 0 w 2275"/>
                      <a:gd name="T109" fmla="*/ 0 h 1580"/>
                      <a:gd name="T110" fmla="*/ 0 w 2275"/>
                      <a:gd name="T111" fmla="*/ 0 h 1580"/>
                      <a:gd name="T112" fmla="*/ 0 w 2275"/>
                      <a:gd name="T113" fmla="*/ 0 h 1580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w 2275"/>
                      <a:gd name="T172" fmla="*/ 0 h 1580"/>
                      <a:gd name="T173" fmla="*/ 2275 w 2275"/>
                      <a:gd name="T174" fmla="*/ 1580 h 1580"/>
                    </a:gdLst>
                    <a:ahLst/>
                    <a:cxnLst>
                      <a:cxn ang="T114">
                        <a:pos x="T0" y="T1"/>
                      </a:cxn>
                      <a:cxn ang="T115">
                        <a:pos x="T2" y="T3"/>
                      </a:cxn>
                      <a:cxn ang="T116">
                        <a:pos x="T4" y="T5"/>
                      </a:cxn>
                      <a:cxn ang="T117">
                        <a:pos x="T6" y="T7"/>
                      </a:cxn>
                      <a:cxn ang="T118">
                        <a:pos x="T8" y="T9"/>
                      </a:cxn>
                      <a:cxn ang="T119">
                        <a:pos x="T10" y="T11"/>
                      </a:cxn>
                      <a:cxn ang="T120">
                        <a:pos x="T12" y="T13"/>
                      </a:cxn>
                      <a:cxn ang="T121">
                        <a:pos x="T14" y="T15"/>
                      </a:cxn>
                      <a:cxn ang="T122">
                        <a:pos x="T16" y="T17"/>
                      </a:cxn>
                      <a:cxn ang="T123">
                        <a:pos x="T18" y="T19"/>
                      </a:cxn>
                      <a:cxn ang="T124">
                        <a:pos x="T20" y="T21"/>
                      </a:cxn>
                      <a:cxn ang="T125">
                        <a:pos x="T22" y="T23"/>
                      </a:cxn>
                      <a:cxn ang="T126">
                        <a:pos x="T24" y="T25"/>
                      </a:cxn>
                      <a:cxn ang="T127">
                        <a:pos x="T26" y="T27"/>
                      </a:cxn>
                      <a:cxn ang="T128">
                        <a:pos x="T28" y="T29"/>
                      </a:cxn>
                      <a:cxn ang="T129">
                        <a:pos x="T30" y="T31"/>
                      </a:cxn>
                      <a:cxn ang="T130">
                        <a:pos x="T32" y="T33"/>
                      </a:cxn>
                      <a:cxn ang="T131">
                        <a:pos x="T34" y="T35"/>
                      </a:cxn>
                      <a:cxn ang="T132">
                        <a:pos x="T36" y="T37"/>
                      </a:cxn>
                      <a:cxn ang="T133">
                        <a:pos x="T38" y="T39"/>
                      </a:cxn>
                      <a:cxn ang="T134">
                        <a:pos x="T40" y="T41"/>
                      </a:cxn>
                      <a:cxn ang="T135">
                        <a:pos x="T42" y="T43"/>
                      </a:cxn>
                      <a:cxn ang="T136">
                        <a:pos x="T44" y="T45"/>
                      </a:cxn>
                      <a:cxn ang="T137">
                        <a:pos x="T46" y="T47"/>
                      </a:cxn>
                      <a:cxn ang="T138">
                        <a:pos x="T48" y="T49"/>
                      </a:cxn>
                      <a:cxn ang="T139">
                        <a:pos x="T50" y="T51"/>
                      </a:cxn>
                      <a:cxn ang="T140">
                        <a:pos x="T52" y="T53"/>
                      </a:cxn>
                      <a:cxn ang="T141">
                        <a:pos x="T54" y="T55"/>
                      </a:cxn>
                      <a:cxn ang="T142">
                        <a:pos x="T56" y="T57"/>
                      </a:cxn>
                      <a:cxn ang="T143">
                        <a:pos x="T58" y="T59"/>
                      </a:cxn>
                      <a:cxn ang="T144">
                        <a:pos x="T60" y="T61"/>
                      </a:cxn>
                      <a:cxn ang="T145">
                        <a:pos x="T62" y="T63"/>
                      </a:cxn>
                      <a:cxn ang="T146">
                        <a:pos x="T64" y="T65"/>
                      </a:cxn>
                      <a:cxn ang="T147">
                        <a:pos x="T66" y="T67"/>
                      </a:cxn>
                      <a:cxn ang="T148">
                        <a:pos x="T68" y="T69"/>
                      </a:cxn>
                      <a:cxn ang="T149">
                        <a:pos x="T70" y="T71"/>
                      </a:cxn>
                      <a:cxn ang="T150">
                        <a:pos x="T72" y="T73"/>
                      </a:cxn>
                      <a:cxn ang="T151">
                        <a:pos x="T74" y="T75"/>
                      </a:cxn>
                      <a:cxn ang="T152">
                        <a:pos x="T76" y="T77"/>
                      </a:cxn>
                      <a:cxn ang="T153">
                        <a:pos x="T78" y="T79"/>
                      </a:cxn>
                      <a:cxn ang="T154">
                        <a:pos x="T80" y="T81"/>
                      </a:cxn>
                      <a:cxn ang="T155">
                        <a:pos x="T82" y="T83"/>
                      </a:cxn>
                      <a:cxn ang="T156">
                        <a:pos x="T84" y="T85"/>
                      </a:cxn>
                      <a:cxn ang="T157">
                        <a:pos x="T86" y="T87"/>
                      </a:cxn>
                      <a:cxn ang="T158">
                        <a:pos x="T88" y="T89"/>
                      </a:cxn>
                      <a:cxn ang="T159">
                        <a:pos x="T90" y="T91"/>
                      </a:cxn>
                      <a:cxn ang="T160">
                        <a:pos x="T92" y="T93"/>
                      </a:cxn>
                      <a:cxn ang="T161">
                        <a:pos x="T94" y="T95"/>
                      </a:cxn>
                      <a:cxn ang="T162">
                        <a:pos x="T96" y="T97"/>
                      </a:cxn>
                      <a:cxn ang="T163">
                        <a:pos x="T98" y="T99"/>
                      </a:cxn>
                      <a:cxn ang="T164">
                        <a:pos x="T100" y="T101"/>
                      </a:cxn>
                      <a:cxn ang="T165">
                        <a:pos x="T102" y="T103"/>
                      </a:cxn>
                      <a:cxn ang="T166">
                        <a:pos x="T104" y="T105"/>
                      </a:cxn>
                      <a:cxn ang="T167">
                        <a:pos x="T106" y="T107"/>
                      </a:cxn>
                      <a:cxn ang="T168">
                        <a:pos x="T108" y="T109"/>
                      </a:cxn>
                      <a:cxn ang="T169">
                        <a:pos x="T110" y="T111"/>
                      </a:cxn>
                      <a:cxn ang="T170">
                        <a:pos x="T112" y="T113"/>
                      </a:cxn>
                    </a:cxnLst>
                    <a:rect l="T171" t="T172" r="T173" b="T174"/>
                    <a:pathLst>
                      <a:path w="2275" h="1580">
                        <a:moveTo>
                          <a:pt x="1248" y="671"/>
                        </a:moveTo>
                        <a:lnTo>
                          <a:pt x="1201" y="695"/>
                        </a:lnTo>
                        <a:lnTo>
                          <a:pt x="1155" y="717"/>
                        </a:lnTo>
                        <a:lnTo>
                          <a:pt x="1110" y="737"/>
                        </a:lnTo>
                        <a:lnTo>
                          <a:pt x="1065" y="756"/>
                        </a:lnTo>
                        <a:lnTo>
                          <a:pt x="1021" y="774"/>
                        </a:lnTo>
                        <a:lnTo>
                          <a:pt x="976" y="789"/>
                        </a:lnTo>
                        <a:lnTo>
                          <a:pt x="934" y="804"/>
                        </a:lnTo>
                        <a:lnTo>
                          <a:pt x="891" y="816"/>
                        </a:lnTo>
                        <a:lnTo>
                          <a:pt x="848" y="827"/>
                        </a:lnTo>
                        <a:lnTo>
                          <a:pt x="807" y="837"/>
                        </a:lnTo>
                        <a:lnTo>
                          <a:pt x="766" y="846"/>
                        </a:lnTo>
                        <a:lnTo>
                          <a:pt x="725" y="853"/>
                        </a:lnTo>
                        <a:lnTo>
                          <a:pt x="685" y="858"/>
                        </a:lnTo>
                        <a:lnTo>
                          <a:pt x="645" y="863"/>
                        </a:lnTo>
                        <a:lnTo>
                          <a:pt x="606" y="865"/>
                        </a:lnTo>
                        <a:lnTo>
                          <a:pt x="567" y="866"/>
                        </a:lnTo>
                        <a:lnTo>
                          <a:pt x="529" y="866"/>
                        </a:lnTo>
                        <a:lnTo>
                          <a:pt x="491" y="865"/>
                        </a:lnTo>
                        <a:lnTo>
                          <a:pt x="453" y="863"/>
                        </a:lnTo>
                        <a:lnTo>
                          <a:pt x="416" y="858"/>
                        </a:lnTo>
                        <a:lnTo>
                          <a:pt x="380" y="853"/>
                        </a:lnTo>
                        <a:lnTo>
                          <a:pt x="343" y="846"/>
                        </a:lnTo>
                        <a:lnTo>
                          <a:pt x="307" y="838"/>
                        </a:lnTo>
                        <a:lnTo>
                          <a:pt x="272" y="828"/>
                        </a:lnTo>
                        <a:lnTo>
                          <a:pt x="236" y="818"/>
                        </a:lnTo>
                        <a:lnTo>
                          <a:pt x="202" y="806"/>
                        </a:lnTo>
                        <a:lnTo>
                          <a:pt x="167" y="794"/>
                        </a:lnTo>
                        <a:lnTo>
                          <a:pt x="133" y="779"/>
                        </a:lnTo>
                        <a:lnTo>
                          <a:pt x="99" y="764"/>
                        </a:lnTo>
                        <a:lnTo>
                          <a:pt x="66" y="747"/>
                        </a:lnTo>
                        <a:lnTo>
                          <a:pt x="32" y="729"/>
                        </a:lnTo>
                        <a:lnTo>
                          <a:pt x="0" y="710"/>
                        </a:lnTo>
                        <a:lnTo>
                          <a:pt x="0" y="756"/>
                        </a:lnTo>
                        <a:lnTo>
                          <a:pt x="1" y="803"/>
                        </a:lnTo>
                        <a:lnTo>
                          <a:pt x="3" y="847"/>
                        </a:lnTo>
                        <a:lnTo>
                          <a:pt x="6" y="892"/>
                        </a:lnTo>
                        <a:lnTo>
                          <a:pt x="10" y="935"/>
                        </a:lnTo>
                        <a:lnTo>
                          <a:pt x="16" y="977"/>
                        </a:lnTo>
                        <a:lnTo>
                          <a:pt x="22" y="1020"/>
                        </a:lnTo>
                        <a:lnTo>
                          <a:pt x="30" y="1060"/>
                        </a:lnTo>
                        <a:lnTo>
                          <a:pt x="39" y="1100"/>
                        </a:lnTo>
                        <a:lnTo>
                          <a:pt x="50" y="1138"/>
                        </a:lnTo>
                        <a:lnTo>
                          <a:pt x="62" y="1174"/>
                        </a:lnTo>
                        <a:lnTo>
                          <a:pt x="76" y="1210"/>
                        </a:lnTo>
                        <a:lnTo>
                          <a:pt x="84" y="1227"/>
                        </a:lnTo>
                        <a:lnTo>
                          <a:pt x="93" y="1243"/>
                        </a:lnTo>
                        <a:lnTo>
                          <a:pt x="100" y="1260"/>
                        </a:lnTo>
                        <a:lnTo>
                          <a:pt x="109" y="1276"/>
                        </a:lnTo>
                        <a:lnTo>
                          <a:pt x="119" y="1290"/>
                        </a:lnTo>
                        <a:lnTo>
                          <a:pt x="129" y="1306"/>
                        </a:lnTo>
                        <a:lnTo>
                          <a:pt x="139" y="1319"/>
                        </a:lnTo>
                        <a:lnTo>
                          <a:pt x="150" y="1334"/>
                        </a:lnTo>
                        <a:lnTo>
                          <a:pt x="206" y="1397"/>
                        </a:lnTo>
                        <a:lnTo>
                          <a:pt x="265" y="1449"/>
                        </a:lnTo>
                        <a:lnTo>
                          <a:pt x="325" y="1493"/>
                        </a:lnTo>
                        <a:lnTo>
                          <a:pt x="386" y="1526"/>
                        </a:lnTo>
                        <a:lnTo>
                          <a:pt x="449" y="1552"/>
                        </a:lnTo>
                        <a:lnTo>
                          <a:pt x="513" y="1568"/>
                        </a:lnTo>
                        <a:lnTo>
                          <a:pt x="578" y="1578"/>
                        </a:lnTo>
                        <a:lnTo>
                          <a:pt x="643" y="1580"/>
                        </a:lnTo>
                        <a:lnTo>
                          <a:pt x="709" y="1575"/>
                        </a:lnTo>
                        <a:lnTo>
                          <a:pt x="776" y="1564"/>
                        </a:lnTo>
                        <a:lnTo>
                          <a:pt x="843" y="1546"/>
                        </a:lnTo>
                        <a:lnTo>
                          <a:pt x="908" y="1524"/>
                        </a:lnTo>
                        <a:lnTo>
                          <a:pt x="975" y="1497"/>
                        </a:lnTo>
                        <a:lnTo>
                          <a:pt x="1042" y="1465"/>
                        </a:lnTo>
                        <a:lnTo>
                          <a:pt x="1106" y="1428"/>
                        </a:lnTo>
                        <a:lnTo>
                          <a:pt x="1172" y="1389"/>
                        </a:lnTo>
                        <a:lnTo>
                          <a:pt x="1236" y="1347"/>
                        </a:lnTo>
                        <a:lnTo>
                          <a:pt x="1299" y="1301"/>
                        </a:lnTo>
                        <a:lnTo>
                          <a:pt x="1360" y="1253"/>
                        </a:lnTo>
                        <a:lnTo>
                          <a:pt x="1421" y="1204"/>
                        </a:lnTo>
                        <a:lnTo>
                          <a:pt x="1479" y="1154"/>
                        </a:lnTo>
                        <a:lnTo>
                          <a:pt x="1537" y="1104"/>
                        </a:lnTo>
                        <a:lnTo>
                          <a:pt x="1592" y="1053"/>
                        </a:lnTo>
                        <a:lnTo>
                          <a:pt x="1645" y="1002"/>
                        </a:lnTo>
                        <a:lnTo>
                          <a:pt x="1695" y="951"/>
                        </a:lnTo>
                        <a:lnTo>
                          <a:pt x="1744" y="902"/>
                        </a:lnTo>
                        <a:lnTo>
                          <a:pt x="1790" y="855"/>
                        </a:lnTo>
                        <a:lnTo>
                          <a:pt x="1832" y="809"/>
                        </a:lnTo>
                        <a:lnTo>
                          <a:pt x="1909" y="726"/>
                        </a:lnTo>
                        <a:lnTo>
                          <a:pt x="1971" y="657"/>
                        </a:lnTo>
                        <a:lnTo>
                          <a:pt x="1992" y="634"/>
                        </a:lnTo>
                        <a:lnTo>
                          <a:pt x="2014" y="606"/>
                        </a:lnTo>
                        <a:lnTo>
                          <a:pt x="2035" y="576"/>
                        </a:lnTo>
                        <a:lnTo>
                          <a:pt x="2057" y="542"/>
                        </a:lnTo>
                        <a:lnTo>
                          <a:pt x="2079" y="507"/>
                        </a:lnTo>
                        <a:lnTo>
                          <a:pt x="2100" y="469"/>
                        </a:lnTo>
                        <a:lnTo>
                          <a:pt x="2122" y="429"/>
                        </a:lnTo>
                        <a:lnTo>
                          <a:pt x="2143" y="387"/>
                        </a:lnTo>
                        <a:lnTo>
                          <a:pt x="2163" y="342"/>
                        </a:lnTo>
                        <a:lnTo>
                          <a:pt x="2183" y="296"/>
                        </a:lnTo>
                        <a:lnTo>
                          <a:pt x="2201" y="249"/>
                        </a:lnTo>
                        <a:lnTo>
                          <a:pt x="2218" y="201"/>
                        </a:lnTo>
                        <a:lnTo>
                          <a:pt x="2235" y="152"/>
                        </a:lnTo>
                        <a:lnTo>
                          <a:pt x="2250" y="102"/>
                        </a:lnTo>
                        <a:lnTo>
                          <a:pt x="2263" y="52"/>
                        </a:lnTo>
                        <a:lnTo>
                          <a:pt x="2275" y="0"/>
                        </a:lnTo>
                        <a:lnTo>
                          <a:pt x="2217" y="47"/>
                        </a:lnTo>
                        <a:lnTo>
                          <a:pt x="2158" y="93"/>
                        </a:lnTo>
                        <a:lnTo>
                          <a:pt x="2098" y="138"/>
                        </a:lnTo>
                        <a:lnTo>
                          <a:pt x="2038" y="183"/>
                        </a:lnTo>
                        <a:lnTo>
                          <a:pt x="1976" y="227"/>
                        </a:lnTo>
                        <a:lnTo>
                          <a:pt x="1914" y="271"/>
                        </a:lnTo>
                        <a:lnTo>
                          <a:pt x="1852" y="313"/>
                        </a:lnTo>
                        <a:lnTo>
                          <a:pt x="1788" y="355"/>
                        </a:lnTo>
                        <a:lnTo>
                          <a:pt x="1724" y="398"/>
                        </a:lnTo>
                        <a:lnTo>
                          <a:pt x="1658" y="438"/>
                        </a:lnTo>
                        <a:lnTo>
                          <a:pt x="1593" y="479"/>
                        </a:lnTo>
                        <a:lnTo>
                          <a:pt x="1525" y="518"/>
                        </a:lnTo>
                        <a:lnTo>
                          <a:pt x="1457" y="558"/>
                        </a:lnTo>
                        <a:lnTo>
                          <a:pt x="1388" y="596"/>
                        </a:lnTo>
                        <a:lnTo>
                          <a:pt x="1319" y="634"/>
                        </a:lnTo>
                        <a:lnTo>
                          <a:pt x="1248" y="671"/>
                        </a:lnTo>
                        <a:close/>
                      </a:path>
                    </a:pathLst>
                  </a:custGeom>
                  <a:solidFill>
                    <a:srgbClr val="312276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</p:grpSp>
          </p:grpSp>
          <p:grpSp>
            <p:nvGrpSpPr>
              <p:cNvPr id="96" name="Group 205"/>
              <p:cNvGrpSpPr>
                <a:grpSpLocks/>
              </p:cNvGrpSpPr>
              <p:nvPr/>
            </p:nvGrpSpPr>
            <p:grpSpPr bwMode="auto">
              <a:xfrm>
                <a:off x="6212371" y="2578450"/>
                <a:ext cx="350466" cy="200476"/>
                <a:chOff x="2759" y="2304"/>
                <a:chExt cx="1393" cy="766"/>
              </a:xfrm>
            </p:grpSpPr>
            <p:sp>
              <p:nvSpPr>
                <p:cNvPr id="97" name="Freeform 206"/>
                <p:cNvSpPr>
                  <a:spLocks/>
                </p:cNvSpPr>
                <p:nvPr/>
              </p:nvSpPr>
              <p:spPr bwMode="auto">
                <a:xfrm>
                  <a:off x="3640" y="2608"/>
                  <a:ext cx="508" cy="319"/>
                </a:xfrm>
                <a:custGeom>
                  <a:avLst/>
                  <a:gdLst>
                    <a:gd name="T0" fmla="*/ 0 w 3583"/>
                    <a:gd name="T1" fmla="*/ 0 h 2227"/>
                    <a:gd name="T2" fmla="*/ 0 w 3583"/>
                    <a:gd name="T3" fmla="*/ 0 h 2227"/>
                    <a:gd name="T4" fmla="*/ 0 w 3583"/>
                    <a:gd name="T5" fmla="*/ 0 h 2227"/>
                    <a:gd name="T6" fmla="*/ 0 w 3583"/>
                    <a:gd name="T7" fmla="*/ 0 h 2227"/>
                    <a:gd name="T8" fmla="*/ 0 w 3583"/>
                    <a:gd name="T9" fmla="*/ 0 h 2227"/>
                    <a:gd name="T10" fmla="*/ 0 w 3583"/>
                    <a:gd name="T11" fmla="*/ 0 h 2227"/>
                    <a:gd name="T12" fmla="*/ 0 w 3583"/>
                    <a:gd name="T13" fmla="*/ 0 h 2227"/>
                    <a:gd name="T14" fmla="*/ 0 w 3583"/>
                    <a:gd name="T15" fmla="*/ 0 h 2227"/>
                    <a:gd name="T16" fmla="*/ 0 w 3583"/>
                    <a:gd name="T17" fmla="*/ 0 h 2227"/>
                    <a:gd name="T18" fmla="*/ 0 w 3583"/>
                    <a:gd name="T19" fmla="*/ 0 h 2227"/>
                    <a:gd name="T20" fmla="*/ 0 w 3583"/>
                    <a:gd name="T21" fmla="*/ 0 h 2227"/>
                    <a:gd name="T22" fmla="*/ 0 w 3583"/>
                    <a:gd name="T23" fmla="*/ 0 h 2227"/>
                    <a:gd name="T24" fmla="*/ 0 w 3583"/>
                    <a:gd name="T25" fmla="*/ 0 h 2227"/>
                    <a:gd name="T26" fmla="*/ 0 w 3583"/>
                    <a:gd name="T27" fmla="*/ 0 h 2227"/>
                    <a:gd name="T28" fmla="*/ 0 w 3583"/>
                    <a:gd name="T29" fmla="*/ 0 h 2227"/>
                    <a:gd name="T30" fmla="*/ 0 w 3583"/>
                    <a:gd name="T31" fmla="*/ 0 h 2227"/>
                    <a:gd name="T32" fmla="*/ 0 w 3583"/>
                    <a:gd name="T33" fmla="*/ 0 h 2227"/>
                    <a:gd name="T34" fmla="*/ 0 w 3583"/>
                    <a:gd name="T35" fmla="*/ 0 h 2227"/>
                    <a:gd name="T36" fmla="*/ 0 w 3583"/>
                    <a:gd name="T37" fmla="*/ 0 h 2227"/>
                    <a:gd name="T38" fmla="*/ 0 w 3583"/>
                    <a:gd name="T39" fmla="*/ 0 h 2227"/>
                    <a:gd name="T40" fmla="*/ 0 w 3583"/>
                    <a:gd name="T41" fmla="*/ 0 h 2227"/>
                    <a:gd name="T42" fmla="*/ 0 w 3583"/>
                    <a:gd name="T43" fmla="*/ 0 h 2227"/>
                    <a:gd name="T44" fmla="*/ 0 w 3583"/>
                    <a:gd name="T45" fmla="*/ 0 h 2227"/>
                    <a:gd name="T46" fmla="*/ 0 w 3583"/>
                    <a:gd name="T47" fmla="*/ 0 h 2227"/>
                    <a:gd name="T48" fmla="*/ 0 w 3583"/>
                    <a:gd name="T49" fmla="*/ 0 h 2227"/>
                    <a:gd name="T50" fmla="*/ 0 w 3583"/>
                    <a:gd name="T51" fmla="*/ 0 h 2227"/>
                    <a:gd name="T52" fmla="*/ 0 w 3583"/>
                    <a:gd name="T53" fmla="*/ 0 h 2227"/>
                    <a:gd name="T54" fmla="*/ 0 w 3583"/>
                    <a:gd name="T55" fmla="*/ 0 h 2227"/>
                    <a:gd name="T56" fmla="*/ 0 w 3583"/>
                    <a:gd name="T57" fmla="*/ 0 h 2227"/>
                    <a:gd name="T58" fmla="*/ 0 w 3583"/>
                    <a:gd name="T59" fmla="*/ 0 h 2227"/>
                    <a:gd name="T60" fmla="*/ 0 w 3583"/>
                    <a:gd name="T61" fmla="*/ 0 h 2227"/>
                    <a:gd name="T62" fmla="*/ 0 w 3583"/>
                    <a:gd name="T63" fmla="*/ 0 h 2227"/>
                    <a:gd name="T64" fmla="*/ 0 w 3583"/>
                    <a:gd name="T65" fmla="*/ 0 h 2227"/>
                    <a:gd name="T66" fmla="*/ 0 w 3583"/>
                    <a:gd name="T67" fmla="*/ 0 h 2227"/>
                    <a:gd name="T68" fmla="*/ 0 w 3583"/>
                    <a:gd name="T69" fmla="*/ 0 h 2227"/>
                    <a:gd name="T70" fmla="*/ 0 w 3583"/>
                    <a:gd name="T71" fmla="*/ 0 h 2227"/>
                    <a:gd name="T72" fmla="*/ 0 w 3583"/>
                    <a:gd name="T73" fmla="*/ 0 h 2227"/>
                    <a:gd name="T74" fmla="*/ 0 w 3583"/>
                    <a:gd name="T75" fmla="*/ 0 h 2227"/>
                    <a:gd name="T76" fmla="*/ 0 w 3583"/>
                    <a:gd name="T77" fmla="*/ 0 h 2227"/>
                    <a:gd name="T78" fmla="*/ 0 w 3583"/>
                    <a:gd name="T79" fmla="*/ 0 h 2227"/>
                    <a:gd name="T80" fmla="*/ 0 w 3583"/>
                    <a:gd name="T81" fmla="*/ 0 h 2227"/>
                    <a:gd name="T82" fmla="*/ 0 w 3583"/>
                    <a:gd name="T83" fmla="*/ 0 h 2227"/>
                    <a:gd name="T84" fmla="*/ 0 w 3583"/>
                    <a:gd name="T85" fmla="*/ 0 h 2227"/>
                    <a:gd name="T86" fmla="*/ 0 w 3583"/>
                    <a:gd name="T87" fmla="*/ 0 h 2227"/>
                    <a:gd name="T88" fmla="*/ 0 w 3583"/>
                    <a:gd name="T89" fmla="*/ 0 h 2227"/>
                    <a:gd name="T90" fmla="*/ 0 w 3583"/>
                    <a:gd name="T91" fmla="*/ 0 h 2227"/>
                    <a:gd name="T92" fmla="*/ 0 w 3583"/>
                    <a:gd name="T93" fmla="*/ 0 h 2227"/>
                    <a:gd name="T94" fmla="*/ 0 w 3583"/>
                    <a:gd name="T95" fmla="*/ 0 h 2227"/>
                    <a:gd name="T96" fmla="*/ 0 w 3583"/>
                    <a:gd name="T97" fmla="*/ 0 h 2227"/>
                    <a:gd name="T98" fmla="*/ 0 w 3583"/>
                    <a:gd name="T99" fmla="*/ 0 h 2227"/>
                    <a:gd name="T100" fmla="*/ 0 w 3583"/>
                    <a:gd name="T101" fmla="*/ 0 h 2227"/>
                    <a:gd name="T102" fmla="*/ 0 w 3583"/>
                    <a:gd name="T103" fmla="*/ 0 h 2227"/>
                    <a:gd name="T104" fmla="*/ 0 w 3583"/>
                    <a:gd name="T105" fmla="*/ 0 h 2227"/>
                    <a:gd name="T106" fmla="*/ 0 w 3583"/>
                    <a:gd name="T107" fmla="*/ 0 h 2227"/>
                    <a:gd name="T108" fmla="*/ 0 w 3583"/>
                    <a:gd name="T109" fmla="*/ 0 h 2227"/>
                    <a:gd name="T110" fmla="*/ 0 w 3583"/>
                    <a:gd name="T111" fmla="*/ 0 h 2227"/>
                    <a:gd name="T112" fmla="*/ 0 w 3583"/>
                    <a:gd name="T113" fmla="*/ 0 h 2227"/>
                    <a:gd name="T114" fmla="*/ 0 w 3583"/>
                    <a:gd name="T115" fmla="*/ 0 h 2227"/>
                    <a:gd name="T116" fmla="*/ 0 w 3583"/>
                    <a:gd name="T117" fmla="*/ 0 h 2227"/>
                    <a:gd name="T118" fmla="*/ 0 w 3583"/>
                    <a:gd name="T119" fmla="*/ 0 h 2227"/>
                    <a:gd name="T120" fmla="*/ 0 w 3583"/>
                    <a:gd name="T121" fmla="*/ 0 h 2227"/>
                    <a:gd name="T122" fmla="*/ 0 w 3583"/>
                    <a:gd name="T123" fmla="*/ 0 h 2227"/>
                    <a:gd name="T124" fmla="*/ 0 w 3583"/>
                    <a:gd name="T125" fmla="*/ 0 h 2227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3583"/>
                    <a:gd name="T190" fmla="*/ 0 h 2227"/>
                    <a:gd name="T191" fmla="*/ 3583 w 3583"/>
                    <a:gd name="T192" fmla="*/ 2227 h 2227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3583" h="2227">
                      <a:moveTo>
                        <a:pt x="3554" y="1071"/>
                      </a:moveTo>
                      <a:lnTo>
                        <a:pt x="3545" y="1035"/>
                      </a:lnTo>
                      <a:lnTo>
                        <a:pt x="3533" y="998"/>
                      </a:lnTo>
                      <a:lnTo>
                        <a:pt x="3521" y="962"/>
                      </a:lnTo>
                      <a:lnTo>
                        <a:pt x="3506" y="925"/>
                      </a:lnTo>
                      <a:lnTo>
                        <a:pt x="3491" y="887"/>
                      </a:lnTo>
                      <a:lnTo>
                        <a:pt x="3473" y="849"/>
                      </a:lnTo>
                      <a:lnTo>
                        <a:pt x="3455" y="810"/>
                      </a:lnTo>
                      <a:lnTo>
                        <a:pt x="3435" y="771"/>
                      </a:lnTo>
                      <a:lnTo>
                        <a:pt x="3414" y="733"/>
                      </a:lnTo>
                      <a:lnTo>
                        <a:pt x="3392" y="694"/>
                      </a:lnTo>
                      <a:lnTo>
                        <a:pt x="3368" y="657"/>
                      </a:lnTo>
                      <a:lnTo>
                        <a:pt x="3344" y="619"/>
                      </a:lnTo>
                      <a:lnTo>
                        <a:pt x="3318" y="581"/>
                      </a:lnTo>
                      <a:lnTo>
                        <a:pt x="3291" y="544"/>
                      </a:lnTo>
                      <a:lnTo>
                        <a:pt x="3264" y="508"/>
                      </a:lnTo>
                      <a:lnTo>
                        <a:pt x="3236" y="472"/>
                      </a:lnTo>
                      <a:lnTo>
                        <a:pt x="3206" y="437"/>
                      </a:lnTo>
                      <a:lnTo>
                        <a:pt x="3176" y="404"/>
                      </a:lnTo>
                      <a:lnTo>
                        <a:pt x="3144" y="372"/>
                      </a:lnTo>
                      <a:lnTo>
                        <a:pt x="3113" y="340"/>
                      </a:lnTo>
                      <a:lnTo>
                        <a:pt x="3081" y="309"/>
                      </a:lnTo>
                      <a:lnTo>
                        <a:pt x="3049" y="282"/>
                      </a:lnTo>
                      <a:lnTo>
                        <a:pt x="3014" y="254"/>
                      </a:lnTo>
                      <a:lnTo>
                        <a:pt x="2981" y="228"/>
                      </a:lnTo>
                      <a:lnTo>
                        <a:pt x="2946" y="205"/>
                      </a:lnTo>
                      <a:lnTo>
                        <a:pt x="2912" y="183"/>
                      </a:lnTo>
                      <a:lnTo>
                        <a:pt x="2876" y="163"/>
                      </a:lnTo>
                      <a:lnTo>
                        <a:pt x="2841" y="145"/>
                      </a:lnTo>
                      <a:lnTo>
                        <a:pt x="2805" y="128"/>
                      </a:lnTo>
                      <a:lnTo>
                        <a:pt x="2769" y="115"/>
                      </a:lnTo>
                      <a:lnTo>
                        <a:pt x="2734" y="104"/>
                      </a:lnTo>
                      <a:lnTo>
                        <a:pt x="2697" y="95"/>
                      </a:lnTo>
                      <a:lnTo>
                        <a:pt x="2615" y="79"/>
                      </a:lnTo>
                      <a:lnTo>
                        <a:pt x="2531" y="66"/>
                      </a:lnTo>
                      <a:lnTo>
                        <a:pt x="2446" y="52"/>
                      </a:lnTo>
                      <a:lnTo>
                        <a:pt x="2359" y="41"/>
                      </a:lnTo>
                      <a:lnTo>
                        <a:pt x="2270" y="32"/>
                      </a:lnTo>
                      <a:lnTo>
                        <a:pt x="2180" y="23"/>
                      </a:lnTo>
                      <a:lnTo>
                        <a:pt x="2089" y="17"/>
                      </a:lnTo>
                      <a:lnTo>
                        <a:pt x="1998" y="11"/>
                      </a:lnTo>
                      <a:lnTo>
                        <a:pt x="1906" y="7"/>
                      </a:lnTo>
                      <a:lnTo>
                        <a:pt x="1814" y="3"/>
                      </a:lnTo>
                      <a:lnTo>
                        <a:pt x="1722" y="1"/>
                      </a:lnTo>
                      <a:lnTo>
                        <a:pt x="1631" y="0"/>
                      </a:lnTo>
                      <a:lnTo>
                        <a:pt x="1541" y="0"/>
                      </a:lnTo>
                      <a:lnTo>
                        <a:pt x="1450" y="1"/>
                      </a:lnTo>
                      <a:lnTo>
                        <a:pt x="1361" y="3"/>
                      </a:lnTo>
                      <a:lnTo>
                        <a:pt x="1274" y="6"/>
                      </a:lnTo>
                      <a:lnTo>
                        <a:pt x="1188" y="9"/>
                      </a:lnTo>
                      <a:lnTo>
                        <a:pt x="1103" y="13"/>
                      </a:lnTo>
                      <a:lnTo>
                        <a:pt x="1021" y="18"/>
                      </a:lnTo>
                      <a:lnTo>
                        <a:pt x="941" y="23"/>
                      </a:lnTo>
                      <a:lnTo>
                        <a:pt x="864" y="30"/>
                      </a:lnTo>
                      <a:lnTo>
                        <a:pt x="789" y="37"/>
                      </a:lnTo>
                      <a:lnTo>
                        <a:pt x="717" y="43"/>
                      </a:lnTo>
                      <a:lnTo>
                        <a:pt x="649" y="51"/>
                      </a:lnTo>
                      <a:lnTo>
                        <a:pt x="583" y="59"/>
                      </a:lnTo>
                      <a:lnTo>
                        <a:pt x="522" y="67"/>
                      </a:lnTo>
                      <a:lnTo>
                        <a:pt x="464" y="76"/>
                      </a:lnTo>
                      <a:lnTo>
                        <a:pt x="411" y="85"/>
                      </a:lnTo>
                      <a:lnTo>
                        <a:pt x="362" y="94"/>
                      </a:lnTo>
                      <a:lnTo>
                        <a:pt x="319" y="102"/>
                      </a:lnTo>
                      <a:lnTo>
                        <a:pt x="279" y="111"/>
                      </a:lnTo>
                      <a:lnTo>
                        <a:pt x="245" y="120"/>
                      </a:lnTo>
                      <a:lnTo>
                        <a:pt x="214" y="130"/>
                      </a:lnTo>
                      <a:lnTo>
                        <a:pt x="186" y="141"/>
                      </a:lnTo>
                      <a:lnTo>
                        <a:pt x="161" y="155"/>
                      </a:lnTo>
                      <a:lnTo>
                        <a:pt x="137" y="169"/>
                      </a:lnTo>
                      <a:lnTo>
                        <a:pt x="116" y="186"/>
                      </a:lnTo>
                      <a:lnTo>
                        <a:pt x="96" y="203"/>
                      </a:lnTo>
                      <a:lnTo>
                        <a:pt x="79" y="222"/>
                      </a:lnTo>
                      <a:lnTo>
                        <a:pt x="64" y="242"/>
                      </a:lnTo>
                      <a:lnTo>
                        <a:pt x="50" y="264"/>
                      </a:lnTo>
                      <a:lnTo>
                        <a:pt x="38" y="286"/>
                      </a:lnTo>
                      <a:lnTo>
                        <a:pt x="28" y="309"/>
                      </a:lnTo>
                      <a:lnTo>
                        <a:pt x="19" y="335"/>
                      </a:lnTo>
                      <a:lnTo>
                        <a:pt x="12" y="361"/>
                      </a:lnTo>
                      <a:lnTo>
                        <a:pt x="8" y="387"/>
                      </a:lnTo>
                      <a:lnTo>
                        <a:pt x="4" y="414"/>
                      </a:lnTo>
                      <a:lnTo>
                        <a:pt x="1" y="443"/>
                      </a:lnTo>
                      <a:lnTo>
                        <a:pt x="0" y="472"/>
                      </a:lnTo>
                      <a:lnTo>
                        <a:pt x="1" y="502"/>
                      </a:lnTo>
                      <a:lnTo>
                        <a:pt x="2" y="532"/>
                      </a:lnTo>
                      <a:lnTo>
                        <a:pt x="6" y="563"/>
                      </a:lnTo>
                      <a:lnTo>
                        <a:pt x="9" y="594"/>
                      </a:lnTo>
                      <a:lnTo>
                        <a:pt x="15" y="627"/>
                      </a:lnTo>
                      <a:lnTo>
                        <a:pt x="20" y="659"/>
                      </a:lnTo>
                      <a:lnTo>
                        <a:pt x="27" y="691"/>
                      </a:lnTo>
                      <a:lnTo>
                        <a:pt x="35" y="723"/>
                      </a:lnTo>
                      <a:lnTo>
                        <a:pt x="44" y="757"/>
                      </a:lnTo>
                      <a:lnTo>
                        <a:pt x="53" y="789"/>
                      </a:lnTo>
                      <a:lnTo>
                        <a:pt x="63" y="822"/>
                      </a:lnTo>
                      <a:lnTo>
                        <a:pt x="84" y="889"/>
                      </a:lnTo>
                      <a:lnTo>
                        <a:pt x="107" y="955"/>
                      </a:lnTo>
                      <a:lnTo>
                        <a:pt x="119" y="987"/>
                      </a:lnTo>
                      <a:lnTo>
                        <a:pt x="133" y="1021"/>
                      </a:lnTo>
                      <a:lnTo>
                        <a:pt x="148" y="1053"/>
                      </a:lnTo>
                      <a:lnTo>
                        <a:pt x="164" y="1085"/>
                      </a:lnTo>
                      <a:lnTo>
                        <a:pt x="179" y="1117"/>
                      </a:lnTo>
                      <a:lnTo>
                        <a:pt x="197" y="1149"/>
                      </a:lnTo>
                      <a:lnTo>
                        <a:pt x="215" y="1179"/>
                      </a:lnTo>
                      <a:lnTo>
                        <a:pt x="234" y="1210"/>
                      </a:lnTo>
                      <a:lnTo>
                        <a:pt x="254" y="1240"/>
                      </a:lnTo>
                      <a:lnTo>
                        <a:pt x="274" y="1269"/>
                      </a:lnTo>
                      <a:lnTo>
                        <a:pt x="295" y="1299"/>
                      </a:lnTo>
                      <a:lnTo>
                        <a:pt x="316" y="1327"/>
                      </a:lnTo>
                      <a:lnTo>
                        <a:pt x="340" y="1356"/>
                      </a:lnTo>
                      <a:lnTo>
                        <a:pt x="362" y="1383"/>
                      </a:lnTo>
                      <a:lnTo>
                        <a:pt x="386" y="1410"/>
                      </a:lnTo>
                      <a:lnTo>
                        <a:pt x="411" y="1437"/>
                      </a:lnTo>
                      <a:lnTo>
                        <a:pt x="435" y="1463"/>
                      </a:lnTo>
                      <a:lnTo>
                        <a:pt x="461" y="1489"/>
                      </a:lnTo>
                      <a:lnTo>
                        <a:pt x="487" y="1515"/>
                      </a:lnTo>
                      <a:lnTo>
                        <a:pt x="513" y="1539"/>
                      </a:lnTo>
                      <a:lnTo>
                        <a:pt x="540" y="1564"/>
                      </a:lnTo>
                      <a:lnTo>
                        <a:pt x="568" y="1587"/>
                      </a:lnTo>
                      <a:lnTo>
                        <a:pt x="596" y="1609"/>
                      </a:lnTo>
                      <a:lnTo>
                        <a:pt x="625" y="1632"/>
                      </a:lnTo>
                      <a:lnTo>
                        <a:pt x="652" y="1654"/>
                      </a:lnTo>
                      <a:lnTo>
                        <a:pt x="683" y="1675"/>
                      </a:lnTo>
                      <a:lnTo>
                        <a:pt x="711" y="1696"/>
                      </a:lnTo>
                      <a:lnTo>
                        <a:pt x="742" y="1715"/>
                      </a:lnTo>
                      <a:lnTo>
                        <a:pt x="772" y="1735"/>
                      </a:lnTo>
                      <a:lnTo>
                        <a:pt x="802" y="1753"/>
                      </a:lnTo>
                      <a:lnTo>
                        <a:pt x="832" y="1772"/>
                      </a:lnTo>
                      <a:lnTo>
                        <a:pt x="863" y="1788"/>
                      </a:lnTo>
                      <a:lnTo>
                        <a:pt x="917" y="1818"/>
                      </a:lnTo>
                      <a:lnTo>
                        <a:pt x="974" y="1847"/>
                      </a:lnTo>
                      <a:lnTo>
                        <a:pt x="1034" y="1876"/>
                      </a:lnTo>
                      <a:lnTo>
                        <a:pt x="1097" y="1905"/>
                      </a:lnTo>
                      <a:lnTo>
                        <a:pt x="1160" y="1934"/>
                      </a:lnTo>
                      <a:lnTo>
                        <a:pt x="1226" y="1962"/>
                      </a:lnTo>
                      <a:lnTo>
                        <a:pt x="1294" y="1989"/>
                      </a:lnTo>
                      <a:lnTo>
                        <a:pt x="1364" y="2015"/>
                      </a:lnTo>
                      <a:lnTo>
                        <a:pt x="1434" y="2040"/>
                      </a:lnTo>
                      <a:lnTo>
                        <a:pt x="1506" y="2064"/>
                      </a:lnTo>
                      <a:lnTo>
                        <a:pt x="1580" y="2088"/>
                      </a:lnTo>
                      <a:lnTo>
                        <a:pt x="1654" y="2110"/>
                      </a:lnTo>
                      <a:lnTo>
                        <a:pt x="1729" y="2130"/>
                      </a:lnTo>
                      <a:lnTo>
                        <a:pt x="1804" y="2149"/>
                      </a:lnTo>
                      <a:lnTo>
                        <a:pt x="1880" y="2166"/>
                      </a:lnTo>
                      <a:lnTo>
                        <a:pt x="1956" y="2181"/>
                      </a:lnTo>
                      <a:lnTo>
                        <a:pt x="2033" y="2195"/>
                      </a:lnTo>
                      <a:lnTo>
                        <a:pt x="2108" y="2206"/>
                      </a:lnTo>
                      <a:lnTo>
                        <a:pt x="2184" y="2215"/>
                      </a:lnTo>
                      <a:lnTo>
                        <a:pt x="2260" y="2221"/>
                      </a:lnTo>
                      <a:lnTo>
                        <a:pt x="2334" y="2225"/>
                      </a:lnTo>
                      <a:lnTo>
                        <a:pt x="2409" y="2227"/>
                      </a:lnTo>
                      <a:lnTo>
                        <a:pt x="2482" y="2226"/>
                      </a:lnTo>
                      <a:lnTo>
                        <a:pt x="2553" y="2221"/>
                      </a:lnTo>
                      <a:lnTo>
                        <a:pt x="2625" y="2215"/>
                      </a:lnTo>
                      <a:lnTo>
                        <a:pt x="2694" y="2205"/>
                      </a:lnTo>
                      <a:lnTo>
                        <a:pt x="2762" y="2191"/>
                      </a:lnTo>
                      <a:lnTo>
                        <a:pt x="2827" y="2175"/>
                      </a:lnTo>
                      <a:lnTo>
                        <a:pt x="2892" y="2155"/>
                      </a:lnTo>
                      <a:lnTo>
                        <a:pt x="2954" y="2131"/>
                      </a:lnTo>
                      <a:lnTo>
                        <a:pt x="3013" y="2103"/>
                      </a:lnTo>
                      <a:lnTo>
                        <a:pt x="3071" y="2072"/>
                      </a:lnTo>
                      <a:lnTo>
                        <a:pt x="3104" y="2051"/>
                      </a:lnTo>
                      <a:lnTo>
                        <a:pt x="3138" y="2030"/>
                      </a:lnTo>
                      <a:lnTo>
                        <a:pt x="3170" y="2007"/>
                      </a:lnTo>
                      <a:lnTo>
                        <a:pt x="3202" y="1984"/>
                      </a:lnTo>
                      <a:lnTo>
                        <a:pt x="3232" y="1960"/>
                      </a:lnTo>
                      <a:lnTo>
                        <a:pt x="3262" y="1935"/>
                      </a:lnTo>
                      <a:lnTo>
                        <a:pt x="3290" y="1911"/>
                      </a:lnTo>
                      <a:lnTo>
                        <a:pt x="3318" y="1885"/>
                      </a:lnTo>
                      <a:lnTo>
                        <a:pt x="3344" y="1859"/>
                      </a:lnTo>
                      <a:lnTo>
                        <a:pt x="3369" y="1832"/>
                      </a:lnTo>
                      <a:lnTo>
                        <a:pt x="3393" y="1804"/>
                      </a:lnTo>
                      <a:lnTo>
                        <a:pt x="3416" y="1775"/>
                      </a:lnTo>
                      <a:lnTo>
                        <a:pt x="3437" y="1746"/>
                      </a:lnTo>
                      <a:lnTo>
                        <a:pt x="3457" y="1716"/>
                      </a:lnTo>
                      <a:lnTo>
                        <a:pt x="3476" y="1686"/>
                      </a:lnTo>
                      <a:lnTo>
                        <a:pt x="3493" y="1655"/>
                      </a:lnTo>
                      <a:lnTo>
                        <a:pt x="3510" y="1623"/>
                      </a:lnTo>
                      <a:lnTo>
                        <a:pt x="3523" y="1590"/>
                      </a:lnTo>
                      <a:lnTo>
                        <a:pt x="3536" y="1557"/>
                      </a:lnTo>
                      <a:lnTo>
                        <a:pt x="3548" y="1524"/>
                      </a:lnTo>
                      <a:lnTo>
                        <a:pt x="3557" y="1489"/>
                      </a:lnTo>
                      <a:lnTo>
                        <a:pt x="3566" y="1455"/>
                      </a:lnTo>
                      <a:lnTo>
                        <a:pt x="3573" y="1419"/>
                      </a:lnTo>
                      <a:lnTo>
                        <a:pt x="3577" y="1382"/>
                      </a:lnTo>
                      <a:lnTo>
                        <a:pt x="3581" y="1346"/>
                      </a:lnTo>
                      <a:lnTo>
                        <a:pt x="3583" y="1308"/>
                      </a:lnTo>
                      <a:lnTo>
                        <a:pt x="3583" y="1270"/>
                      </a:lnTo>
                      <a:lnTo>
                        <a:pt x="3581" y="1231"/>
                      </a:lnTo>
                      <a:lnTo>
                        <a:pt x="3577" y="1192"/>
                      </a:lnTo>
                      <a:lnTo>
                        <a:pt x="3572" y="1152"/>
                      </a:lnTo>
                      <a:lnTo>
                        <a:pt x="3564" y="1112"/>
                      </a:lnTo>
                      <a:lnTo>
                        <a:pt x="3554" y="1071"/>
                      </a:lnTo>
                      <a:close/>
                    </a:path>
                  </a:pathLst>
                </a:custGeom>
                <a:solidFill>
                  <a:srgbClr val="242D54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98" name="Freeform 207"/>
                <p:cNvSpPr>
                  <a:spLocks/>
                </p:cNvSpPr>
                <p:nvPr/>
              </p:nvSpPr>
              <p:spPr bwMode="auto">
                <a:xfrm>
                  <a:off x="3638" y="2652"/>
                  <a:ext cx="508" cy="269"/>
                </a:xfrm>
                <a:custGeom>
                  <a:avLst/>
                  <a:gdLst>
                    <a:gd name="T0" fmla="*/ 0 w 3582"/>
                    <a:gd name="T1" fmla="*/ 0 h 1884"/>
                    <a:gd name="T2" fmla="*/ 0 w 3582"/>
                    <a:gd name="T3" fmla="*/ 0 h 1884"/>
                    <a:gd name="T4" fmla="*/ 0 w 3582"/>
                    <a:gd name="T5" fmla="*/ 0 h 1884"/>
                    <a:gd name="T6" fmla="*/ 0 w 3582"/>
                    <a:gd name="T7" fmla="*/ 0 h 1884"/>
                    <a:gd name="T8" fmla="*/ 0 w 3582"/>
                    <a:gd name="T9" fmla="*/ 0 h 1884"/>
                    <a:gd name="T10" fmla="*/ 0 w 3582"/>
                    <a:gd name="T11" fmla="*/ 0 h 1884"/>
                    <a:gd name="T12" fmla="*/ 0 w 3582"/>
                    <a:gd name="T13" fmla="*/ 0 h 1884"/>
                    <a:gd name="T14" fmla="*/ 0 w 3582"/>
                    <a:gd name="T15" fmla="*/ 0 h 1884"/>
                    <a:gd name="T16" fmla="*/ 0 w 3582"/>
                    <a:gd name="T17" fmla="*/ 0 h 1884"/>
                    <a:gd name="T18" fmla="*/ 0 w 3582"/>
                    <a:gd name="T19" fmla="*/ 0 h 1884"/>
                    <a:gd name="T20" fmla="*/ 0 w 3582"/>
                    <a:gd name="T21" fmla="*/ 0 h 1884"/>
                    <a:gd name="T22" fmla="*/ 0 w 3582"/>
                    <a:gd name="T23" fmla="*/ 0 h 1884"/>
                    <a:gd name="T24" fmla="*/ 0 w 3582"/>
                    <a:gd name="T25" fmla="*/ 0 h 1884"/>
                    <a:gd name="T26" fmla="*/ 0 w 3582"/>
                    <a:gd name="T27" fmla="*/ 0 h 1884"/>
                    <a:gd name="T28" fmla="*/ 0 w 3582"/>
                    <a:gd name="T29" fmla="*/ 0 h 1884"/>
                    <a:gd name="T30" fmla="*/ 0 w 3582"/>
                    <a:gd name="T31" fmla="*/ 0 h 1884"/>
                    <a:gd name="T32" fmla="*/ 0 w 3582"/>
                    <a:gd name="T33" fmla="*/ 0 h 1884"/>
                    <a:gd name="T34" fmla="*/ 0 w 3582"/>
                    <a:gd name="T35" fmla="*/ 0 h 1884"/>
                    <a:gd name="T36" fmla="*/ 0 w 3582"/>
                    <a:gd name="T37" fmla="*/ 0 h 1884"/>
                    <a:gd name="T38" fmla="*/ 0 w 3582"/>
                    <a:gd name="T39" fmla="*/ 0 h 1884"/>
                    <a:gd name="T40" fmla="*/ 0 w 3582"/>
                    <a:gd name="T41" fmla="*/ 0 h 1884"/>
                    <a:gd name="T42" fmla="*/ 0 w 3582"/>
                    <a:gd name="T43" fmla="*/ 0 h 1884"/>
                    <a:gd name="T44" fmla="*/ 0 w 3582"/>
                    <a:gd name="T45" fmla="*/ 0 h 1884"/>
                    <a:gd name="T46" fmla="*/ 0 w 3582"/>
                    <a:gd name="T47" fmla="*/ 0 h 1884"/>
                    <a:gd name="T48" fmla="*/ 0 w 3582"/>
                    <a:gd name="T49" fmla="*/ 0 h 1884"/>
                    <a:gd name="T50" fmla="*/ 0 w 3582"/>
                    <a:gd name="T51" fmla="*/ 0 h 1884"/>
                    <a:gd name="T52" fmla="*/ 0 w 3582"/>
                    <a:gd name="T53" fmla="*/ 0 h 1884"/>
                    <a:gd name="T54" fmla="*/ 0 w 3582"/>
                    <a:gd name="T55" fmla="*/ 0 h 1884"/>
                    <a:gd name="T56" fmla="*/ 0 w 3582"/>
                    <a:gd name="T57" fmla="*/ 0 h 1884"/>
                    <a:gd name="T58" fmla="*/ 0 w 3582"/>
                    <a:gd name="T59" fmla="*/ 0 h 1884"/>
                    <a:gd name="T60" fmla="*/ 0 w 3582"/>
                    <a:gd name="T61" fmla="*/ 0 h 1884"/>
                    <a:gd name="T62" fmla="*/ 0 w 3582"/>
                    <a:gd name="T63" fmla="*/ 0 h 1884"/>
                    <a:gd name="T64" fmla="*/ 0 w 3582"/>
                    <a:gd name="T65" fmla="*/ 0 h 1884"/>
                    <a:gd name="T66" fmla="*/ 0 w 3582"/>
                    <a:gd name="T67" fmla="*/ 0 h 1884"/>
                    <a:gd name="T68" fmla="*/ 0 w 3582"/>
                    <a:gd name="T69" fmla="*/ 0 h 1884"/>
                    <a:gd name="T70" fmla="*/ 0 w 3582"/>
                    <a:gd name="T71" fmla="*/ 0 h 1884"/>
                    <a:gd name="T72" fmla="*/ 0 w 3582"/>
                    <a:gd name="T73" fmla="*/ 0 h 1884"/>
                    <a:gd name="T74" fmla="*/ 0 w 3582"/>
                    <a:gd name="T75" fmla="*/ 0 h 1884"/>
                    <a:gd name="T76" fmla="*/ 0 w 3582"/>
                    <a:gd name="T77" fmla="*/ 0 h 1884"/>
                    <a:gd name="T78" fmla="*/ 0 w 3582"/>
                    <a:gd name="T79" fmla="*/ 0 h 1884"/>
                    <a:gd name="T80" fmla="*/ 0 w 3582"/>
                    <a:gd name="T81" fmla="*/ 0 h 1884"/>
                    <a:gd name="T82" fmla="*/ 0 w 3582"/>
                    <a:gd name="T83" fmla="*/ 0 h 1884"/>
                    <a:gd name="T84" fmla="*/ 0 w 3582"/>
                    <a:gd name="T85" fmla="*/ 0 h 1884"/>
                    <a:gd name="T86" fmla="*/ 0 w 3582"/>
                    <a:gd name="T87" fmla="*/ 0 h 1884"/>
                    <a:gd name="T88" fmla="*/ 0 w 3582"/>
                    <a:gd name="T89" fmla="*/ 0 h 1884"/>
                    <a:gd name="T90" fmla="*/ 0 w 3582"/>
                    <a:gd name="T91" fmla="*/ 0 h 1884"/>
                    <a:gd name="T92" fmla="*/ 0 w 3582"/>
                    <a:gd name="T93" fmla="*/ 0 h 1884"/>
                    <a:gd name="T94" fmla="*/ 0 w 3582"/>
                    <a:gd name="T95" fmla="*/ 0 h 1884"/>
                    <a:gd name="T96" fmla="*/ 0 w 3582"/>
                    <a:gd name="T97" fmla="*/ 0 h 1884"/>
                    <a:gd name="T98" fmla="*/ 0 w 3582"/>
                    <a:gd name="T99" fmla="*/ 0 h 1884"/>
                    <a:gd name="T100" fmla="*/ 0 w 3582"/>
                    <a:gd name="T101" fmla="*/ 0 h 1884"/>
                    <a:gd name="T102" fmla="*/ 0 w 3582"/>
                    <a:gd name="T103" fmla="*/ 0 h 1884"/>
                    <a:gd name="T104" fmla="*/ 0 w 3582"/>
                    <a:gd name="T105" fmla="*/ 0 h 1884"/>
                    <a:gd name="T106" fmla="*/ 0 w 3582"/>
                    <a:gd name="T107" fmla="*/ 0 h 1884"/>
                    <a:gd name="T108" fmla="*/ 0 w 3582"/>
                    <a:gd name="T109" fmla="*/ 0 h 1884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3582"/>
                    <a:gd name="T166" fmla="*/ 0 h 1884"/>
                    <a:gd name="T167" fmla="*/ 3582 w 3582"/>
                    <a:gd name="T168" fmla="*/ 1884 h 1884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3582" h="1884">
                      <a:moveTo>
                        <a:pt x="3553" y="728"/>
                      </a:moveTo>
                      <a:lnTo>
                        <a:pt x="3550" y="715"/>
                      </a:lnTo>
                      <a:lnTo>
                        <a:pt x="3547" y="702"/>
                      </a:lnTo>
                      <a:lnTo>
                        <a:pt x="3542" y="689"/>
                      </a:lnTo>
                      <a:lnTo>
                        <a:pt x="3539" y="677"/>
                      </a:lnTo>
                      <a:lnTo>
                        <a:pt x="3533" y="701"/>
                      </a:lnTo>
                      <a:lnTo>
                        <a:pt x="3527" y="725"/>
                      </a:lnTo>
                      <a:lnTo>
                        <a:pt x="3520" y="749"/>
                      </a:lnTo>
                      <a:lnTo>
                        <a:pt x="3512" y="773"/>
                      </a:lnTo>
                      <a:lnTo>
                        <a:pt x="3504" y="796"/>
                      </a:lnTo>
                      <a:lnTo>
                        <a:pt x="3495" y="819"/>
                      </a:lnTo>
                      <a:lnTo>
                        <a:pt x="3485" y="842"/>
                      </a:lnTo>
                      <a:lnTo>
                        <a:pt x="3475" y="864"/>
                      </a:lnTo>
                      <a:lnTo>
                        <a:pt x="3463" y="886"/>
                      </a:lnTo>
                      <a:lnTo>
                        <a:pt x="3452" y="908"/>
                      </a:lnTo>
                      <a:lnTo>
                        <a:pt x="3439" y="929"/>
                      </a:lnTo>
                      <a:lnTo>
                        <a:pt x="3426" y="951"/>
                      </a:lnTo>
                      <a:lnTo>
                        <a:pt x="3412" y="972"/>
                      </a:lnTo>
                      <a:lnTo>
                        <a:pt x="3398" y="992"/>
                      </a:lnTo>
                      <a:lnTo>
                        <a:pt x="3382" y="1012"/>
                      </a:lnTo>
                      <a:lnTo>
                        <a:pt x="3366" y="1032"/>
                      </a:lnTo>
                      <a:lnTo>
                        <a:pt x="3351" y="1052"/>
                      </a:lnTo>
                      <a:lnTo>
                        <a:pt x="3333" y="1071"/>
                      </a:lnTo>
                      <a:lnTo>
                        <a:pt x="3316" y="1090"/>
                      </a:lnTo>
                      <a:lnTo>
                        <a:pt x="3297" y="1108"/>
                      </a:lnTo>
                      <a:lnTo>
                        <a:pt x="3280" y="1126"/>
                      </a:lnTo>
                      <a:lnTo>
                        <a:pt x="3260" y="1144"/>
                      </a:lnTo>
                      <a:lnTo>
                        <a:pt x="3241" y="1162"/>
                      </a:lnTo>
                      <a:lnTo>
                        <a:pt x="3221" y="1179"/>
                      </a:lnTo>
                      <a:lnTo>
                        <a:pt x="3199" y="1195"/>
                      </a:lnTo>
                      <a:lnTo>
                        <a:pt x="3178" y="1212"/>
                      </a:lnTo>
                      <a:lnTo>
                        <a:pt x="3156" y="1229"/>
                      </a:lnTo>
                      <a:lnTo>
                        <a:pt x="3134" y="1244"/>
                      </a:lnTo>
                      <a:lnTo>
                        <a:pt x="3088" y="1276"/>
                      </a:lnTo>
                      <a:lnTo>
                        <a:pt x="3041" y="1304"/>
                      </a:lnTo>
                      <a:lnTo>
                        <a:pt x="2984" y="1336"/>
                      </a:lnTo>
                      <a:lnTo>
                        <a:pt x="2925" y="1363"/>
                      </a:lnTo>
                      <a:lnTo>
                        <a:pt x="2862" y="1387"/>
                      </a:lnTo>
                      <a:lnTo>
                        <a:pt x="2799" y="1407"/>
                      </a:lnTo>
                      <a:lnTo>
                        <a:pt x="2732" y="1424"/>
                      </a:lnTo>
                      <a:lnTo>
                        <a:pt x="2664" y="1437"/>
                      </a:lnTo>
                      <a:lnTo>
                        <a:pt x="2595" y="1447"/>
                      </a:lnTo>
                      <a:lnTo>
                        <a:pt x="2525" y="1455"/>
                      </a:lnTo>
                      <a:lnTo>
                        <a:pt x="2453" y="1458"/>
                      </a:lnTo>
                      <a:lnTo>
                        <a:pt x="2379" y="1459"/>
                      </a:lnTo>
                      <a:lnTo>
                        <a:pt x="2305" y="1458"/>
                      </a:lnTo>
                      <a:lnTo>
                        <a:pt x="2230" y="1454"/>
                      </a:lnTo>
                      <a:lnTo>
                        <a:pt x="2154" y="1447"/>
                      </a:lnTo>
                      <a:lnTo>
                        <a:pt x="2079" y="1438"/>
                      </a:lnTo>
                      <a:lnTo>
                        <a:pt x="2003" y="1427"/>
                      </a:lnTo>
                      <a:lnTo>
                        <a:pt x="1926" y="1414"/>
                      </a:lnTo>
                      <a:lnTo>
                        <a:pt x="1850" y="1398"/>
                      </a:lnTo>
                      <a:lnTo>
                        <a:pt x="1775" y="1381"/>
                      </a:lnTo>
                      <a:lnTo>
                        <a:pt x="1699" y="1362"/>
                      </a:lnTo>
                      <a:lnTo>
                        <a:pt x="1625" y="1342"/>
                      </a:lnTo>
                      <a:lnTo>
                        <a:pt x="1550" y="1320"/>
                      </a:lnTo>
                      <a:lnTo>
                        <a:pt x="1477" y="1298"/>
                      </a:lnTo>
                      <a:lnTo>
                        <a:pt x="1404" y="1273"/>
                      </a:lnTo>
                      <a:lnTo>
                        <a:pt x="1334" y="1248"/>
                      </a:lnTo>
                      <a:lnTo>
                        <a:pt x="1264" y="1221"/>
                      </a:lnTo>
                      <a:lnTo>
                        <a:pt x="1197" y="1194"/>
                      </a:lnTo>
                      <a:lnTo>
                        <a:pt x="1130" y="1166"/>
                      </a:lnTo>
                      <a:lnTo>
                        <a:pt x="1067" y="1139"/>
                      </a:lnTo>
                      <a:lnTo>
                        <a:pt x="1005" y="1110"/>
                      </a:lnTo>
                      <a:lnTo>
                        <a:pt x="944" y="1080"/>
                      </a:lnTo>
                      <a:lnTo>
                        <a:pt x="888" y="1051"/>
                      </a:lnTo>
                      <a:lnTo>
                        <a:pt x="833" y="1022"/>
                      </a:lnTo>
                      <a:lnTo>
                        <a:pt x="802" y="1004"/>
                      </a:lnTo>
                      <a:lnTo>
                        <a:pt x="772" y="986"/>
                      </a:lnTo>
                      <a:lnTo>
                        <a:pt x="742" y="967"/>
                      </a:lnTo>
                      <a:lnTo>
                        <a:pt x="712" y="948"/>
                      </a:lnTo>
                      <a:lnTo>
                        <a:pt x="682" y="928"/>
                      </a:lnTo>
                      <a:lnTo>
                        <a:pt x="653" y="907"/>
                      </a:lnTo>
                      <a:lnTo>
                        <a:pt x="624" y="886"/>
                      </a:lnTo>
                      <a:lnTo>
                        <a:pt x="595" y="865"/>
                      </a:lnTo>
                      <a:lnTo>
                        <a:pt x="566" y="843"/>
                      </a:lnTo>
                      <a:lnTo>
                        <a:pt x="538" y="819"/>
                      </a:lnTo>
                      <a:lnTo>
                        <a:pt x="512" y="796"/>
                      </a:lnTo>
                      <a:lnTo>
                        <a:pt x="484" y="771"/>
                      </a:lnTo>
                      <a:lnTo>
                        <a:pt x="457" y="747"/>
                      </a:lnTo>
                      <a:lnTo>
                        <a:pt x="431" y="722"/>
                      </a:lnTo>
                      <a:lnTo>
                        <a:pt x="406" y="696"/>
                      </a:lnTo>
                      <a:lnTo>
                        <a:pt x="381" y="670"/>
                      </a:lnTo>
                      <a:lnTo>
                        <a:pt x="357" y="643"/>
                      </a:lnTo>
                      <a:lnTo>
                        <a:pt x="333" y="616"/>
                      </a:lnTo>
                      <a:lnTo>
                        <a:pt x="310" y="588"/>
                      </a:lnTo>
                      <a:lnTo>
                        <a:pt x="288" y="560"/>
                      </a:lnTo>
                      <a:lnTo>
                        <a:pt x="266" y="531"/>
                      </a:lnTo>
                      <a:lnTo>
                        <a:pt x="244" y="502"/>
                      </a:lnTo>
                      <a:lnTo>
                        <a:pt x="224" y="472"/>
                      </a:lnTo>
                      <a:lnTo>
                        <a:pt x="204" y="442"/>
                      </a:lnTo>
                      <a:lnTo>
                        <a:pt x="185" y="412"/>
                      </a:lnTo>
                      <a:lnTo>
                        <a:pt x="168" y="381"/>
                      </a:lnTo>
                      <a:lnTo>
                        <a:pt x="150" y="350"/>
                      </a:lnTo>
                      <a:lnTo>
                        <a:pt x="134" y="317"/>
                      </a:lnTo>
                      <a:lnTo>
                        <a:pt x="119" y="286"/>
                      </a:lnTo>
                      <a:lnTo>
                        <a:pt x="104" y="253"/>
                      </a:lnTo>
                      <a:lnTo>
                        <a:pt x="90" y="221"/>
                      </a:lnTo>
                      <a:lnTo>
                        <a:pt x="77" y="187"/>
                      </a:lnTo>
                      <a:lnTo>
                        <a:pt x="69" y="164"/>
                      </a:lnTo>
                      <a:lnTo>
                        <a:pt x="61" y="140"/>
                      </a:lnTo>
                      <a:lnTo>
                        <a:pt x="53" y="117"/>
                      </a:lnTo>
                      <a:lnTo>
                        <a:pt x="45" y="94"/>
                      </a:lnTo>
                      <a:lnTo>
                        <a:pt x="37" y="70"/>
                      </a:lnTo>
                      <a:lnTo>
                        <a:pt x="31" y="47"/>
                      </a:lnTo>
                      <a:lnTo>
                        <a:pt x="23" y="24"/>
                      </a:lnTo>
                      <a:lnTo>
                        <a:pt x="17" y="0"/>
                      </a:lnTo>
                      <a:lnTo>
                        <a:pt x="13" y="16"/>
                      </a:lnTo>
                      <a:lnTo>
                        <a:pt x="10" y="33"/>
                      </a:lnTo>
                      <a:lnTo>
                        <a:pt x="6" y="49"/>
                      </a:lnTo>
                      <a:lnTo>
                        <a:pt x="4" y="66"/>
                      </a:lnTo>
                      <a:lnTo>
                        <a:pt x="1" y="100"/>
                      </a:lnTo>
                      <a:lnTo>
                        <a:pt x="0" y="136"/>
                      </a:lnTo>
                      <a:lnTo>
                        <a:pt x="1" y="173"/>
                      </a:lnTo>
                      <a:lnTo>
                        <a:pt x="4" y="211"/>
                      </a:lnTo>
                      <a:lnTo>
                        <a:pt x="8" y="250"/>
                      </a:lnTo>
                      <a:lnTo>
                        <a:pt x="14" y="288"/>
                      </a:lnTo>
                      <a:lnTo>
                        <a:pt x="22" y="329"/>
                      </a:lnTo>
                      <a:lnTo>
                        <a:pt x="31" y="369"/>
                      </a:lnTo>
                      <a:lnTo>
                        <a:pt x="41" y="409"/>
                      </a:lnTo>
                      <a:lnTo>
                        <a:pt x="52" y="450"/>
                      </a:lnTo>
                      <a:lnTo>
                        <a:pt x="64" y="491"/>
                      </a:lnTo>
                      <a:lnTo>
                        <a:pt x="77" y="531"/>
                      </a:lnTo>
                      <a:lnTo>
                        <a:pt x="91" y="572"/>
                      </a:lnTo>
                      <a:lnTo>
                        <a:pt x="105" y="612"/>
                      </a:lnTo>
                      <a:lnTo>
                        <a:pt x="119" y="646"/>
                      </a:lnTo>
                      <a:lnTo>
                        <a:pt x="132" y="678"/>
                      </a:lnTo>
                      <a:lnTo>
                        <a:pt x="146" y="710"/>
                      </a:lnTo>
                      <a:lnTo>
                        <a:pt x="162" y="742"/>
                      </a:lnTo>
                      <a:lnTo>
                        <a:pt x="179" y="775"/>
                      </a:lnTo>
                      <a:lnTo>
                        <a:pt x="195" y="806"/>
                      </a:lnTo>
                      <a:lnTo>
                        <a:pt x="214" y="837"/>
                      </a:lnTo>
                      <a:lnTo>
                        <a:pt x="233" y="867"/>
                      </a:lnTo>
                      <a:lnTo>
                        <a:pt x="252" y="897"/>
                      </a:lnTo>
                      <a:lnTo>
                        <a:pt x="272" y="927"/>
                      </a:lnTo>
                      <a:lnTo>
                        <a:pt x="293" y="956"/>
                      </a:lnTo>
                      <a:lnTo>
                        <a:pt x="316" y="985"/>
                      </a:lnTo>
                      <a:lnTo>
                        <a:pt x="338" y="1013"/>
                      </a:lnTo>
                      <a:lnTo>
                        <a:pt x="361" y="1041"/>
                      </a:lnTo>
                      <a:lnTo>
                        <a:pt x="385" y="1069"/>
                      </a:lnTo>
                      <a:lnTo>
                        <a:pt x="409" y="1095"/>
                      </a:lnTo>
                      <a:lnTo>
                        <a:pt x="435" y="1121"/>
                      </a:lnTo>
                      <a:lnTo>
                        <a:pt x="460" y="1146"/>
                      </a:lnTo>
                      <a:lnTo>
                        <a:pt x="486" y="1172"/>
                      </a:lnTo>
                      <a:lnTo>
                        <a:pt x="513" y="1197"/>
                      </a:lnTo>
                      <a:lnTo>
                        <a:pt x="539" y="1221"/>
                      </a:lnTo>
                      <a:lnTo>
                        <a:pt x="567" y="1244"/>
                      </a:lnTo>
                      <a:lnTo>
                        <a:pt x="595" y="1268"/>
                      </a:lnTo>
                      <a:lnTo>
                        <a:pt x="623" y="1290"/>
                      </a:lnTo>
                      <a:lnTo>
                        <a:pt x="652" y="1311"/>
                      </a:lnTo>
                      <a:lnTo>
                        <a:pt x="681" y="1332"/>
                      </a:lnTo>
                      <a:lnTo>
                        <a:pt x="711" y="1353"/>
                      </a:lnTo>
                      <a:lnTo>
                        <a:pt x="740" y="1373"/>
                      </a:lnTo>
                      <a:lnTo>
                        <a:pt x="770" y="1392"/>
                      </a:lnTo>
                      <a:lnTo>
                        <a:pt x="800" y="1411"/>
                      </a:lnTo>
                      <a:lnTo>
                        <a:pt x="831" y="1429"/>
                      </a:lnTo>
                      <a:lnTo>
                        <a:pt x="861" y="1446"/>
                      </a:lnTo>
                      <a:lnTo>
                        <a:pt x="916" y="1476"/>
                      </a:lnTo>
                      <a:lnTo>
                        <a:pt x="973" y="1505"/>
                      </a:lnTo>
                      <a:lnTo>
                        <a:pt x="1032" y="1535"/>
                      </a:lnTo>
                      <a:lnTo>
                        <a:pt x="1095" y="1563"/>
                      </a:lnTo>
                      <a:lnTo>
                        <a:pt x="1159" y="1592"/>
                      </a:lnTo>
                      <a:lnTo>
                        <a:pt x="1225" y="1619"/>
                      </a:lnTo>
                      <a:lnTo>
                        <a:pt x="1293" y="1646"/>
                      </a:lnTo>
                      <a:lnTo>
                        <a:pt x="1362" y="1673"/>
                      </a:lnTo>
                      <a:lnTo>
                        <a:pt x="1433" y="1698"/>
                      </a:lnTo>
                      <a:lnTo>
                        <a:pt x="1505" y="1723"/>
                      </a:lnTo>
                      <a:lnTo>
                        <a:pt x="1579" y="1745"/>
                      </a:lnTo>
                      <a:lnTo>
                        <a:pt x="1652" y="1767"/>
                      </a:lnTo>
                      <a:lnTo>
                        <a:pt x="1727" y="1787"/>
                      </a:lnTo>
                      <a:lnTo>
                        <a:pt x="1803" y="1806"/>
                      </a:lnTo>
                      <a:lnTo>
                        <a:pt x="1878" y="1823"/>
                      </a:lnTo>
                      <a:lnTo>
                        <a:pt x="1955" y="1839"/>
                      </a:lnTo>
                      <a:lnTo>
                        <a:pt x="2031" y="1852"/>
                      </a:lnTo>
                      <a:lnTo>
                        <a:pt x="2108" y="1863"/>
                      </a:lnTo>
                      <a:lnTo>
                        <a:pt x="2183" y="1872"/>
                      </a:lnTo>
                      <a:lnTo>
                        <a:pt x="2259" y="1879"/>
                      </a:lnTo>
                      <a:lnTo>
                        <a:pt x="2334" y="1883"/>
                      </a:lnTo>
                      <a:lnTo>
                        <a:pt x="2408" y="1884"/>
                      </a:lnTo>
                      <a:lnTo>
                        <a:pt x="2480" y="1883"/>
                      </a:lnTo>
                      <a:lnTo>
                        <a:pt x="2553" y="1879"/>
                      </a:lnTo>
                      <a:lnTo>
                        <a:pt x="2624" y="1872"/>
                      </a:lnTo>
                      <a:lnTo>
                        <a:pt x="2693" y="1862"/>
                      </a:lnTo>
                      <a:lnTo>
                        <a:pt x="2761" y="1849"/>
                      </a:lnTo>
                      <a:lnTo>
                        <a:pt x="2827" y="1832"/>
                      </a:lnTo>
                      <a:lnTo>
                        <a:pt x="2891" y="1812"/>
                      </a:lnTo>
                      <a:lnTo>
                        <a:pt x="2952" y="1789"/>
                      </a:lnTo>
                      <a:lnTo>
                        <a:pt x="3012" y="1761"/>
                      </a:lnTo>
                      <a:lnTo>
                        <a:pt x="3069" y="1730"/>
                      </a:lnTo>
                      <a:lnTo>
                        <a:pt x="3104" y="1708"/>
                      </a:lnTo>
                      <a:lnTo>
                        <a:pt x="3137" y="1687"/>
                      </a:lnTo>
                      <a:lnTo>
                        <a:pt x="3169" y="1665"/>
                      </a:lnTo>
                      <a:lnTo>
                        <a:pt x="3201" y="1642"/>
                      </a:lnTo>
                      <a:lnTo>
                        <a:pt x="3232" y="1618"/>
                      </a:lnTo>
                      <a:lnTo>
                        <a:pt x="3261" y="1594"/>
                      </a:lnTo>
                      <a:lnTo>
                        <a:pt x="3290" y="1568"/>
                      </a:lnTo>
                      <a:lnTo>
                        <a:pt x="3316" y="1543"/>
                      </a:lnTo>
                      <a:lnTo>
                        <a:pt x="3343" y="1516"/>
                      </a:lnTo>
                      <a:lnTo>
                        <a:pt x="3367" y="1489"/>
                      </a:lnTo>
                      <a:lnTo>
                        <a:pt x="3392" y="1461"/>
                      </a:lnTo>
                      <a:lnTo>
                        <a:pt x="3414" y="1432"/>
                      </a:lnTo>
                      <a:lnTo>
                        <a:pt x="3435" y="1404"/>
                      </a:lnTo>
                      <a:lnTo>
                        <a:pt x="3455" y="1373"/>
                      </a:lnTo>
                      <a:lnTo>
                        <a:pt x="3474" y="1343"/>
                      </a:lnTo>
                      <a:lnTo>
                        <a:pt x="3492" y="1312"/>
                      </a:lnTo>
                      <a:lnTo>
                        <a:pt x="3508" y="1280"/>
                      </a:lnTo>
                      <a:lnTo>
                        <a:pt x="3522" y="1248"/>
                      </a:lnTo>
                      <a:lnTo>
                        <a:pt x="3536" y="1215"/>
                      </a:lnTo>
                      <a:lnTo>
                        <a:pt x="3547" y="1181"/>
                      </a:lnTo>
                      <a:lnTo>
                        <a:pt x="3557" y="1148"/>
                      </a:lnTo>
                      <a:lnTo>
                        <a:pt x="3566" y="1112"/>
                      </a:lnTo>
                      <a:lnTo>
                        <a:pt x="3572" y="1076"/>
                      </a:lnTo>
                      <a:lnTo>
                        <a:pt x="3577" y="1041"/>
                      </a:lnTo>
                      <a:lnTo>
                        <a:pt x="3580" y="1003"/>
                      </a:lnTo>
                      <a:lnTo>
                        <a:pt x="3582" y="966"/>
                      </a:lnTo>
                      <a:lnTo>
                        <a:pt x="3581" y="928"/>
                      </a:lnTo>
                      <a:lnTo>
                        <a:pt x="3580" y="889"/>
                      </a:lnTo>
                      <a:lnTo>
                        <a:pt x="3576" y="849"/>
                      </a:lnTo>
                      <a:lnTo>
                        <a:pt x="3570" y="809"/>
                      </a:lnTo>
                      <a:lnTo>
                        <a:pt x="3562" y="769"/>
                      </a:lnTo>
                      <a:lnTo>
                        <a:pt x="3553" y="728"/>
                      </a:lnTo>
                      <a:close/>
                    </a:path>
                  </a:pathLst>
                </a:custGeom>
                <a:solidFill>
                  <a:srgbClr val="1B233E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99" name="Freeform 208"/>
                <p:cNvSpPr>
                  <a:spLocks/>
                </p:cNvSpPr>
                <p:nvPr/>
              </p:nvSpPr>
              <p:spPr bwMode="auto">
                <a:xfrm>
                  <a:off x="3634" y="2612"/>
                  <a:ext cx="508" cy="230"/>
                </a:xfrm>
                <a:custGeom>
                  <a:avLst/>
                  <a:gdLst>
                    <a:gd name="T0" fmla="*/ 0 w 3578"/>
                    <a:gd name="T1" fmla="*/ 0 h 1617"/>
                    <a:gd name="T2" fmla="*/ 0 w 3578"/>
                    <a:gd name="T3" fmla="*/ 0 h 1617"/>
                    <a:gd name="T4" fmla="*/ 0 w 3578"/>
                    <a:gd name="T5" fmla="*/ 0 h 1617"/>
                    <a:gd name="T6" fmla="*/ 0 w 3578"/>
                    <a:gd name="T7" fmla="*/ 0 h 1617"/>
                    <a:gd name="T8" fmla="*/ 0 w 3578"/>
                    <a:gd name="T9" fmla="*/ 0 h 1617"/>
                    <a:gd name="T10" fmla="*/ 0 w 3578"/>
                    <a:gd name="T11" fmla="*/ 0 h 1617"/>
                    <a:gd name="T12" fmla="*/ 0 w 3578"/>
                    <a:gd name="T13" fmla="*/ 0 h 1617"/>
                    <a:gd name="T14" fmla="*/ 0 w 3578"/>
                    <a:gd name="T15" fmla="*/ 0 h 1617"/>
                    <a:gd name="T16" fmla="*/ 0 w 3578"/>
                    <a:gd name="T17" fmla="*/ 0 h 1617"/>
                    <a:gd name="T18" fmla="*/ 0 w 3578"/>
                    <a:gd name="T19" fmla="*/ 0 h 1617"/>
                    <a:gd name="T20" fmla="*/ 0 w 3578"/>
                    <a:gd name="T21" fmla="*/ 0 h 1617"/>
                    <a:gd name="T22" fmla="*/ 0 w 3578"/>
                    <a:gd name="T23" fmla="*/ 0 h 1617"/>
                    <a:gd name="T24" fmla="*/ 0 w 3578"/>
                    <a:gd name="T25" fmla="*/ 0 h 1617"/>
                    <a:gd name="T26" fmla="*/ 0 w 3578"/>
                    <a:gd name="T27" fmla="*/ 0 h 1617"/>
                    <a:gd name="T28" fmla="*/ 0 w 3578"/>
                    <a:gd name="T29" fmla="*/ 0 h 1617"/>
                    <a:gd name="T30" fmla="*/ 0 w 3578"/>
                    <a:gd name="T31" fmla="*/ 0 h 1617"/>
                    <a:gd name="T32" fmla="*/ 0 w 3578"/>
                    <a:gd name="T33" fmla="*/ 0 h 1617"/>
                    <a:gd name="T34" fmla="*/ 0 w 3578"/>
                    <a:gd name="T35" fmla="*/ 0 h 1617"/>
                    <a:gd name="T36" fmla="*/ 0 w 3578"/>
                    <a:gd name="T37" fmla="*/ 0 h 1617"/>
                    <a:gd name="T38" fmla="*/ 0 w 3578"/>
                    <a:gd name="T39" fmla="*/ 0 h 1617"/>
                    <a:gd name="T40" fmla="*/ 0 w 3578"/>
                    <a:gd name="T41" fmla="*/ 0 h 1617"/>
                    <a:gd name="T42" fmla="*/ 0 w 3578"/>
                    <a:gd name="T43" fmla="*/ 0 h 1617"/>
                    <a:gd name="T44" fmla="*/ 0 w 3578"/>
                    <a:gd name="T45" fmla="*/ 0 h 1617"/>
                    <a:gd name="T46" fmla="*/ 0 w 3578"/>
                    <a:gd name="T47" fmla="*/ 0 h 1617"/>
                    <a:gd name="T48" fmla="*/ 0 w 3578"/>
                    <a:gd name="T49" fmla="*/ 0 h 1617"/>
                    <a:gd name="T50" fmla="*/ 0 w 3578"/>
                    <a:gd name="T51" fmla="*/ 0 h 1617"/>
                    <a:gd name="T52" fmla="*/ 0 w 3578"/>
                    <a:gd name="T53" fmla="*/ 0 h 1617"/>
                    <a:gd name="T54" fmla="*/ 0 w 3578"/>
                    <a:gd name="T55" fmla="*/ 0 h 1617"/>
                    <a:gd name="T56" fmla="*/ 0 w 3578"/>
                    <a:gd name="T57" fmla="*/ 0 h 1617"/>
                    <a:gd name="T58" fmla="*/ 0 w 3578"/>
                    <a:gd name="T59" fmla="*/ 0 h 1617"/>
                    <a:gd name="T60" fmla="*/ 0 w 3578"/>
                    <a:gd name="T61" fmla="*/ 0 h 1617"/>
                    <a:gd name="T62" fmla="*/ 0 w 3578"/>
                    <a:gd name="T63" fmla="*/ 0 h 1617"/>
                    <a:gd name="T64" fmla="*/ 0 w 3578"/>
                    <a:gd name="T65" fmla="*/ 0 h 1617"/>
                    <a:gd name="T66" fmla="*/ 0 w 3578"/>
                    <a:gd name="T67" fmla="*/ 0 h 1617"/>
                    <a:gd name="T68" fmla="*/ 0 w 3578"/>
                    <a:gd name="T69" fmla="*/ 0 h 1617"/>
                    <a:gd name="T70" fmla="*/ 0 w 3578"/>
                    <a:gd name="T71" fmla="*/ 0 h 1617"/>
                    <a:gd name="T72" fmla="*/ 0 w 3578"/>
                    <a:gd name="T73" fmla="*/ 0 h 1617"/>
                    <a:gd name="T74" fmla="*/ 0 w 3578"/>
                    <a:gd name="T75" fmla="*/ 0 h 1617"/>
                    <a:gd name="T76" fmla="*/ 0 w 3578"/>
                    <a:gd name="T77" fmla="*/ 0 h 1617"/>
                    <a:gd name="T78" fmla="*/ 0 w 3578"/>
                    <a:gd name="T79" fmla="*/ 0 h 1617"/>
                    <a:gd name="T80" fmla="*/ 0 w 3578"/>
                    <a:gd name="T81" fmla="*/ 0 h 1617"/>
                    <a:gd name="T82" fmla="*/ 0 w 3578"/>
                    <a:gd name="T83" fmla="*/ 0 h 1617"/>
                    <a:gd name="T84" fmla="*/ 0 w 3578"/>
                    <a:gd name="T85" fmla="*/ 0 h 1617"/>
                    <a:gd name="T86" fmla="*/ 0 w 3578"/>
                    <a:gd name="T87" fmla="*/ 0 h 1617"/>
                    <a:gd name="T88" fmla="*/ 0 w 3578"/>
                    <a:gd name="T89" fmla="*/ 0 h 1617"/>
                    <a:gd name="T90" fmla="*/ 0 w 3578"/>
                    <a:gd name="T91" fmla="*/ 0 h 1617"/>
                    <a:gd name="T92" fmla="*/ 0 w 3578"/>
                    <a:gd name="T93" fmla="*/ 0 h 1617"/>
                    <a:gd name="T94" fmla="*/ 0 w 3578"/>
                    <a:gd name="T95" fmla="*/ 0 h 1617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3578"/>
                    <a:gd name="T145" fmla="*/ 0 h 1617"/>
                    <a:gd name="T146" fmla="*/ 3578 w 3578"/>
                    <a:gd name="T147" fmla="*/ 1617 h 1617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3578" h="1617">
                      <a:moveTo>
                        <a:pt x="184" y="291"/>
                      </a:moveTo>
                      <a:lnTo>
                        <a:pt x="218" y="282"/>
                      </a:lnTo>
                      <a:lnTo>
                        <a:pt x="257" y="273"/>
                      </a:lnTo>
                      <a:lnTo>
                        <a:pt x="302" y="263"/>
                      </a:lnTo>
                      <a:lnTo>
                        <a:pt x="351" y="255"/>
                      </a:lnTo>
                      <a:lnTo>
                        <a:pt x="403" y="246"/>
                      </a:lnTo>
                      <a:lnTo>
                        <a:pt x="461" y="237"/>
                      </a:lnTo>
                      <a:lnTo>
                        <a:pt x="522" y="229"/>
                      </a:lnTo>
                      <a:lnTo>
                        <a:pt x="588" y="222"/>
                      </a:lnTo>
                      <a:lnTo>
                        <a:pt x="656" y="214"/>
                      </a:lnTo>
                      <a:lnTo>
                        <a:pt x="728" y="206"/>
                      </a:lnTo>
                      <a:lnTo>
                        <a:pt x="803" y="201"/>
                      </a:lnTo>
                      <a:lnTo>
                        <a:pt x="880" y="194"/>
                      </a:lnTo>
                      <a:lnTo>
                        <a:pt x="961" y="188"/>
                      </a:lnTo>
                      <a:lnTo>
                        <a:pt x="1043" y="184"/>
                      </a:lnTo>
                      <a:lnTo>
                        <a:pt x="1126" y="179"/>
                      </a:lnTo>
                      <a:lnTo>
                        <a:pt x="1213" y="176"/>
                      </a:lnTo>
                      <a:lnTo>
                        <a:pt x="1300" y="173"/>
                      </a:lnTo>
                      <a:lnTo>
                        <a:pt x="1389" y="172"/>
                      </a:lnTo>
                      <a:lnTo>
                        <a:pt x="1479" y="170"/>
                      </a:lnTo>
                      <a:lnTo>
                        <a:pt x="1571" y="170"/>
                      </a:lnTo>
                      <a:lnTo>
                        <a:pt x="1662" y="172"/>
                      </a:lnTo>
                      <a:lnTo>
                        <a:pt x="1753" y="174"/>
                      </a:lnTo>
                      <a:lnTo>
                        <a:pt x="1845" y="177"/>
                      </a:lnTo>
                      <a:lnTo>
                        <a:pt x="1937" y="182"/>
                      </a:lnTo>
                      <a:lnTo>
                        <a:pt x="2028" y="187"/>
                      </a:lnTo>
                      <a:lnTo>
                        <a:pt x="2118" y="194"/>
                      </a:lnTo>
                      <a:lnTo>
                        <a:pt x="2208" y="203"/>
                      </a:lnTo>
                      <a:lnTo>
                        <a:pt x="2297" y="212"/>
                      </a:lnTo>
                      <a:lnTo>
                        <a:pt x="2384" y="223"/>
                      </a:lnTo>
                      <a:lnTo>
                        <a:pt x="2470" y="235"/>
                      </a:lnTo>
                      <a:lnTo>
                        <a:pt x="2554" y="250"/>
                      </a:lnTo>
                      <a:lnTo>
                        <a:pt x="2636" y="265"/>
                      </a:lnTo>
                      <a:lnTo>
                        <a:pt x="2672" y="274"/>
                      </a:lnTo>
                      <a:lnTo>
                        <a:pt x="2708" y="285"/>
                      </a:lnTo>
                      <a:lnTo>
                        <a:pt x="2744" y="298"/>
                      </a:lnTo>
                      <a:lnTo>
                        <a:pt x="2780" y="314"/>
                      </a:lnTo>
                      <a:lnTo>
                        <a:pt x="2815" y="333"/>
                      </a:lnTo>
                      <a:lnTo>
                        <a:pt x="2850" y="353"/>
                      </a:lnTo>
                      <a:lnTo>
                        <a:pt x="2885" y="374"/>
                      </a:lnTo>
                      <a:lnTo>
                        <a:pt x="2919" y="399"/>
                      </a:lnTo>
                      <a:lnTo>
                        <a:pt x="2954" y="424"/>
                      </a:lnTo>
                      <a:lnTo>
                        <a:pt x="2987" y="451"/>
                      </a:lnTo>
                      <a:lnTo>
                        <a:pt x="3020" y="480"/>
                      </a:lnTo>
                      <a:lnTo>
                        <a:pt x="3052" y="510"/>
                      </a:lnTo>
                      <a:lnTo>
                        <a:pt x="3084" y="542"/>
                      </a:lnTo>
                      <a:lnTo>
                        <a:pt x="3114" y="574"/>
                      </a:lnTo>
                      <a:lnTo>
                        <a:pt x="3145" y="608"/>
                      </a:lnTo>
                      <a:lnTo>
                        <a:pt x="3174" y="642"/>
                      </a:lnTo>
                      <a:lnTo>
                        <a:pt x="3202" y="678"/>
                      </a:lnTo>
                      <a:lnTo>
                        <a:pt x="3230" y="715"/>
                      </a:lnTo>
                      <a:lnTo>
                        <a:pt x="3257" y="751"/>
                      </a:lnTo>
                      <a:lnTo>
                        <a:pt x="3282" y="789"/>
                      </a:lnTo>
                      <a:lnTo>
                        <a:pt x="3307" y="827"/>
                      </a:lnTo>
                      <a:lnTo>
                        <a:pt x="3330" y="865"/>
                      </a:lnTo>
                      <a:lnTo>
                        <a:pt x="3352" y="904"/>
                      </a:lnTo>
                      <a:lnTo>
                        <a:pt x="3374" y="942"/>
                      </a:lnTo>
                      <a:lnTo>
                        <a:pt x="3394" y="981"/>
                      </a:lnTo>
                      <a:lnTo>
                        <a:pt x="3413" y="1018"/>
                      </a:lnTo>
                      <a:lnTo>
                        <a:pt x="3429" y="1057"/>
                      </a:lnTo>
                      <a:lnTo>
                        <a:pt x="3445" y="1095"/>
                      </a:lnTo>
                      <a:lnTo>
                        <a:pt x="3459" y="1132"/>
                      </a:lnTo>
                      <a:lnTo>
                        <a:pt x="3473" y="1169"/>
                      </a:lnTo>
                      <a:lnTo>
                        <a:pt x="3484" y="1205"/>
                      </a:lnTo>
                      <a:lnTo>
                        <a:pt x="3494" y="1240"/>
                      </a:lnTo>
                      <a:lnTo>
                        <a:pt x="3499" y="1266"/>
                      </a:lnTo>
                      <a:lnTo>
                        <a:pt x="3505" y="1291"/>
                      </a:lnTo>
                      <a:lnTo>
                        <a:pt x="3509" y="1316"/>
                      </a:lnTo>
                      <a:lnTo>
                        <a:pt x="3513" y="1340"/>
                      </a:lnTo>
                      <a:lnTo>
                        <a:pt x="3516" y="1365"/>
                      </a:lnTo>
                      <a:lnTo>
                        <a:pt x="3518" y="1389"/>
                      </a:lnTo>
                      <a:lnTo>
                        <a:pt x="3520" y="1412"/>
                      </a:lnTo>
                      <a:lnTo>
                        <a:pt x="3522" y="1437"/>
                      </a:lnTo>
                      <a:lnTo>
                        <a:pt x="3522" y="1460"/>
                      </a:lnTo>
                      <a:lnTo>
                        <a:pt x="3522" y="1484"/>
                      </a:lnTo>
                      <a:lnTo>
                        <a:pt x="3520" y="1506"/>
                      </a:lnTo>
                      <a:lnTo>
                        <a:pt x="3519" y="1529"/>
                      </a:lnTo>
                      <a:lnTo>
                        <a:pt x="3517" y="1552"/>
                      </a:lnTo>
                      <a:lnTo>
                        <a:pt x="3514" y="1574"/>
                      </a:lnTo>
                      <a:lnTo>
                        <a:pt x="3510" y="1596"/>
                      </a:lnTo>
                      <a:lnTo>
                        <a:pt x="3506" y="1617"/>
                      </a:lnTo>
                      <a:lnTo>
                        <a:pt x="3519" y="1587"/>
                      </a:lnTo>
                      <a:lnTo>
                        <a:pt x="3532" y="1557"/>
                      </a:lnTo>
                      <a:lnTo>
                        <a:pt x="3542" y="1526"/>
                      </a:lnTo>
                      <a:lnTo>
                        <a:pt x="3552" y="1494"/>
                      </a:lnTo>
                      <a:lnTo>
                        <a:pt x="3559" y="1461"/>
                      </a:lnTo>
                      <a:lnTo>
                        <a:pt x="3566" y="1429"/>
                      </a:lnTo>
                      <a:lnTo>
                        <a:pt x="3572" y="1396"/>
                      </a:lnTo>
                      <a:lnTo>
                        <a:pt x="3575" y="1361"/>
                      </a:lnTo>
                      <a:lnTo>
                        <a:pt x="3577" y="1327"/>
                      </a:lnTo>
                      <a:lnTo>
                        <a:pt x="3578" y="1292"/>
                      </a:lnTo>
                      <a:lnTo>
                        <a:pt x="3577" y="1257"/>
                      </a:lnTo>
                      <a:lnTo>
                        <a:pt x="3575" y="1220"/>
                      </a:lnTo>
                      <a:lnTo>
                        <a:pt x="3572" y="1183"/>
                      </a:lnTo>
                      <a:lnTo>
                        <a:pt x="3566" y="1146"/>
                      </a:lnTo>
                      <a:lnTo>
                        <a:pt x="3558" y="1109"/>
                      </a:lnTo>
                      <a:lnTo>
                        <a:pt x="3549" y="1071"/>
                      </a:lnTo>
                      <a:lnTo>
                        <a:pt x="3541" y="1035"/>
                      </a:lnTo>
                      <a:lnTo>
                        <a:pt x="3529" y="1000"/>
                      </a:lnTo>
                      <a:lnTo>
                        <a:pt x="3516" y="963"/>
                      </a:lnTo>
                      <a:lnTo>
                        <a:pt x="3502" y="925"/>
                      </a:lnTo>
                      <a:lnTo>
                        <a:pt x="3486" y="887"/>
                      </a:lnTo>
                      <a:lnTo>
                        <a:pt x="3469" y="849"/>
                      </a:lnTo>
                      <a:lnTo>
                        <a:pt x="3450" y="810"/>
                      </a:lnTo>
                      <a:lnTo>
                        <a:pt x="3430" y="773"/>
                      </a:lnTo>
                      <a:lnTo>
                        <a:pt x="3409" y="734"/>
                      </a:lnTo>
                      <a:lnTo>
                        <a:pt x="3387" y="695"/>
                      </a:lnTo>
                      <a:lnTo>
                        <a:pt x="3364" y="657"/>
                      </a:lnTo>
                      <a:lnTo>
                        <a:pt x="3339" y="619"/>
                      </a:lnTo>
                      <a:lnTo>
                        <a:pt x="3313" y="581"/>
                      </a:lnTo>
                      <a:lnTo>
                        <a:pt x="3287" y="544"/>
                      </a:lnTo>
                      <a:lnTo>
                        <a:pt x="3259" y="509"/>
                      </a:lnTo>
                      <a:lnTo>
                        <a:pt x="3231" y="473"/>
                      </a:lnTo>
                      <a:lnTo>
                        <a:pt x="3201" y="438"/>
                      </a:lnTo>
                      <a:lnTo>
                        <a:pt x="3171" y="404"/>
                      </a:lnTo>
                      <a:lnTo>
                        <a:pt x="3141" y="372"/>
                      </a:lnTo>
                      <a:lnTo>
                        <a:pt x="3109" y="341"/>
                      </a:lnTo>
                      <a:lnTo>
                        <a:pt x="3076" y="311"/>
                      </a:lnTo>
                      <a:lnTo>
                        <a:pt x="3044" y="282"/>
                      </a:lnTo>
                      <a:lnTo>
                        <a:pt x="3011" y="254"/>
                      </a:lnTo>
                      <a:lnTo>
                        <a:pt x="2976" y="228"/>
                      </a:lnTo>
                      <a:lnTo>
                        <a:pt x="2942" y="205"/>
                      </a:lnTo>
                      <a:lnTo>
                        <a:pt x="2907" y="183"/>
                      </a:lnTo>
                      <a:lnTo>
                        <a:pt x="2872" y="163"/>
                      </a:lnTo>
                      <a:lnTo>
                        <a:pt x="2837" y="145"/>
                      </a:lnTo>
                      <a:lnTo>
                        <a:pt x="2800" y="128"/>
                      </a:lnTo>
                      <a:lnTo>
                        <a:pt x="2765" y="115"/>
                      </a:lnTo>
                      <a:lnTo>
                        <a:pt x="2729" y="104"/>
                      </a:lnTo>
                      <a:lnTo>
                        <a:pt x="2692" y="95"/>
                      </a:lnTo>
                      <a:lnTo>
                        <a:pt x="2611" y="79"/>
                      </a:lnTo>
                      <a:lnTo>
                        <a:pt x="2527" y="66"/>
                      </a:lnTo>
                      <a:lnTo>
                        <a:pt x="2441" y="53"/>
                      </a:lnTo>
                      <a:lnTo>
                        <a:pt x="2354" y="41"/>
                      </a:lnTo>
                      <a:lnTo>
                        <a:pt x="2265" y="33"/>
                      </a:lnTo>
                      <a:lnTo>
                        <a:pt x="2175" y="24"/>
                      </a:lnTo>
                      <a:lnTo>
                        <a:pt x="2085" y="17"/>
                      </a:lnTo>
                      <a:lnTo>
                        <a:pt x="1993" y="11"/>
                      </a:lnTo>
                      <a:lnTo>
                        <a:pt x="1902" y="7"/>
                      </a:lnTo>
                      <a:lnTo>
                        <a:pt x="1810" y="4"/>
                      </a:lnTo>
                      <a:lnTo>
                        <a:pt x="1719" y="1"/>
                      </a:lnTo>
                      <a:lnTo>
                        <a:pt x="1627" y="0"/>
                      </a:lnTo>
                      <a:lnTo>
                        <a:pt x="1536" y="0"/>
                      </a:lnTo>
                      <a:lnTo>
                        <a:pt x="1446" y="1"/>
                      </a:lnTo>
                      <a:lnTo>
                        <a:pt x="1357" y="4"/>
                      </a:lnTo>
                      <a:lnTo>
                        <a:pt x="1270" y="6"/>
                      </a:lnTo>
                      <a:lnTo>
                        <a:pt x="1183" y="9"/>
                      </a:lnTo>
                      <a:lnTo>
                        <a:pt x="1099" y="14"/>
                      </a:lnTo>
                      <a:lnTo>
                        <a:pt x="1017" y="18"/>
                      </a:lnTo>
                      <a:lnTo>
                        <a:pt x="937" y="24"/>
                      </a:lnTo>
                      <a:lnTo>
                        <a:pt x="859" y="30"/>
                      </a:lnTo>
                      <a:lnTo>
                        <a:pt x="785" y="37"/>
                      </a:lnTo>
                      <a:lnTo>
                        <a:pt x="712" y="44"/>
                      </a:lnTo>
                      <a:lnTo>
                        <a:pt x="644" y="51"/>
                      </a:lnTo>
                      <a:lnTo>
                        <a:pt x="579" y="59"/>
                      </a:lnTo>
                      <a:lnTo>
                        <a:pt x="518" y="67"/>
                      </a:lnTo>
                      <a:lnTo>
                        <a:pt x="460" y="76"/>
                      </a:lnTo>
                      <a:lnTo>
                        <a:pt x="406" y="85"/>
                      </a:lnTo>
                      <a:lnTo>
                        <a:pt x="358" y="94"/>
                      </a:lnTo>
                      <a:lnTo>
                        <a:pt x="314" y="103"/>
                      </a:lnTo>
                      <a:lnTo>
                        <a:pt x="274" y="112"/>
                      </a:lnTo>
                      <a:lnTo>
                        <a:pt x="240" y="120"/>
                      </a:lnTo>
                      <a:lnTo>
                        <a:pt x="212" y="129"/>
                      </a:lnTo>
                      <a:lnTo>
                        <a:pt x="185" y="140"/>
                      </a:lnTo>
                      <a:lnTo>
                        <a:pt x="160" y="153"/>
                      </a:lnTo>
                      <a:lnTo>
                        <a:pt x="138" y="166"/>
                      </a:lnTo>
                      <a:lnTo>
                        <a:pt x="118" y="181"/>
                      </a:lnTo>
                      <a:lnTo>
                        <a:pt x="99" y="197"/>
                      </a:lnTo>
                      <a:lnTo>
                        <a:pt x="81" y="214"/>
                      </a:lnTo>
                      <a:lnTo>
                        <a:pt x="67" y="233"/>
                      </a:lnTo>
                      <a:lnTo>
                        <a:pt x="52" y="252"/>
                      </a:lnTo>
                      <a:lnTo>
                        <a:pt x="41" y="273"/>
                      </a:lnTo>
                      <a:lnTo>
                        <a:pt x="30" y="294"/>
                      </a:lnTo>
                      <a:lnTo>
                        <a:pt x="21" y="317"/>
                      </a:lnTo>
                      <a:lnTo>
                        <a:pt x="15" y="341"/>
                      </a:lnTo>
                      <a:lnTo>
                        <a:pt x="8" y="365"/>
                      </a:lnTo>
                      <a:lnTo>
                        <a:pt x="3" y="390"/>
                      </a:lnTo>
                      <a:lnTo>
                        <a:pt x="0" y="416"/>
                      </a:lnTo>
                      <a:lnTo>
                        <a:pt x="8" y="405"/>
                      </a:lnTo>
                      <a:lnTo>
                        <a:pt x="16" y="395"/>
                      </a:lnTo>
                      <a:lnTo>
                        <a:pt x="25" y="385"/>
                      </a:lnTo>
                      <a:lnTo>
                        <a:pt x="33" y="375"/>
                      </a:lnTo>
                      <a:lnTo>
                        <a:pt x="42" y="366"/>
                      </a:lnTo>
                      <a:lnTo>
                        <a:pt x="52" y="357"/>
                      </a:lnTo>
                      <a:lnTo>
                        <a:pt x="64" y="349"/>
                      </a:lnTo>
                      <a:lnTo>
                        <a:pt x="75" y="341"/>
                      </a:lnTo>
                      <a:lnTo>
                        <a:pt x="86" y="333"/>
                      </a:lnTo>
                      <a:lnTo>
                        <a:pt x="98" y="326"/>
                      </a:lnTo>
                      <a:lnTo>
                        <a:pt x="111" y="319"/>
                      </a:lnTo>
                      <a:lnTo>
                        <a:pt x="125" y="312"/>
                      </a:lnTo>
                      <a:lnTo>
                        <a:pt x="138" y="306"/>
                      </a:lnTo>
                      <a:lnTo>
                        <a:pt x="153" y="301"/>
                      </a:lnTo>
                      <a:lnTo>
                        <a:pt x="168" y="295"/>
                      </a:lnTo>
                      <a:lnTo>
                        <a:pt x="184" y="291"/>
                      </a:lnTo>
                      <a:close/>
                    </a:path>
                  </a:pathLst>
                </a:custGeom>
                <a:solidFill>
                  <a:srgbClr val="1B457C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100" name="Freeform 209"/>
                <p:cNvSpPr>
                  <a:spLocks/>
                </p:cNvSpPr>
                <p:nvPr/>
              </p:nvSpPr>
              <p:spPr bwMode="auto">
                <a:xfrm>
                  <a:off x="3132" y="2304"/>
                  <a:ext cx="652" cy="558"/>
                </a:xfrm>
                <a:custGeom>
                  <a:avLst/>
                  <a:gdLst>
                    <a:gd name="T0" fmla="*/ 0 w 4574"/>
                    <a:gd name="T1" fmla="*/ 0 h 3909"/>
                    <a:gd name="T2" fmla="*/ 0 w 4574"/>
                    <a:gd name="T3" fmla="*/ 0 h 3909"/>
                    <a:gd name="T4" fmla="*/ 0 w 4574"/>
                    <a:gd name="T5" fmla="*/ 0 h 3909"/>
                    <a:gd name="T6" fmla="*/ 0 w 4574"/>
                    <a:gd name="T7" fmla="*/ 0 h 3909"/>
                    <a:gd name="T8" fmla="*/ 0 w 4574"/>
                    <a:gd name="T9" fmla="*/ 0 h 3909"/>
                    <a:gd name="T10" fmla="*/ 0 w 4574"/>
                    <a:gd name="T11" fmla="*/ 0 h 3909"/>
                    <a:gd name="T12" fmla="*/ 0 w 4574"/>
                    <a:gd name="T13" fmla="*/ 0 h 3909"/>
                    <a:gd name="T14" fmla="*/ 0 w 4574"/>
                    <a:gd name="T15" fmla="*/ 0 h 3909"/>
                    <a:gd name="T16" fmla="*/ 0 w 4574"/>
                    <a:gd name="T17" fmla="*/ 0 h 3909"/>
                    <a:gd name="T18" fmla="*/ 0 w 4574"/>
                    <a:gd name="T19" fmla="*/ 0 h 3909"/>
                    <a:gd name="T20" fmla="*/ 0 w 4574"/>
                    <a:gd name="T21" fmla="*/ 0 h 3909"/>
                    <a:gd name="T22" fmla="*/ 0 w 4574"/>
                    <a:gd name="T23" fmla="*/ 0 h 3909"/>
                    <a:gd name="T24" fmla="*/ 0 w 4574"/>
                    <a:gd name="T25" fmla="*/ 0 h 3909"/>
                    <a:gd name="T26" fmla="*/ 0 w 4574"/>
                    <a:gd name="T27" fmla="*/ 0 h 3909"/>
                    <a:gd name="T28" fmla="*/ 0 w 4574"/>
                    <a:gd name="T29" fmla="*/ 0 h 3909"/>
                    <a:gd name="T30" fmla="*/ 0 w 4574"/>
                    <a:gd name="T31" fmla="*/ 0 h 3909"/>
                    <a:gd name="T32" fmla="*/ 0 w 4574"/>
                    <a:gd name="T33" fmla="*/ 0 h 3909"/>
                    <a:gd name="T34" fmla="*/ 0 w 4574"/>
                    <a:gd name="T35" fmla="*/ 0 h 3909"/>
                    <a:gd name="T36" fmla="*/ 0 w 4574"/>
                    <a:gd name="T37" fmla="*/ 0 h 3909"/>
                    <a:gd name="T38" fmla="*/ 0 w 4574"/>
                    <a:gd name="T39" fmla="*/ 0 h 3909"/>
                    <a:gd name="T40" fmla="*/ 0 w 4574"/>
                    <a:gd name="T41" fmla="*/ 0 h 3909"/>
                    <a:gd name="T42" fmla="*/ 0 w 4574"/>
                    <a:gd name="T43" fmla="*/ 0 h 3909"/>
                    <a:gd name="T44" fmla="*/ 0 w 4574"/>
                    <a:gd name="T45" fmla="*/ 0 h 3909"/>
                    <a:gd name="T46" fmla="*/ 0 w 4574"/>
                    <a:gd name="T47" fmla="*/ 0 h 3909"/>
                    <a:gd name="T48" fmla="*/ 0 w 4574"/>
                    <a:gd name="T49" fmla="*/ 0 h 3909"/>
                    <a:gd name="T50" fmla="*/ 0 w 4574"/>
                    <a:gd name="T51" fmla="*/ 0 h 3909"/>
                    <a:gd name="T52" fmla="*/ 0 w 4574"/>
                    <a:gd name="T53" fmla="*/ 0 h 3909"/>
                    <a:gd name="T54" fmla="*/ 0 w 4574"/>
                    <a:gd name="T55" fmla="*/ 0 h 3909"/>
                    <a:gd name="T56" fmla="*/ 0 w 4574"/>
                    <a:gd name="T57" fmla="*/ 0 h 3909"/>
                    <a:gd name="T58" fmla="*/ 0 w 4574"/>
                    <a:gd name="T59" fmla="*/ 0 h 3909"/>
                    <a:gd name="T60" fmla="*/ 0 w 4574"/>
                    <a:gd name="T61" fmla="*/ 0 h 3909"/>
                    <a:gd name="T62" fmla="*/ 0 w 4574"/>
                    <a:gd name="T63" fmla="*/ 0 h 3909"/>
                    <a:gd name="T64" fmla="*/ 0 w 4574"/>
                    <a:gd name="T65" fmla="*/ 0 h 3909"/>
                    <a:gd name="T66" fmla="*/ 0 w 4574"/>
                    <a:gd name="T67" fmla="*/ 0 h 3909"/>
                    <a:gd name="T68" fmla="*/ 0 w 4574"/>
                    <a:gd name="T69" fmla="*/ 0 h 3909"/>
                    <a:gd name="T70" fmla="*/ 0 w 4574"/>
                    <a:gd name="T71" fmla="*/ 0 h 3909"/>
                    <a:gd name="T72" fmla="*/ 0 w 4574"/>
                    <a:gd name="T73" fmla="*/ 0 h 3909"/>
                    <a:gd name="T74" fmla="*/ 0 w 4574"/>
                    <a:gd name="T75" fmla="*/ 0 h 3909"/>
                    <a:gd name="T76" fmla="*/ 0 w 4574"/>
                    <a:gd name="T77" fmla="*/ 0 h 3909"/>
                    <a:gd name="T78" fmla="*/ 0 w 4574"/>
                    <a:gd name="T79" fmla="*/ 0 h 3909"/>
                    <a:gd name="T80" fmla="*/ 0 w 4574"/>
                    <a:gd name="T81" fmla="*/ 0 h 3909"/>
                    <a:gd name="T82" fmla="*/ 0 w 4574"/>
                    <a:gd name="T83" fmla="*/ 0 h 3909"/>
                    <a:gd name="T84" fmla="*/ 0 w 4574"/>
                    <a:gd name="T85" fmla="*/ 0 h 3909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4574"/>
                    <a:gd name="T130" fmla="*/ 0 h 3909"/>
                    <a:gd name="T131" fmla="*/ 4574 w 4574"/>
                    <a:gd name="T132" fmla="*/ 3909 h 3909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4574" h="3909">
                      <a:moveTo>
                        <a:pt x="4538" y="1754"/>
                      </a:moveTo>
                      <a:lnTo>
                        <a:pt x="4558" y="1950"/>
                      </a:lnTo>
                      <a:lnTo>
                        <a:pt x="4570" y="2133"/>
                      </a:lnTo>
                      <a:lnTo>
                        <a:pt x="4574" y="2305"/>
                      </a:lnTo>
                      <a:lnTo>
                        <a:pt x="4571" y="2465"/>
                      </a:lnTo>
                      <a:lnTo>
                        <a:pt x="4561" y="2614"/>
                      </a:lnTo>
                      <a:lnTo>
                        <a:pt x="4544" y="2753"/>
                      </a:lnTo>
                      <a:lnTo>
                        <a:pt x="4520" y="2881"/>
                      </a:lnTo>
                      <a:lnTo>
                        <a:pt x="4490" y="3000"/>
                      </a:lnTo>
                      <a:lnTo>
                        <a:pt x="4452" y="3109"/>
                      </a:lnTo>
                      <a:lnTo>
                        <a:pt x="4409" y="3209"/>
                      </a:lnTo>
                      <a:lnTo>
                        <a:pt x="4360" y="3301"/>
                      </a:lnTo>
                      <a:lnTo>
                        <a:pt x="4304" y="3383"/>
                      </a:lnTo>
                      <a:lnTo>
                        <a:pt x="4243" y="3459"/>
                      </a:lnTo>
                      <a:lnTo>
                        <a:pt x="4177" y="3525"/>
                      </a:lnTo>
                      <a:lnTo>
                        <a:pt x="4105" y="3587"/>
                      </a:lnTo>
                      <a:lnTo>
                        <a:pt x="4028" y="3640"/>
                      </a:lnTo>
                      <a:lnTo>
                        <a:pt x="3947" y="3687"/>
                      </a:lnTo>
                      <a:lnTo>
                        <a:pt x="3861" y="3729"/>
                      </a:lnTo>
                      <a:lnTo>
                        <a:pt x="3771" y="3765"/>
                      </a:lnTo>
                      <a:lnTo>
                        <a:pt x="3676" y="3796"/>
                      </a:lnTo>
                      <a:lnTo>
                        <a:pt x="3577" y="3821"/>
                      </a:lnTo>
                      <a:lnTo>
                        <a:pt x="3475" y="3844"/>
                      </a:lnTo>
                      <a:lnTo>
                        <a:pt x="3369" y="3862"/>
                      </a:lnTo>
                      <a:lnTo>
                        <a:pt x="3260" y="3876"/>
                      </a:lnTo>
                      <a:lnTo>
                        <a:pt x="3148" y="3887"/>
                      </a:lnTo>
                      <a:lnTo>
                        <a:pt x="3032" y="3895"/>
                      </a:lnTo>
                      <a:lnTo>
                        <a:pt x="2913" y="3902"/>
                      </a:lnTo>
                      <a:lnTo>
                        <a:pt x="2793" y="3905"/>
                      </a:lnTo>
                      <a:lnTo>
                        <a:pt x="2669" y="3907"/>
                      </a:lnTo>
                      <a:lnTo>
                        <a:pt x="2544" y="3908"/>
                      </a:lnTo>
                      <a:lnTo>
                        <a:pt x="2416" y="3909"/>
                      </a:lnTo>
                      <a:lnTo>
                        <a:pt x="2287" y="3909"/>
                      </a:lnTo>
                      <a:lnTo>
                        <a:pt x="2158" y="3909"/>
                      </a:lnTo>
                      <a:lnTo>
                        <a:pt x="2031" y="3909"/>
                      </a:lnTo>
                      <a:lnTo>
                        <a:pt x="1905" y="3908"/>
                      </a:lnTo>
                      <a:lnTo>
                        <a:pt x="1783" y="3906"/>
                      </a:lnTo>
                      <a:lnTo>
                        <a:pt x="1662" y="3903"/>
                      </a:lnTo>
                      <a:lnTo>
                        <a:pt x="1544" y="3897"/>
                      </a:lnTo>
                      <a:lnTo>
                        <a:pt x="1428" y="3889"/>
                      </a:lnTo>
                      <a:lnTo>
                        <a:pt x="1316" y="3879"/>
                      </a:lnTo>
                      <a:lnTo>
                        <a:pt x="1205" y="3866"/>
                      </a:lnTo>
                      <a:lnTo>
                        <a:pt x="1100" y="3849"/>
                      </a:lnTo>
                      <a:lnTo>
                        <a:pt x="997" y="3828"/>
                      </a:lnTo>
                      <a:lnTo>
                        <a:pt x="898" y="3803"/>
                      </a:lnTo>
                      <a:lnTo>
                        <a:pt x="804" y="3773"/>
                      </a:lnTo>
                      <a:lnTo>
                        <a:pt x="713" y="3737"/>
                      </a:lnTo>
                      <a:lnTo>
                        <a:pt x="627" y="3697"/>
                      </a:lnTo>
                      <a:lnTo>
                        <a:pt x="545" y="3650"/>
                      </a:lnTo>
                      <a:lnTo>
                        <a:pt x="469" y="3597"/>
                      </a:lnTo>
                      <a:lnTo>
                        <a:pt x="397" y="3537"/>
                      </a:lnTo>
                      <a:lnTo>
                        <a:pt x="331" y="3470"/>
                      </a:lnTo>
                      <a:lnTo>
                        <a:pt x="269" y="3394"/>
                      </a:lnTo>
                      <a:lnTo>
                        <a:pt x="215" y="3312"/>
                      </a:lnTo>
                      <a:lnTo>
                        <a:pt x="165" y="3221"/>
                      </a:lnTo>
                      <a:lnTo>
                        <a:pt x="121" y="3120"/>
                      </a:lnTo>
                      <a:lnTo>
                        <a:pt x="85" y="3011"/>
                      </a:lnTo>
                      <a:lnTo>
                        <a:pt x="53" y="2892"/>
                      </a:lnTo>
                      <a:lnTo>
                        <a:pt x="30" y="2763"/>
                      </a:lnTo>
                      <a:lnTo>
                        <a:pt x="12" y="2623"/>
                      </a:lnTo>
                      <a:lnTo>
                        <a:pt x="2" y="2473"/>
                      </a:lnTo>
                      <a:lnTo>
                        <a:pt x="0" y="2311"/>
                      </a:lnTo>
                      <a:lnTo>
                        <a:pt x="4" y="2138"/>
                      </a:lnTo>
                      <a:lnTo>
                        <a:pt x="18" y="1952"/>
                      </a:lnTo>
                      <a:lnTo>
                        <a:pt x="38" y="1754"/>
                      </a:lnTo>
                      <a:lnTo>
                        <a:pt x="51" y="1659"/>
                      </a:lnTo>
                      <a:lnTo>
                        <a:pt x="70" y="1568"/>
                      </a:lnTo>
                      <a:lnTo>
                        <a:pt x="95" y="1477"/>
                      </a:lnTo>
                      <a:lnTo>
                        <a:pt x="124" y="1388"/>
                      </a:lnTo>
                      <a:lnTo>
                        <a:pt x="156" y="1301"/>
                      </a:lnTo>
                      <a:lnTo>
                        <a:pt x="194" y="1216"/>
                      </a:lnTo>
                      <a:lnTo>
                        <a:pt x="236" y="1134"/>
                      </a:lnTo>
                      <a:lnTo>
                        <a:pt x="282" y="1053"/>
                      </a:lnTo>
                      <a:lnTo>
                        <a:pt x="332" y="975"/>
                      </a:lnTo>
                      <a:lnTo>
                        <a:pt x="386" y="899"/>
                      </a:lnTo>
                      <a:lnTo>
                        <a:pt x="444" y="826"/>
                      </a:lnTo>
                      <a:lnTo>
                        <a:pt x="505" y="755"/>
                      </a:lnTo>
                      <a:lnTo>
                        <a:pt x="571" y="687"/>
                      </a:lnTo>
                      <a:lnTo>
                        <a:pt x="639" y="621"/>
                      </a:lnTo>
                      <a:lnTo>
                        <a:pt x="711" y="558"/>
                      </a:lnTo>
                      <a:lnTo>
                        <a:pt x="786" y="497"/>
                      </a:lnTo>
                      <a:lnTo>
                        <a:pt x="864" y="441"/>
                      </a:lnTo>
                      <a:lnTo>
                        <a:pt x="944" y="387"/>
                      </a:lnTo>
                      <a:lnTo>
                        <a:pt x="1027" y="336"/>
                      </a:lnTo>
                      <a:lnTo>
                        <a:pt x="1113" y="288"/>
                      </a:lnTo>
                      <a:lnTo>
                        <a:pt x="1201" y="244"/>
                      </a:lnTo>
                      <a:lnTo>
                        <a:pt x="1291" y="204"/>
                      </a:lnTo>
                      <a:lnTo>
                        <a:pt x="1383" y="166"/>
                      </a:lnTo>
                      <a:lnTo>
                        <a:pt x="1478" y="132"/>
                      </a:lnTo>
                      <a:lnTo>
                        <a:pt x="1574" y="101"/>
                      </a:lnTo>
                      <a:lnTo>
                        <a:pt x="1672" y="76"/>
                      </a:lnTo>
                      <a:lnTo>
                        <a:pt x="1772" y="52"/>
                      </a:lnTo>
                      <a:lnTo>
                        <a:pt x="1872" y="33"/>
                      </a:lnTo>
                      <a:lnTo>
                        <a:pt x="1974" y="19"/>
                      </a:lnTo>
                      <a:lnTo>
                        <a:pt x="2078" y="9"/>
                      </a:lnTo>
                      <a:lnTo>
                        <a:pt x="2183" y="2"/>
                      </a:lnTo>
                      <a:lnTo>
                        <a:pt x="2287" y="0"/>
                      </a:lnTo>
                      <a:lnTo>
                        <a:pt x="2393" y="2"/>
                      </a:lnTo>
                      <a:lnTo>
                        <a:pt x="2498" y="9"/>
                      </a:lnTo>
                      <a:lnTo>
                        <a:pt x="2600" y="19"/>
                      </a:lnTo>
                      <a:lnTo>
                        <a:pt x="2702" y="33"/>
                      </a:lnTo>
                      <a:lnTo>
                        <a:pt x="2804" y="52"/>
                      </a:lnTo>
                      <a:lnTo>
                        <a:pt x="2903" y="76"/>
                      </a:lnTo>
                      <a:lnTo>
                        <a:pt x="3001" y="101"/>
                      </a:lnTo>
                      <a:lnTo>
                        <a:pt x="3097" y="132"/>
                      </a:lnTo>
                      <a:lnTo>
                        <a:pt x="3192" y="166"/>
                      </a:lnTo>
                      <a:lnTo>
                        <a:pt x="3284" y="204"/>
                      </a:lnTo>
                      <a:lnTo>
                        <a:pt x="3375" y="244"/>
                      </a:lnTo>
                      <a:lnTo>
                        <a:pt x="3463" y="288"/>
                      </a:lnTo>
                      <a:lnTo>
                        <a:pt x="3548" y="336"/>
                      </a:lnTo>
                      <a:lnTo>
                        <a:pt x="3632" y="387"/>
                      </a:lnTo>
                      <a:lnTo>
                        <a:pt x="3712" y="441"/>
                      </a:lnTo>
                      <a:lnTo>
                        <a:pt x="3790" y="497"/>
                      </a:lnTo>
                      <a:lnTo>
                        <a:pt x="3864" y="558"/>
                      </a:lnTo>
                      <a:lnTo>
                        <a:pt x="3936" y="621"/>
                      </a:lnTo>
                      <a:lnTo>
                        <a:pt x="4005" y="687"/>
                      </a:lnTo>
                      <a:lnTo>
                        <a:pt x="4069" y="755"/>
                      </a:lnTo>
                      <a:lnTo>
                        <a:pt x="4131" y="826"/>
                      </a:lnTo>
                      <a:lnTo>
                        <a:pt x="4189" y="899"/>
                      </a:lnTo>
                      <a:lnTo>
                        <a:pt x="4243" y="975"/>
                      </a:lnTo>
                      <a:lnTo>
                        <a:pt x="4293" y="1053"/>
                      </a:lnTo>
                      <a:lnTo>
                        <a:pt x="4340" y="1134"/>
                      </a:lnTo>
                      <a:lnTo>
                        <a:pt x="4382" y="1216"/>
                      </a:lnTo>
                      <a:lnTo>
                        <a:pt x="4419" y="1301"/>
                      </a:lnTo>
                      <a:lnTo>
                        <a:pt x="4452" y="1388"/>
                      </a:lnTo>
                      <a:lnTo>
                        <a:pt x="4481" y="1477"/>
                      </a:lnTo>
                      <a:lnTo>
                        <a:pt x="4504" y="1568"/>
                      </a:lnTo>
                      <a:lnTo>
                        <a:pt x="4523" y="1659"/>
                      </a:lnTo>
                      <a:lnTo>
                        <a:pt x="4538" y="1754"/>
                      </a:lnTo>
                      <a:close/>
                    </a:path>
                  </a:pathLst>
                </a:custGeom>
                <a:solidFill>
                  <a:srgbClr val="242D54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101" name="Freeform 210"/>
                <p:cNvSpPr>
                  <a:spLocks/>
                </p:cNvSpPr>
                <p:nvPr/>
              </p:nvSpPr>
              <p:spPr bwMode="auto">
                <a:xfrm>
                  <a:off x="3132" y="2460"/>
                  <a:ext cx="652" cy="406"/>
                </a:xfrm>
                <a:custGeom>
                  <a:avLst/>
                  <a:gdLst>
                    <a:gd name="T0" fmla="*/ 0 w 4574"/>
                    <a:gd name="T1" fmla="*/ 0 h 2849"/>
                    <a:gd name="T2" fmla="*/ 0 w 4574"/>
                    <a:gd name="T3" fmla="*/ 0 h 2849"/>
                    <a:gd name="T4" fmla="*/ 0 w 4574"/>
                    <a:gd name="T5" fmla="*/ 0 h 2849"/>
                    <a:gd name="T6" fmla="*/ 0 w 4574"/>
                    <a:gd name="T7" fmla="*/ 0 h 2849"/>
                    <a:gd name="T8" fmla="*/ 0 w 4574"/>
                    <a:gd name="T9" fmla="*/ 0 h 2849"/>
                    <a:gd name="T10" fmla="*/ 0 w 4574"/>
                    <a:gd name="T11" fmla="*/ 0 h 2849"/>
                    <a:gd name="T12" fmla="*/ 0 w 4574"/>
                    <a:gd name="T13" fmla="*/ 0 h 2849"/>
                    <a:gd name="T14" fmla="*/ 0 w 4574"/>
                    <a:gd name="T15" fmla="*/ 0 h 2849"/>
                    <a:gd name="T16" fmla="*/ 0 w 4574"/>
                    <a:gd name="T17" fmla="*/ 0 h 2849"/>
                    <a:gd name="T18" fmla="*/ 0 w 4574"/>
                    <a:gd name="T19" fmla="*/ 0 h 2849"/>
                    <a:gd name="T20" fmla="*/ 0 w 4574"/>
                    <a:gd name="T21" fmla="*/ 0 h 2849"/>
                    <a:gd name="T22" fmla="*/ 0 w 4574"/>
                    <a:gd name="T23" fmla="*/ 0 h 2849"/>
                    <a:gd name="T24" fmla="*/ 0 w 4574"/>
                    <a:gd name="T25" fmla="*/ 0 h 2849"/>
                    <a:gd name="T26" fmla="*/ 0 w 4574"/>
                    <a:gd name="T27" fmla="*/ 0 h 2849"/>
                    <a:gd name="T28" fmla="*/ 0 w 4574"/>
                    <a:gd name="T29" fmla="*/ 0 h 2849"/>
                    <a:gd name="T30" fmla="*/ 0 w 4574"/>
                    <a:gd name="T31" fmla="*/ 0 h 2849"/>
                    <a:gd name="T32" fmla="*/ 0 w 4574"/>
                    <a:gd name="T33" fmla="*/ 0 h 2849"/>
                    <a:gd name="T34" fmla="*/ 0 w 4574"/>
                    <a:gd name="T35" fmla="*/ 0 h 2849"/>
                    <a:gd name="T36" fmla="*/ 0 w 4574"/>
                    <a:gd name="T37" fmla="*/ 0 h 2849"/>
                    <a:gd name="T38" fmla="*/ 0 w 4574"/>
                    <a:gd name="T39" fmla="*/ 0 h 2849"/>
                    <a:gd name="T40" fmla="*/ 0 w 4574"/>
                    <a:gd name="T41" fmla="*/ 0 h 2849"/>
                    <a:gd name="T42" fmla="*/ 0 w 4574"/>
                    <a:gd name="T43" fmla="*/ 0 h 2849"/>
                    <a:gd name="T44" fmla="*/ 0 w 4574"/>
                    <a:gd name="T45" fmla="*/ 0 h 2849"/>
                    <a:gd name="T46" fmla="*/ 0 w 4574"/>
                    <a:gd name="T47" fmla="*/ 0 h 2849"/>
                    <a:gd name="T48" fmla="*/ 0 w 4574"/>
                    <a:gd name="T49" fmla="*/ 0 h 2849"/>
                    <a:gd name="T50" fmla="*/ 0 w 4574"/>
                    <a:gd name="T51" fmla="*/ 0 h 2849"/>
                    <a:gd name="T52" fmla="*/ 0 w 4574"/>
                    <a:gd name="T53" fmla="*/ 0 h 2849"/>
                    <a:gd name="T54" fmla="*/ 0 w 4574"/>
                    <a:gd name="T55" fmla="*/ 0 h 2849"/>
                    <a:gd name="T56" fmla="*/ 0 w 4574"/>
                    <a:gd name="T57" fmla="*/ 0 h 2849"/>
                    <a:gd name="T58" fmla="*/ 0 w 4574"/>
                    <a:gd name="T59" fmla="*/ 0 h 2849"/>
                    <a:gd name="T60" fmla="*/ 0 w 4574"/>
                    <a:gd name="T61" fmla="*/ 0 h 2849"/>
                    <a:gd name="T62" fmla="*/ 0 w 4574"/>
                    <a:gd name="T63" fmla="*/ 0 h 2849"/>
                    <a:gd name="T64" fmla="*/ 0 w 4574"/>
                    <a:gd name="T65" fmla="*/ 0 h 2849"/>
                    <a:gd name="T66" fmla="*/ 0 w 4574"/>
                    <a:gd name="T67" fmla="*/ 0 h 2849"/>
                    <a:gd name="T68" fmla="*/ 0 w 4574"/>
                    <a:gd name="T69" fmla="*/ 0 h 2849"/>
                    <a:gd name="T70" fmla="*/ 0 w 4574"/>
                    <a:gd name="T71" fmla="*/ 0 h 2849"/>
                    <a:gd name="T72" fmla="*/ 0 w 4574"/>
                    <a:gd name="T73" fmla="*/ 0 h 2849"/>
                    <a:gd name="T74" fmla="*/ 0 w 4574"/>
                    <a:gd name="T75" fmla="*/ 0 h 2849"/>
                    <a:gd name="T76" fmla="*/ 0 w 4574"/>
                    <a:gd name="T77" fmla="*/ 0 h 2849"/>
                    <a:gd name="T78" fmla="*/ 0 w 4574"/>
                    <a:gd name="T79" fmla="*/ 0 h 2849"/>
                    <a:gd name="T80" fmla="*/ 0 w 4574"/>
                    <a:gd name="T81" fmla="*/ 0 h 2849"/>
                    <a:gd name="T82" fmla="*/ 0 w 4574"/>
                    <a:gd name="T83" fmla="*/ 0 h 2849"/>
                    <a:gd name="T84" fmla="*/ 0 w 4574"/>
                    <a:gd name="T85" fmla="*/ 0 h 2849"/>
                    <a:gd name="T86" fmla="*/ 0 w 4574"/>
                    <a:gd name="T87" fmla="*/ 0 h 2849"/>
                    <a:gd name="T88" fmla="*/ 0 w 4574"/>
                    <a:gd name="T89" fmla="*/ 0 h 2849"/>
                    <a:gd name="T90" fmla="*/ 0 w 4574"/>
                    <a:gd name="T91" fmla="*/ 0 h 2849"/>
                    <a:gd name="T92" fmla="*/ 0 w 4574"/>
                    <a:gd name="T93" fmla="*/ 0 h 2849"/>
                    <a:gd name="T94" fmla="*/ 0 w 4574"/>
                    <a:gd name="T95" fmla="*/ 0 h 2849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4574"/>
                    <a:gd name="T145" fmla="*/ 0 h 2849"/>
                    <a:gd name="T146" fmla="*/ 4574 w 4574"/>
                    <a:gd name="T147" fmla="*/ 2849 h 2849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4574" h="2849">
                      <a:moveTo>
                        <a:pt x="4538" y="693"/>
                      </a:moveTo>
                      <a:lnTo>
                        <a:pt x="4531" y="646"/>
                      </a:lnTo>
                      <a:lnTo>
                        <a:pt x="4523" y="601"/>
                      </a:lnTo>
                      <a:lnTo>
                        <a:pt x="4515" y="554"/>
                      </a:lnTo>
                      <a:lnTo>
                        <a:pt x="4505" y="509"/>
                      </a:lnTo>
                      <a:lnTo>
                        <a:pt x="4494" y="464"/>
                      </a:lnTo>
                      <a:lnTo>
                        <a:pt x="4482" y="419"/>
                      </a:lnTo>
                      <a:lnTo>
                        <a:pt x="4468" y="375"/>
                      </a:lnTo>
                      <a:lnTo>
                        <a:pt x="4453" y="331"/>
                      </a:lnTo>
                      <a:lnTo>
                        <a:pt x="4438" y="288"/>
                      </a:lnTo>
                      <a:lnTo>
                        <a:pt x="4421" y="246"/>
                      </a:lnTo>
                      <a:lnTo>
                        <a:pt x="4403" y="203"/>
                      </a:lnTo>
                      <a:lnTo>
                        <a:pt x="4384" y="161"/>
                      </a:lnTo>
                      <a:lnTo>
                        <a:pt x="4364" y="120"/>
                      </a:lnTo>
                      <a:lnTo>
                        <a:pt x="4343" y="80"/>
                      </a:lnTo>
                      <a:lnTo>
                        <a:pt x="4321" y="40"/>
                      </a:lnTo>
                      <a:lnTo>
                        <a:pt x="4297" y="0"/>
                      </a:lnTo>
                      <a:lnTo>
                        <a:pt x="4274" y="32"/>
                      </a:lnTo>
                      <a:lnTo>
                        <a:pt x="4251" y="64"/>
                      </a:lnTo>
                      <a:lnTo>
                        <a:pt x="4226" y="95"/>
                      </a:lnTo>
                      <a:lnTo>
                        <a:pt x="4200" y="125"/>
                      </a:lnTo>
                      <a:lnTo>
                        <a:pt x="4175" y="155"/>
                      </a:lnTo>
                      <a:lnTo>
                        <a:pt x="4148" y="184"/>
                      </a:lnTo>
                      <a:lnTo>
                        <a:pt x="4121" y="212"/>
                      </a:lnTo>
                      <a:lnTo>
                        <a:pt x="4094" y="239"/>
                      </a:lnTo>
                      <a:lnTo>
                        <a:pt x="4054" y="273"/>
                      </a:lnTo>
                      <a:lnTo>
                        <a:pt x="4012" y="307"/>
                      </a:lnTo>
                      <a:lnTo>
                        <a:pt x="3970" y="339"/>
                      </a:lnTo>
                      <a:lnTo>
                        <a:pt x="3926" y="370"/>
                      </a:lnTo>
                      <a:lnTo>
                        <a:pt x="3880" y="400"/>
                      </a:lnTo>
                      <a:lnTo>
                        <a:pt x="3833" y="429"/>
                      </a:lnTo>
                      <a:lnTo>
                        <a:pt x="3784" y="457"/>
                      </a:lnTo>
                      <a:lnTo>
                        <a:pt x="3735" y="484"/>
                      </a:lnTo>
                      <a:lnTo>
                        <a:pt x="3684" y="509"/>
                      </a:lnTo>
                      <a:lnTo>
                        <a:pt x="3633" y="534"/>
                      </a:lnTo>
                      <a:lnTo>
                        <a:pt x="3581" y="557"/>
                      </a:lnTo>
                      <a:lnTo>
                        <a:pt x="3527" y="579"/>
                      </a:lnTo>
                      <a:lnTo>
                        <a:pt x="3474" y="602"/>
                      </a:lnTo>
                      <a:lnTo>
                        <a:pt x="3419" y="623"/>
                      </a:lnTo>
                      <a:lnTo>
                        <a:pt x="3363" y="643"/>
                      </a:lnTo>
                      <a:lnTo>
                        <a:pt x="3309" y="662"/>
                      </a:lnTo>
                      <a:lnTo>
                        <a:pt x="3252" y="680"/>
                      </a:lnTo>
                      <a:lnTo>
                        <a:pt x="3197" y="697"/>
                      </a:lnTo>
                      <a:lnTo>
                        <a:pt x="3141" y="715"/>
                      </a:lnTo>
                      <a:lnTo>
                        <a:pt x="3084" y="731"/>
                      </a:lnTo>
                      <a:lnTo>
                        <a:pt x="2972" y="762"/>
                      </a:lnTo>
                      <a:lnTo>
                        <a:pt x="2860" y="790"/>
                      </a:lnTo>
                      <a:lnTo>
                        <a:pt x="2750" y="815"/>
                      </a:lnTo>
                      <a:lnTo>
                        <a:pt x="2643" y="840"/>
                      </a:lnTo>
                      <a:lnTo>
                        <a:pt x="2539" y="863"/>
                      </a:lnTo>
                      <a:lnTo>
                        <a:pt x="2439" y="884"/>
                      </a:lnTo>
                      <a:lnTo>
                        <a:pt x="2368" y="899"/>
                      </a:lnTo>
                      <a:lnTo>
                        <a:pt x="2297" y="910"/>
                      </a:lnTo>
                      <a:lnTo>
                        <a:pt x="2226" y="921"/>
                      </a:lnTo>
                      <a:lnTo>
                        <a:pt x="2154" y="929"/>
                      </a:lnTo>
                      <a:lnTo>
                        <a:pt x="2081" y="936"/>
                      </a:lnTo>
                      <a:lnTo>
                        <a:pt x="2009" y="941"/>
                      </a:lnTo>
                      <a:lnTo>
                        <a:pt x="1935" y="944"/>
                      </a:lnTo>
                      <a:lnTo>
                        <a:pt x="1862" y="948"/>
                      </a:lnTo>
                      <a:lnTo>
                        <a:pt x="1787" y="948"/>
                      </a:lnTo>
                      <a:lnTo>
                        <a:pt x="1713" y="948"/>
                      </a:lnTo>
                      <a:lnTo>
                        <a:pt x="1638" y="947"/>
                      </a:lnTo>
                      <a:lnTo>
                        <a:pt x="1563" y="944"/>
                      </a:lnTo>
                      <a:lnTo>
                        <a:pt x="1488" y="940"/>
                      </a:lnTo>
                      <a:lnTo>
                        <a:pt x="1412" y="936"/>
                      </a:lnTo>
                      <a:lnTo>
                        <a:pt x="1337" y="930"/>
                      </a:lnTo>
                      <a:lnTo>
                        <a:pt x="1261" y="924"/>
                      </a:lnTo>
                      <a:lnTo>
                        <a:pt x="1185" y="917"/>
                      </a:lnTo>
                      <a:lnTo>
                        <a:pt x="1111" y="910"/>
                      </a:lnTo>
                      <a:lnTo>
                        <a:pt x="1035" y="901"/>
                      </a:lnTo>
                      <a:lnTo>
                        <a:pt x="959" y="892"/>
                      </a:lnTo>
                      <a:lnTo>
                        <a:pt x="809" y="873"/>
                      </a:lnTo>
                      <a:lnTo>
                        <a:pt x="660" y="853"/>
                      </a:lnTo>
                      <a:lnTo>
                        <a:pt x="512" y="833"/>
                      </a:lnTo>
                      <a:lnTo>
                        <a:pt x="366" y="812"/>
                      </a:lnTo>
                      <a:lnTo>
                        <a:pt x="221" y="792"/>
                      </a:lnTo>
                      <a:lnTo>
                        <a:pt x="80" y="773"/>
                      </a:lnTo>
                      <a:lnTo>
                        <a:pt x="68" y="771"/>
                      </a:lnTo>
                      <a:lnTo>
                        <a:pt x="55" y="770"/>
                      </a:lnTo>
                      <a:lnTo>
                        <a:pt x="42" y="769"/>
                      </a:lnTo>
                      <a:lnTo>
                        <a:pt x="30" y="766"/>
                      </a:lnTo>
                      <a:lnTo>
                        <a:pt x="12" y="958"/>
                      </a:lnTo>
                      <a:lnTo>
                        <a:pt x="2" y="1137"/>
                      </a:lnTo>
                      <a:lnTo>
                        <a:pt x="0" y="1305"/>
                      </a:lnTo>
                      <a:lnTo>
                        <a:pt x="6" y="1461"/>
                      </a:lnTo>
                      <a:lnTo>
                        <a:pt x="18" y="1607"/>
                      </a:lnTo>
                      <a:lnTo>
                        <a:pt x="37" y="1741"/>
                      </a:lnTo>
                      <a:lnTo>
                        <a:pt x="62" y="1866"/>
                      </a:lnTo>
                      <a:lnTo>
                        <a:pt x="95" y="1981"/>
                      </a:lnTo>
                      <a:lnTo>
                        <a:pt x="132" y="2086"/>
                      </a:lnTo>
                      <a:lnTo>
                        <a:pt x="177" y="2183"/>
                      </a:lnTo>
                      <a:lnTo>
                        <a:pt x="227" y="2271"/>
                      </a:lnTo>
                      <a:lnTo>
                        <a:pt x="284" y="2351"/>
                      </a:lnTo>
                      <a:lnTo>
                        <a:pt x="345" y="2423"/>
                      </a:lnTo>
                      <a:lnTo>
                        <a:pt x="412" y="2489"/>
                      </a:lnTo>
                      <a:lnTo>
                        <a:pt x="483" y="2547"/>
                      </a:lnTo>
                      <a:lnTo>
                        <a:pt x="560" y="2598"/>
                      </a:lnTo>
                      <a:lnTo>
                        <a:pt x="641" y="2643"/>
                      </a:lnTo>
                      <a:lnTo>
                        <a:pt x="728" y="2683"/>
                      </a:lnTo>
                      <a:lnTo>
                        <a:pt x="818" y="2716"/>
                      </a:lnTo>
                      <a:lnTo>
                        <a:pt x="912" y="2745"/>
                      </a:lnTo>
                      <a:lnTo>
                        <a:pt x="1009" y="2770"/>
                      </a:lnTo>
                      <a:lnTo>
                        <a:pt x="1112" y="2791"/>
                      </a:lnTo>
                      <a:lnTo>
                        <a:pt x="1217" y="2806"/>
                      </a:lnTo>
                      <a:lnTo>
                        <a:pt x="1326" y="2820"/>
                      </a:lnTo>
                      <a:lnTo>
                        <a:pt x="1437" y="2830"/>
                      </a:lnTo>
                      <a:lnTo>
                        <a:pt x="1552" y="2837"/>
                      </a:lnTo>
                      <a:lnTo>
                        <a:pt x="1668" y="2842"/>
                      </a:lnTo>
                      <a:lnTo>
                        <a:pt x="1789" y="2845"/>
                      </a:lnTo>
                      <a:lnTo>
                        <a:pt x="1910" y="2847"/>
                      </a:lnTo>
                      <a:lnTo>
                        <a:pt x="2035" y="2849"/>
                      </a:lnTo>
                      <a:lnTo>
                        <a:pt x="2160" y="2849"/>
                      </a:lnTo>
                      <a:lnTo>
                        <a:pt x="2287" y="2849"/>
                      </a:lnTo>
                      <a:lnTo>
                        <a:pt x="2416" y="2849"/>
                      </a:lnTo>
                      <a:lnTo>
                        <a:pt x="2544" y="2849"/>
                      </a:lnTo>
                      <a:lnTo>
                        <a:pt x="2669" y="2846"/>
                      </a:lnTo>
                      <a:lnTo>
                        <a:pt x="2793" y="2844"/>
                      </a:lnTo>
                      <a:lnTo>
                        <a:pt x="2913" y="2841"/>
                      </a:lnTo>
                      <a:lnTo>
                        <a:pt x="3032" y="2834"/>
                      </a:lnTo>
                      <a:lnTo>
                        <a:pt x="3148" y="2826"/>
                      </a:lnTo>
                      <a:lnTo>
                        <a:pt x="3260" y="2815"/>
                      </a:lnTo>
                      <a:lnTo>
                        <a:pt x="3369" y="2801"/>
                      </a:lnTo>
                      <a:lnTo>
                        <a:pt x="3475" y="2783"/>
                      </a:lnTo>
                      <a:lnTo>
                        <a:pt x="3577" y="2761"/>
                      </a:lnTo>
                      <a:lnTo>
                        <a:pt x="3676" y="2735"/>
                      </a:lnTo>
                      <a:lnTo>
                        <a:pt x="3771" y="2704"/>
                      </a:lnTo>
                      <a:lnTo>
                        <a:pt x="3861" y="2668"/>
                      </a:lnTo>
                      <a:lnTo>
                        <a:pt x="3947" y="2627"/>
                      </a:lnTo>
                      <a:lnTo>
                        <a:pt x="4028" y="2579"/>
                      </a:lnTo>
                      <a:lnTo>
                        <a:pt x="4105" y="2526"/>
                      </a:lnTo>
                      <a:lnTo>
                        <a:pt x="4177" y="2465"/>
                      </a:lnTo>
                      <a:lnTo>
                        <a:pt x="4243" y="2398"/>
                      </a:lnTo>
                      <a:lnTo>
                        <a:pt x="4304" y="2322"/>
                      </a:lnTo>
                      <a:lnTo>
                        <a:pt x="4360" y="2240"/>
                      </a:lnTo>
                      <a:lnTo>
                        <a:pt x="4409" y="2149"/>
                      </a:lnTo>
                      <a:lnTo>
                        <a:pt x="4452" y="2048"/>
                      </a:lnTo>
                      <a:lnTo>
                        <a:pt x="4490" y="1939"/>
                      </a:lnTo>
                      <a:lnTo>
                        <a:pt x="4520" y="1820"/>
                      </a:lnTo>
                      <a:lnTo>
                        <a:pt x="4544" y="1692"/>
                      </a:lnTo>
                      <a:lnTo>
                        <a:pt x="4561" y="1554"/>
                      </a:lnTo>
                      <a:lnTo>
                        <a:pt x="4571" y="1404"/>
                      </a:lnTo>
                      <a:lnTo>
                        <a:pt x="4574" y="1244"/>
                      </a:lnTo>
                      <a:lnTo>
                        <a:pt x="4570" y="1072"/>
                      </a:lnTo>
                      <a:lnTo>
                        <a:pt x="4558" y="889"/>
                      </a:lnTo>
                      <a:lnTo>
                        <a:pt x="4538" y="693"/>
                      </a:lnTo>
                      <a:close/>
                    </a:path>
                  </a:pathLst>
                </a:custGeom>
                <a:solidFill>
                  <a:srgbClr val="1B233E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102" name="Freeform 211"/>
                <p:cNvSpPr>
                  <a:spLocks/>
                </p:cNvSpPr>
                <p:nvPr/>
              </p:nvSpPr>
              <p:spPr bwMode="auto">
                <a:xfrm>
                  <a:off x="2759" y="2608"/>
                  <a:ext cx="511" cy="319"/>
                </a:xfrm>
                <a:custGeom>
                  <a:avLst/>
                  <a:gdLst>
                    <a:gd name="T0" fmla="*/ 0 w 3582"/>
                    <a:gd name="T1" fmla="*/ 0 h 2227"/>
                    <a:gd name="T2" fmla="*/ 0 w 3582"/>
                    <a:gd name="T3" fmla="*/ 0 h 2227"/>
                    <a:gd name="T4" fmla="*/ 0 w 3582"/>
                    <a:gd name="T5" fmla="*/ 0 h 2227"/>
                    <a:gd name="T6" fmla="*/ 0 w 3582"/>
                    <a:gd name="T7" fmla="*/ 0 h 2227"/>
                    <a:gd name="T8" fmla="*/ 0 w 3582"/>
                    <a:gd name="T9" fmla="*/ 0 h 2227"/>
                    <a:gd name="T10" fmla="*/ 0 w 3582"/>
                    <a:gd name="T11" fmla="*/ 0 h 2227"/>
                    <a:gd name="T12" fmla="*/ 0 w 3582"/>
                    <a:gd name="T13" fmla="*/ 0 h 2227"/>
                    <a:gd name="T14" fmla="*/ 0 w 3582"/>
                    <a:gd name="T15" fmla="*/ 0 h 2227"/>
                    <a:gd name="T16" fmla="*/ 0 w 3582"/>
                    <a:gd name="T17" fmla="*/ 0 h 2227"/>
                    <a:gd name="T18" fmla="*/ 0 w 3582"/>
                    <a:gd name="T19" fmla="*/ 0 h 2227"/>
                    <a:gd name="T20" fmla="*/ 0 w 3582"/>
                    <a:gd name="T21" fmla="*/ 0 h 2227"/>
                    <a:gd name="T22" fmla="*/ 0 w 3582"/>
                    <a:gd name="T23" fmla="*/ 0 h 2227"/>
                    <a:gd name="T24" fmla="*/ 0 w 3582"/>
                    <a:gd name="T25" fmla="*/ 0 h 2227"/>
                    <a:gd name="T26" fmla="*/ 0 w 3582"/>
                    <a:gd name="T27" fmla="*/ 0 h 2227"/>
                    <a:gd name="T28" fmla="*/ 0 w 3582"/>
                    <a:gd name="T29" fmla="*/ 0 h 2227"/>
                    <a:gd name="T30" fmla="*/ 0 w 3582"/>
                    <a:gd name="T31" fmla="*/ 0 h 2227"/>
                    <a:gd name="T32" fmla="*/ 0 w 3582"/>
                    <a:gd name="T33" fmla="*/ 0 h 2227"/>
                    <a:gd name="T34" fmla="*/ 0 w 3582"/>
                    <a:gd name="T35" fmla="*/ 0 h 2227"/>
                    <a:gd name="T36" fmla="*/ 0 w 3582"/>
                    <a:gd name="T37" fmla="*/ 0 h 2227"/>
                    <a:gd name="T38" fmla="*/ 0 w 3582"/>
                    <a:gd name="T39" fmla="*/ 0 h 2227"/>
                    <a:gd name="T40" fmla="*/ 0 w 3582"/>
                    <a:gd name="T41" fmla="*/ 0 h 2227"/>
                    <a:gd name="T42" fmla="*/ 0 w 3582"/>
                    <a:gd name="T43" fmla="*/ 0 h 2227"/>
                    <a:gd name="T44" fmla="*/ 0 w 3582"/>
                    <a:gd name="T45" fmla="*/ 0 h 2227"/>
                    <a:gd name="T46" fmla="*/ 0 w 3582"/>
                    <a:gd name="T47" fmla="*/ 0 h 2227"/>
                    <a:gd name="T48" fmla="*/ 0 w 3582"/>
                    <a:gd name="T49" fmla="*/ 0 h 2227"/>
                    <a:gd name="T50" fmla="*/ 0 w 3582"/>
                    <a:gd name="T51" fmla="*/ 0 h 2227"/>
                    <a:gd name="T52" fmla="*/ 0 w 3582"/>
                    <a:gd name="T53" fmla="*/ 0 h 2227"/>
                    <a:gd name="T54" fmla="*/ 0 w 3582"/>
                    <a:gd name="T55" fmla="*/ 0 h 2227"/>
                    <a:gd name="T56" fmla="*/ 0 w 3582"/>
                    <a:gd name="T57" fmla="*/ 0 h 2227"/>
                    <a:gd name="T58" fmla="*/ 0 w 3582"/>
                    <a:gd name="T59" fmla="*/ 0 h 2227"/>
                    <a:gd name="T60" fmla="*/ 0 w 3582"/>
                    <a:gd name="T61" fmla="*/ 0 h 2227"/>
                    <a:gd name="T62" fmla="*/ 0 w 3582"/>
                    <a:gd name="T63" fmla="*/ 0 h 2227"/>
                    <a:gd name="T64" fmla="*/ 0 w 3582"/>
                    <a:gd name="T65" fmla="*/ 0 h 2227"/>
                    <a:gd name="T66" fmla="*/ 0 w 3582"/>
                    <a:gd name="T67" fmla="*/ 0 h 2227"/>
                    <a:gd name="T68" fmla="*/ 0 w 3582"/>
                    <a:gd name="T69" fmla="*/ 0 h 2227"/>
                    <a:gd name="T70" fmla="*/ 0 w 3582"/>
                    <a:gd name="T71" fmla="*/ 0 h 2227"/>
                    <a:gd name="T72" fmla="*/ 0 w 3582"/>
                    <a:gd name="T73" fmla="*/ 0 h 2227"/>
                    <a:gd name="T74" fmla="*/ 0 w 3582"/>
                    <a:gd name="T75" fmla="*/ 0 h 2227"/>
                    <a:gd name="T76" fmla="*/ 0 w 3582"/>
                    <a:gd name="T77" fmla="*/ 0 h 2227"/>
                    <a:gd name="T78" fmla="*/ 0 w 3582"/>
                    <a:gd name="T79" fmla="*/ 0 h 2227"/>
                    <a:gd name="T80" fmla="*/ 0 w 3582"/>
                    <a:gd name="T81" fmla="*/ 0 h 2227"/>
                    <a:gd name="T82" fmla="*/ 0 w 3582"/>
                    <a:gd name="T83" fmla="*/ 0 h 2227"/>
                    <a:gd name="T84" fmla="*/ 0 w 3582"/>
                    <a:gd name="T85" fmla="*/ 0 h 2227"/>
                    <a:gd name="T86" fmla="*/ 0 w 3582"/>
                    <a:gd name="T87" fmla="*/ 0 h 2227"/>
                    <a:gd name="T88" fmla="*/ 0 w 3582"/>
                    <a:gd name="T89" fmla="*/ 0 h 2227"/>
                    <a:gd name="T90" fmla="*/ 0 w 3582"/>
                    <a:gd name="T91" fmla="*/ 0 h 2227"/>
                    <a:gd name="T92" fmla="*/ 0 w 3582"/>
                    <a:gd name="T93" fmla="*/ 0 h 2227"/>
                    <a:gd name="T94" fmla="*/ 0 w 3582"/>
                    <a:gd name="T95" fmla="*/ 0 h 2227"/>
                    <a:gd name="T96" fmla="*/ 0 w 3582"/>
                    <a:gd name="T97" fmla="*/ 0 h 2227"/>
                    <a:gd name="T98" fmla="*/ 0 w 3582"/>
                    <a:gd name="T99" fmla="*/ 0 h 2227"/>
                    <a:gd name="T100" fmla="*/ 0 w 3582"/>
                    <a:gd name="T101" fmla="*/ 0 h 2227"/>
                    <a:gd name="T102" fmla="*/ 0 w 3582"/>
                    <a:gd name="T103" fmla="*/ 0 h 2227"/>
                    <a:gd name="T104" fmla="*/ 0 w 3582"/>
                    <a:gd name="T105" fmla="*/ 0 h 2227"/>
                    <a:gd name="T106" fmla="*/ 0 w 3582"/>
                    <a:gd name="T107" fmla="*/ 0 h 2227"/>
                    <a:gd name="T108" fmla="*/ 0 w 3582"/>
                    <a:gd name="T109" fmla="*/ 0 h 2227"/>
                    <a:gd name="T110" fmla="*/ 0 w 3582"/>
                    <a:gd name="T111" fmla="*/ 0 h 2227"/>
                    <a:gd name="T112" fmla="*/ 0 w 3582"/>
                    <a:gd name="T113" fmla="*/ 0 h 2227"/>
                    <a:gd name="T114" fmla="*/ 0 w 3582"/>
                    <a:gd name="T115" fmla="*/ 0 h 2227"/>
                    <a:gd name="T116" fmla="*/ 0 w 3582"/>
                    <a:gd name="T117" fmla="*/ 0 h 2227"/>
                    <a:gd name="T118" fmla="*/ 0 w 3582"/>
                    <a:gd name="T119" fmla="*/ 0 h 2227"/>
                    <a:gd name="T120" fmla="*/ 0 w 3582"/>
                    <a:gd name="T121" fmla="*/ 0 h 2227"/>
                    <a:gd name="T122" fmla="*/ 0 w 3582"/>
                    <a:gd name="T123" fmla="*/ 0 h 2227"/>
                    <a:gd name="T124" fmla="*/ 0 w 3582"/>
                    <a:gd name="T125" fmla="*/ 0 h 2227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3582"/>
                    <a:gd name="T190" fmla="*/ 0 h 2227"/>
                    <a:gd name="T191" fmla="*/ 3582 w 3582"/>
                    <a:gd name="T192" fmla="*/ 2227 h 2227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3582" h="2227">
                      <a:moveTo>
                        <a:pt x="29" y="1071"/>
                      </a:moveTo>
                      <a:lnTo>
                        <a:pt x="38" y="1035"/>
                      </a:lnTo>
                      <a:lnTo>
                        <a:pt x="49" y="998"/>
                      </a:lnTo>
                      <a:lnTo>
                        <a:pt x="63" y="962"/>
                      </a:lnTo>
                      <a:lnTo>
                        <a:pt x="77" y="925"/>
                      </a:lnTo>
                      <a:lnTo>
                        <a:pt x="93" y="887"/>
                      </a:lnTo>
                      <a:lnTo>
                        <a:pt x="109" y="849"/>
                      </a:lnTo>
                      <a:lnTo>
                        <a:pt x="128" y="810"/>
                      </a:lnTo>
                      <a:lnTo>
                        <a:pt x="148" y="771"/>
                      </a:lnTo>
                      <a:lnTo>
                        <a:pt x="169" y="733"/>
                      </a:lnTo>
                      <a:lnTo>
                        <a:pt x="192" y="694"/>
                      </a:lnTo>
                      <a:lnTo>
                        <a:pt x="215" y="657"/>
                      </a:lnTo>
                      <a:lnTo>
                        <a:pt x="240" y="619"/>
                      </a:lnTo>
                      <a:lnTo>
                        <a:pt x="265" y="581"/>
                      </a:lnTo>
                      <a:lnTo>
                        <a:pt x="292" y="544"/>
                      </a:lnTo>
                      <a:lnTo>
                        <a:pt x="320" y="508"/>
                      </a:lnTo>
                      <a:lnTo>
                        <a:pt x="347" y="472"/>
                      </a:lnTo>
                      <a:lnTo>
                        <a:pt x="378" y="437"/>
                      </a:lnTo>
                      <a:lnTo>
                        <a:pt x="408" y="404"/>
                      </a:lnTo>
                      <a:lnTo>
                        <a:pt x="438" y="372"/>
                      </a:lnTo>
                      <a:lnTo>
                        <a:pt x="470" y="340"/>
                      </a:lnTo>
                      <a:lnTo>
                        <a:pt x="502" y="309"/>
                      </a:lnTo>
                      <a:lnTo>
                        <a:pt x="534" y="282"/>
                      </a:lnTo>
                      <a:lnTo>
                        <a:pt x="568" y="254"/>
                      </a:lnTo>
                      <a:lnTo>
                        <a:pt x="602" y="228"/>
                      </a:lnTo>
                      <a:lnTo>
                        <a:pt x="637" y="205"/>
                      </a:lnTo>
                      <a:lnTo>
                        <a:pt x="671" y="183"/>
                      </a:lnTo>
                      <a:lnTo>
                        <a:pt x="707" y="163"/>
                      </a:lnTo>
                      <a:lnTo>
                        <a:pt x="743" y="145"/>
                      </a:lnTo>
                      <a:lnTo>
                        <a:pt x="778" y="128"/>
                      </a:lnTo>
                      <a:lnTo>
                        <a:pt x="814" y="115"/>
                      </a:lnTo>
                      <a:lnTo>
                        <a:pt x="849" y="104"/>
                      </a:lnTo>
                      <a:lnTo>
                        <a:pt x="886" y="95"/>
                      </a:lnTo>
                      <a:lnTo>
                        <a:pt x="967" y="79"/>
                      </a:lnTo>
                      <a:lnTo>
                        <a:pt x="1052" y="66"/>
                      </a:lnTo>
                      <a:lnTo>
                        <a:pt x="1138" y="52"/>
                      </a:lnTo>
                      <a:lnTo>
                        <a:pt x="1225" y="41"/>
                      </a:lnTo>
                      <a:lnTo>
                        <a:pt x="1314" y="32"/>
                      </a:lnTo>
                      <a:lnTo>
                        <a:pt x="1404" y="23"/>
                      </a:lnTo>
                      <a:lnTo>
                        <a:pt x="1494" y="17"/>
                      </a:lnTo>
                      <a:lnTo>
                        <a:pt x="1585" y="11"/>
                      </a:lnTo>
                      <a:lnTo>
                        <a:pt x="1676" y="7"/>
                      </a:lnTo>
                      <a:lnTo>
                        <a:pt x="1769" y="3"/>
                      </a:lnTo>
                      <a:lnTo>
                        <a:pt x="1860" y="1"/>
                      </a:lnTo>
                      <a:lnTo>
                        <a:pt x="1951" y="0"/>
                      </a:lnTo>
                      <a:lnTo>
                        <a:pt x="2043" y="0"/>
                      </a:lnTo>
                      <a:lnTo>
                        <a:pt x="2133" y="1"/>
                      </a:lnTo>
                      <a:lnTo>
                        <a:pt x="2222" y="3"/>
                      </a:lnTo>
                      <a:lnTo>
                        <a:pt x="2309" y="6"/>
                      </a:lnTo>
                      <a:lnTo>
                        <a:pt x="2395" y="9"/>
                      </a:lnTo>
                      <a:lnTo>
                        <a:pt x="2480" y="13"/>
                      </a:lnTo>
                      <a:lnTo>
                        <a:pt x="2561" y="18"/>
                      </a:lnTo>
                      <a:lnTo>
                        <a:pt x="2641" y="23"/>
                      </a:lnTo>
                      <a:lnTo>
                        <a:pt x="2719" y="30"/>
                      </a:lnTo>
                      <a:lnTo>
                        <a:pt x="2794" y="37"/>
                      </a:lnTo>
                      <a:lnTo>
                        <a:pt x="2866" y="43"/>
                      </a:lnTo>
                      <a:lnTo>
                        <a:pt x="2934" y="51"/>
                      </a:lnTo>
                      <a:lnTo>
                        <a:pt x="3000" y="59"/>
                      </a:lnTo>
                      <a:lnTo>
                        <a:pt x="3061" y="67"/>
                      </a:lnTo>
                      <a:lnTo>
                        <a:pt x="3119" y="76"/>
                      </a:lnTo>
                      <a:lnTo>
                        <a:pt x="3172" y="85"/>
                      </a:lnTo>
                      <a:lnTo>
                        <a:pt x="3220" y="94"/>
                      </a:lnTo>
                      <a:lnTo>
                        <a:pt x="3265" y="102"/>
                      </a:lnTo>
                      <a:lnTo>
                        <a:pt x="3304" y="111"/>
                      </a:lnTo>
                      <a:lnTo>
                        <a:pt x="3338" y="120"/>
                      </a:lnTo>
                      <a:lnTo>
                        <a:pt x="3368" y="130"/>
                      </a:lnTo>
                      <a:lnTo>
                        <a:pt x="3397" y="141"/>
                      </a:lnTo>
                      <a:lnTo>
                        <a:pt x="3423" y="155"/>
                      </a:lnTo>
                      <a:lnTo>
                        <a:pt x="3446" y="169"/>
                      </a:lnTo>
                      <a:lnTo>
                        <a:pt x="3467" y="186"/>
                      </a:lnTo>
                      <a:lnTo>
                        <a:pt x="3487" y="203"/>
                      </a:lnTo>
                      <a:lnTo>
                        <a:pt x="3504" y="222"/>
                      </a:lnTo>
                      <a:lnTo>
                        <a:pt x="3520" y="242"/>
                      </a:lnTo>
                      <a:lnTo>
                        <a:pt x="3533" y="264"/>
                      </a:lnTo>
                      <a:lnTo>
                        <a:pt x="3545" y="286"/>
                      </a:lnTo>
                      <a:lnTo>
                        <a:pt x="3555" y="309"/>
                      </a:lnTo>
                      <a:lnTo>
                        <a:pt x="3563" y="335"/>
                      </a:lnTo>
                      <a:lnTo>
                        <a:pt x="3570" y="361"/>
                      </a:lnTo>
                      <a:lnTo>
                        <a:pt x="3575" y="387"/>
                      </a:lnTo>
                      <a:lnTo>
                        <a:pt x="3579" y="414"/>
                      </a:lnTo>
                      <a:lnTo>
                        <a:pt x="3582" y="443"/>
                      </a:lnTo>
                      <a:lnTo>
                        <a:pt x="3582" y="472"/>
                      </a:lnTo>
                      <a:lnTo>
                        <a:pt x="3582" y="502"/>
                      </a:lnTo>
                      <a:lnTo>
                        <a:pt x="3581" y="532"/>
                      </a:lnTo>
                      <a:lnTo>
                        <a:pt x="3577" y="563"/>
                      </a:lnTo>
                      <a:lnTo>
                        <a:pt x="3574" y="594"/>
                      </a:lnTo>
                      <a:lnTo>
                        <a:pt x="3569" y="627"/>
                      </a:lnTo>
                      <a:lnTo>
                        <a:pt x="3563" y="659"/>
                      </a:lnTo>
                      <a:lnTo>
                        <a:pt x="3556" y="691"/>
                      </a:lnTo>
                      <a:lnTo>
                        <a:pt x="3548" y="723"/>
                      </a:lnTo>
                      <a:lnTo>
                        <a:pt x="3540" y="757"/>
                      </a:lnTo>
                      <a:lnTo>
                        <a:pt x="3531" y="789"/>
                      </a:lnTo>
                      <a:lnTo>
                        <a:pt x="3521" y="822"/>
                      </a:lnTo>
                      <a:lnTo>
                        <a:pt x="3500" y="889"/>
                      </a:lnTo>
                      <a:lnTo>
                        <a:pt x="3476" y="955"/>
                      </a:lnTo>
                      <a:lnTo>
                        <a:pt x="3464" y="987"/>
                      </a:lnTo>
                      <a:lnTo>
                        <a:pt x="3449" y="1021"/>
                      </a:lnTo>
                      <a:lnTo>
                        <a:pt x="3435" y="1053"/>
                      </a:lnTo>
                      <a:lnTo>
                        <a:pt x="3419" y="1085"/>
                      </a:lnTo>
                      <a:lnTo>
                        <a:pt x="3404" y="1117"/>
                      </a:lnTo>
                      <a:lnTo>
                        <a:pt x="3386" y="1149"/>
                      </a:lnTo>
                      <a:lnTo>
                        <a:pt x="3368" y="1179"/>
                      </a:lnTo>
                      <a:lnTo>
                        <a:pt x="3349" y="1210"/>
                      </a:lnTo>
                      <a:lnTo>
                        <a:pt x="3329" y="1240"/>
                      </a:lnTo>
                      <a:lnTo>
                        <a:pt x="3309" y="1269"/>
                      </a:lnTo>
                      <a:lnTo>
                        <a:pt x="3288" y="1299"/>
                      </a:lnTo>
                      <a:lnTo>
                        <a:pt x="3266" y="1327"/>
                      </a:lnTo>
                      <a:lnTo>
                        <a:pt x="3244" y="1356"/>
                      </a:lnTo>
                      <a:lnTo>
                        <a:pt x="3220" y="1383"/>
                      </a:lnTo>
                      <a:lnTo>
                        <a:pt x="3197" y="1410"/>
                      </a:lnTo>
                      <a:lnTo>
                        <a:pt x="3172" y="1437"/>
                      </a:lnTo>
                      <a:lnTo>
                        <a:pt x="3148" y="1463"/>
                      </a:lnTo>
                      <a:lnTo>
                        <a:pt x="3122" y="1489"/>
                      </a:lnTo>
                      <a:lnTo>
                        <a:pt x="3095" y="1515"/>
                      </a:lnTo>
                      <a:lnTo>
                        <a:pt x="3070" y="1539"/>
                      </a:lnTo>
                      <a:lnTo>
                        <a:pt x="3042" y="1564"/>
                      </a:lnTo>
                      <a:lnTo>
                        <a:pt x="3015" y="1587"/>
                      </a:lnTo>
                      <a:lnTo>
                        <a:pt x="2988" y="1609"/>
                      </a:lnTo>
                      <a:lnTo>
                        <a:pt x="2959" y="1632"/>
                      </a:lnTo>
                      <a:lnTo>
                        <a:pt x="2930" y="1654"/>
                      </a:lnTo>
                      <a:lnTo>
                        <a:pt x="2901" y="1675"/>
                      </a:lnTo>
                      <a:lnTo>
                        <a:pt x="2872" y="1696"/>
                      </a:lnTo>
                      <a:lnTo>
                        <a:pt x="2842" y="1715"/>
                      </a:lnTo>
                      <a:lnTo>
                        <a:pt x="2812" y="1735"/>
                      </a:lnTo>
                      <a:lnTo>
                        <a:pt x="2782" y="1753"/>
                      </a:lnTo>
                      <a:lnTo>
                        <a:pt x="2752" y="1772"/>
                      </a:lnTo>
                      <a:lnTo>
                        <a:pt x="2720" y="1788"/>
                      </a:lnTo>
                      <a:lnTo>
                        <a:pt x="2666" y="1818"/>
                      </a:lnTo>
                      <a:lnTo>
                        <a:pt x="2609" y="1847"/>
                      </a:lnTo>
                      <a:lnTo>
                        <a:pt x="2549" y="1876"/>
                      </a:lnTo>
                      <a:lnTo>
                        <a:pt x="2487" y="1905"/>
                      </a:lnTo>
                      <a:lnTo>
                        <a:pt x="2423" y="1934"/>
                      </a:lnTo>
                      <a:lnTo>
                        <a:pt x="2356" y="1962"/>
                      </a:lnTo>
                      <a:lnTo>
                        <a:pt x="2289" y="1989"/>
                      </a:lnTo>
                      <a:lnTo>
                        <a:pt x="2220" y="2015"/>
                      </a:lnTo>
                      <a:lnTo>
                        <a:pt x="2148" y="2040"/>
                      </a:lnTo>
                      <a:lnTo>
                        <a:pt x="2077" y="2064"/>
                      </a:lnTo>
                      <a:lnTo>
                        <a:pt x="2004" y="2088"/>
                      </a:lnTo>
                      <a:lnTo>
                        <a:pt x="1929" y="2110"/>
                      </a:lnTo>
                      <a:lnTo>
                        <a:pt x="1854" y="2130"/>
                      </a:lnTo>
                      <a:lnTo>
                        <a:pt x="1779" y="2149"/>
                      </a:lnTo>
                      <a:lnTo>
                        <a:pt x="1703" y="2166"/>
                      </a:lnTo>
                      <a:lnTo>
                        <a:pt x="1627" y="2181"/>
                      </a:lnTo>
                      <a:lnTo>
                        <a:pt x="1551" y="2195"/>
                      </a:lnTo>
                      <a:lnTo>
                        <a:pt x="1475" y="2206"/>
                      </a:lnTo>
                      <a:lnTo>
                        <a:pt x="1398" y="2215"/>
                      </a:lnTo>
                      <a:lnTo>
                        <a:pt x="1324" y="2221"/>
                      </a:lnTo>
                      <a:lnTo>
                        <a:pt x="1248" y="2225"/>
                      </a:lnTo>
                      <a:lnTo>
                        <a:pt x="1174" y="2227"/>
                      </a:lnTo>
                      <a:lnTo>
                        <a:pt x="1101" y="2226"/>
                      </a:lnTo>
                      <a:lnTo>
                        <a:pt x="1029" y="2221"/>
                      </a:lnTo>
                      <a:lnTo>
                        <a:pt x="959" y="2215"/>
                      </a:lnTo>
                      <a:lnTo>
                        <a:pt x="888" y="2205"/>
                      </a:lnTo>
                      <a:lnTo>
                        <a:pt x="822" y="2191"/>
                      </a:lnTo>
                      <a:lnTo>
                        <a:pt x="755" y="2175"/>
                      </a:lnTo>
                      <a:lnTo>
                        <a:pt x="691" y="2155"/>
                      </a:lnTo>
                      <a:lnTo>
                        <a:pt x="629" y="2131"/>
                      </a:lnTo>
                      <a:lnTo>
                        <a:pt x="570" y="2103"/>
                      </a:lnTo>
                      <a:lnTo>
                        <a:pt x="512" y="2072"/>
                      </a:lnTo>
                      <a:lnTo>
                        <a:pt x="479" y="2051"/>
                      </a:lnTo>
                      <a:lnTo>
                        <a:pt x="445" y="2030"/>
                      </a:lnTo>
                      <a:lnTo>
                        <a:pt x="412" y="2007"/>
                      </a:lnTo>
                      <a:lnTo>
                        <a:pt x="381" y="1984"/>
                      </a:lnTo>
                      <a:lnTo>
                        <a:pt x="351" y="1960"/>
                      </a:lnTo>
                      <a:lnTo>
                        <a:pt x="321" y="1935"/>
                      </a:lnTo>
                      <a:lnTo>
                        <a:pt x="293" y="1911"/>
                      </a:lnTo>
                      <a:lnTo>
                        <a:pt x="265" y="1885"/>
                      </a:lnTo>
                      <a:lnTo>
                        <a:pt x="240" y="1859"/>
                      </a:lnTo>
                      <a:lnTo>
                        <a:pt x="214" y="1832"/>
                      </a:lnTo>
                      <a:lnTo>
                        <a:pt x="191" y="1804"/>
                      </a:lnTo>
                      <a:lnTo>
                        <a:pt x="167" y="1775"/>
                      </a:lnTo>
                      <a:lnTo>
                        <a:pt x="146" y="1746"/>
                      </a:lnTo>
                      <a:lnTo>
                        <a:pt x="126" y="1716"/>
                      </a:lnTo>
                      <a:lnTo>
                        <a:pt x="107" y="1686"/>
                      </a:lnTo>
                      <a:lnTo>
                        <a:pt x="90" y="1655"/>
                      </a:lnTo>
                      <a:lnTo>
                        <a:pt x="74" y="1623"/>
                      </a:lnTo>
                      <a:lnTo>
                        <a:pt x="59" y="1590"/>
                      </a:lnTo>
                      <a:lnTo>
                        <a:pt x="47" y="1557"/>
                      </a:lnTo>
                      <a:lnTo>
                        <a:pt x="35" y="1524"/>
                      </a:lnTo>
                      <a:lnTo>
                        <a:pt x="25" y="1489"/>
                      </a:lnTo>
                      <a:lnTo>
                        <a:pt x="17" y="1455"/>
                      </a:lnTo>
                      <a:lnTo>
                        <a:pt x="10" y="1419"/>
                      </a:lnTo>
                      <a:lnTo>
                        <a:pt x="5" y="1382"/>
                      </a:lnTo>
                      <a:lnTo>
                        <a:pt x="1" y="1346"/>
                      </a:lnTo>
                      <a:lnTo>
                        <a:pt x="0" y="1308"/>
                      </a:lnTo>
                      <a:lnTo>
                        <a:pt x="0" y="1270"/>
                      </a:lnTo>
                      <a:lnTo>
                        <a:pt x="2" y="1231"/>
                      </a:lnTo>
                      <a:lnTo>
                        <a:pt x="6" y="1192"/>
                      </a:lnTo>
                      <a:lnTo>
                        <a:pt x="11" y="1152"/>
                      </a:lnTo>
                      <a:lnTo>
                        <a:pt x="19" y="1112"/>
                      </a:lnTo>
                      <a:lnTo>
                        <a:pt x="29" y="1071"/>
                      </a:lnTo>
                      <a:close/>
                    </a:path>
                  </a:pathLst>
                </a:custGeom>
                <a:solidFill>
                  <a:srgbClr val="242D54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103" name="Freeform 212"/>
                <p:cNvSpPr>
                  <a:spLocks/>
                </p:cNvSpPr>
                <p:nvPr/>
              </p:nvSpPr>
              <p:spPr bwMode="auto">
                <a:xfrm>
                  <a:off x="2763" y="2652"/>
                  <a:ext cx="509" cy="269"/>
                </a:xfrm>
                <a:custGeom>
                  <a:avLst/>
                  <a:gdLst>
                    <a:gd name="T0" fmla="*/ 0 w 3582"/>
                    <a:gd name="T1" fmla="*/ 0 h 1884"/>
                    <a:gd name="T2" fmla="*/ 0 w 3582"/>
                    <a:gd name="T3" fmla="*/ 0 h 1884"/>
                    <a:gd name="T4" fmla="*/ 0 w 3582"/>
                    <a:gd name="T5" fmla="*/ 0 h 1884"/>
                    <a:gd name="T6" fmla="*/ 0 w 3582"/>
                    <a:gd name="T7" fmla="*/ 0 h 1884"/>
                    <a:gd name="T8" fmla="*/ 0 w 3582"/>
                    <a:gd name="T9" fmla="*/ 0 h 1884"/>
                    <a:gd name="T10" fmla="*/ 0 w 3582"/>
                    <a:gd name="T11" fmla="*/ 0 h 1884"/>
                    <a:gd name="T12" fmla="*/ 0 w 3582"/>
                    <a:gd name="T13" fmla="*/ 0 h 1884"/>
                    <a:gd name="T14" fmla="*/ 0 w 3582"/>
                    <a:gd name="T15" fmla="*/ 0 h 1884"/>
                    <a:gd name="T16" fmla="*/ 0 w 3582"/>
                    <a:gd name="T17" fmla="*/ 0 h 1884"/>
                    <a:gd name="T18" fmla="*/ 0 w 3582"/>
                    <a:gd name="T19" fmla="*/ 0 h 1884"/>
                    <a:gd name="T20" fmla="*/ 0 w 3582"/>
                    <a:gd name="T21" fmla="*/ 0 h 1884"/>
                    <a:gd name="T22" fmla="*/ 0 w 3582"/>
                    <a:gd name="T23" fmla="*/ 0 h 1884"/>
                    <a:gd name="T24" fmla="*/ 0 w 3582"/>
                    <a:gd name="T25" fmla="*/ 0 h 1884"/>
                    <a:gd name="T26" fmla="*/ 0 w 3582"/>
                    <a:gd name="T27" fmla="*/ 0 h 1884"/>
                    <a:gd name="T28" fmla="*/ 0 w 3582"/>
                    <a:gd name="T29" fmla="*/ 0 h 1884"/>
                    <a:gd name="T30" fmla="*/ 0 w 3582"/>
                    <a:gd name="T31" fmla="*/ 0 h 1884"/>
                    <a:gd name="T32" fmla="*/ 0 w 3582"/>
                    <a:gd name="T33" fmla="*/ 0 h 1884"/>
                    <a:gd name="T34" fmla="*/ 0 w 3582"/>
                    <a:gd name="T35" fmla="*/ 0 h 1884"/>
                    <a:gd name="T36" fmla="*/ 0 w 3582"/>
                    <a:gd name="T37" fmla="*/ 0 h 1884"/>
                    <a:gd name="T38" fmla="*/ 0 w 3582"/>
                    <a:gd name="T39" fmla="*/ 0 h 1884"/>
                    <a:gd name="T40" fmla="*/ 0 w 3582"/>
                    <a:gd name="T41" fmla="*/ 0 h 1884"/>
                    <a:gd name="T42" fmla="*/ 0 w 3582"/>
                    <a:gd name="T43" fmla="*/ 0 h 1884"/>
                    <a:gd name="T44" fmla="*/ 0 w 3582"/>
                    <a:gd name="T45" fmla="*/ 0 h 1884"/>
                    <a:gd name="T46" fmla="*/ 0 w 3582"/>
                    <a:gd name="T47" fmla="*/ 0 h 1884"/>
                    <a:gd name="T48" fmla="*/ 0 w 3582"/>
                    <a:gd name="T49" fmla="*/ 0 h 1884"/>
                    <a:gd name="T50" fmla="*/ 0 w 3582"/>
                    <a:gd name="T51" fmla="*/ 0 h 1884"/>
                    <a:gd name="T52" fmla="*/ 0 w 3582"/>
                    <a:gd name="T53" fmla="*/ 0 h 1884"/>
                    <a:gd name="T54" fmla="*/ 0 w 3582"/>
                    <a:gd name="T55" fmla="*/ 0 h 1884"/>
                    <a:gd name="T56" fmla="*/ 0 w 3582"/>
                    <a:gd name="T57" fmla="*/ 0 h 1884"/>
                    <a:gd name="T58" fmla="*/ 0 w 3582"/>
                    <a:gd name="T59" fmla="*/ 0 h 1884"/>
                    <a:gd name="T60" fmla="*/ 0 w 3582"/>
                    <a:gd name="T61" fmla="*/ 0 h 1884"/>
                    <a:gd name="T62" fmla="*/ 0 w 3582"/>
                    <a:gd name="T63" fmla="*/ 0 h 1884"/>
                    <a:gd name="T64" fmla="*/ 0 w 3582"/>
                    <a:gd name="T65" fmla="*/ 0 h 1884"/>
                    <a:gd name="T66" fmla="*/ 0 w 3582"/>
                    <a:gd name="T67" fmla="*/ 0 h 1884"/>
                    <a:gd name="T68" fmla="*/ 0 w 3582"/>
                    <a:gd name="T69" fmla="*/ 0 h 1884"/>
                    <a:gd name="T70" fmla="*/ 0 w 3582"/>
                    <a:gd name="T71" fmla="*/ 0 h 1884"/>
                    <a:gd name="T72" fmla="*/ 0 w 3582"/>
                    <a:gd name="T73" fmla="*/ 0 h 1884"/>
                    <a:gd name="T74" fmla="*/ 0 w 3582"/>
                    <a:gd name="T75" fmla="*/ 0 h 1884"/>
                    <a:gd name="T76" fmla="*/ 0 w 3582"/>
                    <a:gd name="T77" fmla="*/ 0 h 1884"/>
                    <a:gd name="T78" fmla="*/ 0 w 3582"/>
                    <a:gd name="T79" fmla="*/ 0 h 1884"/>
                    <a:gd name="T80" fmla="*/ 0 w 3582"/>
                    <a:gd name="T81" fmla="*/ 0 h 1884"/>
                    <a:gd name="T82" fmla="*/ 0 w 3582"/>
                    <a:gd name="T83" fmla="*/ 0 h 1884"/>
                    <a:gd name="T84" fmla="*/ 0 w 3582"/>
                    <a:gd name="T85" fmla="*/ 0 h 1884"/>
                    <a:gd name="T86" fmla="*/ 0 w 3582"/>
                    <a:gd name="T87" fmla="*/ 0 h 1884"/>
                    <a:gd name="T88" fmla="*/ 0 w 3582"/>
                    <a:gd name="T89" fmla="*/ 0 h 1884"/>
                    <a:gd name="T90" fmla="*/ 0 w 3582"/>
                    <a:gd name="T91" fmla="*/ 0 h 1884"/>
                    <a:gd name="T92" fmla="*/ 0 w 3582"/>
                    <a:gd name="T93" fmla="*/ 0 h 1884"/>
                    <a:gd name="T94" fmla="*/ 0 w 3582"/>
                    <a:gd name="T95" fmla="*/ 0 h 1884"/>
                    <a:gd name="T96" fmla="*/ 0 w 3582"/>
                    <a:gd name="T97" fmla="*/ 0 h 1884"/>
                    <a:gd name="T98" fmla="*/ 0 w 3582"/>
                    <a:gd name="T99" fmla="*/ 0 h 1884"/>
                    <a:gd name="T100" fmla="*/ 0 w 3582"/>
                    <a:gd name="T101" fmla="*/ 0 h 1884"/>
                    <a:gd name="T102" fmla="*/ 0 w 3582"/>
                    <a:gd name="T103" fmla="*/ 0 h 1884"/>
                    <a:gd name="T104" fmla="*/ 0 w 3582"/>
                    <a:gd name="T105" fmla="*/ 0 h 1884"/>
                    <a:gd name="T106" fmla="*/ 0 w 3582"/>
                    <a:gd name="T107" fmla="*/ 0 h 1884"/>
                    <a:gd name="T108" fmla="*/ 0 w 3582"/>
                    <a:gd name="T109" fmla="*/ 0 h 1884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3582"/>
                    <a:gd name="T166" fmla="*/ 0 h 1884"/>
                    <a:gd name="T167" fmla="*/ 3582 w 3582"/>
                    <a:gd name="T168" fmla="*/ 1884 h 1884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3582" h="1884">
                      <a:moveTo>
                        <a:pt x="29" y="728"/>
                      </a:moveTo>
                      <a:lnTo>
                        <a:pt x="32" y="715"/>
                      </a:lnTo>
                      <a:lnTo>
                        <a:pt x="36" y="702"/>
                      </a:lnTo>
                      <a:lnTo>
                        <a:pt x="40" y="689"/>
                      </a:lnTo>
                      <a:lnTo>
                        <a:pt x="43" y="677"/>
                      </a:lnTo>
                      <a:lnTo>
                        <a:pt x="49" y="701"/>
                      </a:lnTo>
                      <a:lnTo>
                        <a:pt x="56" y="725"/>
                      </a:lnTo>
                      <a:lnTo>
                        <a:pt x="62" y="749"/>
                      </a:lnTo>
                      <a:lnTo>
                        <a:pt x="70" y="773"/>
                      </a:lnTo>
                      <a:lnTo>
                        <a:pt x="78" y="796"/>
                      </a:lnTo>
                      <a:lnTo>
                        <a:pt x="87" y="819"/>
                      </a:lnTo>
                      <a:lnTo>
                        <a:pt x="97" y="842"/>
                      </a:lnTo>
                      <a:lnTo>
                        <a:pt x="107" y="864"/>
                      </a:lnTo>
                      <a:lnTo>
                        <a:pt x="118" y="886"/>
                      </a:lnTo>
                      <a:lnTo>
                        <a:pt x="130" y="908"/>
                      </a:lnTo>
                      <a:lnTo>
                        <a:pt x="142" y="929"/>
                      </a:lnTo>
                      <a:lnTo>
                        <a:pt x="156" y="951"/>
                      </a:lnTo>
                      <a:lnTo>
                        <a:pt x="170" y="972"/>
                      </a:lnTo>
                      <a:lnTo>
                        <a:pt x="185" y="992"/>
                      </a:lnTo>
                      <a:lnTo>
                        <a:pt x="199" y="1012"/>
                      </a:lnTo>
                      <a:lnTo>
                        <a:pt x="216" y="1032"/>
                      </a:lnTo>
                      <a:lnTo>
                        <a:pt x="231" y="1052"/>
                      </a:lnTo>
                      <a:lnTo>
                        <a:pt x="249" y="1071"/>
                      </a:lnTo>
                      <a:lnTo>
                        <a:pt x="266" y="1090"/>
                      </a:lnTo>
                      <a:lnTo>
                        <a:pt x="285" y="1108"/>
                      </a:lnTo>
                      <a:lnTo>
                        <a:pt x="303" y="1126"/>
                      </a:lnTo>
                      <a:lnTo>
                        <a:pt x="322" y="1144"/>
                      </a:lnTo>
                      <a:lnTo>
                        <a:pt x="342" y="1162"/>
                      </a:lnTo>
                      <a:lnTo>
                        <a:pt x="362" y="1179"/>
                      </a:lnTo>
                      <a:lnTo>
                        <a:pt x="383" y="1195"/>
                      </a:lnTo>
                      <a:lnTo>
                        <a:pt x="404" y="1212"/>
                      </a:lnTo>
                      <a:lnTo>
                        <a:pt x="426" y="1229"/>
                      </a:lnTo>
                      <a:lnTo>
                        <a:pt x="448" y="1244"/>
                      </a:lnTo>
                      <a:lnTo>
                        <a:pt x="494" y="1276"/>
                      </a:lnTo>
                      <a:lnTo>
                        <a:pt x="541" y="1304"/>
                      </a:lnTo>
                      <a:lnTo>
                        <a:pt x="599" y="1336"/>
                      </a:lnTo>
                      <a:lnTo>
                        <a:pt x="658" y="1363"/>
                      </a:lnTo>
                      <a:lnTo>
                        <a:pt x="720" y="1387"/>
                      </a:lnTo>
                      <a:lnTo>
                        <a:pt x="783" y="1407"/>
                      </a:lnTo>
                      <a:lnTo>
                        <a:pt x="850" y="1424"/>
                      </a:lnTo>
                      <a:lnTo>
                        <a:pt x="917" y="1437"/>
                      </a:lnTo>
                      <a:lnTo>
                        <a:pt x="987" y="1447"/>
                      </a:lnTo>
                      <a:lnTo>
                        <a:pt x="1057" y="1455"/>
                      </a:lnTo>
                      <a:lnTo>
                        <a:pt x="1130" y="1458"/>
                      </a:lnTo>
                      <a:lnTo>
                        <a:pt x="1203" y="1459"/>
                      </a:lnTo>
                      <a:lnTo>
                        <a:pt x="1277" y="1458"/>
                      </a:lnTo>
                      <a:lnTo>
                        <a:pt x="1352" y="1454"/>
                      </a:lnTo>
                      <a:lnTo>
                        <a:pt x="1427" y="1447"/>
                      </a:lnTo>
                      <a:lnTo>
                        <a:pt x="1504" y="1438"/>
                      </a:lnTo>
                      <a:lnTo>
                        <a:pt x="1579" y="1427"/>
                      </a:lnTo>
                      <a:lnTo>
                        <a:pt x="1656" y="1414"/>
                      </a:lnTo>
                      <a:lnTo>
                        <a:pt x="1732" y="1398"/>
                      </a:lnTo>
                      <a:lnTo>
                        <a:pt x="1807" y="1381"/>
                      </a:lnTo>
                      <a:lnTo>
                        <a:pt x="1883" y="1362"/>
                      </a:lnTo>
                      <a:lnTo>
                        <a:pt x="1958" y="1342"/>
                      </a:lnTo>
                      <a:lnTo>
                        <a:pt x="2032" y="1320"/>
                      </a:lnTo>
                      <a:lnTo>
                        <a:pt x="2106" y="1298"/>
                      </a:lnTo>
                      <a:lnTo>
                        <a:pt x="2177" y="1273"/>
                      </a:lnTo>
                      <a:lnTo>
                        <a:pt x="2248" y="1248"/>
                      </a:lnTo>
                      <a:lnTo>
                        <a:pt x="2317" y="1221"/>
                      </a:lnTo>
                      <a:lnTo>
                        <a:pt x="2385" y="1194"/>
                      </a:lnTo>
                      <a:lnTo>
                        <a:pt x="2452" y="1166"/>
                      </a:lnTo>
                      <a:lnTo>
                        <a:pt x="2515" y="1139"/>
                      </a:lnTo>
                      <a:lnTo>
                        <a:pt x="2578" y="1110"/>
                      </a:lnTo>
                      <a:lnTo>
                        <a:pt x="2637" y="1080"/>
                      </a:lnTo>
                      <a:lnTo>
                        <a:pt x="2695" y="1051"/>
                      </a:lnTo>
                      <a:lnTo>
                        <a:pt x="2749" y="1022"/>
                      </a:lnTo>
                      <a:lnTo>
                        <a:pt x="2780" y="1004"/>
                      </a:lnTo>
                      <a:lnTo>
                        <a:pt x="2810" y="986"/>
                      </a:lnTo>
                      <a:lnTo>
                        <a:pt x="2840" y="967"/>
                      </a:lnTo>
                      <a:lnTo>
                        <a:pt x="2870" y="948"/>
                      </a:lnTo>
                      <a:lnTo>
                        <a:pt x="2900" y="928"/>
                      </a:lnTo>
                      <a:lnTo>
                        <a:pt x="2929" y="907"/>
                      </a:lnTo>
                      <a:lnTo>
                        <a:pt x="2958" y="886"/>
                      </a:lnTo>
                      <a:lnTo>
                        <a:pt x="2987" y="865"/>
                      </a:lnTo>
                      <a:lnTo>
                        <a:pt x="3015" y="843"/>
                      </a:lnTo>
                      <a:lnTo>
                        <a:pt x="3044" y="819"/>
                      </a:lnTo>
                      <a:lnTo>
                        <a:pt x="3071" y="796"/>
                      </a:lnTo>
                      <a:lnTo>
                        <a:pt x="3099" y="771"/>
                      </a:lnTo>
                      <a:lnTo>
                        <a:pt x="3124" y="747"/>
                      </a:lnTo>
                      <a:lnTo>
                        <a:pt x="3151" y="722"/>
                      </a:lnTo>
                      <a:lnTo>
                        <a:pt x="3176" y="696"/>
                      </a:lnTo>
                      <a:lnTo>
                        <a:pt x="3201" y="670"/>
                      </a:lnTo>
                      <a:lnTo>
                        <a:pt x="3225" y="643"/>
                      </a:lnTo>
                      <a:lnTo>
                        <a:pt x="3249" y="616"/>
                      </a:lnTo>
                      <a:lnTo>
                        <a:pt x="3272" y="588"/>
                      </a:lnTo>
                      <a:lnTo>
                        <a:pt x="3294" y="560"/>
                      </a:lnTo>
                      <a:lnTo>
                        <a:pt x="3317" y="531"/>
                      </a:lnTo>
                      <a:lnTo>
                        <a:pt x="3338" y="502"/>
                      </a:lnTo>
                      <a:lnTo>
                        <a:pt x="3358" y="472"/>
                      </a:lnTo>
                      <a:lnTo>
                        <a:pt x="3378" y="442"/>
                      </a:lnTo>
                      <a:lnTo>
                        <a:pt x="3397" y="412"/>
                      </a:lnTo>
                      <a:lnTo>
                        <a:pt x="3415" y="381"/>
                      </a:lnTo>
                      <a:lnTo>
                        <a:pt x="3431" y="350"/>
                      </a:lnTo>
                      <a:lnTo>
                        <a:pt x="3448" y="317"/>
                      </a:lnTo>
                      <a:lnTo>
                        <a:pt x="3464" y="286"/>
                      </a:lnTo>
                      <a:lnTo>
                        <a:pt x="3478" y="253"/>
                      </a:lnTo>
                      <a:lnTo>
                        <a:pt x="3493" y="221"/>
                      </a:lnTo>
                      <a:lnTo>
                        <a:pt x="3505" y="187"/>
                      </a:lnTo>
                      <a:lnTo>
                        <a:pt x="3514" y="164"/>
                      </a:lnTo>
                      <a:lnTo>
                        <a:pt x="3521" y="140"/>
                      </a:lnTo>
                      <a:lnTo>
                        <a:pt x="3529" y="117"/>
                      </a:lnTo>
                      <a:lnTo>
                        <a:pt x="3537" y="94"/>
                      </a:lnTo>
                      <a:lnTo>
                        <a:pt x="3545" y="70"/>
                      </a:lnTo>
                      <a:lnTo>
                        <a:pt x="3552" y="47"/>
                      </a:lnTo>
                      <a:lnTo>
                        <a:pt x="3558" y="24"/>
                      </a:lnTo>
                      <a:lnTo>
                        <a:pt x="3565" y="0"/>
                      </a:lnTo>
                      <a:lnTo>
                        <a:pt x="3569" y="16"/>
                      </a:lnTo>
                      <a:lnTo>
                        <a:pt x="3573" y="33"/>
                      </a:lnTo>
                      <a:lnTo>
                        <a:pt x="3576" y="49"/>
                      </a:lnTo>
                      <a:lnTo>
                        <a:pt x="3578" y="66"/>
                      </a:lnTo>
                      <a:lnTo>
                        <a:pt x="3582" y="100"/>
                      </a:lnTo>
                      <a:lnTo>
                        <a:pt x="3582" y="136"/>
                      </a:lnTo>
                      <a:lnTo>
                        <a:pt x="3582" y="173"/>
                      </a:lnTo>
                      <a:lnTo>
                        <a:pt x="3578" y="211"/>
                      </a:lnTo>
                      <a:lnTo>
                        <a:pt x="3574" y="250"/>
                      </a:lnTo>
                      <a:lnTo>
                        <a:pt x="3568" y="288"/>
                      </a:lnTo>
                      <a:lnTo>
                        <a:pt x="3560" y="329"/>
                      </a:lnTo>
                      <a:lnTo>
                        <a:pt x="3552" y="369"/>
                      </a:lnTo>
                      <a:lnTo>
                        <a:pt x="3541" y="409"/>
                      </a:lnTo>
                      <a:lnTo>
                        <a:pt x="3530" y="450"/>
                      </a:lnTo>
                      <a:lnTo>
                        <a:pt x="3518" y="491"/>
                      </a:lnTo>
                      <a:lnTo>
                        <a:pt x="3505" y="531"/>
                      </a:lnTo>
                      <a:lnTo>
                        <a:pt x="3491" y="572"/>
                      </a:lnTo>
                      <a:lnTo>
                        <a:pt x="3477" y="612"/>
                      </a:lnTo>
                      <a:lnTo>
                        <a:pt x="3464" y="646"/>
                      </a:lnTo>
                      <a:lnTo>
                        <a:pt x="3450" y="678"/>
                      </a:lnTo>
                      <a:lnTo>
                        <a:pt x="3436" y="710"/>
                      </a:lnTo>
                      <a:lnTo>
                        <a:pt x="3420" y="742"/>
                      </a:lnTo>
                      <a:lnTo>
                        <a:pt x="3403" y="775"/>
                      </a:lnTo>
                      <a:lnTo>
                        <a:pt x="3387" y="806"/>
                      </a:lnTo>
                      <a:lnTo>
                        <a:pt x="3368" y="837"/>
                      </a:lnTo>
                      <a:lnTo>
                        <a:pt x="3349" y="867"/>
                      </a:lnTo>
                      <a:lnTo>
                        <a:pt x="3330" y="897"/>
                      </a:lnTo>
                      <a:lnTo>
                        <a:pt x="3309" y="927"/>
                      </a:lnTo>
                      <a:lnTo>
                        <a:pt x="3288" y="956"/>
                      </a:lnTo>
                      <a:lnTo>
                        <a:pt x="3267" y="985"/>
                      </a:lnTo>
                      <a:lnTo>
                        <a:pt x="3244" y="1013"/>
                      </a:lnTo>
                      <a:lnTo>
                        <a:pt x="3221" y="1041"/>
                      </a:lnTo>
                      <a:lnTo>
                        <a:pt x="3196" y="1069"/>
                      </a:lnTo>
                      <a:lnTo>
                        <a:pt x="3173" y="1095"/>
                      </a:lnTo>
                      <a:lnTo>
                        <a:pt x="3147" y="1121"/>
                      </a:lnTo>
                      <a:lnTo>
                        <a:pt x="3122" y="1146"/>
                      </a:lnTo>
                      <a:lnTo>
                        <a:pt x="3096" y="1172"/>
                      </a:lnTo>
                      <a:lnTo>
                        <a:pt x="3070" y="1197"/>
                      </a:lnTo>
                      <a:lnTo>
                        <a:pt x="3043" y="1221"/>
                      </a:lnTo>
                      <a:lnTo>
                        <a:pt x="3015" y="1244"/>
                      </a:lnTo>
                      <a:lnTo>
                        <a:pt x="2987" y="1268"/>
                      </a:lnTo>
                      <a:lnTo>
                        <a:pt x="2959" y="1290"/>
                      </a:lnTo>
                      <a:lnTo>
                        <a:pt x="2930" y="1311"/>
                      </a:lnTo>
                      <a:lnTo>
                        <a:pt x="2902" y="1332"/>
                      </a:lnTo>
                      <a:lnTo>
                        <a:pt x="2871" y="1353"/>
                      </a:lnTo>
                      <a:lnTo>
                        <a:pt x="2843" y="1373"/>
                      </a:lnTo>
                      <a:lnTo>
                        <a:pt x="2812" y="1392"/>
                      </a:lnTo>
                      <a:lnTo>
                        <a:pt x="2781" y="1411"/>
                      </a:lnTo>
                      <a:lnTo>
                        <a:pt x="2751" y="1429"/>
                      </a:lnTo>
                      <a:lnTo>
                        <a:pt x="2721" y="1446"/>
                      </a:lnTo>
                      <a:lnTo>
                        <a:pt x="2666" y="1476"/>
                      </a:lnTo>
                      <a:lnTo>
                        <a:pt x="2609" y="1505"/>
                      </a:lnTo>
                      <a:lnTo>
                        <a:pt x="2549" y="1535"/>
                      </a:lnTo>
                      <a:lnTo>
                        <a:pt x="2487" y="1563"/>
                      </a:lnTo>
                      <a:lnTo>
                        <a:pt x="2423" y="1592"/>
                      </a:lnTo>
                      <a:lnTo>
                        <a:pt x="2357" y="1619"/>
                      </a:lnTo>
                      <a:lnTo>
                        <a:pt x="2289" y="1646"/>
                      </a:lnTo>
                      <a:lnTo>
                        <a:pt x="2220" y="1673"/>
                      </a:lnTo>
                      <a:lnTo>
                        <a:pt x="2149" y="1698"/>
                      </a:lnTo>
                      <a:lnTo>
                        <a:pt x="2077" y="1723"/>
                      </a:lnTo>
                      <a:lnTo>
                        <a:pt x="2003" y="1745"/>
                      </a:lnTo>
                      <a:lnTo>
                        <a:pt x="1930" y="1767"/>
                      </a:lnTo>
                      <a:lnTo>
                        <a:pt x="1854" y="1787"/>
                      </a:lnTo>
                      <a:lnTo>
                        <a:pt x="1780" y="1806"/>
                      </a:lnTo>
                      <a:lnTo>
                        <a:pt x="1703" y="1823"/>
                      </a:lnTo>
                      <a:lnTo>
                        <a:pt x="1627" y="1839"/>
                      </a:lnTo>
                      <a:lnTo>
                        <a:pt x="1550" y="1852"/>
                      </a:lnTo>
                      <a:lnTo>
                        <a:pt x="1475" y="1863"/>
                      </a:lnTo>
                      <a:lnTo>
                        <a:pt x="1399" y="1872"/>
                      </a:lnTo>
                      <a:lnTo>
                        <a:pt x="1323" y="1879"/>
                      </a:lnTo>
                      <a:lnTo>
                        <a:pt x="1249" y="1883"/>
                      </a:lnTo>
                      <a:lnTo>
                        <a:pt x="1174" y="1884"/>
                      </a:lnTo>
                      <a:lnTo>
                        <a:pt x="1102" y="1883"/>
                      </a:lnTo>
                      <a:lnTo>
                        <a:pt x="1029" y="1879"/>
                      </a:lnTo>
                      <a:lnTo>
                        <a:pt x="958" y="1872"/>
                      </a:lnTo>
                      <a:lnTo>
                        <a:pt x="889" y="1862"/>
                      </a:lnTo>
                      <a:lnTo>
                        <a:pt x="821" y="1849"/>
                      </a:lnTo>
                      <a:lnTo>
                        <a:pt x="756" y="1832"/>
                      </a:lnTo>
                      <a:lnTo>
                        <a:pt x="691" y="1812"/>
                      </a:lnTo>
                      <a:lnTo>
                        <a:pt x="630" y="1789"/>
                      </a:lnTo>
                      <a:lnTo>
                        <a:pt x="570" y="1761"/>
                      </a:lnTo>
                      <a:lnTo>
                        <a:pt x="513" y="1730"/>
                      </a:lnTo>
                      <a:lnTo>
                        <a:pt x="479" y="1708"/>
                      </a:lnTo>
                      <a:lnTo>
                        <a:pt x="445" y="1687"/>
                      </a:lnTo>
                      <a:lnTo>
                        <a:pt x="413" y="1665"/>
                      </a:lnTo>
                      <a:lnTo>
                        <a:pt x="382" y="1642"/>
                      </a:lnTo>
                      <a:lnTo>
                        <a:pt x="351" y="1618"/>
                      </a:lnTo>
                      <a:lnTo>
                        <a:pt x="322" y="1594"/>
                      </a:lnTo>
                      <a:lnTo>
                        <a:pt x="293" y="1568"/>
                      </a:lnTo>
                      <a:lnTo>
                        <a:pt x="266" y="1543"/>
                      </a:lnTo>
                      <a:lnTo>
                        <a:pt x="239" y="1516"/>
                      </a:lnTo>
                      <a:lnTo>
                        <a:pt x="215" y="1489"/>
                      </a:lnTo>
                      <a:lnTo>
                        <a:pt x="190" y="1461"/>
                      </a:lnTo>
                      <a:lnTo>
                        <a:pt x="168" y="1432"/>
                      </a:lnTo>
                      <a:lnTo>
                        <a:pt x="147" y="1404"/>
                      </a:lnTo>
                      <a:lnTo>
                        <a:pt x="127" y="1373"/>
                      </a:lnTo>
                      <a:lnTo>
                        <a:pt x="108" y="1343"/>
                      </a:lnTo>
                      <a:lnTo>
                        <a:pt x="90" y="1312"/>
                      </a:lnTo>
                      <a:lnTo>
                        <a:pt x="74" y="1280"/>
                      </a:lnTo>
                      <a:lnTo>
                        <a:pt x="60" y="1248"/>
                      </a:lnTo>
                      <a:lnTo>
                        <a:pt x="47" y="1215"/>
                      </a:lnTo>
                      <a:lnTo>
                        <a:pt x="36" y="1181"/>
                      </a:lnTo>
                      <a:lnTo>
                        <a:pt x="26" y="1148"/>
                      </a:lnTo>
                      <a:lnTo>
                        <a:pt x="17" y="1112"/>
                      </a:lnTo>
                      <a:lnTo>
                        <a:pt x="10" y="1076"/>
                      </a:lnTo>
                      <a:lnTo>
                        <a:pt x="5" y="1041"/>
                      </a:lnTo>
                      <a:lnTo>
                        <a:pt x="2" y="1003"/>
                      </a:lnTo>
                      <a:lnTo>
                        <a:pt x="0" y="966"/>
                      </a:lnTo>
                      <a:lnTo>
                        <a:pt x="0" y="928"/>
                      </a:lnTo>
                      <a:lnTo>
                        <a:pt x="2" y="889"/>
                      </a:lnTo>
                      <a:lnTo>
                        <a:pt x="7" y="849"/>
                      </a:lnTo>
                      <a:lnTo>
                        <a:pt x="12" y="809"/>
                      </a:lnTo>
                      <a:lnTo>
                        <a:pt x="20" y="769"/>
                      </a:lnTo>
                      <a:lnTo>
                        <a:pt x="29" y="728"/>
                      </a:lnTo>
                      <a:close/>
                    </a:path>
                  </a:pathLst>
                </a:custGeom>
                <a:solidFill>
                  <a:srgbClr val="1B233E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104" name="Freeform 213"/>
                <p:cNvSpPr>
                  <a:spLocks/>
                </p:cNvSpPr>
                <p:nvPr/>
              </p:nvSpPr>
              <p:spPr bwMode="auto">
                <a:xfrm>
                  <a:off x="2767" y="2612"/>
                  <a:ext cx="509" cy="230"/>
                </a:xfrm>
                <a:custGeom>
                  <a:avLst/>
                  <a:gdLst>
                    <a:gd name="T0" fmla="*/ 0 w 3578"/>
                    <a:gd name="T1" fmla="*/ 0 h 1617"/>
                    <a:gd name="T2" fmla="*/ 0 w 3578"/>
                    <a:gd name="T3" fmla="*/ 0 h 1617"/>
                    <a:gd name="T4" fmla="*/ 0 w 3578"/>
                    <a:gd name="T5" fmla="*/ 0 h 1617"/>
                    <a:gd name="T6" fmla="*/ 0 w 3578"/>
                    <a:gd name="T7" fmla="*/ 0 h 1617"/>
                    <a:gd name="T8" fmla="*/ 0 w 3578"/>
                    <a:gd name="T9" fmla="*/ 0 h 1617"/>
                    <a:gd name="T10" fmla="*/ 0 w 3578"/>
                    <a:gd name="T11" fmla="*/ 0 h 1617"/>
                    <a:gd name="T12" fmla="*/ 0 w 3578"/>
                    <a:gd name="T13" fmla="*/ 0 h 1617"/>
                    <a:gd name="T14" fmla="*/ 0 w 3578"/>
                    <a:gd name="T15" fmla="*/ 0 h 1617"/>
                    <a:gd name="T16" fmla="*/ 0 w 3578"/>
                    <a:gd name="T17" fmla="*/ 0 h 1617"/>
                    <a:gd name="T18" fmla="*/ 0 w 3578"/>
                    <a:gd name="T19" fmla="*/ 0 h 1617"/>
                    <a:gd name="T20" fmla="*/ 0 w 3578"/>
                    <a:gd name="T21" fmla="*/ 0 h 1617"/>
                    <a:gd name="T22" fmla="*/ 0 w 3578"/>
                    <a:gd name="T23" fmla="*/ 0 h 1617"/>
                    <a:gd name="T24" fmla="*/ 0 w 3578"/>
                    <a:gd name="T25" fmla="*/ 0 h 1617"/>
                    <a:gd name="T26" fmla="*/ 0 w 3578"/>
                    <a:gd name="T27" fmla="*/ 0 h 1617"/>
                    <a:gd name="T28" fmla="*/ 0 w 3578"/>
                    <a:gd name="T29" fmla="*/ 0 h 1617"/>
                    <a:gd name="T30" fmla="*/ 0 w 3578"/>
                    <a:gd name="T31" fmla="*/ 0 h 1617"/>
                    <a:gd name="T32" fmla="*/ 0 w 3578"/>
                    <a:gd name="T33" fmla="*/ 0 h 1617"/>
                    <a:gd name="T34" fmla="*/ 0 w 3578"/>
                    <a:gd name="T35" fmla="*/ 0 h 1617"/>
                    <a:gd name="T36" fmla="*/ 0 w 3578"/>
                    <a:gd name="T37" fmla="*/ 0 h 1617"/>
                    <a:gd name="T38" fmla="*/ 0 w 3578"/>
                    <a:gd name="T39" fmla="*/ 0 h 1617"/>
                    <a:gd name="T40" fmla="*/ 0 w 3578"/>
                    <a:gd name="T41" fmla="*/ 0 h 1617"/>
                    <a:gd name="T42" fmla="*/ 0 w 3578"/>
                    <a:gd name="T43" fmla="*/ 0 h 1617"/>
                    <a:gd name="T44" fmla="*/ 0 w 3578"/>
                    <a:gd name="T45" fmla="*/ 0 h 1617"/>
                    <a:gd name="T46" fmla="*/ 0 w 3578"/>
                    <a:gd name="T47" fmla="*/ 0 h 1617"/>
                    <a:gd name="T48" fmla="*/ 0 w 3578"/>
                    <a:gd name="T49" fmla="*/ 0 h 1617"/>
                    <a:gd name="T50" fmla="*/ 0 w 3578"/>
                    <a:gd name="T51" fmla="*/ 0 h 1617"/>
                    <a:gd name="T52" fmla="*/ 0 w 3578"/>
                    <a:gd name="T53" fmla="*/ 0 h 1617"/>
                    <a:gd name="T54" fmla="*/ 0 w 3578"/>
                    <a:gd name="T55" fmla="*/ 0 h 1617"/>
                    <a:gd name="T56" fmla="*/ 0 w 3578"/>
                    <a:gd name="T57" fmla="*/ 0 h 1617"/>
                    <a:gd name="T58" fmla="*/ 0 w 3578"/>
                    <a:gd name="T59" fmla="*/ 0 h 1617"/>
                    <a:gd name="T60" fmla="*/ 0 w 3578"/>
                    <a:gd name="T61" fmla="*/ 0 h 1617"/>
                    <a:gd name="T62" fmla="*/ 0 w 3578"/>
                    <a:gd name="T63" fmla="*/ 0 h 1617"/>
                    <a:gd name="T64" fmla="*/ 0 w 3578"/>
                    <a:gd name="T65" fmla="*/ 0 h 1617"/>
                    <a:gd name="T66" fmla="*/ 0 w 3578"/>
                    <a:gd name="T67" fmla="*/ 0 h 1617"/>
                    <a:gd name="T68" fmla="*/ 0 w 3578"/>
                    <a:gd name="T69" fmla="*/ 0 h 1617"/>
                    <a:gd name="T70" fmla="*/ 0 w 3578"/>
                    <a:gd name="T71" fmla="*/ 0 h 1617"/>
                    <a:gd name="T72" fmla="*/ 0 w 3578"/>
                    <a:gd name="T73" fmla="*/ 0 h 1617"/>
                    <a:gd name="T74" fmla="*/ 0 w 3578"/>
                    <a:gd name="T75" fmla="*/ 0 h 1617"/>
                    <a:gd name="T76" fmla="*/ 0 w 3578"/>
                    <a:gd name="T77" fmla="*/ 0 h 1617"/>
                    <a:gd name="T78" fmla="*/ 0 w 3578"/>
                    <a:gd name="T79" fmla="*/ 0 h 1617"/>
                    <a:gd name="T80" fmla="*/ 0 w 3578"/>
                    <a:gd name="T81" fmla="*/ 0 h 1617"/>
                    <a:gd name="T82" fmla="*/ 0 w 3578"/>
                    <a:gd name="T83" fmla="*/ 0 h 1617"/>
                    <a:gd name="T84" fmla="*/ 0 w 3578"/>
                    <a:gd name="T85" fmla="*/ 0 h 1617"/>
                    <a:gd name="T86" fmla="*/ 0 w 3578"/>
                    <a:gd name="T87" fmla="*/ 0 h 1617"/>
                    <a:gd name="T88" fmla="*/ 0 w 3578"/>
                    <a:gd name="T89" fmla="*/ 0 h 1617"/>
                    <a:gd name="T90" fmla="*/ 0 w 3578"/>
                    <a:gd name="T91" fmla="*/ 0 h 1617"/>
                    <a:gd name="T92" fmla="*/ 0 w 3578"/>
                    <a:gd name="T93" fmla="*/ 0 h 1617"/>
                    <a:gd name="T94" fmla="*/ 0 w 3578"/>
                    <a:gd name="T95" fmla="*/ 0 h 1617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3578"/>
                    <a:gd name="T145" fmla="*/ 0 h 1617"/>
                    <a:gd name="T146" fmla="*/ 3578 w 3578"/>
                    <a:gd name="T147" fmla="*/ 1617 h 1617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3578" h="1617">
                      <a:moveTo>
                        <a:pt x="3395" y="291"/>
                      </a:moveTo>
                      <a:lnTo>
                        <a:pt x="3360" y="282"/>
                      </a:lnTo>
                      <a:lnTo>
                        <a:pt x="3321" y="273"/>
                      </a:lnTo>
                      <a:lnTo>
                        <a:pt x="3277" y="263"/>
                      </a:lnTo>
                      <a:lnTo>
                        <a:pt x="3228" y="255"/>
                      </a:lnTo>
                      <a:lnTo>
                        <a:pt x="3174" y="246"/>
                      </a:lnTo>
                      <a:lnTo>
                        <a:pt x="3117" y="237"/>
                      </a:lnTo>
                      <a:lnTo>
                        <a:pt x="3056" y="229"/>
                      </a:lnTo>
                      <a:lnTo>
                        <a:pt x="2990" y="222"/>
                      </a:lnTo>
                      <a:lnTo>
                        <a:pt x="2921" y="214"/>
                      </a:lnTo>
                      <a:lnTo>
                        <a:pt x="2850" y="206"/>
                      </a:lnTo>
                      <a:lnTo>
                        <a:pt x="2776" y="201"/>
                      </a:lnTo>
                      <a:lnTo>
                        <a:pt x="2698" y="194"/>
                      </a:lnTo>
                      <a:lnTo>
                        <a:pt x="2618" y="188"/>
                      </a:lnTo>
                      <a:lnTo>
                        <a:pt x="2535" y="184"/>
                      </a:lnTo>
                      <a:lnTo>
                        <a:pt x="2452" y="179"/>
                      </a:lnTo>
                      <a:lnTo>
                        <a:pt x="2365" y="176"/>
                      </a:lnTo>
                      <a:lnTo>
                        <a:pt x="2277" y="173"/>
                      </a:lnTo>
                      <a:lnTo>
                        <a:pt x="2189" y="172"/>
                      </a:lnTo>
                      <a:lnTo>
                        <a:pt x="2099" y="170"/>
                      </a:lnTo>
                      <a:lnTo>
                        <a:pt x="2008" y="170"/>
                      </a:lnTo>
                      <a:lnTo>
                        <a:pt x="1916" y="172"/>
                      </a:lnTo>
                      <a:lnTo>
                        <a:pt x="1825" y="174"/>
                      </a:lnTo>
                      <a:lnTo>
                        <a:pt x="1733" y="177"/>
                      </a:lnTo>
                      <a:lnTo>
                        <a:pt x="1642" y="182"/>
                      </a:lnTo>
                      <a:lnTo>
                        <a:pt x="1550" y="187"/>
                      </a:lnTo>
                      <a:lnTo>
                        <a:pt x="1459" y="194"/>
                      </a:lnTo>
                      <a:lnTo>
                        <a:pt x="1370" y="203"/>
                      </a:lnTo>
                      <a:lnTo>
                        <a:pt x="1281" y="212"/>
                      </a:lnTo>
                      <a:lnTo>
                        <a:pt x="1194" y="223"/>
                      </a:lnTo>
                      <a:lnTo>
                        <a:pt x="1108" y="235"/>
                      </a:lnTo>
                      <a:lnTo>
                        <a:pt x="1024" y="250"/>
                      </a:lnTo>
                      <a:lnTo>
                        <a:pt x="943" y="265"/>
                      </a:lnTo>
                      <a:lnTo>
                        <a:pt x="906" y="274"/>
                      </a:lnTo>
                      <a:lnTo>
                        <a:pt x="870" y="285"/>
                      </a:lnTo>
                      <a:lnTo>
                        <a:pt x="834" y="298"/>
                      </a:lnTo>
                      <a:lnTo>
                        <a:pt x="798" y="314"/>
                      </a:lnTo>
                      <a:lnTo>
                        <a:pt x="762" y="333"/>
                      </a:lnTo>
                      <a:lnTo>
                        <a:pt x="728" y="353"/>
                      </a:lnTo>
                      <a:lnTo>
                        <a:pt x="692" y="374"/>
                      </a:lnTo>
                      <a:lnTo>
                        <a:pt x="659" y="399"/>
                      </a:lnTo>
                      <a:lnTo>
                        <a:pt x="624" y="424"/>
                      </a:lnTo>
                      <a:lnTo>
                        <a:pt x="591" y="451"/>
                      </a:lnTo>
                      <a:lnTo>
                        <a:pt x="557" y="480"/>
                      </a:lnTo>
                      <a:lnTo>
                        <a:pt x="526" y="510"/>
                      </a:lnTo>
                      <a:lnTo>
                        <a:pt x="494" y="542"/>
                      </a:lnTo>
                      <a:lnTo>
                        <a:pt x="463" y="574"/>
                      </a:lnTo>
                      <a:lnTo>
                        <a:pt x="433" y="608"/>
                      </a:lnTo>
                      <a:lnTo>
                        <a:pt x="404" y="642"/>
                      </a:lnTo>
                      <a:lnTo>
                        <a:pt x="375" y="678"/>
                      </a:lnTo>
                      <a:lnTo>
                        <a:pt x="348" y="715"/>
                      </a:lnTo>
                      <a:lnTo>
                        <a:pt x="322" y="751"/>
                      </a:lnTo>
                      <a:lnTo>
                        <a:pt x="296" y="789"/>
                      </a:lnTo>
                      <a:lnTo>
                        <a:pt x="271" y="827"/>
                      </a:lnTo>
                      <a:lnTo>
                        <a:pt x="248" y="865"/>
                      </a:lnTo>
                      <a:lnTo>
                        <a:pt x="226" y="904"/>
                      </a:lnTo>
                      <a:lnTo>
                        <a:pt x="205" y="942"/>
                      </a:lnTo>
                      <a:lnTo>
                        <a:pt x="185" y="981"/>
                      </a:lnTo>
                      <a:lnTo>
                        <a:pt x="166" y="1018"/>
                      </a:lnTo>
                      <a:lnTo>
                        <a:pt x="149" y="1057"/>
                      </a:lnTo>
                      <a:lnTo>
                        <a:pt x="133" y="1095"/>
                      </a:lnTo>
                      <a:lnTo>
                        <a:pt x="119" y="1132"/>
                      </a:lnTo>
                      <a:lnTo>
                        <a:pt x="106" y="1169"/>
                      </a:lnTo>
                      <a:lnTo>
                        <a:pt x="94" y="1205"/>
                      </a:lnTo>
                      <a:lnTo>
                        <a:pt x="86" y="1240"/>
                      </a:lnTo>
                      <a:lnTo>
                        <a:pt x="79" y="1266"/>
                      </a:lnTo>
                      <a:lnTo>
                        <a:pt x="73" y="1291"/>
                      </a:lnTo>
                      <a:lnTo>
                        <a:pt x="69" y="1316"/>
                      </a:lnTo>
                      <a:lnTo>
                        <a:pt x="66" y="1340"/>
                      </a:lnTo>
                      <a:lnTo>
                        <a:pt x="62" y="1365"/>
                      </a:lnTo>
                      <a:lnTo>
                        <a:pt x="60" y="1389"/>
                      </a:lnTo>
                      <a:lnTo>
                        <a:pt x="58" y="1412"/>
                      </a:lnTo>
                      <a:lnTo>
                        <a:pt x="57" y="1437"/>
                      </a:lnTo>
                      <a:lnTo>
                        <a:pt x="57" y="1460"/>
                      </a:lnTo>
                      <a:lnTo>
                        <a:pt x="57" y="1484"/>
                      </a:lnTo>
                      <a:lnTo>
                        <a:pt x="58" y="1506"/>
                      </a:lnTo>
                      <a:lnTo>
                        <a:pt x="59" y="1529"/>
                      </a:lnTo>
                      <a:lnTo>
                        <a:pt x="61" y="1552"/>
                      </a:lnTo>
                      <a:lnTo>
                        <a:pt x="64" y="1574"/>
                      </a:lnTo>
                      <a:lnTo>
                        <a:pt x="68" y="1596"/>
                      </a:lnTo>
                      <a:lnTo>
                        <a:pt x="72" y="1617"/>
                      </a:lnTo>
                      <a:lnTo>
                        <a:pt x="59" y="1587"/>
                      </a:lnTo>
                      <a:lnTo>
                        <a:pt x="47" y="1557"/>
                      </a:lnTo>
                      <a:lnTo>
                        <a:pt x="35" y="1526"/>
                      </a:lnTo>
                      <a:lnTo>
                        <a:pt x="27" y="1494"/>
                      </a:lnTo>
                      <a:lnTo>
                        <a:pt x="19" y="1461"/>
                      </a:lnTo>
                      <a:lnTo>
                        <a:pt x="12" y="1429"/>
                      </a:lnTo>
                      <a:lnTo>
                        <a:pt x="7" y="1396"/>
                      </a:lnTo>
                      <a:lnTo>
                        <a:pt x="3" y="1361"/>
                      </a:lnTo>
                      <a:lnTo>
                        <a:pt x="1" y="1327"/>
                      </a:lnTo>
                      <a:lnTo>
                        <a:pt x="0" y="1292"/>
                      </a:lnTo>
                      <a:lnTo>
                        <a:pt x="1" y="1257"/>
                      </a:lnTo>
                      <a:lnTo>
                        <a:pt x="3" y="1220"/>
                      </a:lnTo>
                      <a:lnTo>
                        <a:pt x="7" y="1183"/>
                      </a:lnTo>
                      <a:lnTo>
                        <a:pt x="12" y="1146"/>
                      </a:lnTo>
                      <a:lnTo>
                        <a:pt x="20" y="1109"/>
                      </a:lnTo>
                      <a:lnTo>
                        <a:pt x="29" y="1071"/>
                      </a:lnTo>
                      <a:lnTo>
                        <a:pt x="38" y="1035"/>
                      </a:lnTo>
                      <a:lnTo>
                        <a:pt x="49" y="1000"/>
                      </a:lnTo>
                      <a:lnTo>
                        <a:pt x="62" y="963"/>
                      </a:lnTo>
                      <a:lnTo>
                        <a:pt x="77" y="925"/>
                      </a:lnTo>
                      <a:lnTo>
                        <a:pt x="92" y="887"/>
                      </a:lnTo>
                      <a:lnTo>
                        <a:pt x="109" y="849"/>
                      </a:lnTo>
                      <a:lnTo>
                        <a:pt x="128" y="810"/>
                      </a:lnTo>
                      <a:lnTo>
                        <a:pt x="148" y="773"/>
                      </a:lnTo>
                      <a:lnTo>
                        <a:pt x="169" y="734"/>
                      </a:lnTo>
                      <a:lnTo>
                        <a:pt x="191" y="695"/>
                      </a:lnTo>
                      <a:lnTo>
                        <a:pt x="215" y="657"/>
                      </a:lnTo>
                      <a:lnTo>
                        <a:pt x="239" y="619"/>
                      </a:lnTo>
                      <a:lnTo>
                        <a:pt x="265" y="581"/>
                      </a:lnTo>
                      <a:lnTo>
                        <a:pt x="291" y="544"/>
                      </a:lnTo>
                      <a:lnTo>
                        <a:pt x="319" y="509"/>
                      </a:lnTo>
                      <a:lnTo>
                        <a:pt x="347" y="473"/>
                      </a:lnTo>
                      <a:lnTo>
                        <a:pt x="376" y="438"/>
                      </a:lnTo>
                      <a:lnTo>
                        <a:pt x="407" y="404"/>
                      </a:lnTo>
                      <a:lnTo>
                        <a:pt x="437" y="372"/>
                      </a:lnTo>
                      <a:lnTo>
                        <a:pt x="470" y="341"/>
                      </a:lnTo>
                      <a:lnTo>
                        <a:pt x="502" y="311"/>
                      </a:lnTo>
                      <a:lnTo>
                        <a:pt x="534" y="282"/>
                      </a:lnTo>
                      <a:lnTo>
                        <a:pt x="567" y="254"/>
                      </a:lnTo>
                      <a:lnTo>
                        <a:pt x="602" y="228"/>
                      </a:lnTo>
                      <a:lnTo>
                        <a:pt x="637" y="205"/>
                      </a:lnTo>
                      <a:lnTo>
                        <a:pt x="671" y="183"/>
                      </a:lnTo>
                      <a:lnTo>
                        <a:pt x="706" y="163"/>
                      </a:lnTo>
                      <a:lnTo>
                        <a:pt x="741" y="145"/>
                      </a:lnTo>
                      <a:lnTo>
                        <a:pt x="777" y="128"/>
                      </a:lnTo>
                      <a:lnTo>
                        <a:pt x="813" y="115"/>
                      </a:lnTo>
                      <a:lnTo>
                        <a:pt x="849" y="104"/>
                      </a:lnTo>
                      <a:lnTo>
                        <a:pt x="886" y="95"/>
                      </a:lnTo>
                      <a:lnTo>
                        <a:pt x="967" y="79"/>
                      </a:lnTo>
                      <a:lnTo>
                        <a:pt x="1052" y="66"/>
                      </a:lnTo>
                      <a:lnTo>
                        <a:pt x="1137" y="53"/>
                      </a:lnTo>
                      <a:lnTo>
                        <a:pt x="1224" y="41"/>
                      </a:lnTo>
                      <a:lnTo>
                        <a:pt x="1313" y="33"/>
                      </a:lnTo>
                      <a:lnTo>
                        <a:pt x="1403" y="24"/>
                      </a:lnTo>
                      <a:lnTo>
                        <a:pt x="1494" y="17"/>
                      </a:lnTo>
                      <a:lnTo>
                        <a:pt x="1585" y="11"/>
                      </a:lnTo>
                      <a:lnTo>
                        <a:pt x="1676" y="7"/>
                      </a:lnTo>
                      <a:lnTo>
                        <a:pt x="1768" y="4"/>
                      </a:lnTo>
                      <a:lnTo>
                        <a:pt x="1860" y="1"/>
                      </a:lnTo>
                      <a:lnTo>
                        <a:pt x="1951" y="0"/>
                      </a:lnTo>
                      <a:lnTo>
                        <a:pt x="2042" y="0"/>
                      </a:lnTo>
                      <a:lnTo>
                        <a:pt x="2132" y="1"/>
                      </a:lnTo>
                      <a:lnTo>
                        <a:pt x="2221" y="4"/>
                      </a:lnTo>
                      <a:lnTo>
                        <a:pt x="2308" y="6"/>
                      </a:lnTo>
                      <a:lnTo>
                        <a:pt x="2395" y="9"/>
                      </a:lnTo>
                      <a:lnTo>
                        <a:pt x="2479" y="14"/>
                      </a:lnTo>
                      <a:lnTo>
                        <a:pt x="2561" y="18"/>
                      </a:lnTo>
                      <a:lnTo>
                        <a:pt x="2641" y="24"/>
                      </a:lnTo>
                      <a:lnTo>
                        <a:pt x="2719" y="30"/>
                      </a:lnTo>
                      <a:lnTo>
                        <a:pt x="2793" y="37"/>
                      </a:lnTo>
                      <a:lnTo>
                        <a:pt x="2866" y="44"/>
                      </a:lnTo>
                      <a:lnTo>
                        <a:pt x="2934" y="51"/>
                      </a:lnTo>
                      <a:lnTo>
                        <a:pt x="2999" y="59"/>
                      </a:lnTo>
                      <a:lnTo>
                        <a:pt x="3061" y="67"/>
                      </a:lnTo>
                      <a:lnTo>
                        <a:pt x="3117" y="76"/>
                      </a:lnTo>
                      <a:lnTo>
                        <a:pt x="3171" y="85"/>
                      </a:lnTo>
                      <a:lnTo>
                        <a:pt x="3220" y="94"/>
                      </a:lnTo>
                      <a:lnTo>
                        <a:pt x="3264" y="103"/>
                      </a:lnTo>
                      <a:lnTo>
                        <a:pt x="3303" y="112"/>
                      </a:lnTo>
                      <a:lnTo>
                        <a:pt x="3338" y="120"/>
                      </a:lnTo>
                      <a:lnTo>
                        <a:pt x="3367" y="129"/>
                      </a:lnTo>
                      <a:lnTo>
                        <a:pt x="3393" y="140"/>
                      </a:lnTo>
                      <a:lnTo>
                        <a:pt x="3418" y="153"/>
                      </a:lnTo>
                      <a:lnTo>
                        <a:pt x="3440" y="166"/>
                      </a:lnTo>
                      <a:lnTo>
                        <a:pt x="3460" y="181"/>
                      </a:lnTo>
                      <a:lnTo>
                        <a:pt x="3479" y="197"/>
                      </a:lnTo>
                      <a:lnTo>
                        <a:pt x="3496" y="214"/>
                      </a:lnTo>
                      <a:lnTo>
                        <a:pt x="3511" y="233"/>
                      </a:lnTo>
                      <a:lnTo>
                        <a:pt x="3525" y="252"/>
                      </a:lnTo>
                      <a:lnTo>
                        <a:pt x="3537" y="273"/>
                      </a:lnTo>
                      <a:lnTo>
                        <a:pt x="3547" y="294"/>
                      </a:lnTo>
                      <a:lnTo>
                        <a:pt x="3556" y="317"/>
                      </a:lnTo>
                      <a:lnTo>
                        <a:pt x="3564" y="341"/>
                      </a:lnTo>
                      <a:lnTo>
                        <a:pt x="3570" y="365"/>
                      </a:lnTo>
                      <a:lnTo>
                        <a:pt x="3575" y="390"/>
                      </a:lnTo>
                      <a:lnTo>
                        <a:pt x="3578" y="416"/>
                      </a:lnTo>
                      <a:lnTo>
                        <a:pt x="3570" y="405"/>
                      </a:lnTo>
                      <a:lnTo>
                        <a:pt x="3563" y="395"/>
                      </a:lnTo>
                      <a:lnTo>
                        <a:pt x="3554" y="385"/>
                      </a:lnTo>
                      <a:lnTo>
                        <a:pt x="3545" y="375"/>
                      </a:lnTo>
                      <a:lnTo>
                        <a:pt x="3536" y="366"/>
                      </a:lnTo>
                      <a:lnTo>
                        <a:pt x="3526" y="357"/>
                      </a:lnTo>
                      <a:lnTo>
                        <a:pt x="3515" y="349"/>
                      </a:lnTo>
                      <a:lnTo>
                        <a:pt x="3504" y="341"/>
                      </a:lnTo>
                      <a:lnTo>
                        <a:pt x="3492" y="333"/>
                      </a:lnTo>
                      <a:lnTo>
                        <a:pt x="3480" y="326"/>
                      </a:lnTo>
                      <a:lnTo>
                        <a:pt x="3467" y="319"/>
                      </a:lnTo>
                      <a:lnTo>
                        <a:pt x="3454" y="312"/>
                      </a:lnTo>
                      <a:lnTo>
                        <a:pt x="3440" y="306"/>
                      </a:lnTo>
                      <a:lnTo>
                        <a:pt x="3426" y="301"/>
                      </a:lnTo>
                      <a:lnTo>
                        <a:pt x="3410" y="295"/>
                      </a:lnTo>
                      <a:lnTo>
                        <a:pt x="3395" y="291"/>
                      </a:lnTo>
                      <a:close/>
                    </a:path>
                  </a:pathLst>
                </a:custGeom>
                <a:solidFill>
                  <a:srgbClr val="1B457C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105" name="Freeform 214"/>
                <p:cNvSpPr>
                  <a:spLocks/>
                </p:cNvSpPr>
                <p:nvPr/>
              </p:nvSpPr>
              <p:spPr bwMode="auto">
                <a:xfrm>
                  <a:off x="2950" y="2489"/>
                  <a:ext cx="984" cy="575"/>
                </a:xfrm>
                <a:custGeom>
                  <a:avLst/>
                  <a:gdLst>
                    <a:gd name="T0" fmla="*/ 0 w 6882"/>
                    <a:gd name="T1" fmla="*/ 0 h 4066"/>
                    <a:gd name="T2" fmla="*/ 0 w 6882"/>
                    <a:gd name="T3" fmla="*/ 0 h 4066"/>
                    <a:gd name="T4" fmla="*/ 0 w 6882"/>
                    <a:gd name="T5" fmla="*/ 0 h 4066"/>
                    <a:gd name="T6" fmla="*/ 0 w 6882"/>
                    <a:gd name="T7" fmla="*/ 0 h 4066"/>
                    <a:gd name="T8" fmla="*/ 0 w 6882"/>
                    <a:gd name="T9" fmla="*/ 0 h 4066"/>
                    <a:gd name="T10" fmla="*/ 0 w 6882"/>
                    <a:gd name="T11" fmla="*/ 0 h 4066"/>
                    <a:gd name="T12" fmla="*/ 0 w 6882"/>
                    <a:gd name="T13" fmla="*/ 0 h 4066"/>
                    <a:gd name="T14" fmla="*/ 0 w 6882"/>
                    <a:gd name="T15" fmla="*/ 0 h 4066"/>
                    <a:gd name="T16" fmla="*/ 0 w 6882"/>
                    <a:gd name="T17" fmla="*/ 0 h 4066"/>
                    <a:gd name="T18" fmla="*/ 0 w 6882"/>
                    <a:gd name="T19" fmla="*/ 0 h 4066"/>
                    <a:gd name="T20" fmla="*/ 0 w 6882"/>
                    <a:gd name="T21" fmla="*/ 0 h 4066"/>
                    <a:gd name="T22" fmla="*/ 0 w 6882"/>
                    <a:gd name="T23" fmla="*/ 0 h 4066"/>
                    <a:gd name="T24" fmla="*/ 0 w 6882"/>
                    <a:gd name="T25" fmla="*/ 0 h 4066"/>
                    <a:gd name="T26" fmla="*/ 0 w 6882"/>
                    <a:gd name="T27" fmla="*/ 0 h 4066"/>
                    <a:gd name="T28" fmla="*/ 0 w 6882"/>
                    <a:gd name="T29" fmla="*/ 0 h 4066"/>
                    <a:gd name="T30" fmla="*/ 0 w 6882"/>
                    <a:gd name="T31" fmla="*/ 0 h 4066"/>
                    <a:gd name="T32" fmla="*/ 0 w 6882"/>
                    <a:gd name="T33" fmla="*/ 0 h 4066"/>
                    <a:gd name="T34" fmla="*/ 0 w 6882"/>
                    <a:gd name="T35" fmla="*/ 0 h 4066"/>
                    <a:gd name="T36" fmla="*/ 0 w 6882"/>
                    <a:gd name="T37" fmla="*/ 0 h 4066"/>
                    <a:gd name="T38" fmla="*/ 0 w 6882"/>
                    <a:gd name="T39" fmla="*/ 0 h 4066"/>
                    <a:gd name="T40" fmla="*/ 0 w 6882"/>
                    <a:gd name="T41" fmla="*/ 0 h 4066"/>
                    <a:gd name="T42" fmla="*/ 0 w 6882"/>
                    <a:gd name="T43" fmla="*/ 0 h 4066"/>
                    <a:gd name="T44" fmla="*/ 0 w 6882"/>
                    <a:gd name="T45" fmla="*/ 0 h 4066"/>
                    <a:gd name="T46" fmla="*/ 0 w 6882"/>
                    <a:gd name="T47" fmla="*/ 0 h 4066"/>
                    <a:gd name="T48" fmla="*/ 0 w 6882"/>
                    <a:gd name="T49" fmla="*/ 0 h 4066"/>
                    <a:gd name="T50" fmla="*/ 0 w 6882"/>
                    <a:gd name="T51" fmla="*/ 0 h 4066"/>
                    <a:gd name="T52" fmla="*/ 0 w 6882"/>
                    <a:gd name="T53" fmla="*/ 0 h 4066"/>
                    <a:gd name="T54" fmla="*/ 0 w 6882"/>
                    <a:gd name="T55" fmla="*/ 0 h 4066"/>
                    <a:gd name="T56" fmla="*/ 0 w 6882"/>
                    <a:gd name="T57" fmla="*/ 0 h 4066"/>
                    <a:gd name="T58" fmla="*/ 0 w 6882"/>
                    <a:gd name="T59" fmla="*/ 0 h 4066"/>
                    <a:gd name="T60" fmla="*/ 0 w 6882"/>
                    <a:gd name="T61" fmla="*/ 0 h 4066"/>
                    <a:gd name="T62" fmla="*/ 0 w 6882"/>
                    <a:gd name="T63" fmla="*/ 0 h 4066"/>
                    <a:gd name="T64" fmla="*/ 0 w 6882"/>
                    <a:gd name="T65" fmla="*/ 0 h 4066"/>
                    <a:gd name="T66" fmla="*/ 0 w 6882"/>
                    <a:gd name="T67" fmla="*/ 0 h 4066"/>
                    <a:gd name="T68" fmla="*/ 0 w 6882"/>
                    <a:gd name="T69" fmla="*/ 0 h 4066"/>
                    <a:gd name="T70" fmla="*/ 0 w 6882"/>
                    <a:gd name="T71" fmla="*/ 0 h 4066"/>
                    <a:gd name="T72" fmla="*/ 0 w 6882"/>
                    <a:gd name="T73" fmla="*/ 0 h 4066"/>
                    <a:gd name="T74" fmla="*/ 0 w 6882"/>
                    <a:gd name="T75" fmla="*/ 0 h 4066"/>
                    <a:gd name="T76" fmla="*/ 0 w 6882"/>
                    <a:gd name="T77" fmla="*/ 0 h 4066"/>
                    <a:gd name="T78" fmla="*/ 0 w 6882"/>
                    <a:gd name="T79" fmla="*/ 0 h 4066"/>
                    <a:gd name="T80" fmla="*/ 0 w 6882"/>
                    <a:gd name="T81" fmla="*/ 0 h 4066"/>
                    <a:gd name="T82" fmla="*/ 0 w 6882"/>
                    <a:gd name="T83" fmla="*/ 0 h 4066"/>
                    <a:gd name="T84" fmla="*/ 0 w 6882"/>
                    <a:gd name="T85" fmla="*/ 0 h 4066"/>
                    <a:gd name="T86" fmla="*/ 0 w 6882"/>
                    <a:gd name="T87" fmla="*/ 0 h 4066"/>
                    <a:gd name="T88" fmla="*/ 0 w 6882"/>
                    <a:gd name="T89" fmla="*/ 0 h 4066"/>
                    <a:gd name="T90" fmla="*/ 0 w 6882"/>
                    <a:gd name="T91" fmla="*/ 0 h 4066"/>
                    <a:gd name="T92" fmla="*/ 0 w 6882"/>
                    <a:gd name="T93" fmla="*/ 0 h 4066"/>
                    <a:gd name="T94" fmla="*/ 0 w 6882"/>
                    <a:gd name="T95" fmla="*/ 0 h 406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6882"/>
                    <a:gd name="T145" fmla="*/ 0 h 4066"/>
                    <a:gd name="T146" fmla="*/ 6882 w 6882"/>
                    <a:gd name="T147" fmla="*/ 4066 h 4066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6882" h="4066">
                      <a:moveTo>
                        <a:pt x="6852" y="4060"/>
                      </a:moveTo>
                      <a:lnTo>
                        <a:pt x="6873" y="3833"/>
                      </a:lnTo>
                      <a:lnTo>
                        <a:pt x="6882" y="3612"/>
                      </a:lnTo>
                      <a:lnTo>
                        <a:pt x="6877" y="3395"/>
                      </a:lnTo>
                      <a:lnTo>
                        <a:pt x="6863" y="3183"/>
                      </a:lnTo>
                      <a:lnTo>
                        <a:pt x="6836" y="2978"/>
                      </a:lnTo>
                      <a:lnTo>
                        <a:pt x="6799" y="2777"/>
                      </a:lnTo>
                      <a:lnTo>
                        <a:pt x="6752" y="2582"/>
                      </a:lnTo>
                      <a:lnTo>
                        <a:pt x="6694" y="2394"/>
                      </a:lnTo>
                      <a:lnTo>
                        <a:pt x="6627" y="2211"/>
                      </a:lnTo>
                      <a:lnTo>
                        <a:pt x="6551" y="2035"/>
                      </a:lnTo>
                      <a:lnTo>
                        <a:pt x="6467" y="1865"/>
                      </a:lnTo>
                      <a:lnTo>
                        <a:pt x="6373" y="1701"/>
                      </a:lnTo>
                      <a:lnTo>
                        <a:pt x="6273" y="1543"/>
                      </a:lnTo>
                      <a:lnTo>
                        <a:pt x="6165" y="1393"/>
                      </a:lnTo>
                      <a:lnTo>
                        <a:pt x="6050" y="1249"/>
                      </a:lnTo>
                      <a:lnTo>
                        <a:pt x="5929" y="1112"/>
                      </a:lnTo>
                      <a:lnTo>
                        <a:pt x="5801" y="983"/>
                      </a:lnTo>
                      <a:lnTo>
                        <a:pt x="5669" y="861"/>
                      </a:lnTo>
                      <a:lnTo>
                        <a:pt x="5531" y="746"/>
                      </a:lnTo>
                      <a:lnTo>
                        <a:pt x="5387" y="639"/>
                      </a:lnTo>
                      <a:lnTo>
                        <a:pt x="5240" y="540"/>
                      </a:lnTo>
                      <a:lnTo>
                        <a:pt x="5089" y="449"/>
                      </a:lnTo>
                      <a:lnTo>
                        <a:pt x="4934" y="366"/>
                      </a:lnTo>
                      <a:lnTo>
                        <a:pt x="4777" y="290"/>
                      </a:lnTo>
                      <a:lnTo>
                        <a:pt x="4617" y="223"/>
                      </a:lnTo>
                      <a:lnTo>
                        <a:pt x="4454" y="164"/>
                      </a:lnTo>
                      <a:lnTo>
                        <a:pt x="4290" y="114"/>
                      </a:lnTo>
                      <a:lnTo>
                        <a:pt x="4125" y="73"/>
                      </a:lnTo>
                      <a:lnTo>
                        <a:pt x="3958" y="42"/>
                      </a:lnTo>
                      <a:lnTo>
                        <a:pt x="3792" y="18"/>
                      </a:lnTo>
                      <a:lnTo>
                        <a:pt x="3625" y="4"/>
                      </a:lnTo>
                      <a:lnTo>
                        <a:pt x="3459" y="0"/>
                      </a:lnTo>
                      <a:lnTo>
                        <a:pt x="3292" y="4"/>
                      </a:lnTo>
                      <a:lnTo>
                        <a:pt x="3124" y="20"/>
                      </a:lnTo>
                      <a:lnTo>
                        <a:pt x="2956" y="43"/>
                      </a:lnTo>
                      <a:lnTo>
                        <a:pt x="2789" y="77"/>
                      </a:lnTo>
                      <a:lnTo>
                        <a:pt x="2622" y="121"/>
                      </a:lnTo>
                      <a:lnTo>
                        <a:pt x="2456" y="172"/>
                      </a:lnTo>
                      <a:lnTo>
                        <a:pt x="2292" y="233"/>
                      </a:lnTo>
                      <a:lnTo>
                        <a:pt x="2130" y="302"/>
                      </a:lnTo>
                      <a:lnTo>
                        <a:pt x="1970" y="381"/>
                      </a:lnTo>
                      <a:lnTo>
                        <a:pt x="1813" y="467"/>
                      </a:lnTo>
                      <a:lnTo>
                        <a:pt x="1660" y="562"/>
                      </a:lnTo>
                      <a:lnTo>
                        <a:pt x="1510" y="664"/>
                      </a:lnTo>
                      <a:lnTo>
                        <a:pt x="1365" y="773"/>
                      </a:lnTo>
                      <a:lnTo>
                        <a:pt x="1224" y="891"/>
                      </a:lnTo>
                      <a:lnTo>
                        <a:pt x="1089" y="1016"/>
                      </a:lnTo>
                      <a:lnTo>
                        <a:pt x="959" y="1147"/>
                      </a:lnTo>
                      <a:lnTo>
                        <a:pt x="836" y="1286"/>
                      </a:lnTo>
                      <a:lnTo>
                        <a:pt x="719" y="1432"/>
                      </a:lnTo>
                      <a:lnTo>
                        <a:pt x="609" y="1583"/>
                      </a:lnTo>
                      <a:lnTo>
                        <a:pt x="506" y="1742"/>
                      </a:lnTo>
                      <a:lnTo>
                        <a:pt x="413" y="1906"/>
                      </a:lnTo>
                      <a:lnTo>
                        <a:pt x="327" y="2077"/>
                      </a:lnTo>
                      <a:lnTo>
                        <a:pt x="250" y="2253"/>
                      </a:lnTo>
                      <a:lnTo>
                        <a:pt x="183" y="2434"/>
                      </a:lnTo>
                      <a:lnTo>
                        <a:pt x="125" y="2621"/>
                      </a:lnTo>
                      <a:lnTo>
                        <a:pt x="77" y="2814"/>
                      </a:lnTo>
                      <a:lnTo>
                        <a:pt x="40" y="3011"/>
                      </a:lnTo>
                      <a:lnTo>
                        <a:pt x="16" y="3213"/>
                      </a:lnTo>
                      <a:lnTo>
                        <a:pt x="1" y="3420"/>
                      </a:lnTo>
                      <a:lnTo>
                        <a:pt x="0" y="3631"/>
                      </a:lnTo>
                      <a:lnTo>
                        <a:pt x="10" y="3847"/>
                      </a:lnTo>
                      <a:lnTo>
                        <a:pt x="35" y="4066"/>
                      </a:lnTo>
                      <a:lnTo>
                        <a:pt x="101" y="4016"/>
                      </a:lnTo>
                      <a:lnTo>
                        <a:pt x="181" y="3959"/>
                      </a:lnTo>
                      <a:lnTo>
                        <a:pt x="274" y="3897"/>
                      </a:lnTo>
                      <a:lnTo>
                        <a:pt x="378" y="3829"/>
                      </a:lnTo>
                      <a:lnTo>
                        <a:pt x="494" y="3757"/>
                      </a:lnTo>
                      <a:lnTo>
                        <a:pt x="622" y="3681"/>
                      </a:lnTo>
                      <a:lnTo>
                        <a:pt x="761" y="3604"/>
                      </a:lnTo>
                      <a:lnTo>
                        <a:pt x="912" y="3525"/>
                      </a:lnTo>
                      <a:lnTo>
                        <a:pt x="1072" y="3447"/>
                      </a:lnTo>
                      <a:lnTo>
                        <a:pt x="1243" y="3369"/>
                      </a:lnTo>
                      <a:lnTo>
                        <a:pt x="1424" y="3295"/>
                      </a:lnTo>
                      <a:lnTo>
                        <a:pt x="1613" y="3222"/>
                      </a:lnTo>
                      <a:lnTo>
                        <a:pt x="1812" y="3154"/>
                      </a:lnTo>
                      <a:lnTo>
                        <a:pt x="2019" y="3092"/>
                      </a:lnTo>
                      <a:lnTo>
                        <a:pt x="2235" y="3037"/>
                      </a:lnTo>
                      <a:lnTo>
                        <a:pt x="2460" y="2988"/>
                      </a:lnTo>
                      <a:lnTo>
                        <a:pt x="2691" y="2946"/>
                      </a:lnTo>
                      <a:lnTo>
                        <a:pt x="2931" y="2916"/>
                      </a:lnTo>
                      <a:lnTo>
                        <a:pt x="3177" y="2895"/>
                      </a:lnTo>
                      <a:lnTo>
                        <a:pt x="3429" y="2886"/>
                      </a:lnTo>
                      <a:lnTo>
                        <a:pt x="3687" y="2891"/>
                      </a:lnTo>
                      <a:lnTo>
                        <a:pt x="3952" y="2907"/>
                      </a:lnTo>
                      <a:lnTo>
                        <a:pt x="4223" y="2940"/>
                      </a:lnTo>
                      <a:lnTo>
                        <a:pt x="4499" y="2988"/>
                      </a:lnTo>
                      <a:lnTo>
                        <a:pt x="4779" y="3052"/>
                      </a:lnTo>
                      <a:lnTo>
                        <a:pt x="5064" y="3134"/>
                      </a:lnTo>
                      <a:lnTo>
                        <a:pt x="5354" y="3236"/>
                      </a:lnTo>
                      <a:lnTo>
                        <a:pt x="5647" y="3356"/>
                      </a:lnTo>
                      <a:lnTo>
                        <a:pt x="5943" y="3498"/>
                      </a:lnTo>
                      <a:lnTo>
                        <a:pt x="6244" y="3662"/>
                      </a:lnTo>
                      <a:lnTo>
                        <a:pt x="6547" y="3849"/>
                      </a:lnTo>
                      <a:lnTo>
                        <a:pt x="6852" y="4060"/>
                      </a:lnTo>
                      <a:close/>
                    </a:path>
                  </a:pathLst>
                </a:custGeom>
                <a:solidFill>
                  <a:srgbClr val="242D54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106" name="Freeform 215"/>
                <p:cNvSpPr>
                  <a:spLocks/>
                </p:cNvSpPr>
                <p:nvPr/>
              </p:nvSpPr>
              <p:spPr bwMode="auto">
                <a:xfrm>
                  <a:off x="2950" y="2628"/>
                  <a:ext cx="984" cy="436"/>
                </a:xfrm>
                <a:custGeom>
                  <a:avLst/>
                  <a:gdLst>
                    <a:gd name="T0" fmla="*/ 0 w 6883"/>
                    <a:gd name="T1" fmla="*/ 0 h 3057"/>
                    <a:gd name="T2" fmla="*/ 0 w 6883"/>
                    <a:gd name="T3" fmla="*/ 0 h 3057"/>
                    <a:gd name="T4" fmla="*/ 0 w 6883"/>
                    <a:gd name="T5" fmla="*/ 0 h 3057"/>
                    <a:gd name="T6" fmla="*/ 0 w 6883"/>
                    <a:gd name="T7" fmla="*/ 0 h 3057"/>
                    <a:gd name="T8" fmla="*/ 0 w 6883"/>
                    <a:gd name="T9" fmla="*/ 0 h 3057"/>
                    <a:gd name="T10" fmla="*/ 0 w 6883"/>
                    <a:gd name="T11" fmla="*/ 0 h 3057"/>
                    <a:gd name="T12" fmla="*/ 0 w 6883"/>
                    <a:gd name="T13" fmla="*/ 0 h 3057"/>
                    <a:gd name="T14" fmla="*/ 0 w 6883"/>
                    <a:gd name="T15" fmla="*/ 0 h 3057"/>
                    <a:gd name="T16" fmla="*/ 0 w 6883"/>
                    <a:gd name="T17" fmla="*/ 0 h 3057"/>
                    <a:gd name="T18" fmla="*/ 0 w 6883"/>
                    <a:gd name="T19" fmla="*/ 0 h 3057"/>
                    <a:gd name="T20" fmla="*/ 0 w 6883"/>
                    <a:gd name="T21" fmla="*/ 0 h 3057"/>
                    <a:gd name="T22" fmla="*/ 0 w 6883"/>
                    <a:gd name="T23" fmla="*/ 0 h 3057"/>
                    <a:gd name="T24" fmla="*/ 0 w 6883"/>
                    <a:gd name="T25" fmla="*/ 0 h 3057"/>
                    <a:gd name="T26" fmla="*/ 0 w 6883"/>
                    <a:gd name="T27" fmla="*/ 0 h 3057"/>
                    <a:gd name="T28" fmla="*/ 0 w 6883"/>
                    <a:gd name="T29" fmla="*/ 0 h 3057"/>
                    <a:gd name="T30" fmla="*/ 0 w 6883"/>
                    <a:gd name="T31" fmla="*/ 0 h 3057"/>
                    <a:gd name="T32" fmla="*/ 0 w 6883"/>
                    <a:gd name="T33" fmla="*/ 0 h 3057"/>
                    <a:gd name="T34" fmla="*/ 0 w 6883"/>
                    <a:gd name="T35" fmla="*/ 0 h 3057"/>
                    <a:gd name="T36" fmla="*/ 0 w 6883"/>
                    <a:gd name="T37" fmla="*/ 0 h 3057"/>
                    <a:gd name="T38" fmla="*/ 0 w 6883"/>
                    <a:gd name="T39" fmla="*/ 0 h 3057"/>
                    <a:gd name="T40" fmla="*/ 0 w 6883"/>
                    <a:gd name="T41" fmla="*/ 0 h 3057"/>
                    <a:gd name="T42" fmla="*/ 0 w 6883"/>
                    <a:gd name="T43" fmla="*/ 0 h 3057"/>
                    <a:gd name="T44" fmla="*/ 0 w 6883"/>
                    <a:gd name="T45" fmla="*/ 0 h 3057"/>
                    <a:gd name="T46" fmla="*/ 0 w 6883"/>
                    <a:gd name="T47" fmla="*/ 0 h 3057"/>
                    <a:gd name="T48" fmla="*/ 0 w 6883"/>
                    <a:gd name="T49" fmla="*/ 0 h 3057"/>
                    <a:gd name="T50" fmla="*/ 0 w 6883"/>
                    <a:gd name="T51" fmla="*/ 0 h 3057"/>
                    <a:gd name="T52" fmla="*/ 0 w 6883"/>
                    <a:gd name="T53" fmla="*/ 0 h 3057"/>
                    <a:gd name="T54" fmla="*/ 0 w 6883"/>
                    <a:gd name="T55" fmla="*/ 0 h 3057"/>
                    <a:gd name="T56" fmla="*/ 0 w 6883"/>
                    <a:gd name="T57" fmla="*/ 0 h 3057"/>
                    <a:gd name="T58" fmla="*/ 0 w 6883"/>
                    <a:gd name="T59" fmla="*/ 0 h 3057"/>
                    <a:gd name="T60" fmla="*/ 0 w 6883"/>
                    <a:gd name="T61" fmla="*/ 0 h 3057"/>
                    <a:gd name="T62" fmla="*/ 0 w 6883"/>
                    <a:gd name="T63" fmla="*/ 0 h 3057"/>
                    <a:gd name="T64" fmla="*/ 0 w 6883"/>
                    <a:gd name="T65" fmla="*/ 0 h 3057"/>
                    <a:gd name="T66" fmla="*/ 0 w 6883"/>
                    <a:gd name="T67" fmla="*/ 0 h 3057"/>
                    <a:gd name="T68" fmla="*/ 0 w 6883"/>
                    <a:gd name="T69" fmla="*/ 0 h 3057"/>
                    <a:gd name="T70" fmla="*/ 0 w 6883"/>
                    <a:gd name="T71" fmla="*/ 0 h 3057"/>
                    <a:gd name="T72" fmla="*/ 0 w 6883"/>
                    <a:gd name="T73" fmla="*/ 0 h 3057"/>
                    <a:gd name="T74" fmla="*/ 0 w 6883"/>
                    <a:gd name="T75" fmla="*/ 0 h 3057"/>
                    <a:gd name="T76" fmla="*/ 0 w 6883"/>
                    <a:gd name="T77" fmla="*/ 0 h 3057"/>
                    <a:gd name="T78" fmla="*/ 0 w 6883"/>
                    <a:gd name="T79" fmla="*/ 0 h 3057"/>
                    <a:gd name="T80" fmla="*/ 0 w 6883"/>
                    <a:gd name="T81" fmla="*/ 0 h 3057"/>
                    <a:gd name="T82" fmla="*/ 0 w 6883"/>
                    <a:gd name="T83" fmla="*/ 0 h 3057"/>
                    <a:gd name="T84" fmla="*/ 0 w 6883"/>
                    <a:gd name="T85" fmla="*/ 0 h 3057"/>
                    <a:gd name="T86" fmla="*/ 0 w 6883"/>
                    <a:gd name="T87" fmla="*/ 0 h 3057"/>
                    <a:gd name="T88" fmla="*/ 0 w 6883"/>
                    <a:gd name="T89" fmla="*/ 0 h 3057"/>
                    <a:gd name="T90" fmla="*/ 0 w 6883"/>
                    <a:gd name="T91" fmla="*/ 0 h 3057"/>
                    <a:gd name="T92" fmla="*/ 0 w 6883"/>
                    <a:gd name="T93" fmla="*/ 0 h 3057"/>
                    <a:gd name="T94" fmla="*/ 0 w 6883"/>
                    <a:gd name="T95" fmla="*/ 0 h 3057"/>
                    <a:gd name="T96" fmla="*/ 0 w 6883"/>
                    <a:gd name="T97" fmla="*/ 0 h 3057"/>
                    <a:gd name="T98" fmla="*/ 0 w 6883"/>
                    <a:gd name="T99" fmla="*/ 0 h 3057"/>
                    <a:gd name="T100" fmla="*/ 0 w 6883"/>
                    <a:gd name="T101" fmla="*/ 0 h 3057"/>
                    <a:gd name="T102" fmla="*/ 0 w 6883"/>
                    <a:gd name="T103" fmla="*/ 0 h 3057"/>
                    <a:gd name="T104" fmla="*/ 0 w 6883"/>
                    <a:gd name="T105" fmla="*/ 0 h 3057"/>
                    <a:gd name="T106" fmla="*/ 0 w 6883"/>
                    <a:gd name="T107" fmla="*/ 0 h 3057"/>
                    <a:gd name="T108" fmla="*/ 0 w 6883"/>
                    <a:gd name="T109" fmla="*/ 0 h 3057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6883"/>
                    <a:gd name="T166" fmla="*/ 0 h 3057"/>
                    <a:gd name="T167" fmla="*/ 6883 w 6883"/>
                    <a:gd name="T168" fmla="*/ 3057 h 3057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6883" h="3057">
                      <a:moveTo>
                        <a:pt x="5829" y="0"/>
                      </a:moveTo>
                      <a:lnTo>
                        <a:pt x="5815" y="20"/>
                      </a:lnTo>
                      <a:lnTo>
                        <a:pt x="5804" y="39"/>
                      </a:lnTo>
                      <a:lnTo>
                        <a:pt x="5793" y="58"/>
                      </a:lnTo>
                      <a:lnTo>
                        <a:pt x="5782" y="75"/>
                      </a:lnTo>
                      <a:lnTo>
                        <a:pt x="5760" y="113"/>
                      </a:lnTo>
                      <a:lnTo>
                        <a:pt x="5736" y="150"/>
                      </a:lnTo>
                      <a:lnTo>
                        <a:pt x="5714" y="186"/>
                      </a:lnTo>
                      <a:lnTo>
                        <a:pt x="5691" y="220"/>
                      </a:lnTo>
                      <a:lnTo>
                        <a:pt x="5667" y="252"/>
                      </a:lnTo>
                      <a:lnTo>
                        <a:pt x="5644" y="285"/>
                      </a:lnTo>
                      <a:lnTo>
                        <a:pt x="5619" y="315"/>
                      </a:lnTo>
                      <a:lnTo>
                        <a:pt x="5595" y="345"/>
                      </a:lnTo>
                      <a:lnTo>
                        <a:pt x="5571" y="374"/>
                      </a:lnTo>
                      <a:lnTo>
                        <a:pt x="5546" y="401"/>
                      </a:lnTo>
                      <a:lnTo>
                        <a:pt x="5520" y="428"/>
                      </a:lnTo>
                      <a:lnTo>
                        <a:pt x="5495" y="454"/>
                      </a:lnTo>
                      <a:lnTo>
                        <a:pt x="5469" y="478"/>
                      </a:lnTo>
                      <a:lnTo>
                        <a:pt x="5443" y="503"/>
                      </a:lnTo>
                      <a:lnTo>
                        <a:pt x="5416" y="526"/>
                      </a:lnTo>
                      <a:lnTo>
                        <a:pt x="5388" y="549"/>
                      </a:lnTo>
                      <a:lnTo>
                        <a:pt x="5360" y="572"/>
                      </a:lnTo>
                      <a:lnTo>
                        <a:pt x="5331" y="593"/>
                      </a:lnTo>
                      <a:lnTo>
                        <a:pt x="5302" y="614"/>
                      </a:lnTo>
                      <a:lnTo>
                        <a:pt x="5272" y="635"/>
                      </a:lnTo>
                      <a:lnTo>
                        <a:pt x="5242" y="655"/>
                      </a:lnTo>
                      <a:lnTo>
                        <a:pt x="5212" y="674"/>
                      </a:lnTo>
                      <a:lnTo>
                        <a:pt x="5180" y="693"/>
                      </a:lnTo>
                      <a:lnTo>
                        <a:pt x="5149" y="712"/>
                      </a:lnTo>
                      <a:lnTo>
                        <a:pt x="5082" y="749"/>
                      </a:lnTo>
                      <a:lnTo>
                        <a:pt x="5013" y="784"/>
                      </a:lnTo>
                      <a:lnTo>
                        <a:pt x="4942" y="820"/>
                      </a:lnTo>
                      <a:lnTo>
                        <a:pt x="4866" y="856"/>
                      </a:lnTo>
                      <a:lnTo>
                        <a:pt x="4803" y="883"/>
                      </a:lnTo>
                      <a:lnTo>
                        <a:pt x="4739" y="910"/>
                      </a:lnTo>
                      <a:lnTo>
                        <a:pt x="4677" y="935"/>
                      </a:lnTo>
                      <a:lnTo>
                        <a:pt x="4613" y="958"/>
                      </a:lnTo>
                      <a:lnTo>
                        <a:pt x="4551" y="979"/>
                      </a:lnTo>
                      <a:lnTo>
                        <a:pt x="4489" y="999"/>
                      </a:lnTo>
                      <a:lnTo>
                        <a:pt x="4427" y="1017"/>
                      </a:lnTo>
                      <a:lnTo>
                        <a:pt x="4365" y="1034"/>
                      </a:lnTo>
                      <a:lnTo>
                        <a:pt x="4304" y="1049"/>
                      </a:lnTo>
                      <a:lnTo>
                        <a:pt x="4243" y="1064"/>
                      </a:lnTo>
                      <a:lnTo>
                        <a:pt x="4180" y="1076"/>
                      </a:lnTo>
                      <a:lnTo>
                        <a:pt x="4119" y="1087"/>
                      </a:lnTo>
                      <a:lnTo>
                        <a:pt x="4058" y="1098"/>
                      </a:lnTo>
                      <a:lnTo>
                        <a:pt x="3997" y="1107"/>
                      </a:lnTo>
                      <a:lnTo>
                        <a:pt x="3934" y="1115"/>
                      </a:lnTo>
                      <a:lnTo>
                        <a:pt x="3873" y="1123"/>
                      </a:lnTo>
                      <a:lnTo>
                        <a:pt x="3812" y="1128"/>
                      </a:lnTo>
                      <a:lnTo>
                        <a:pt x="3750" y="1134"/>
                      </a:lnTo>
                      <a:lnTo>
                        <a:pt x="3687" y="1139"/>
                      </a:lnTo>
                      <a:lnTo>
                        <a:pt x="3625" y="1143"/>
                      </a:lnTo>
                      <a:lnTo>
                        <a:pt x="3563" y="1146"/>
                      </a:lnTo>
                      <a:lnTo>
                        <a:pt x="3500" y="1148"/>
                      </a:lnTo>
                      <a:lnTo>
                        <a:pt x="3437" y="1150"/>
                      </a:lnTo>
                      <a:lnTo>
                        <a:pt x="3373" y="1153"/>
                      </a:lnTo>
                      <a:lnTo>
                        <a:pt x="3245" y="1155"/>
                      </a:lnTo>
                      <a:lnTo>
                        <a:pt x="3115" y="1155"/>
                      </a:lnTo>
                      <a:lnTo>
                        <a:pt x="2983" y="1156"/>
                      </a:lnTo>
                      <a:lnTo>
                        <a:pt x="2848" y="1156"/>
                      </a:lnTo>
                      <a:lnTo>
                        <a:pt x="2790" y="1157"/>
                      </a:lnTo>
                      <a:lnTo>
                        <a:pt x="2729" y="1159"/>
                      </a:lnTo>
                      <a:lnTo>
                        <a:pt x="2663" y="1165"/>
                      </a:lnTo>
                      <a:lnTo>
                        <a:pt x="2594" y="1172"/>
                      </a:lnTo>
                      <a:lnTo>
                        <a:pt x="2521" y="1182"/>
                      </a:lnTo>
                      <a:lnTo>
                        <a:pt x="2445" y="1193"/>
                      </a:lnTo>
                      <a:lnTo>
                        <a:pt x="2366" y="1207"/>
                      </a:lnTo>
                      <a:lnTo>
                        <a:pt x="2285" y="1223"/>
                      </a:lnTo>
                      <a:lnTo>
                        <a:pt x="2200" y="1241"/>
                      </a:lnTo>
                      <a:lnTo>
                        <a:pt x="2114" y="1262"/>
                      </a:lnTo>
                      <a:lnTo>
                        <a:pt x="2024" y="1284"/>
                      </a:lnTo>
                      <a:lnTo>
                        <a:pt x="1934" y="1310"/>
                      </a:lnTo>
                      <a:lnTo>
                        <a:pt x="1841" y="1337"/>
                      </a:lnTo>
                      <a:lnTo>
                        <a:pt x="1747" y="1367"/>
                      </a:lnTo>
                      <a:lnTo>
                        <a:pt x="1652" y="1400"/>
                      </a:lnTo>
                      <a:lnTo>
                        <a:pt x="1555" y="1434"/>
                      </a:lnTo>
                      <a:lnTo>
                        <a:pt x="1457" y="1472"/>
                      </a:lnTo>
                      <a:lnTo>
                        <a:pt x="1358" y="1512"/>
                      </a:lnTo>
                      <a:lnTo>
                        <a:pt x="1259" y="1554"/>
                      </a:lnTo>
                      <a:lnTo>
                        <a:pt x="1159" y="1600"/>
                      </a:lnTo>
                      <a:lnTo>
                        <a:pt x="1058" y="1648"/>
                      </a:lnTo>
                      <a:lnTo>
                        <a:pt x="959" y="1698"/>
                      </a:lnTo>
                      <a:lnTo>
                        <a:pt x="859" y="1751"/>
                      </a:lnTo>
                      <a:lnTo>
                        <a:pt x="760" y="1807"/>
                      </a:lnTo>
                      <a:lnTo>
                        <a:pt x="661" y="1866"/>
                      </a:lnTo>
                      <a:lnTo>
                        <a:pt x="563" y="1928"/>
                      </a:lnTo>
                      <a:lnTo>
                        <a:pt x="466" y="1992"/>
                      </a:lnTo>
                      <a:lnTo>
                        <a:pt x="372" y="2060"/>
                      </a:lnTo>
                      <a:lnTo>
                        <a:pt x="277" y="2130"/>
                      </a:lnTo>
                      <a:lnTo>
                        <a:pt x="185" y="2203"/>
                      </a:lnTo>
                      <a:lnTo>
                        <a:pt x="93" y="2279"/>
                      </a:lnTo>
                      <a:lnTo>
                        <a:pt x="6" y="2358"/>
                      </a:lnTo>
                      <a:lnTo>
                        <a:pt x="2" y="2442"/>
                      </a:lnTo>
                      <a:lnTo>
                        <a:pt x="0" y="2528"/>
                      </a:lnTo>
                      <a:lnTo>
                        <a:pt x="1" y="2615"/>
                      </a:lnTo>
                      <a:lnTo>
                        <a:pt x="3" y="2702"/>
                      </a:lnTo>
                      <a:lnTo>
                        <a:pt x="8" y="2790"/>
                      </a:lnTo>
                      <a:lnTo>
                        <a:pt x="16" y="2878"/>
                      </a:lnTo>
                      <a:lnTo>
                        <a:pt x="24" y="2968"/>
                      </a:lnTo>
                      <a:lnTo>
                        <a:pt x="36" y="3057"/>
                      </a:lnTo>
                      <a:lnTo>
                        <a:pt x="102" y="3008"/>
                      </a:lnTo>
                      <a:lnTo>
                        <a:pt x="182" y="2951"/>
                      </a:lnTo>
                      <a:lnTo>
                        <a:pt x="275" y="2888"/>
                      </a:lnTo>
                      <a:lnTo>
                        <a:pt x="379" y="2820"/>
                      </a:lnTo>
                      <a:lnTo>
                        <a:pt x="495" y="2747"/>
                      </a:lnTo>
                      <a:lnTo>
                        <a:pt x="623" y="2672"/>
                      </a:lnTo>
                      <a:lnTo>
                        <a:pt x="762" y="2595"/>
                      </a:lnTo>
                      <a:lnTo>
                        <a:pt x="913" y="2516"/>
                      </a:lnTo>
                      <a:lnTo>
                        <a:pt x="1073" y="2438"/>
                      </a:lnTo>
                      <a:lnTo>
                        <a:pt x="1244" y="2360"/>
                      </a:lnTo>
                      <a:lnTo>
                        <a:pt x="1425" y="2286"/>
                      </a:lnTo>
                      <a:lnTo>
                        <a:pt x="1614" y="2213"/>
                      </a:lnTo>
                      <a:lnTo>
                        <a:pt x="1813" y="2145"/>
                      </a:lnTo>
                      <a:lnTo>
                        <a:pt x="2020" y="2083"/>
                      </a:lnTo>
                      <a:lnTo>
                        <a:pt x="2236" y="2027"/>
                      </a:lnTo>
                      <a:lnTo>
                        <a:pt x="2461" y="1978"/>
                      </a:lnTo>
                      <a:lnTo>
                        <a:pt x="2692" y="1938"/>
                      </a:lnTo>
                      <a:lnTo>
                        <a:pt x="2932" y="1907"/>
                      </a:lnTo>
                      <a:lnTo>
                        <a:pt x="3178" y="1887"/>
                      </a:lnTo>
                      <a:lnTo>
                        <a:pt x="3430" y="1878"/>
                      </a:lnTo>
                      <a:lnTo>
                        <a:pt x="3688" y="1882"/>
                      </a:lnTo>
                      <a:lnTo>
                        <a:pt x="3953" y="1898"/>
                      </a:lnTo>
                      <a:lnTo>
                        <a:pt x="4224" y="1931"/>
                      </a:lnTo>
                      <a:lnTo>
                        <a:pt x="4500" y="1978"/>
                      </a:lnTo>
                      <a:lnTo>
                        <a:pt x="4780" y="2043"/>
                      </a:lnTo>
                      <a:lnTo>
                        <a:pt x="5065" y="2125"/>
                      </a:lnTo>
                      <a:lnTo>
                        <a:pt x="5355" y="2227"/>
                      </a:lnTo>
                      <a:lnTo>
                        <a:pt x="5648" y="2348"/>
                      </a:lnTo>
                      <a:lnTo>
                        <a:pt x="5946" y="2489"/>
                      </a:lnTo>
                      <a:lnTo>
                        <a:pt x="6245" y="2654"/>
                      </a:lnTo>
                      <a:lnTo>
                        <a:pt x="6548" y="2841"/>
                      </a:lnTo>
                      <a:lnTo>
                        <a:pt x="6853" y="3051"/>
                      </a:lnTo>
                      <a:lnTo>
                        <a:pt x="6866" y="2932"/>
                      </a:lnTo>
                      <a:lnTo>
                        <a:pt x="6875" y="2813"/>
                      </a:lnTo>
                      <a:lnTo>
                        <a:pt x="6881" y="2696"/>
                      </a:lnTo>
                      <a:lnTo>
                        <a:pt x="6883" y="2582"/>
                      </a:lnTo>
                      <a:lnTo>
                        <a:pt x="6882" y="2467"/>
                      </a:lnTo>
                      <a:lnTo>
                        <a:pt x="6877" y="2355"/>
                      </a:lnTo>
                      <a:lnTo>
                        <a:pt x="6869" y="2243"/>
                      </a:lnTo>
                      <a:lnTo>
                        <a:pt x="6859" y="2133"/>
                      </a:lnTo>
                      <a:lnTo>
                        <a:pt x="6846" y="2025"/>
                      </a:lnTo>
                      <a:lnTo>
                        <a:pt x="6829" y="1918"/>
                      </a:lnTo>
                      <a:lnTo>
                        <a:pt x="6809" y="1814"/>
                      </a:lnTo>
                      <a:lnTo>
                        <a:pt x="6787" y="1709"/>
                      </a:lnTo>
                      <a:lnTo>
                        <a:pt x="6761" y="1608"/>
                      </a:lnTo>
                      <a:lnTo>
                        <a:pt x="6734" y="1508"/>
                      </a:lnTo>
                      <a:lnTo>
                        <a:pt x="6702" y="1409"/>
                      </a:lnTo>
                      <a:lnTo>
                        <a:pt x="6669" y="1312"/>
                      </a:lnTo>
                      <a:lnTo>
                        <a:pt x="6633" y="1216"/>
                      </a:lnTo>
                      <a:lnTo>
                        <a:pt x="6594" y="1123"/>
                      </a:lnTo>
                      <a:lnTo>
                        <a:pt x="6554" y="1030"/>
                      </a:lnTo>
                      <a:lnTo>
                        <a:pt x="6511" y="940"/>
                      </a:lnTo>
                      <a:lnTo>
                        <a:pt x="6465" y="851"/>
                      </a:lnTo>
                      <a:lnTo>
                        <a:pt x="6418" y="765"/>
                      </a:lnTo>
                      <a:lnTo>
                        <a:pt x="6367" y="680"/>
                      </a:lnTo>
                      <a:lnTo>
                        <a:pt x="6315" y="596"/>
                      </a:lnTo>
                      <a:lnTo>
                        <a:pt x="6261" y="515"/>
                      </a:lnTo>
                      <a:lnTo>
                        <a:pt x="6205" y="436"/>
                      </a:lnTo>
                      <a:lnTo>
                        <a:pt x="6146" y="358"/>
                      </a:lnTo>
                      <a:lnTo>
                        <a:pt x="6086" y="282"/>
                      </a:lnTo>
                      <a:lnTo>
                        <a:pt x="6025" y="209"/>
                      </a:lnTo>
                      <a:lnTo>
                        <a:pt x="5961" y="138"/>
                      </a:lnTo>
                      <a:lnTo>
                        <a:pt x="5896" y="68"/>
                      </a:lnTo>
                      <a:lnTo>
                        <a:pt x="5829" y="0"/>
                      </a:lnTo>
                      <a:close/>
                    </a:path>
                  </a:pathLst>
                </a:custGeom>
                <a:solidFill>
                  <a:srgbClr val="1B233E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107" name="Freeform 216"/>
                <p:cNvSpPr>
                  <a:spLocks/>
                </p:cNvSpPr>
                <p:nvPr/>
              </p:nvSpPr>
              <p:spPr bwMode="auto">
                <a:xfrm>
                  <a:off x="3077" y="2487"/>
                  <a:ext cx="441" cy="208"/>
                </a:xfrm>
                <a:custGeom>
                  <a:avLst/>
                  <a:gdLst>
                    <a:gd name="T0" fmla="*/ 0 w 3086"/>
                    <a:gd name="T1" fmla="*/ 0 h 1483"/>
                    <a:gd name="T2" fmla="*/ 0 w 3086"/>
                    <a:gd name="T3" fmla="*/ 0 h 1483"/>
                    <a:gd name="T4" fmla="*/ 0 w 3086"/>
                    <a:gd name="T5" fmla="*/ 0 h 1483"/>
                    <a:gd name="T6" fmla="*/ 0 w 3086"/>
                    <a:gd name="T7" fmla="*/ 0 h 1483"/>
                    <a:gd name="T8" fmla="*/ 0 w 3086"/>
                    <a:gd name="T9" fmla="*/ 0 h 1483"/>
                    <a:gd name="T10" fmla="*/ 0 w 3086"/>
                    <a:gd name="T11" fmla="*/ 0 h 1483"/>
                    <a:gd name="T12" fmla="*/ 0 w 3086"/>
                    <a:gd name="T13" fmla="*/ 0 h 1483"/>
                    <a:gd name="T14" fmla="*/ 0 w 3086"/>
                    <a:gd name="T15" fmla="*/ 0 h 1483"/>
                    <a:gd name="T16" fmla="*/ 0 w 3086"/>
                    <a:gd name="T17" fmla="*/ 0 h 1483"/>
                    <a:gd name="T18" fmla="*/ 0 w 3086"/>
                    <a:gd name="T19" fmla="*/ 0 h 1483"/>
                    <a:gd name="T20" fmla="*/ 0 w 3086"/>
                    <a:gd name="T21" fmla="*/ 0 h 1483"/>
                    <a:gd name="T22" fmla="*/ 0 w 3086"/>
                    <a:gd name="T23" fmla="*/ 0 h 1483"/>
                    <a:gd name="T24" fmla="*/ 0 w 3086"/>
                    <a:gd name="T25" fmla="*/ 0 h 1483"/>
                    <a:gd name="T26" fmla="*/ 0 w 3086"/>
                    <a:gd name="T27" fmla="*/ 0 h 1483"/>
                    <a:gd name="T28" fmla="*/ 0 w 3086"/>
                    <a:gd name="T29" fmla="*/ 0 h 1483"/>
                    <a:gd name="T30" fmla="*/ 0 w 3086"/>
                    <a:gd name="T31" fmla="*/ 0 h 1483"/>
                    <a:gd name="T32" fmla="*/ 0 w 3086"/>
                    <a:gd name="T33" fmla="*/ 0 h 1483"/>
                    <a:gd name="T34" fmla="*/ 0 w 3086"/>
                    <a:gd name="T35" fmla="*/ 0 h 1483"/>
                    <a:gd name="T36" fmla="*/ 0 w 3086"/>
                    <a:gd name="T37" fmla="*/ 0 h 1483"/>
                    <a:gd name="T38" fmla="*/ 0 w 3086"/>
                    <a:gd name="T39" fmla="*/ 0 h 1483"/>
                    <a:gd name="T40" fmla="*/ 0 w 3086"/>
                    <a:gd name="T41" fmla="*/ 0 h 1483"/>
                    <a:gd name="T42" fmla="*/ 0 w 3086"/>
                    <a:gd name="T43" fmla="*/ 0 h 1483"/>
                    <a:gd name="T44" fmla="*/ 0 w 3086"/>
                    <a:gd name="T45" fmla="*/ 0 h 1483"/>
                    <a:gd name="T46" fmla="*/ 0 w 3086"/>
                    <a:gd name="T47" fmla="*/ 0 h 1483"/>
                    <a:gd name="T48" fmla="*/ 0 w 3086"/>
                    <a:gd name="T49" fmla="*/ 0 h 1483"/>
                    <a:gd name="T50" fmla="*/ 0 w 3086"/>
                    <a:gd name="T51" fmla="*/ 0 h 1483"/>
                    <a:gd name="T52" fmla="*/ 0 w 3086"/>
                    <a:gd name="T53" fmla="*/ 0 h 1483"/>
                    <a:gd name="T54" fmla="*/ 0 w 3086"/>
                    <a:gd name="T55" fmla="*/ 0 h 1483"/>
                    <a:gd name="T56" fmla="*/ 0 w 3086"/>
                    <a:gd name="T57" fmla="*/ 0 h 1483"/>
                    <a:gd name="T58" fmla="*/ 0 w 3086"/>
                    <a:gd name="T59" fmla="*/ 0 h 1483"/>
                    <a:gd name="T60" fmla="*/ 0 w 3086"/>
                    <a:gd name="T61" fmla="*/ 0 h 1483"/>
                    <a:gd name="T62" fmla="*/ 0 w 3086"/>
                    <a:gd name="T63" fmla="*/ 0 h 1483"/>
                    <a:gd name="T64" fmla="*/ 0 w 3086"/>
                    <a:gd name="T65" fmla="*/ 0 h 1483"/>
                    <a:gd name="T66" fmla="*/ 0 w 3086"/>
                    <a:gd name="T67" fmla="*/ 0 h 1483"/>
                    <a:gd name="T68" fmla="*/ 0 w 3086"/>
                    <a:gd name="T69" fmla="*/ 0 h 1483"/>
                    <a:gd name="T70" fmla="*/ 0 w 3086"/>
                    <a:gd name="T71" fmla="*/ 0 h 1483"/>
                    <a:gd name="T72" fmla="*/ 0 w 3086"/>
                    <a:gd name="T73" fmla="*/ 0 h 1483"/>
                    <a:gd name="T74" fmla="*/ 0 w 3086"/>
                    <a:gd name="T75" fmla="*/ 0 h 1483"/>
                    <a:gd name="T76" fmla="*/ 0 w 3086"/>
                    <a:gd name="T77" fmla="*/ 0 h 1483"/>
                    <a:gd name="T78" fmla="*/ 0 w 3086"/>
                    <a:gd name="T79" fmla="*/ 0 h 1483"/>
                    <a:gd name="T80" fmla="*/ 0 w 3086"/>
                    <a:gd name="T81" fmla="*/ 0 h 1483"/>
                    <a:gd name="T82" fmla="*/ 0 w 3086"/>
                    <a:gd name="T83" fmla="*/ 0 h 1483"/>
                    <a:gd name="T84" fmla="*/ 0 w 3086"/>
                    <a:gd name="T85" fmla="*/ 0 h 1483"/>
                    <a:gd name="T86" fmla="*/ 0 w 3086"/>
                    <a:gd name="T87" fmla="*/ 0 h 1483"/>
                    <a:gd name="T88" fmla="*/ 0 w 3086"/>
                    <a:gd name="T89" fmla="*/ 0 h 1483"/>
                    <a:gd name="T90" fmla="*/ 0 w 3086"/>
                    <a:gd name="T91" fmla="*/ 0 h 1483"/>
                    <a:gd name="T92" fmla="*/ 0 w 3086"/>
                    <a:gd name="T93" fmla="*/ 0 h 1483"/>
                    <a:gd name="T94" fmla="*/ 0 w 3086"/>
                    <a:gd name="T95" fmla="*/ 0 h 1483"/>
                    <a:gd name="T96" fmla="*/ 0 w 3086"/>
                    <a:gd name="T97" fmla="*/ 0 h 1483"/>
                    <a:gd name="T98" fmla="*/ 0 w 3086"/>
                    <a:gd name="T99" fmla="*/ 0 h 1483"/>
                    <a:gd name="T100" fmla="*/ 0 w 3086"/>
                    <a:gd name="T101" fmla="*/ 0 h 1483"/>
                    <a:gd name="T102" fmla="*/ 0 w 3086"/>
                    <a:gd name="T103" fmla="*/ 0 h 1483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3086"/>
                    <a:gd name="T157" fmla="*/ 0 h 1483"/>
                    <a:gd name="T158" fmla="*/ 3086 w 3086"/>
                    <a:gd name="T159" fmla="*/ 1483 h 1483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3086" h="1483">
                      <a:moveTo>
                        <a:pt x="1769" y="1302"/>
                      </a:moveTo>
                      <a:lnTo>
                        <a:pt x="1826" y="1278"/>
                      </a:lnTo>
                      <a:lnTo>
                        <a:pt x="1881" y="1252"/>
                      </a:lnTo>
                      <a:lnTo>
                        <a:pt x="1937" y="1224"/>
                      </a:lnTo>
                      <a:lnTo>
                        <a:pt x="1990" y="1196"/>
                      </a:lnTo>
                      <a:lnTo>
                        <a:pt x="2043" y="1167"/>
                      </a:lnTo>
                      <a:lnTo>
                        <a:pt x="2094" y="1138"/>
                      </a:lnTo>
                      <a:lnTo>
                        <a:pt x="2145" y="1107"/>
                      </a:lnTo>
                      <a:lnTo>
                        <a:pt x="2194" y="1075"/>
                      </a:lnTo>
                      <a:lnTo>
                        <a:pt x="2242" y="1043"/>
                      </a:lnTo>
                      <a:lnTo>
                        <a:pt x="2289" y="1008"/>
                      </a:lnTo>
                      <a:lnTo>
                        <a:pt x="2335" y="974"/>
                      </a:lnTo>
                      <a:lnTo>
                        <a:pt x="2380" y="938"/>
                      </a:lnTo>
                      <a:lnTo>
                        <a:pt x="2424" y="901"/>
                      </a:lnTo>
                      <a:lnTo>
                        <a:pt x="2467" y="864"/>
                      </a:lnTo>
                      <a:lnTo>
                        <a:pt x="2509" y="825"/>
                      </a:lnTo>
                      <a:lnTo>
                        <a:pt x="2550" y="786"/>
                      </a:lnTo>
                      <a:lnTo>
                        <a:pt x="2590" y="744"/>
                      </a:lnTo>
                      <a:lnTo>
                        <a:pt x="2629" y="703"/>
                      </a:lnTo>
                      <a:lnTo>
                        <a:pt x="2667" y="661"/>
                      </a:lnTo>
                      <a:lnTo>
                        <a:pt x="2704" y="617"/>
                      </a:lnTo>
                      <a:lnTo>
                        <a:pt x="2741" y="573"/>
                      </a:lnTo>
                      <a:lnTo>
                        <a:pt x="2776" y="527"/>
                      </a:lnTo>
                      <a:lnTo>
                        <a:pt x="2811" y="481"/>
                      </a:lnTo>
                      <a:lnTo>
                        <a:pt x="2844" y="433"/>
                      </a:lnTo>
                      <a:lnTo>
                        <a:pt x="2877" y="385"/>
                      </a:lnTo>
                      <a:lnTo>
                        <a:pt x="2910" y="336"/>
                      </a:lnTo>
                      <a:lnTo>
                        <a:pt x="2941" y="286"/>
                      </a:lnTo>
                      <a:lnTo>
                        <a:pt x="2971" y="235"/>
                      </a:lnTo>
                      <a:lnTo>
                        <a:pt x="3001" y="182"/>
                      </a:lnTo>
                      <a:lnTo>
                        <a:pt x="3030" y="129"/>
                      </a:lnTo>
                      <a:lnTo>
                        <a:pt x="3058" y="76"/>
                      </a:lnTo>
                      <a:lnTo>
                        <a:pt x="3086" y="20"/>
                      </a:lnTo>
                      <a:lnTo>
                        <a:pt x="3042" y="16"/>
                      </a:lnTo>
                      <a:lnTo>
                        <a:pt x="2999" y="11"/>
                      </a:lnTo>
                      <a:lnTo>
                        <a:pt x="2955" y="8"/>
                      </a:lnTo>
                      <a:lnTo>
                        <a:pt x="2913" y="6"/>
                      </a:lnTo>
                      <a:lnTo>
                        <a:pt x="2870" y="3"/>
                      </a:lnTo>
                      <a:lnTo>
                        <a:pt x="2826" y="1"/>
                      </a:lnTo>
                      <a:lnTo>
                        <a:pt x="2783" y="0"/>
                      </a:lnTo>
                      <a:lnTo>
                        <a:pt x="2739" y="0"/>
                      </a:lnTo>
                      <a:lnTo>
                        <a:pt x="2646" y="1"/>
                      </a:lnTo>
                      <a:lnTo>
                        <a:pt x="2552" y="7"/>
                      </a:lnTo>
                      <a:lnTo>
                        <a:pt x="2458" y="14"/>
                      </a:lnTo>
                      <a:lnTo>
                        <a:pt x="2363" y="24"/>
                      </a:lnTo>
                      <a:lnTo>
                        <a:pt x="2270" y="39"/>
                      </a:lnTo>
                      <a:lnTo>
                        <a:pt x="2175" y="56"/>
                      </a:lnTo>
                      <a:lnTo>
                        <a:pt x="2081" y="76"/>
                      </a:lnTo>
                      <a:lnTo>
                        <a:pt x="1987" y="98"/>
                      </a:lnTo>
                      <a:lnTo>
                        <a:pt x="1892" y="124"/>
                      </a:lnTo>
                      <a:lnTo>
                        <a:pt x="1800" y="152"/>
                      </a:lnTo>
                      <a:lnTo>
                        <a:pt x="1707" y="184"/>
                      </a:lnTo>
                      <a:lnTo>
                        <a:pt x="1614" y="218"/>
                      </a:lnTo>
                      <a:lnTo>
                        <a:pt x="1522" y="255"/>
                      </a:lnTo>
                      <a:lnTo>
                        <a:pt x="1432" y="294"/>
                      </a:lnTo>
                      <a:lnTo>
                        <a:pt x="1340" y="336"/>
                      </a:lnTo>
                      <a:lnTo>
                        <a:pt x="1251" y="381"/>
                      </a:lnTo>
                      <a:lnTo>
                        <a:pt x="1162" y="428"/>
                      </a:lnTo>
                      <a:lnTo>
                        <a:pt x="1076" y="479"/>
                      </a:lnTo>
                      <a:lnTo>
                        <a:pt x="989" y="532"/>
                      </a:lnTo>
                      <a:lnTo>
                        <a:pt x="903" y="586"/>
                      </a:lnTo>
                      <a:lnTo>
                        <a:pt x="820" y="644"/>
                      </a:lnTo>
                      <a:lnTo>
                        <a:pt x="736" y="704"/>
                      </a:lnTo>
                      <a:lnTo>
                        <a:pt x="655" y="767"/>
                      </a:lnTo>
                      <a:lnTo>
                        <a:pt x="576" y="831"/>
                      </a:lnTo>
                      <a:lnTo>
                        <a:pt x="497" y="898"/>
                      </a:lnTo>
                      <a:lnTo>
                        <a:pt x="421" y="968"/>
                      </a:lnTo>
                      <a:lnTo>
                        <a:pt x="345" y="1039"/>
                      </a:lnTo>
                      <a:lnTo>
                        <a:pt x="273" y="1114"/>
                      </a:lnTo>
                      <a:lnTo>
                        <a:pt x="202" y="1190"/>
                      </a:lnTo>
                      <a:lnTo>
                        <a:pt x="133" y="1269"/>
                      </a:lnTo>
                      <a:lnTo>
                        <a:pt x="66" y="1349"/>
                      </a:lnTo>
                      <a:lnTo>
                        <a:pt x="0" y="1431"/>
                      </a:lnTo>
                      <a:lnTo>
                        <a:pt x="58" y="1440"/>
                      </a:lnTo>
                      <a:lnTo>
                        <a:pt x="116" y="1449"/>
                      </a:lnTo>
                      <a:lnTo>
                        <a:pt x="175" y="1457"/>
                      </a:lnTo>
                      <a:lnTo>
                        <a:pt x="234" y="1462"/>
                      </a:lnTo>
                      <a:lnTo>
                        <a:pt x="294" y="1468"/>
                      </a:lnTo>
                      <a:lnTo>
                        <a:pt x="353" y="1473"/>
                      </a:lnTo>
                      <a:lnTo>
                        <a:pt x="413" y="1477"/>
                      </a:lnTo>
                      <a:lnTo>
                        <a:pt x="474" y="1480"/>
                      </a:lnTo>
                      <a:lnTo>
                        <a:pt x="535" y="1482"/>
                      </a:lnTo>
                      <a:lnTo>
                        <a:pt x="595" y="1483"/>
                      </a:lnTo>
                      <a:lnTo>
                        <a:pt x="655" y="1483"/>
                      </a:lnTo>
                      <a:lnTo>
                        <a:pt x="715" y="1483"/>
                      </a:lnTo>
                      <a:lnTo>
                        <a:pt x="775" y="1481"/>
                      </a:lnTo>
                      <a:lnTo>
                        <a:pt x="835" y="1480"/>
                      </a:lnTo>
                      <a:lnTo>
                        <a:pt x="894" y="1477"/>
                      </a:lnTo>
                      <a:lnTo>
                        <a:pt x="953" y="1472"/>
                      </a:lnTo>
                      <a:lnTo>
                        <a:pt x="1012" y="1468"/>
                      </a:lnTo>
                      <a:lnTo>
                        <a:pt x="1069" y="1462"/>
                      </a:lnTo>
                      <a:lnTo>
                        <a:pt x="1127" y="1457"/>
                      </a:lnTo>
                      <a:lnTo>
                        <a:pt x="1182" y="1449"/>
                      </a:lnTo>
                      <a:lnTo>
                        <a:pt x="1238" y="1441"/>
                      </a:lnTo>
                      <a:lnTo>
                        <a:pt x="1293" y="1432"/>
                      </a:lnTo>
                      <a:lnTo>
                        <a:pt x="1346" y="1423"/>
                      </a:lnTo>
                      <a:lnTo>
                        <a:pt x="1398" y="1413"/>
                      </a:lnTo>
                      <a:lnTo>
                        <a:pt x="1449" y="1402"/>
                      </a:lnTo>
                      <a:lnTo>
                        <a:pt x="1500" y="1390"/>
                      </a:lnTo>
                      <a:lnTo>
                        <a:pt x="1547" y="1378"/>
                      </a:lnTo>
                      <a:lnTo>
                        <a:pt x="1595" y="1363"/>
                      </a:lnTo>
                      <a:lnTo>
                        <a:pt x="1641" y="1350"/>
                      </a:lnTo>
                      <a:lnTo>
                        <a:pt x="1685" y="1334"/>
                      </a:lnTo>
                      <a:lnTo>
                        <a:pt x="1728" y="1319"/>
                      </a:lnTo>
                      <a:lnTo>
                        <a:pt x="1769" y="1302"/>
                      </a:lnTo>
                      <a:close/>
                    </a:path>
                  </a:pathLst>
                </a:custGeom>
                <a:solidFill>
                  <a:srgbClr val="243D6A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</p:grpSp>
          <p:pic>
            <p:nvPicPr>
              <p:cNvPr id="146" name="Picture 40" descr="한우클립아트3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232814" y="1559529"/>
                <a:ext cx="399540" cy="7326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8" name="Picture 40" descr="한우클립아트3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184689" y="3031530"/>
                <a:ext cx="469905" cy="31508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9" name="Picture 40" descr="한우클립아트3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6550231" y="2446644"/>
                <a:ext cx="381902" cy="89997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50" name="Picture 40" descr="한우클립아트3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671715" y="2609871"/>
                <a:ext cx="654908" cy="73263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grpSp>
            <p:nvGrpSpPr>
              <p:cNvPr id="205" name="Group 166"/>
              <p:cNvGrpSpPr>
                <a:grpSpLocks/>
              </p:cNvGrpSpPr>
              <p:nvPr/>
            </p:nvGrpSpPr>
            <p:grpSpPr bwMode="auto">
              <a:xfrm>
                <a:off x="6853886" y="1522651"/>
                <a:ext cx="378941" cy="769720"/>
                <a:chOff x="192" y="480"/>
                <a:chExt cx="1038" cy="1824"/>
              </a:xfrm>
            </p:grpSpPr>
            <p:pic>
              <p:nvPicPr>
                <p:cNvPr id="218" name="Picture 167" descr="j0417464"/>
                <p:cNvPicPr>
                  <a:picLocks noChangeAspect="1" noChangeArrowheads="1"/>
                </p:cNvPicPr>
                <p:nvPr/>
              </p:nvPicPr>
              <p:blipFill>
                <a:blip r:embed="rId4" cstate="print"/>
                <a:srcRect/>
                <a:stretch>
                  <a:fillRect/>
                </a:stretch>
              </p:blipFill>
              <p:spPr bwMode="auto">
                <a:xfrm>
                  <a:off x="192" y="480"/>
                  <a:ext cx="1038" cy="168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grpSp>
              <p:nvGrpSpPr>
                <p:cNvPr id="219" name="Group 168"/>
                <p:cNvGrpSpPr>
                  <a:grpSpLocks/>
                </p:cNvGrpSpPr>
                <p:nvPr/>
              </p:nvGrpSpPr>
              <p:grpSpPr bwMode="auto">
                <a:xfrm>
                  <a:off x="279" y="1545"/>
                  <a:ext cx="885" cy="759"/>
                  <a:chOff x="3160" y="3505"/>
                  <a:chExt cx="602" cy="660"/>
                </a:xfrm>
              </p:grpSpPr>
              <p:sp>
                <p:nvSpPr>
                  <p:cNvPr id="220" name="Freeform 169"/>
                  <p:cNvSpPr>
                    <a:spLocks/>
                  </p:cNvSpPr>
                  <p:nvPr/>
                </p:nvSpPr>
                <p:spPr bwMode="auto">
                  <a:xfrm>
                    <a:off x="3292" y="3975"/>
                    <a:ext cx="136" cy="177"/>
                  </a:xfrm>
                  <a:custGeom>
                    <a:avLst/>
                    <a:gdLst>
                      <a:gd name="T0" fmla="*/ 0 w 955"/>
                      <a:gd name="T1" fmla="*/ 0 h 1249"/>
                      <a:gd name="T2" fmla="*/ 0 w 955"/>
                      <a:gd name="T3" fmla="*/ 0 h 1249"/>
                      <a:gd name="T4" fmla="*/ 0 w 955"/>
                      <a:gd name="T5" fmla="*/ 0 h 1249"/>
                      <a:gd name="T6" fmla="*/ 0 w 955"/>
                      <a:gd name="T7" fmla="*/ 0 h 1249"/>
                      <a:gd name="T8" fmla="*/ 0 w 955"/>
                      <a:gd name="T9" fmla="*/ 0 h 1249"/>
                      <a:gd name="T10" fmla="*/ 0 w 955"/>
                      <a:gd name="T11" fmla="*/ 0 h 1249"/>
                      <a:gd name="T12" fmla="*/ 0 w 955"/>
                      <a:gd name="T13" fmla="*/ 0 h 1249"/>
                      <a:gd name="T14" fmla="*/ 0 w 955"/>
                      <a:gd name="T15" fmla="*/ 0 h 1249"/>
                      <a:gd name="T16" fmla="*/ 0 w 955"/>
                      <a:gd name="T17" fmla="*/ 0 h 1249"/>
                      <a:gd name="T18" fmla="*/ 0 w 955"/>
                      <a:gd name="T19" fmla="*/ 0 h 1249"/>
                      <a:gd name="T20" fmla="*/ 0 w 955"/>
                      <a:gd name="T21" fmla="*/ 0 h 1249"/>
                      <a:gd name="T22" fmla="*/ 0 w 955"/>
                      <a:gd name="T23" fmla="*/ 0 h 1249"/>
                      <a:gd name="T24" fmla="*/ 0 w 955"/>
                      <a:gd name="T25" fmla="*/ 0 h 1249"/>
                      <a:gd name="T26" fmla="*/ 0 w 955"/>
                      <a:gd name="T27" fmla="*/ 0 h 1249"/>
                      <a:gd name="T28" fmla="*/ 0 w 955"/>
                      <a:gd name="T29" fmla="*/ 0 h 1249"/>
                      <a:gd name="T30" fmla="*/ 0 w 955"/>
                      <a:gd name="T31" fmla="*/ 0 h 1249"/>
                      <a:gd name="T32" fmla="*/ 0 w 955"/>
                      <a:gd name="T33" fmla="*/ 0 h 1249"/>
                      <a:gd name="T34" fmla="*/ 0 w 955"/>
                      <a:gd name="T35" fmla="*/ 0 h 1249"/>
                      <a:gd name="T36" fmla="*/ 0 w 955"/>
                      <a:gd name="T37" fmla="*/ 0 h 1249"/>
                      <a:gd name="T38" fmla="*/ 0 w 955"/>
                      <a:gd name="T39" fmla="*/ 0 h 1249"/>
                      <a:gd name="T40" fmla="*/ 0 w 955"/>
                      <a:gd name="T41" fmla="*/ 0 h 1249"/>
                      <a:gd name="T42" fmla="*/ 0 w 955"/>
                      <a:gd name="T43" fmla="*/ 0 h 1249"/>
                      <a:gd name="T44" fmla="*/ 0 w 955"/>
                      <a:gd name="T45" fmla="*/ 0 h 1249"/>
                      <a:gd name="T46" fmla="*/ 0 w 955"/>
                      <a:gd name="T47" fmla="*/ 0 h 1249"/>
                      <a:gd name="T48" fmla="*/ 0 w 955"/>
                      <a:gd name="T49" fmla="*/ 0 h 1249"/>
                      <a:gd name="T50" fmla="*/ 0 w 955"/>
                      <a:gd name="T51" fmla="*/ 0 h 1249"/>
                      <a:gd name="T52" fmla="*/ 0 w 955"/>
                      <a:gd name="T53" fmla="*/ 0 h 1249"/>
                      <a:gd name="T54" fmla="*/ 0 w 955"/>
                      <a:gd name="T55" fmla="*/ 0 h 1249"/>
                      <a:gd name="T56" fmla="*/ 0 w 955"/>
                      <a:gd name="T57" fmla="*/ 0 h 1249"/>
                      <a:gd name="T58" fmla="*/ 0 w 955"/>
                      <a:gd name="T59" fmla="*/ 0 h 1249"/>
                      <a:gd name="T60" fmla="*/ 0 w 955"/>
                      <a:gd name="T61" fmla="*/ 0 h 1249"/>
                      <a:gd name="T62" fmla="*/ 0 w 955"/>
                      <a:gd name="T63" fmla="*/ 0 h 1249"/>
                      <a:gd name="T64" fmla="*/ 0 w 955"/>
                      <a:gd name="T65" fmla="*/ 0 h 1249"/>
                      <a:gd name="T66" fmla="*/ 0 w 955"/>
                      <a:gd name="T67" fmla="*/ 0 h 1249"/>
                      <a:gd name="T68" fmla="*/ 0 w 955"/>
                      <a:gd name="T69" fmla="*/ 0 h 1249"/>
                      <a:gd name="T70" fmla="*/ 0 w 955"/>
                      <a:gd name="T71" fmla="*/ 0 h 1249"/>
                      <a:gd name="T72" fmla="*/ 0 w 955"/>
                      <a:gd name="T73" fmla="*/ 0 h 1249"/>
                      <a:gd name="T74" fmla="*/ 0 w 955"/>
                      <a:gd name="T75" fmla="*/ 0 h 1249"/>
                      <a:gd name="T76" fmla="*/ 0 w 955"/>
                      <a:gd name="T77" fmla="*/ 0 h 1249"/>
                      <a:gd name="T78" fmla="*/ 0 w 955"/>
                      <a:gd name="T79" fmla="*/ 0 h 1249"/>
                      <a:gd name="T80" fmla="*/ 0 w 955"/>
                      <a:gd name="T81" fmla="*/ 0 h 1249"/>
                      <a:gd name="T82" fmla="*/ 0 w 955"/>
                      <a:gd name="T83" fmla="*/ 0 h 1249"/>
                      <a:gd name="T84" fmla="*/ 0 w 955"/>
                      <a:gd name="T85" fmla="*/ 0 h 1249"/>
                      <a:gd name="T86" fmla="*/ 0 w 955"/>
                      <a:gd name="T87" fmla="*/ 0 h 1249"/>
                      <a:gd name="T88" fmla="*/ 0 w 955"/>
                      <a:gd name="T89" fmla="*/ 0 h 1249"/>
                      <a:gd name="T90" fmla="*/ 0 w 955"/>
                      <a:gd name="T91" fmla="*/ 0 h 1249"/>
                      <a:gd name="T92" fmla="*/ 0 w 955"/>
                      <a:gd name="T93" fmla="*/ 0 h 1249"/>
                      <a:gd name="T94" fmla="*/ 0 w 955"/>
                      <a:gd name="T95" fmla="*/ 0 h 1249"/>
                      <a:gd name="T96" fmla="*/ 0 w 955"/>
                      <a:gd name="T97" fmla="*/ 0 h 1249"/>
                      <a:gd name="T98" fmla="*/ 0 w 955"/>
                      <a:gd name="T99" fmla="*/ 0 h 1249"/>
                      <a:gd name="T100" fmla="*/ 0 w 955"/>
                      <a:gd name="T101" fmla="*/ 0 h 1249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w 955"/>
                      <a:gd name="T154" fmla="*/ 0 h 1249"/>
                      <a:gd name="T155" fmla="*/ 955 w 955"/>
                      <a:gd name="T156" fmla="*/ 1249 h 1249"/>
                    </a:gdLst>
                    <a:ahLst/>
                    <a:cxnLst>
                      <a:cxn ang="T102">
                        <a:pos x="T0" y="T1"/>
                      </a:cxn>
                      <a:cxn ang="T103">
                        <a:pos x="T2" y="T3"/>
                      </a:cxn>
                      <a:cxn ang="T104">
                        <a:pos x="T4" y="T5"/>
                      </a:cxn>
                      <a:cxn ang="T105">
                        <a:pos x="T6" y="T7"/>
                      </a:cxn>
                      <a:cxn ang="T106">
                        <a:pos x="T8" y="T9"/>
                      </a:cxn>
                      <a:cxn ang="T107">
                        <a:pos x="T10" y="T11"/>
                      </a:cxn>
                      <a:cxn ang="T108">
                        <a:pos x="T12" y="T13"/>
                      </a:cxn>
                      <a:cxn ang="T109">
                        <a:pos x="T14" y="T15"/>
                      </a:cxn>
                      <a:cxn ang="T110">
                        <a:pos x="T16" y="T17"/>
                      </a:cxn>
                      <a:cxn ang="T111">
                        <a:pos x="T18" y="T19"/>
                      </a:cxn>
                      <a:cxn ang="T112">
                        <a:pos x="T20" y="T21"/>
                      </a:cxn>
                      <a:cxn ang="T113">
                        <a:pos x="T22" y="T23"/>
                      </a:cxn>
                      <a:cxn ang="T114">
                        <a:pos x="T24" y="T25"/>
                      </a:cxn>
                      <a:cxn ang="T115">
                        <a:pos x="T26" y="T27"/>
                      </a:cxn>
                      <a:cxn ang="T116">
                        <a:pos x="T28" y="T29"/>
                      </a:cxn>
                      <a:cxn ang="T117">
                        <a:pos x="T30" y="T31"/>
                      </a:cxn>
                      <a:cxn ang="T118">
                        <a:pos x="T32" y="T33"/>
                      </a:cxn>
                      <a:cxn ang="T119">
                        <a:pos x="T34" y="T35"/>
                      </a:cxn>
                      <a:cxn ang="T120">
                        <a:pos x="T36" y="T37"/>
                      </a:cxn>
                      <a:cxn ang="T121">
                        <a:pos x="T38" y="T39"/>
                      </a:cxn>
                      <a:cxn ang="T122">
                        <a:pos x="T40" y="T41"/>
                      </a:cxn>
                      <a:cxn ang="T123">
                        <a:pos x="T42" y="T43"/>
                      </a:cxn>
                      <a:cxn ang="T124">
                        <a:pos x="T44" y="T45"/>
                      </a:cxn>
                      <a:cxn ang="T125">
                        <a:pos x="T46" y="T47"/>
                      </a:cxn>
                      <a:cxn ang="T126">
                        <a:pos x="T48" y="T49"/>
                      </a:cxn>
                      <a:cxn ang="T127">
                        <a:pos x="T50" y="T51"/>
                      </a:cxn>
                      <a:cxn ang="T128">
                        <a:pos x="T52" y="T53"/>
                      </a:cxn>
                      <a:cxn ang="T129">
                        <a:pos x="T54" y="T55"/>
                      </a:cxn>
                      <a:cxn ang="T130">
                        <a:pos x="T56" y="T57"/>
                      </a:cxn>
                      <a:cxn ang="T131">
                        <a:pos x="T58" y="T59"/>
                      </a:cxn>
                      <a:cxn ang="T132">
                        <a:pos x="T60" y="T61"/>
                      </a:cxn>
                      <a:cxn ang="T133">
                        <a:pos x="T62" y="T63"/>
                      </a:cxn>
                      <a:cxn ang="T134">
                        <a:pos x="T64" y="T65"/>
                      </a:cxn>
                      <a:cxn ang="T135">
                        <a:pos x="T66" y="T67"/>
                      </a:cxn>
                      <a:cxn ang="T136">
                        <a:pos x="T68" y="T69"/>
                      </a:cxn>
                      <a:cxn ang="T137">
                        <a:pos x="T70" y="T71"/>
                      </a:cxn>
                      <a:cxn ang="T138">
                        <a:pos x="T72" y="T73"/>
                      </a:cxn>
                      <a:cxn ang="T139">
                        <a:pos x="T74" y="T75"/>
                      </a:cxn>
                      <a:cxn ang="T140">
                        <a:pos x="T76" y="T77"/>
                      </a:cxn>
                      <a:cxn ang="T141">
                        <a:pos x="T78" y="T79"/>
                      </a:cxn>
                      <a:cxn ang="T142">
                        <a:pos x="T80" y="T81"/>
                      </a:cxn>
                      <a:cxn ang="T143">
                        <a:pos x="T82" y="T83"/>
                      </a:cxn>
                      <a:cxn ang="T144">
                        <a:pos x="T84" y="T85"/>
                      </a:cxn>
                      <a:cxn ang="T145">
                        <a:pos x="T86" y="T87"/>
                      </a:cxn>
                      <a:cxn ang="T146">
                        <a:pos x="T88" y="T89"/>
                      </a:cxn>
                      <a:cxn ang="T147">
                        <a:pos x="T90" y="T91"/>
                      </a:cxn>
                      <a:cxn ang="T148">
                        <a:pos x="T92" y="T93"/>
                      </a:cxn>
                      <a:cxn ang="T149">
                        <a:pos x="T94" y="T95"/>
                      </a:cxn>
                      <a:cxn ang="T150">
                        <a:pos x="T96" y="T97"/>
                      </a:cxn>
                      <a:cxn ang="T151">
                        <a:pos x="T98" y="T99"/>
                      </a:cxn>
                      <a:cxn ang="T152">
                        <a:pos x="T100" y="T101"/>
                      </a:cxn>
                    </a:cxnLst>
                    <a:rect l="T153" t="T154" r="T155" b="T156"/>
                    <a:pathLst>
                      <a:path w="955" h="1249">
                        <a:moveTo>
                          <a:pt x="953" y="531"/>
                        </a:moveTo>
                        <a:lnTo>
                          <a:pt x="955" y="463"/>
                        </a:lnTo>
                        <a:lnTo>
                          <a:pt x="951" y="401"/>
                        </a:lnTo>
                        <a:lnTo>
                          <a:pt x="942" y="344"/>
                        </a:lnTo>
                        <a:lnTo>
                          <a:pt x="929" y="292"/>
                        </a:lnTo>
                        <a:lnTo>
                          <a:pt x="911" y="245"/>
                        </a:lnTo>
                        <a:lnTo>
                          <a:pt x="889" y="202"/>
                        </a:lnTo>
                        <a:lnTo>
                          <a:pt x="863" y="164"/>
                        </a:lnTo>
                        <a:lnTo>
                          <a:pt x="834" y="130"/>
                        </a:lnTo>
                        <a:lnTo>
                          <a:pt x="802" y="100"/>
                        </a:lnTo>
                        <a:lnTo>
                          <a:pt x="768" y="75"/>
                        </a:lnTo>
                        <a:lnTo>
                          <a:pt x="731" y="54"/>
                        </a:lnTo>
                        <a:lnTo>
                          <a:pt x="692" y="36"/>
                        </a:lnTo>
                        <a:lnTo>
                          <a:pt x="652" y="23"/>
                        </a:lnTo>
                        <a:lnTo>
                          <a:pt x="611" y="11"/>
                        </a:lnTo>
                        <a:lnTo>
                          <a:pt x="567" y="5"/>
                        </a:lnTo>
                        <a:lnTo>
                          <a:pt x="524" y="0"/>
                        </a:lnTo>
                        <a:lnTo>
                          <a:pt x="480" y="0"/>
                        </a:lnTo>
                        <a:lnTo>
                          <a:pt x="437" y="2"/>
                        </a:lnTo>
                        <a:lnTo>
                          <a:pt x="395" y="7"/>
                        </a:lnTo>
                        <a:lnTo>
                          <a:pt x="352" y="15"/>
                        </a:lnTo>
                        <a:lnTo>
                          <a:pt x="311" y="25"/>
                        </a:lnTo>
                        <a:lnTo>
                          <a:pt x="272" y="37"/>
                        </a:lnTo>
                        <a:lnTo>
                          <a:pt x="234" y="53"/>
                        </a:lnTo>
                        <a:lnTo>
                          <a:pt x="199" y="69"/>
                        </a:lnTo>
                        <a:lnTo>
                          <a:pt x="165" y="88"/>
                        </a:lnTo>
                        <a:lnTo>
                          <a:pt x="135" y="109"/>
                        </a:lnTo>
                        <a:lnTo>
                          <a:pt x="109" y="132"/>
                        </a:lnTo>
                        <a:lnTo>
                          <a:pt x="85" y="155"/>
                        </a:lnTo>
                        <a:lnTo>
                          <a:pt x="66" y="181"/>
                        </a:lnTo>
                        <a:lnTo>
                          <a:pt x="51" y="207"/>
                        </a:lnTo>
                        <a:lnTo>
                          <a:pt x="41" y="235"/>
                        </a:lnTo>
                        <a:lnTo>
                          <a:pt x="35" y="264"/>
                        </a:lnTo>
                        <a:lnTo>
                          <a:pt x="25" y="352"/>
                        </a:lnTo>
                        <a:lnTo>
                          <a:pt x="14" y="448"/>
                        </a:lnTo>
                        <a:lnTo>
                          <a:pt x="10" y="497"/>
                        </a:lnTo>
                        <a:lnTo>
                          <a:pt x="5" y="547"/>
                        </a:lnTo>
                        <a:lnTo>
                          <a:pt x="2" y="596"/>
                        </a:lnTo>
                        <a:lnTo>
                          <a:pt x="1" y="645"/>
                        </a:lnTo>
                        <a:lnTo>
                          <a:pt x="0" y="692"/>
                        </a:lnTo>
                        <a:lnTo>
                          <a:pt x="2" y="738"/>
                        </a:lnTo>
                        <a:lnTo>
                          <a:pt x="3" y="760"/>
                        </a:lnTo>
                        <a:lnTo>
                          <a:pt x="5" y="781"/>
                        </a:lnTo>
                        <a:lnTo>
                          <a:pt x="8" y="803"/>
                        </a:lnTo>
                        <a:lnTo>
                          <a:pt x="12" y="823"/>
                        </a:lnTo>
                        <a:lnTo>
                          <a:pt x="15" y="843"/>
                        </a:lnTo>
                        <a:lnTo>
                          <a:pt x="21" y="860"/>
                        </a:lnTo>
                        <a:lnTo>
                          <a:pt x="26" y="878"/>
                        </a:lnTo>
                        <a:lnTo>
                          <a:pt x="33" y="895"/>
                        </a:lnTo>
                        <a:lnTo>
                          <a:pt x="40" y="911"/>
                        </a:lnTo>
                        <a:lnTo>
                          <a:pt x="47" y="926"/>
                        </a:lnTo>
                        <a:lnTo>
                          <a:pt x="57" y="939"/>
                        </a:lnTo>
                        <a:lnTo>
                          <a:pt x="67" y="952"/>
                        </a:lnTo>
                        <a:lnTo>
                          <a:pt x="79" y="963"/>
                        </a:lnTo>
                        <a:lnTo>
                          <a:pt x="91" y="975"/>
                        </a:lnTo>
                        <a:lnTo>
                          <a:pt x="104" y="987"/>
                        </a:lnTo>
                        <a:lnTo>
                          <a:pt x="120" y="1001"/>
                        </a:lnTo>
                        <a:lnTo>
                          <a:pt x="153" y="1026"/>
                        </a:lnTo>
                        <a:lnTo>
                          <a:pt x="190" y="1052"/>
                        </a:lnTo>
                        <a:lnTo>
                          <a:pt x="231" y="1079"/>
                        </a:lnTo>
                        <a:lnTo>
                          <a:pt x="274" y="1104"/>
                        </a:lnTo>
                        <a:lnTo>
                          <a:pt x="320" y="1129"/>
                        </a:lnTo>
                        <a:lnTo>
                          <a:pt x="368" y="1152"/>
                        </a:lnTo>
                        <a:lnTo>
                          <a:pt x="416" y="1174"/>
                        </a:lnTo>
                        <a:lnTo>
                          <a:pt x="465" y="1194"/>
                        </a:lnTo>
                        <a:lnTo>
                          <a:pt x="489" y="1203"/>
                        </a:lnTo>
                        <a:lnTo>
                          <a:pt x="514" y="1212"/>
                        </a:lnTo>
                        <a:lnTo>
                          <a:pt x="538" y="1220"/>
                        </a:lnTo>
                        <a:lnTo>
                          <a:pt x="563" y="1227"/>
                        </a:lnTo>
                        <a:lnTo>
                          <a:pt x="586" y="1232"/>
                        </a:lnTo>
                        <a:lnTo>
                          <a:pt x="609" y="1238"/>
                        </a:lnTo>
                        <a:lnTo>
                          <a:pt x="633" y="1242"/>
                        </a:lnTo>
                        <a:lnTo>
                          <a:pt x="655" y="1246"/>
                        </a:lnTo>
                        <a:lnTo>
                          <a:pt x="676" y="1248"/>
                        </a:lnTo>
                        <a:lnTo>
                          <a:pt x="697" y="1249"/>
                        </a:lnTo>
                        <a:lnTo>
                          <a:pt x="719" y="1249"/>
                        </a:lnTo>
                        <a:lnTo>
                          <a:pt x="737" y="1248"/>
                        </a:lnTo>
                        <a:lnTo>
                          <a:pt x="762" y="1244"/>
                        </a:lnTo>
                        <a:lnTo>
                          <a:pt x="784" y="1239"/>
                        </a:lnTo>
                        <a:lnTo>
                          <a:pt x="805" y="1231"/>
                        </a:lnTo>
                        <a:lnTo>
                          <a:pt x="824" y="1221"/>
                        </a:lnTo>
                        <a:lnTo>
                          <a:pt x="841" y="1210"/>
                        </a:lnTo>
                        <a:lnTo>
                          <a:pt x="858" y="1197"/>
                        </a:lnTo>
                        <a:lnTo>
                          <a:pt x="871" y="1181"/>
                        </a:lnTo>
                        <a:lnTo>
                          <a:pt x="883" y="1164"/>
                        </a:lnTo>
                        <a:lnTo>
                          <a:pt x="894" y="1146"/>
                        </a:lnTo>
                        <a:lnTo>
                          <a:pt x="904" y="1126"/>
                        </a:lnTo>
                        <a:lnTo>
                          <a:pt x="913" y="1105"/>
                        </a:lnTo>
                        <a:lnTo>
                          <a:pt x="921" y="1083"/>
                        </a:lnTo>
                        <a:lnTo>
                          <a:pt x="928" y="1060"/>
                        </a:lnTo>
                        <a:lnTo>
                          <a:pt x="932" y="1035"/>
                        </a:lnTo>
                        <a:lnTo>
                          <a:pt x="937" y="1010"/>
                        </a:lnTo>
                        <a:lnTo>
                          <a:pt x="941" y="984"/>
                        </a:lnTo>
                        <a:lnTo>
                          <a:pt x="943" y="957"/>
                        </a:lnTo>
                        <a:lnTo>
                          <a:pt x="946" y="929"/>
                        </a:lnTo>
                        <a:lnTo>
                          <a:pt x="948" y="902"/>
                        </a:lnTo>
                        <a:lnTo>
                          <a:pt x="949" y="873"/>
                        </a:lnTo>
                        <a:lnTo>
                          <a:pt x="950" y="815"/>
                        </a:lnTo>
                        <a:lnTo>
                          <a:pt x="950" y="756"/>
                        </a:lnTo>
                        <a:lnTo>
                          <a:pt x="950" y="698"/>
                        </a:lnTo>
                        <a:lnTo>
                          <a:pt x="950" y="640"/>
                        </a:lnTo>
                        <a:lnTo>
                          <a:pt x="951" y="584"/>
                        </a:lnTo>
                        <a:lnTo>
                          <a:pt x="953" y="531"/>
                        </a:lnTo>
                        <a:close/>
                      </a:path>
                    </a:pathLst>
                  </a:custGeom>
                  <a:solidFill>
                    <a:srgbClr val="273669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21" name="Freeform 170"/>
                  <p:cNvSpPr>
                    <a:spLocks/>
                  </p:cNvSpPr>
                  <p:nvPr/>
                </p:nvSpPr>
                <p:spPr bwMode="auto">
                  <a:xfrm>
                    <a:off x="3357" y="3975"/>
                    <a:ext cx="71" cy="138"/>
                  </a:xfrm>
                  <a:custGeom>
                    <a:avLst/>
                    <a:gdLst>
                      <a:gd name="T0" fmla="*/ 0 w 502"/>
                      <a:gd name="T1" fmla="*/ 0 h 967"/>
                      <a:gd name="T2" fmla="*/ 0 w 502"/>
                      <a:gd name="T3" fmla="*/ 0 h 967"/>
                      <a:gd name="T4" fmla="*/ 0 w 502"/>
                      <a:gd name="T5" fmla="*/ 0 h 967"/>
                      <a:gd name="T6" fmla="*/ 0 w 502"/>
                      <a:gd name="T7" fmla="*/ 0 h 967"/>
                      <a:gd name="T8" fmla="*/ 0 w 502"/>
                      <a:gd name="T9" fmla="*/ 0 h 967"/>
                      <a:gd name="T10" fmla="*/ 0 w 502"/>
                      <a:gd name="T11" fmla="*/ 0 h 967"/>
                      <a:gd name="T12" fmla="*/ 0 w 502"/>
                      <a:gd name="T13" fmla="*/ 0 h 967"/>
                      <a:gd name="T14" fmla="*/ 0 w 502"/>
                      <a:gd name="T15" fmla="*/ 0 h 967"/>
                      <a:gd name="T16" fmla="*/ 0 w 502"/>
                      <a:gd name="T17" fmla="*/ 0 h 967"/>
                      <a:gd name="T18" fmla="*/ 0 w 502"/>
                      <a:gd name="T19" fmla="*/ 0 h 967"/>
                      <a:gd name="T20" fmla="*/ 0 w 502"/>
                      <a:gd name="T21" fmla="*/ 0 h 967"/>
                      <a:gd name="T22" fmla="*/ 0 w 502"/>
                      <a:gd name="T23" fmla="*/ 0 h 967"/>
                      <a:gd name="T24" fmla="*/ 0 w 502"/>
                      <a:gd name="T25" fmla="*/ 0 h 967"/>
                      <a:gd name="T26" fmla="*/ 0 w 502"/>
                      <a:gd name="T27" fmla="*/ 0 h 967"/>
                      <a:gd name="T28" fmla="*/ 0 w 502"/>
                      <a:gd name="T29" fmla="*/ 0 h 967"/>
                      <a:gd name="T30" fmla="*/ 0 w 502"/>
                      <a:gd name="T31" fmla="*/ 0 h 967"/>
                      <a:gd name="T32" fmla="*/ 0 w 502"/>
                      <a:gd name="T33" fmla="*/ 0 h 967"/>
                      <a:gd name="T34" fmla="*/ 0 w 502"/>
                      <a:gd name="T35" fmla="*/ 0 h 967"/>
                      <a:gd name="T36" fmla="*/ 0 w 502"/>
                      <a:gd name="T37" fmla="*/ 0 h 967"/>
                      <a:gd name="T38" fmla="*/ 0 w 502"/>
                      <a:gd name="T39" fmla="*/ 0 h 967"/>
                      <a:gd name="T40" fmla="*/ 0 w 502"/>
                      <a:gd name="T41" fmla="*/ 0 h 967"/>
                      <a:gd name="T42" fmla="*/ 0 w 502"/>
                      <a:gd name="T43" fmla="*/ 0 h 967"/>
                      <a:gd name="T44" fmla="*/ 0 w 502"/>
                      <a:gd name="T45" fmla="*/ 0 h 967"/>
                      <a:gd name="T46" fmla="*/ 0 w 502"/>
                      <a:gd name="T47" fmla="*/ 0 h 967"/>
                      <a:gd name="T48" fmla="*/ 0 w 502"/>
                      <a:gd name="T49" fmla="*/ 0 h 967"/>
                      <a:gd name="T50" fmla="*/ 0 w 502"/>
                      <a:gd name="T51" fmla="*/ 0 h 967"/>
                      <a:gd name="T52" fmla="*/ 0 w 502"/>
                      <a:gd name="T53" fmla="*/ 0 h 967"/>
                      <a:gd name="T54" fmla="*/ 0 w 502"/>
                      <a:gd name="T55" fmla="*/ 0 h 967"/>
                      <a:gd name="T56" fmla="*/ 0 w 502"/>
                      <a:gd name="T57" fmla="*/ 0 h 967"/>
                      <a:gd name="T58" fmla="*/ 0 w 502"/>
                      <a:gd name="T59" fmla="*/ 0 h 967"/>
                      <a:gd name="T60" fmla="*/ 0 w 502"/>
                      <a:gd name="T61" fmla="*/ 0 h 967"/>
                      <a:gd name="T62" fmla="*/ 0 w 502"/>
                      <a:gd name="T63" fmla="*/ 0 h 967"/>
                      <a:gd name="T64" fmla="*/ 0 w 502"/>
                      <a:gd name="T65" fmla="*/ 0 h 967"/>
                      <a:gd name="T66" fmla="*/ 0 w 502"/>
                      <a:gd name="T67" fmla="*/ 0 h 967"/>
                      <a:gd name="T68" fmla="*/ 0 w 502"/>
                      <a:gd name="T69" fmla="*/ 0 h 967"/>
                      <a:gd name="T70" fmla="*/ 0 w 502"/>
                      <a:gd name="T71" fmla="*/ 0 h 967"/>
                      <a:gd name="T72" fmla="*/ 0 w 502"/>
                      <a:gd name="T73" fmla="*/ 0 h 967"/>
                      <a:gd name="T74" fmla="*/ 0 w 502"/>
                      <a:gd name="T75" fmla="*/ 0 h 967"/>
                      <a:gd name="T76" fmla="*/ 0 w 502"/>
                      <a:gd name="T77" fmla="*/ 0 h 967"/>
                      <a:gd name="T78" fmla="*/ 0 w 502"/>
                      <a:gd name="T79" fmla="*/ 0 h 967"/>
                      <a:gd name="T80" fmla="*/ 0 w 502"/>
                      <a:gd name="T81" fmla="*/ 0 h 967"/>
                      <a:gd name="T82" fmla="*/ 0 w 502"/>
                      <a:gd name="T83" fmla="*/ 0 h 967"/>
                      <a:gd name="T84" fmla="*/ 0 w 502"/>
                      <a:gd name="T85" fmla="*/ 0 h 96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502"/>
                      <a:gd name="T130" fmla="*/ 0 h 967"/>
                      <a:gd name="T131" fmla="*/ 502 w 502"/>
                      <a:gd name="T132" fmla="*/ 967 h 96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502" h="967">
                        <a:moveTo>
                          <a:pt x="499" y="379"/>
                        </a:moveTo>
                        <a:lnTo>
                          <a:pt x="496" y="358"/>
                        </a:lnTo>
                        <a:lnTo>
                          <a:pt x="492" y="337"/>
                        </a:lnTo>
                        <a:lnTo>
                          <a:pt x="485" y="315"/>
                        </a:lnTo>
                        <a:lnTo>
                          <a:pt x="478" y="291"/>
                        </a:lnTo>
                        <a:lnTo>
                          <a:pt x="469" y="269"/>
                        </a:lnTo>
                        <a:lnTo>
                          <a:pt x="458" y="246"/>
                        </a:lnTo>
                        <a:lnTo>
                          <a:pt x="447" y="224"/>
                        </a:lnTo>
                        <a:lnTo>
                          <a:pt x="434" y="200"/>
                        </a:lnTo>
                        <a:lnTo>
                          <a:pt x="420" y="179"/>
                        </a:lnTo>
                        <a:lnTo>
                          <a:pt x="405" y="157"/>
                        </a:lnTo>
                        <a:lnTo>
                          <a:pt x="389" y="137"/>
                        </a:lnTo>
                        <a:lnTo>
                          <a:pt x="373" y="118"/>
                        </a:lnTo>
                        <a:lnTo>
                          <a:pt x="355" y="100"/>
                        </a:lnTo>
                        <a:lnTo>
                          <a:pt x="337" y="83"/>
                        </a:lnTo>
                        <a:lnTo>
                          <a:pt x="318" y="69"/>
                        </a:lnTo>
                        <a:lnTo>
                          <a:pt x="298" y="55"/>
                        </a:lnTo>
                        <a:lnTo>
                          <a:pt x="288" y="50"/>
                        </a:lnTo>
                        <a:lnTo>
                          <a:pt x="272" y="43"/>
                        </a:lnTo>
                        <a:lnTo>
                          <a:pt x="255" y="37"/>
                        </a:lnTo>
                        <a:lnTo>
                          <a:pt x="233" y="30"/>
                        </a:lnTo>
                        <a:lnTo>
                          <a:pt x="210" y="22"/>
                        </a:lnTo>
                        <a:lnTo>
                          <a:pt x="186" y="15"/>
                        </a:lnTo>
                        <a:lnTo>
                          <a:pt x="160" y="10"/>
                        </a:lnTo>
                        <a:lnTo>
                          <a:pt x="134" y="5"/>
                        </a:lnTo>
                        <a:lnTo>
                          <a:pt x="110" y="2"/>
                        </a:lnTo>
                        <a:lnTo>
                          <a:pt x="86" y="0"/>
                        </a:lnTo>
                        <a:lnTo>
                          <a:pt x="75" y="0"/>
                        </a:lnTo>
                        <a:lnTo>
                          <a:pt x="65" y="1"/>
                        </a:lnTo>
                        <a:lnTo>
                          <a:pt x="55" y="2"/>
                        </a:lnTo>
                        <a:lnTo>
                          <a:pt x="46" y="3"/>
                        </a:lnTo>
                        <a:lnTo>
                          <a:pt x="39" y="5"/>
                        </a:lnTo>
                        <a:lnTo>
                          <a:pt x="32" y="9"/>
                        </a:lnTo>
                        <a:lnTo>
                          <a:pt x="25" y="13"/>
                        </a:lnTo>
                        <a:lnTo>
                          <a:pt x="21" y="18"/>
                        </a:lnTo>
                        <a:lnTo>
                          <a:pt x="17" y="23"/>
                        </a:lnTo>
                        <a:lnTo>
                          <a:pt x="15" y="30"/>
                        </a:lnTo>
                        <a:lnTo>
                          <a:pt x="14" y="38"/>
                        </a:lnTo>
                        <a:lnTo>
                          <a:pt x="14" y="45"/>
                        </a:lnTo>
                        <a:lnTo>
                          <a:pt x="14" y="62"/>
                        </a:lnTo>
                        <a:lnTo>
                          <a:pt x="13" y="107"/>
                        </a:lnTo>
                        <a:lnTo>
                          <a:pt x="12" y="172"/>
                        </a:lnTo>
                        <a:lnTo>
                          <a:pt x="10" y="252"/>
                        </a:lnTo>
                        <a:lnTo>
                          <a:pt x="7" y="341"/>
                        </a:lnTo>
                        <a:lnTo>
                          <a:pt x="6" y="433"/>
                        </a:lnTo>
                        <a:lnTo>
                          <a:pt x="5" y="520"/>
                        </a:lnTo>
                        <a:lnTo>
                          <a:pt x="5" y="596"/>
                        </a:lnTo>
                        <a:lnTo>
                          <a:pt x="4" y="630"/>
                        </a:lnTo>
                        <a:lnTo>
                          <a:pt x="2" y="664"/>
                        </a:lnTo>
                        <a:lnTo>
                          <a:pt x="0" y="700"/>
                        </a:lnTo>
                        <a:lnTo>
                          <a:pt x="0" y="737"/>
                        </a:lnTo>
                        <a:lnTo>
                          <a:pt x="1" y="754"/>
                        </a:lnTo>
                        <a:lnTo>
                          <a:pt x="3" y="771"/>
                        </a:lnTo>
                        <a:lnTo>
                          <a:pt x="6" y="788"/>
                        </a:lnTo>
                        <a:lnTo>
                          <a:pt x="12" y="803"/>
                        </a:lnTo>
                        <a:lnTo>
                          <a:pt x="17" y="819"/>
                        </a:lnTo>
                        <a:lnTo>
                          <a:pt x="25" y="833"/>
                        </a:lnTo>
                        <a:lnTo>
                          <a:pt x="30" y="840"/>
                        </a:lnTo>
                        <a:lnTo>
                          <a:pt x="35" y="847"/>
                        </a:lnTo>
                        <a:lnTo>
                          <a:pt x="41" y="853"/>
                        </a:lnTo>
                        <a:lnTo>
                          <a:pt x="48" y="859"/>
                        </a:lnTo>
                        <a:lnTo>
                          <a:pt x="56" y="867"/>
                        </a:lnTo>
                        <a:lnTo>
                          <a:pt x="68" y="875"/>
                        </a:lnTo>
                        <a:lnTo>
                          <a:pt x="78" y="882"/>
                        </a:lnTo>
                        <a:lnTo>
                          <a:pt x="90" y="888"/>
                        </a:lnTo>
                        <a:lnTo>
                          <a:pt x="113" y="900"/>
                        </a:lnTo>
                        <a:lnTo>
                          <a:pt x="140" y="910"/>
                        </a:lnTo>
                        <a:lnTo>
                          <a:pt x="167" y="919"/>
                        </a:lnTo>
                        <a:lnTo>
                          <a:pt x="196" y="927"/>
                        </a:lnTo>
                        <a:lnTo>
                          <a:pt x="224" y="933"/>
                        </a:lnTo>
                        <a:lnTo>
                          <a:pt x="255" y="939"/>
                        </a:lnTo>
                        <a:lnTo>
                          <a:pt x="316" y="947"/>
                        </a:lnTo>
                        <a:lnTo>
                          <a:pt x="376" y="954"/>
                        </a:lnTo>
                        <a:lnTo>
                          <a:pt x="433" y="960"/>
                        </a:lnTo>
                        <a:lnTo>
                          <a:pt x="485" y="967"/>
                        </a:lnTo>
                        <a:lnTo>
                          <a:pt x="483" y="946"/>
                        </a:lnTo>
                        <a:lnTo>
                          <a:pt x="482" y="918"/>
                        </a:lnTo>
                        <a:lnTo>
                          <a:pt x="482" y="886"/>
                        </a:lnTo>
                        <a:lnTo>
                          <a:pt x="483" y="850"/>
                        </a:lnTo>
                        <a:lnTo>
                          <a:pt x="486" y="768"/>
                        </a:lnTo>
                        <a:lnTo>
                          <a:pt x="492" y="679"/>
                        </a:lnTo>
                        <a:lnTo>
                          <a:pt x="496" y="589"/>
                        </a:lnTo>
                        <a:lnTo>
                          <a:pt x="501" y="505"/>
                        </a:lnTo>
                        <a:lnTo>
                          <a:pt x="501" y="467"/>
                        </a:lnTo>
                        <a:lnTo>
                          <a:pt x="502" y="433"/>
                        </a:lnTo>
                        <a:lnTo>
                          <a:pt x="501" y="404"/>
                        </a:lnTo>
                        <a:lnTo>
                          <a:pt x="499" y="379"/>
                        </a:lnTo>
                        <a:close/>
                      </a:path>
                    </a:pathLst>
                  </a:custGeom>
                  <a:solidFill>
                    <a:srgbClr val="242B53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22" name="Freeform 171"/>
                  <p:cNvSpPr>
                    <a:spLocks/>
                  </p:cNvSpPr>
                  <p:nvPr/>
                </p:nvSpPr>
                <p:spPr bwMode="auto">
                  <a:xfrm>
                    <a:off x="3254" y="4059"/>
                    <a:ext cx="170" cy="105"/>
                  </a:xfrm>
                  <a:custGeom>
                    <a:avLst/>
                    <a:gdLst>
                      <a:gd name="T0" fmla="*/ 0 w 1192"/>
                      <a:gd name="T1" fmla="*/ 0 h 736"/>
                      <a:gd name="T2" fmla="*/ 0 w 1192"/>
                      <a:gd name="T3" fmla="*/ 0 h 736"/>
                      <a:gd name="T4" fmla="*/ 0 w 1192"/>
                      <a:gd name="T5" fmla="*/ 0 h 736"/>
                      <a:gd name="T6" fmla="*/ 0 w 1192"/>
                      <a:gd name="T7" fmla="*/ 0 h 736"/>
                      <a:gd name="T8" fmla="*/ 0 w 1192"/>
                      <a:gd name="T9" fmla="*/ 0 h 736"/>
                      <a:gd name="T10" fmla="*/ 0 w 1192"/>
                      <a:gd name="T11" fmla="*/ 0 h 736"/>
                      <a:gd name="T12" fmla="*/ 0 w 1192"/>
                      <a:gd name="T13" fmla="*/ 0 h 736"/>
                      <a:gd name="T14" fmla="*/ 0 w 1192"/>
                      <a:gd name="T15" fmla="*/ 0 h 736"/>
                      <a:gd name="T16" fmla="*/ 0 w 1192"/>
                      <a:gd name="T17" fmla="*/ 0 h 736"/>
                      <a:gd name="T18" fmla="*/ 0 w 1192"/>
                      <a:gd name="T19" fmla="*/ 0 h 736"/>
                      <a:gd name="T20" fmla="*/ 0 w 1192"/>
                      <a:gd name="T21" fmla="*/ 0 h 736"/>
                      <a:gd name="T22" fmla="*/ 0 w 1192"/>
                      <a:gd name="T23" fmla="*/ 0 h 736"/>
                      <a:gd name="T24" fmla="*/ 0 w 1192"/>
                      <a:gd name="T25" fmla="*/ 0 h 736"/>
                      <a:gd name="T26" fmla="*/ 0 w 1192"/>
                      <a:gd name="T27" fmla="*/ 0 h 736"/>
                      <a:gd name="T28" fmla="*/ 0 w 1192"/>
                      <a:gd name="T29" fmla="*/ 0 h 736"/>
                      <a:gd name="T30" fmla="*/ 0 w 1192"/>
                      <a:gd name="T31" fmla="*/ 0 h 736"/>
                      <a:gd name="T32" fmla="*/ 0 w 1192"/>
                      <a:gd name="T33" fmla="*/ 0 h 736"/>
                      <a:gd name="T34" fmla="*/ 0 w 1192"/>
                      <a:gd name="T35" fmla="*/ 0 h 736"/>
                      <a:gd name="T36" fmla="*/ 0 w 1192"/>
                      <a:gd name="T37" fmla="*/ 0 h 736"/>
                      <a:gd name="T38" fmla="*/ 0 w 1192"/>
                      <a:gd name="T39" fmla="*/ 0 h 736"/>
                      <a:gd name="T40" fmla="*/ 0 w 1192"/>
                      <a:gd name="T41" fmla="*/ 0 h 736"/>
                      <a:gd name="T42" fmla="*/ 0 w 1192"/>
                      <a:gd name="T43" fmla="*/ 0 h 736"/>
                      <a:gd name="T44" fmla="*/ 0 w 1192"/>
                      <a:gd name="T45" fmla="*/ 0 h 736"/>
                      <a:gd name="T46" fmla="*/ 0 w 1192"/>
                      <a:gd name="T47" fmla="*/ 0 h 736"/>
                      <a:gd name="T48" fmla="*/ 0 w 1192"/>
                      <a:gd name="T49" fmla="*/ 0 h 736"/>
                      <a:gd name="T50" fmla="*/ 0 w 1192"/>
                      <a:gd name="T51" fmla="*/ 0 h 736"/>
                      <a:gd name="T52" fmla="*/ 0 w 1192"/>
                      <a:gd name="T53" fmla="*/ 0 h 736"/>
                      <a:gd name="T54" fmla="*/ 0 w 1192"/>
                      <a:gd name="T55" fmla="*/ 0 h 736"/>
                      <a:gd name="T56" fmla="*/ 0 w 1192"/>
                      <a:gd name="T57" fmla="*/ 0 h 736"/>
                      <a:gd name="T58" fmla="*/ 0 w 1192"/>
                      <a:gd name="T59" fmla="*/ 0 h 736"/>
                      <a:gd name="T60" fmla="*/ 0 w 1192"/>
                      <a:gd name="T61" fmla="*/ 0 h 736"/>
                      <a:gd name="T62" fmla="*/ 0 w 1192"/>
                      <a:gd name="T63" fmla="*/ 0 h 736"/>
                      <a:gd name="T64" fmla="*/ 0 w 1192"/>
                      <a:gd name="T65" fmla="*/ 0 h 736"/>
                      <a:gd name="T66" fmla="*/ 0 w 1192"/>
                      <a:gd name="T67" fmla="*/ 0 h 736"/>
                      <a:gd name="T68" fmla="*/ 0 w 1192"/>
                      <a:gd name="T69" fmla="*/ 0 h 736"/>
                      <a:gd name="T70" fmla="*/ 0 w 1192"/>
                      <a:gd name="T71" fmla="*/ 0 h 736"/>
                      <a:gd name="T72" fmla="*/ 0 w 1192"/>
                      <a:gd name="T73" fmla="*/ 0 h 736"/>
                      <a:gd name="T74" fmla="*/ 0 w 1192"/>
                      <a:gd name="T75" fmla="*/ 0 h 736"/>
                      <a:gd name="T76" fmla="*/ 0 w 1192"/>
                      <a:gd name="T77" fmla="*/ 0 h 736"/>
                      <a:gd name="T78" fmla="*/ 0 w 1192"/>
                      <a:gd name="T79" fmla="*/ 0 h 736"/>
                      <a:gd name="T80" fmla="*/ 0 w 1192"/>
                      <a:gd name="T81" fmla="*/ 0 h 736"/>
                      <a:gd name="T82" fmla="*/ 0 w 1192"/>
                      <a:gd name="T83" fmla="*/ 0 h 736"/>
                      <a:gd name="T84" fmla="*/ 0 w 1192"/>
                      <a:gd name="T85" fmla="*/ 0 h 736"/>
                      <a:gd name="T86" fmla="*/ 0 w 1192"/>
                      <a:gd name="T87" fmla="*/ 0 h 736"/>
                      <a:gd name="T88" fmla="*/ 0 w 1192"/>
                      <a:gd name="T89" fmla="*/ 0 h 736"/>
                      <a:gd name="T90" fmla="*/ 0 w 1192"/>
                      <a:gd name="T91" fmla="*/ 0 h 736"/>
                      <a:gd name="T92" fmla="*/ 0 w 1192"/>
                      <a:gd name="T93" fmla="*/ 0 h 736"/>
                      <a:gd name="T94" fmla="*/ 0 w 1192"/>
                      <a:gd name="T95" fmla="*/ 0 h 736"/>
                      <a:gd name="T96" fmla="*/ 0 w 1192"/>
                      <a:gd name="T97" fmla="*/ 0 h 736"/>
                      <a:gd name="T98" fmla="*/ 0 w 1192"/>
                      <a:gd name="T99" fmla="*/ 0 h 736"/>
                      <a:gd name="T100" fmla="*/ 0 w 1192"/>
                      <a:gd name="T101" fmla="*/ 0 h 736"/>
                      <a:gd name="T102" fmla="*/ 0 w 1192"/>
                      <a:gd name="T103" fmla="*/ 0 h 736"/>
                      <a:gd name="T104" fmla="*/ 0 w 1192"/>
                      <a:gd name="T105" fmla="*/ 0 h 736"/>
                      <a:gd name="T106" fmla="*/ 0 w 1192"/>
                      <a:gd name="T107" fmla="*/ 0 h 736"/>
                      <a:gd name="T108" fmla="*/ 0 w 1192"/>
                      <a:gd name="T109" fmla="*/ 0 h 736"/>
                      <a:gd name="T110" fmla="*/ 0 w 1192"/>
                      <a:gd name="T111" fmla="*/ 0 h 736"/>
                      <a:gd name="T112" fmla="*/ 0 w 1192"/>
                      <a:gd name="T113" fmla="*/ 0 h 736"/>
                      <a:gd name="T114" fmla="*/ 0 w 1192"/>
                      <a:gd name="T115" fmla="*/ 0 h 736"/>
                      <a:gd name="T116" fmla="*/ 0 w 1192"/>
                      <a:gd name="T117" fmla="*/ 0 h 736"/>
                      <a:gd name="T118" fmla="*/ 0 w 1192"/>
                      <a:gd name="T119" fmla="*/ 0 h 736"/>
                      <a:gd name="T120" fmla="*/ 0 w 1192"/>
                      <a:gd name="T121" fmla="*/ 0 h 736"/>
                      <a:gd name="T122" fmla="*/ 0 w 1192"/>
                      <a:gd name="T123" fmla="*/ 0 h 736"/>
                      <a:gd name="T124" fmla="*/ 0 w 1192"/>
                      <a:gd name="T125" fmla="*/ 0 h 7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60000 65536"/>
                      <a:gd name="T184" fmla="*/ 0 60000 65536"/>
                      <a:gd name="T185" fmla="*/ 0 60000 65536"/>
                      <a:gd name="T186" fmla="*/ 0 60000 65536"/>
                      <a:gd name="T187" fmla="*/ 0 60000 65536"/>
                      <a:gd name="T188" fmla="*/ 0 60000 65536"/>
                      <a:gd name="T189" fmla="*/ 0 w 1192"/>
                      <a:gd name="T190" fmla="*/ 0 h 736"/>
                      <a:gd name="T191" fmla="*/ 1192 w 1192"/>
                      <a:gd name="T192" fmla="*/ 736 h 736"/>
                    </a:gdLst>
                    <a:ahLst/>
                    <a:cxnLst>
                      <a:cxn ang="T126">
                        <a:pos x="T0" y="T1"/>
                      </a:cxn>
                      <a:cxn ang="T127">
                        <a:pos x="T2" y="T3"/>
                      </a:cxn>
                      <a:cxn ang="T128">
                        <a:pos x="T4" y="T5"/>
                      </a:cxn>
                      <a:cxn ang="T129">
                        <a:pos x="T6" y="T7"/>
                      </a:cxn>
                      <a:cxn ang="T130">
                        <a:pos x="T8" y="T9"/>
                      </a:cxn>
                      <a:cxn ang="T131">
                        <a:pos x="T10" y="T11"/>
                      </a:cxn>
                      <a:cxn ang="T132">
                        <a:pos x="T12" y="T13"/>
                      </a:cxn>
                      <a:cxn ang="T133">
                        <a:pos x="T14" y="T15"/>
                      </a:cxn>
                      <a:cxn ang="T134">
                        <a:pos x="T16" y="T17"/>
                      </a:cxn>
                      <a:cxn ang="T135">
                        <a:pos x="T18" y="T19"/>
                      </a:cxn>
                      <a:cxn ang="T136">
                        <a:pos x="T20" y="T21"/>
                      </a:cxn>
                      <a:cxn ang="T137">
                        <a:pos x="T22" y="T23"/>
                      </a:cxn>
                      <a:cxn ang="T138">
                        <a:pos x="T24" y="T25"/>
                      </a:cxn>
                      <a:cxn ang="T139">
                        <a:pos x="T26" y="T27"/>
                      </a:cxn>
                      <a:cxn ang="T140">
                        <a:pos x="T28" y="T29"/>
                      </a:cxn>
                      <a:cxn ang="T141">
                        <a:pos x="T30" y="T31"/>
                      </a:cxn>
                      <a:cxn ang="T142">
                        <a:pos x="T32" y="T33"/>
                      </a:cxn>
                      <a:cxn ang="T143">
                        <a:pos x="T34" y="T35"/>
                      </a:cxn>
                      <a:cxn ang="T144">
                        <a:pos x="T36" y="T37"/>
                      </a:cxn>
                      <a:cxn ang="T145">
                        <a:pos x="T38" y="T39"/>
                      </a:cxn>
                      <a:cxn ang="T146">
                        <a:pos x="T40" y="T41"/>
                      </a:cxn>
                      <a:cxn ang="T147">
                        <a:pos x="T42" y="T43"/>
                      </a:cxn>
                      <a:cxn ang="T148">
                        <a:pos x="T44" y="T45"/>
                      </a:cxn>
                      <a:cxn ang="T149">
                        <a:pos x="T46" y="T47"/>
                      </a:cxn>
                      <a:cxn ang="T150">
                        <a:pos x="T48" y="T49"/>
                      </a:cxn>
                      <a:cxn ang="T151">
                        <a:pos x="T50" y="T51"/>
                      </a:cxn>
                      <a:cxn ang="T152">
                        <a:pos x="T52" y="T53"/>
                      </a:cxn>
                      <a:cxn ang="T153">
                        <a:pos x="T54" y="T55"/>
                      </a:cxn>
                      <a:cxn ang="T154">
                        <a:pos x="T56" y="T57"/>
                      </a:cxn>
                      <a:cxn ang="T155">
                        <a:pos x="T58" y="T59"/>
                      </a:cxn>
                      <a:cxn ang="T156">
                        <a:pos x="T60" y="T61"/>
                      </a:cxn>
                      <a:cxn ang="T157">
                        <a:pos x="T62" y="T63"/>
                      </a:cxn>
                      <a:cxn ang="T158">
                        <a:pos x="T64" y="T65"/>
                      </a:cxn>
                      <a:cxn ang="T159">
                        <a:pos x="T66" y="T67"/>
                      </a:cxn>
                      <a:cxn ang="T160">
                        <a:pos x="T68" y="T69"/>
                      </a:cxn>
                      <a:cxn ang="T161">
                        <a:pos x="T70" y="T71"/>
                      </a:cxn>
                      <a:cxn ang="T162">
                        <a:pos x="T72" y="T73"/>
                      </a:cxn>
                      <a:cxn ang="T163">
                        <a:pos x="T74" y="T75"/>
                      </a:cxn>
                      <a:cxn ang="T164">
                        <a:pos x="T76" y="T77"/>
                      </a:cxn>
                      <a:cxn ang="T165">
                        <a:pos x="T78" y="T79"/>
                      </a:cxn>
                      <a:cxn ang="T166">
                        <a:pos x="T80" y="T81"/>
                      </a:cxn>
                      <a:cxn ang="T167">
                        <a:pos x="T82" y="T83"/>
                      </a:cxn>
                      <a:cxn ang="T168">
                        <a:pos x="T84" y="T85"/>
                      </a:cxn>
                      <a:cxn ang="T169">
                        <a:pos x="T86" y="T87"/>
                      </a:cxn>
                      <a:cxn ang="T170">
                        <a:pos x="T88" y="T89"/>
                      </a:cxn>
                      <a:cxn ang="T171">
                        <a:pos x="T90" y="T91"/>
                      </a:cxn>
                      <a:cxn ang="T172">
                        <a:pos x="T92" y="T93"/>
                      </a:cxn>
                      <a:cxn ang="T173">
                        <a:pos x="T94" y="T95"/>
                      </a:cxn>
                      <a:cxn ang="T174">
                        <a:pos x="T96" y="T97"/>
                      </a:cxn>
                      <a:cxn ang="T175">
                        <a:pos x="T98" y="T99"/>
                      </a:cxn>
                      <a:cxn ang="T176">
                        <a:pos x="T100" y="T101"/>
                      </a:cxn>
                      <a:cxn ang="T177">
                        <a:pos x="T102" y="T103"/>
                      </a:cxn>
                      <a:cxn ang="T178">
                        <a:pos x="T104" y="T105"/>
                      </a:cxn>
                      <a:cxn ang="T179">
                        <a:pos x="T106" y="T107"/>
                      </a:cxn>
                      <a:cxn ang="T180">
                        <a:pos x="T108" y="T109"/>
                      </a:cxn>
                      <a:cxn ang="T181">
                        <a:pos x="T110" y="T111"/>
                      </a:cxn>
                      <a:cxn ang="T182">
                        <a:pos x="T112" y="T113"/>
                      </a:cxn>
                      <a:cxn ang="T183">
                        <a:pos x="T114" y="T115"/>
                      </a:cxn>
                      <a:cxn ang="T184">
                        <a:pos x="T116" y="T117"/>
                      </a:cxn>
                      <a:cxn ang="T185">
                        <a:pos x="T118" y="T119"/>
                      </a:cxn>
                      <a:cxn ang="T186">
                        <a:pos x="T120" y="T121"/>
                      </a:cxn>
                      <a:cxn ang="T187">
                        <a:pos x="T122" y="T123"/>
                      </a:cxn>
                      <a:cxn ang="T188">
                        <a:pos x="T124" y="T125"/>
                      </a:cxn>
                    </a:cxnLst>
                    <a:rect l="T189" t="T190" r="T191" b="T192"/>
                    <a:pathLst>
                      <a:path w="1192" h="736">
                        <a:moveTo>
                          <a:pt x="1192" y="368"/>
                        </a:moveTo>
                        <a:lnTo>
                          <a:pt x="1192" y="387"/>
                        </a:lnTo>
                        <a:lnTo>
                          <a:pt x="1191" y="405"/>
                        </a:lnTo>
                        <a:lnTo>
                          <a:pt x="1190" y="424"/>
                        </a:lnTo>
                        <a:lnTo>
                          <a:pt x="1187" y="442"/>
                        </a:lnTo>
                        <a:lnTo>
                          <a:pt x="1184" y="460"/>
                        </a:lnTo>
                        <a:lnTo>
                          <a:pt x="1181" y="478"/>
                        </a:lnTo>
                        <a:lnTo>
                          <a:pt x="1176" y="495"/>
                        </a:lnTo>
                        <a:lnTo>
                          <a:pt x="1171" y="511"/>
                        </a:lnTo>
                        <a:lnTo>
                          <a:pt x="1164" y="528"/>
                        </a:lnTo>
                        <a:lnTo>
                          <a:pt x="1156" y="543"/>
                        </a:lnTo>
                        <a:lnTo>
                          <a:pt x="1147" y="559"/>
                        </a:lnTo>
                        <a:lnTo>
                          <a:pt x="1137" y="574"/>
                        </a:lnTo>
                        <a:lnTo>
                          <a:pt x="1126" y="588"/>
                        </a:lnTo>
                        <a:lnTo>
                          <a:pt x="1114" y="602"/>
                        </a:lnTo>
                        <a:lnTo>
                          <a:pt x="1101" y="616"/>
                        </a:lnTo>
                        <a:lnTo>
                          <a:pt x="1085" y="628"/>
                        </a:lnTo>
                        <a:lnTo>
                          <a:pt x="1068" y="640"/>
                        </a:lnTo>
                        <a:lnTo>
                          <a:pt x="1051" y="653"/>
                        </a:lnTo>
                        <a:lnTo>
                          <a:pt x="1031" y="664"/>
                        </a:lnTo>
                        <a:lnTo>
                          <a:pt x="1008" y="674"/>
                        </a:lnTo>
                        <a:lnTo>
                          <a:pt x="985" y="683"/>
                        </a:lnTo>
                        <a:lnTo>
                          <a:pt x="960" y="691"/>
                        </a:lnTo>
                        <a:lnTo>
                          <a:pt x="934" y="700"/>
                        </a:lnTo>
                        <a:lnTo>
                          <a:pt x="905" y="707"/>
                        </a:lnTo>
                        <a:lnTo>
                          <a:pt x="874" y="714"/>
                        </a:lnTo>
                        <a:lnTo>
                          <a:pt x="840" y="719"/>
                        </a:lnTo>
                        <a:lnTo>
                          <a:pt x="806" y="725"/>
                        </a:lnTo>
                        <a:lnTo>
                          <a:pt x="768" y="728"/>
                        </a:lnTo>
                        <a:lnTo>
                          <a:pt x="729" y="732"/>
                        </a:lnTo>
                        <a:lnTo>
                          <a:pt x="687" y="734"/>
                        </a:lnTo>
                        <a:lnTo>
                          <a:pt x="642" y="736"/>
                        </a:lnTo>
                        <a:lnTo>
                          <a:pt x="595" y="736"/>
                        </a:lnTo>
                        <a:lnTo>
                          <a:pt x="544" y="736"/>
                        </a:lnTo>
                        <a:lnTo>
                          <a:pt x="495" y="734"/>
                        </a:lnTo>
                        <a:lnTo>
                          <a:pt x="450" y="732"/>
                        </a:lnTo>
                        <a:lnTo>
                          <a:pt x="407" y="728"/>
                        </a:lnTo>
                        <a:lnTo>
                          <a:pt x="367" y="725"/>
                        </a:lnTo>
                        <a:lnTo>
                          <a:pt x="329" y="719"/>
                        </a:lnTo>
                        <a:lnTo>
                          <a:pt x="295" y="714"/>
                        </a:lnTo>
                        <a:lnTo>
                          <a:pt x="263" y="707"/>
                        </a:lnTo>
                        <a:lnTo>
                          <a:pt x="234" y="700"/>
                        </a:lnTo>
                        <a:lnTo>
                          <a:pt x="206" y="691"/>
                        </a:lnTo>
                        <a:lnTo>
                          <a:pt x="180" y="683"/>
                        </a:lnTo>
                        <a:lnTo>
                          <a:pt x="158" y="674"/>
                        </a:lnTo>
                        <a:lnTo>
                          <a:pt x="137" y="664"/>
                        </a:lnTo>
                        <a:lnTo>
                          <a:pt x="118" y="653"/>
                        </a:lnTo>
                        <a:lnTo>
                          <a:pt x="100" y="640"/>
                        </a:lnTo>
                        <a:lnTo>
                          <a:pt x="84" y="628"/>
                        </a:lnTo>
                        <a:lnTo>
                          <a:pt x="71" y="616"/>
                        </a:lnTo>
                        <a:lnTo>
                          <a:pt x="59" y="602"/>
                        </a:lnTo>
                        <a:lnTo>
                          <a:pt x="48" y="588"/>
                        </a:lnTo>
                        <a:lnTo>
                          <a:pt x="39" y="574"/>
                        </a:lnTo>
                        <a:lnTo>
                          <a:pt x="30" y="559"/>
                        </a:lnTo>
                        <a:lnTo>
                          <a:pt x="23" y="543"/>
                        </a:lnTo>
                        <a:lnTo>
                          <a:pt x="18" y="528"/>
                        </a:lnTo>
                        <a:lnTo>
                          <a:pt x="13" y="511"/>
                        </a:lnTo>
                        <a:lnTo>
                          <a:pt x="9" y="495"/>
                        </a:lnTo>
                        <a:lnTo>
                          <a:pt x="5" y="478"/>
                        </a:lnTo>
                        <a:lnTo>
                          <a:pt x="3" y="460"/>
                        </a:lnTo>
                        <a:lnTo>
                          <a:pt x="2" y="442"/>
                        </a:lnTo>
                        <a:lnTo>
                          <a:pt x="0" y="405"/>
                        </a:lnTo>
                        <a:lnTo>
                          <a:pt x="0" y="368"/>
                        </a:lnTo>
                        <a:lnTo>
                          <a:pt x="0" y="349"/>
                        </a:lnTo>
                        <a:lnTo>
                          <a:pt x="2" y="331"/>
                        </a:lnTo>
                        <a:lnTo>
                          <a:pt x="7" y="312"/>
                        </a:lnTo>
                        <a:lnTo>
                          <a:pt x="12" y="294"/>
                        </a:lnTo>
                        <a:lnTo>
                          <a:pt x="19" y="276"/>
                        </a:lnTo>
                        <a:lnTo>
                          <a:pt x="27" y="259"/>
                        </a:lnTo>
                        <a:lnTo>
                          <a:pt x="36" y="242"/>
                        </a:lnTo>
                        <a:lnTo>
                          <a:pt x="47" y="225"/>
                        </a:lnTo>
                        <a:lnTo>
                          <a:pt x="59" y="209"/>
                        </a:lnTo>
                        <a:lnTo>
                          <a:pt x="71" y="193"/>
                        </a:lnTo>
                        <a:lnTo>
                          <a:pt x="86" y="177"/>
                        </a:lnTo>
                        <a:lnTo>
                          <a:pt x="101" y="163"/>
                        </a:lnTo>
                        <a:lnTo>
                          <a:pt x="118" y="148"/>
                        </a:lnTo>
                        <a:lnTo>
                          <a:pt x="136" y="134"/>
                        </a:lnTo>
                        <a:lnTo>
                          <a:pt x="155" y="121"/>
                        </a:lnTo>
                        <a:lnTo>
                          <a:pt x="175" y="108"/>
                        </a:lnTo>
                        <a:lnTo>
                          <a:pt x="195" y="96"/>
                        </a:lnTo>
                        <a:lnTo>
                          <a:pt x="217" y="84"/>
                        </a:lnTo>
                        <a:lnTo>
                          <a:pt x="239" y="73"/>
                        </a:lnTo>
                        <a:lnTo>
                          <a:pt x="263" y="63"/>
                        </a:lnTo>
                        <a:lnTo>
                          <a:pt x="287" y="54"/>
                        </a:lnTo>
                        <a:lnTo>
                          <a:pt x="312" y="45"/>
                        </a:lnTo>
                        <a:lnTo>
                          <a:pt x="337" y="36"/>
                        </a:lnTo>
                        <a:lnTo>
                          <a:pt x="364" y="29"/>
                        </a:lnTo>
                        <a:lnTo>
                          <a:pt x="391" y="23"/>
                        </a:lnTo>
                        <a:lnTo>
                          <a:pt x="418" y="17"/>
                        </a:lnTo>
                        <a:lnTo>
                          <a:pt x="446" y="12"/>
                        </a:lnTo>
                        <a:lnTo>
                          <a:pt x="475" y="7"/>
                        </a:lnTo>
                        <a:lnTo>
                          <a:pt x="505" y="5"/>
                        </a:lnTo>
                        <a:lnTo>
                          <a:pt x="535" y="2"/>
                        </a:lnTo>
                        <a:lnTo>
                          <a:pt x="565" y="0"/>
                        </a:lnTo>
                        <a:lnTo>
                          <a:pt x="595" y="0"/>
                        </a:lnTo>
                        <a:lnTo>
                          <a:pt x="627" y="0"/>
                        </a:lnTo>
                        <a:lnTo>
                          <a:pt x="657" y="2"/>
                        </a:lnTo>
                        <a:lnTo>
                          <a:pt x="687" y="5"/>
                        </a:lnTo>
                        <a:lnTo>
                          <a:pt x="716" y="7"/>
                        </a:lnTo>
                        <a:lnTo>
                          <a:pt x="744" y="12"/>
                        </a:lnTo>
                        <a:lnTo>
                          <a:pt x="773" y="17"/>
                        </a:lnTo>
                        <a:lnTo>
                          <a:pt x="800" y="23"/>
                        </a:lnTo>
                        <a:lnTo>
                          <a:pt x="828" y="29"/>
                        </a:lnTo>
                        <a:lnTo>
                          <a:pt x="855" y="36"/>
                        </a:lnTo>
                        <a:lnTo>
                          <a:pt x="880" y="45"/>
                        </a:lnTo>
                        <a:lnTo>
                          <a:pt x="905" y="54"/>
                        </a:lnTo>
                        <a:lnTo>
                          <a:pt x="929" y="63"/>
                        </a:lnTo>
                        <a:lnTo>
                          <a:pt x="953" y="73"/>
                        </a:lnTo>
                        <a:lnTo>
                          <a:pt x="975" y="84"/>
                        </a:lnTo>
                        <a:lnTo>
                          <a:pt x="996" y="96"/>
                        </a:lnTo>
                        <a:lnTo>
                          <a:pt x="1017" y="108"/>
                        </a:lnTo>
                        <a:lnTo>
                          <a:pt x="1037" y="121"/>
                        </a:lnTo>
                        <a:lnTo>
                          <a:pt x="1056" y="134"/>
                        </a:lnTo>
                        <a:lnTo>
                          <a:pt x="1073" y="148"/>
                        </a:lnTo>
                        <a:lnTo>
                          <a:pt x="1090" y="163"/>
                        </a:lnTo>
                        <a:lnTo>
                          <a:pt x="1105" y="177"/>
                        </a:lnTo>
                        <a:lnTo>
                          <a:pt x="1120" y="193"/>
                        </a:lnTo>
                        <a:lnTo>
                          <a:pt x="1133" y="209"/>
                        </a:lnTo>
                        <a:lnTo>
                          <a:pt x="1145" y="225"/>
                        </a:lnTo>
                        <a:lnTo>
                          <a:pt x="1155" y="242"/>
                        </a:lnTo>
                        <a:lnTo>
                          <a:pt x="1165" y="259"/>
                        </a:lnTo>
                        <a:lnTo>
                          <a:pt x="1173" y="276"/>
                        </a:lnTo>
                        <a:lnTo>
                          <a:pt x="1180" y="294"/>
                        </a:lnTo>
                        <a:lnTo>
                          <a:pt x="1185" y="312"/>
                        </a:lnTo>
                        <a:lnTo>
                          <a:pt x="1189" y="331"/>
                        </a:lnTo>
                        <a:lnTo>
                          <a:pt x="1191" y="349"/>
                        </a:lnTo>
                        <a:lnTo>
                          <a:pt x="1192" y="368"/>
                        </a:lnTo>
                        <a:close/>
                      </a:path>
                    </a:pathLst>
                  </a:custGeom>
                  <a:solidFill>
                    <a:srgbClr val="273669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23" name="Freeform 172"/>
                  <p:cNvSpPr>
                    <a:spLocks/>
                  </p:cNvSpPr>
                  <p:nvPr/>
                </p:nvSpPr>
                <p:spPr bwMode="auto">
                  <a:xfrm>
                    <a:off x="3295" y="4059"/>
                    <a:ext cx="85" cy="29"/>
                  </a:xfrm>
                  <a:custGeom>
                    <a:avLst/>
                    <a:gdLst>
                      <a:gd name="T0" fmla="*/ 0 w 593"/>
                      <a:gd name="T1" fmla="*/ 0 h 194"/>
                      <a:gd name="T2" fmla="*/ 0 w 593"/>
                      <a:gd name="T3" fmla="*/ 0 h 194"/>
                      <a:gd name="T4" fmla="*/ 0 w 593"/>
                      <a:gd name="T5" fmla="*/ 0 h 194"/>
                      <a:gd name="T6" fmla="*/ 0 w 593"/>
                      <a:gd name="T7" fmla="*/ 0 h 194"/>
                      <a:gd name="T8" fmla="*/ 0 w 593"/>
                      <a:gd name="T9" fmla="*/ 0 h 194"/>
                      <a:gd name="T10" fmla="*/ 0 w 593"/>
                      <a:gd name="T11" fmla="*/ 0 h 194"/>
                      <a:gd name="T12" fmla="*/ 0 w 593"/>
                      <a:gd name="T13" fmla="*/ 0 h 194"/>
                      <a:gd name="T14" fmla="*/ 0 w 593"/>
                      <a:gd name="T15" fmla="*/ 0 h 194"/>
                      <a:gd name="T16" fmla="*/ 0 w 593"/>
                      <a:gd name="T17" fmla="*/ 0 h 194"/>
                      <a:gd name="T18" fmla="*/ 0 w 593"/>
                      <a:gd name="T19" fmla="*/ 0 h 194"/>
                      <a:gd name="T20" fmla="*/ 0 w 593"/>
                      <a:gd name="T21" fmla="*/ 0 h 194"/>
                      <a:gd name="T22" fmla="*/ 0 w 593"/>
                      <a:gd name="T23" fmla="*/ 0 h 194"/>
                      <a:gd name="T24" fmla="*/ 0 w 593"/>
                      <a:gd name="T25" fmla="*/ 0 h 194"/>
                      <a:gd name="T26" fmla="*/ 0 w 593"/>
                      <a:gd name="T27" fmla="*/ 0 h 194"/>
                      <a:gd name="T28" fmla="*/ 0 w 593"/>
                      <a:gd name="T29" fmla="*/ 0 h 194"/>
                      <a:gd name="T30" fmla="*/ 0 w 593"/>
                      <a:gd name="T31" fmla="*/ 0 h 194"/>
                      <a:gd name="T32" fmla="*/ 0 w 593"/>
                      <a:gd name="T33" fmla="*/ 0 h 194"/>
                      <a:gd name="T34" fmla="*/ 0 w 593"/>
                      <a:gd name="T35" fmla="*/ 0 h 194"/>
                      <a:gd name="T36" fmla="*/ 0 w 593"/>
                      <a:gd name="T37" fmla="*/ 0 h 194"/>
                      <a:gd name="T38" fmla="*/ 0 w 593"/>
                      <a:gd name="T39" fmla="*/ 0 h 194"/>
                      <a:gd name="T40" fmla="*/ 0 w 593"/>
                      <a:gd name="T41" fmla="*/ 0 h 194"/>
                      <a:gd name="T42" fmla="*/ 0 w 593"/>
                      <a:gd name="T43" fmla="*/ 0 h 194"/>
                      <a:gd name="T44" fmla="*/ 0 w 593"/>
                      <a:gd name="T45" fmla="*/ 0 h 194"/>
                      <a:gd name="T46" fmla="*/ 0 w 593"/>
                      <a:gd name="T47" fmla="*/ 0 h 194"/>
                      <a:gd name="T48" fmla="*/ 0 w 593"/>
                      <a:gd name="T49" fmla="*/ 0 h 194"/>
                      <a:gd name="T50" fmla="*/ 0 w 593"/>
                      <a:gd name="T51" fmla="*/ 0 h 194"/>
                      <a:gd name="T52" fmla="*/ 0 w 593"/>
                      <a:gd name="T53" fmla="*/ 0 h 194"/>
                      <a:gd name="T54" fmla="*/ 0 w 593"/>
                      <a:gd name="T55" fmla="*/ 0 h 194"/>
                      <a:gd name="T56" fmla="*/ 0 w 593"/>
                      <a:gd name="T57" fmla="*/ 0 h 194"/>
                      <a:gd name="T58" fmla="*/ 0 w 593"/>
                      <a:gd name="T59" fmla="*/ 0 h 194"/>
                      <a:gd name="T60" fmla="*/ 0 w 593"/>
                      <a:gd name="T61" fmla="*/ 0 h 194"/>
                      <a:gd name="T62" fmla="*/ 0 w 593"/>
                      <a:gd name="T63" fmla="*/ 0 h 194"/>
                      <a:gd name="T64" fmla="*/ 0 w 593"/>
                      <a:gd name="T65" fmla="*/ 0 h 194"/>
                      <a:gd name="T66" fmla="*/ 0 w 593"/>
                      <a:gd name="T67" fmla="*/ 0 h 194"/>
                      <a:gd name="T68" fmla="*/ 0 w 593"/>
                      <a:gd name="T69" fmla="*/ 0 h 194"/>
                      <a:gd name="T70" fmla="*/ 0 w 593"/>
                      <a:gd name="T71" fmla="*/ 0 h 194"/>
                      <a:gd name="T72" fmla="*/ 0 w 593"/>
                      <a:gd name="T73" fmla="*/ 0 h 194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w 593"/>
                      <a:gd name="T112" fmla="*/ 0 h 194"/>
                      <a:gd name="T113" fmla="*/ 593 w 593"/>
                      <a:gd name="T114" fmla="*/ 194 h 194"/>
                    </a:gdLst>
                    <a:ahLst/>
                    <a:cxnLst>
                      <a:cxn ang="T74">
                        <a:pos x="T0" y="T1"/>
                      </a:cxn>
                      <a:cxn ang="T75">
                        <a:pos x="T2" y="T3"/>
                      </a:cxn>
                      <a:cxn ang="T76">
                        <a:pos x="T4" y="T5"/>
                      </a:cxn>
                      <a:cxn ang="T77">
                        <a:pos x="T6" y="T7"/>
                      </a:cxn>
                      <a:cxn ang="T78">
                        <a:pos x="T8" y="T9"/>
                      </a:cxn>
                      <a:cxn ang="T79">
                        <a:pos x="T10" y="T11"/>
                      </a:cxn>
                      <a:cxn ang="T80">
                        <a:pos x="T12" y="T13"/>
                      </a:cxn>
                      <a:cxn ang="T81">
                        <a:pos x="T14" y="T15"/>
                      </a:cxn>
                      <a:cxn ang="T82">
                        <a:pos x="T16" y="T17"/>
                      </a:cxn>
                      <a:cxn ang="T83">
                        <a:pos x="T18" y="T19"/>
                      </a:cxn>
                      <a:cxn ang="T84">
                        <a:pos x="T20" y="T21"/>
                      </a:cxn>
                      <a:cxn ang="T85">
                        <a:pos x="T22" y="T23"/>
                      </a:cxn>
                      <a:cxn ang="T86">
                        <a:pos x="T24" y="T25"/>
                      </a:cxn>
                      <a:cxn ang="T87">
                        <a:pos x="T26" y="T27"/>
                      </a:cxn>
                      <a:cxn ang="T88">
                        <a:pos x="T28" y="T29"/>
                      </a:cxn>
                      <a:cxn ang="T89">
                        <a:pos x="T30" y="T31"/>
                      </a:cxn>
                      <a:cxn ang="T90">
                        <a:pos x="T32" y="T33"/>
                      </a:cxn>
                      <a:cxn ang="T91">
                        <a:pos x="T34" y="T35"/>
                      </a:cxn>
                      <a:cxn ang="T92">
                        <a:pos x="T36" y="T37"/>
                      </a:cxn>
                      <a:cxn ang="T93">
                        <a:pos x="T38" y="T39"/>
                      </a:cxn>
                      <a:cxn ang="T94">
                        <a:pos x="T40" y="T41"/>
                      </a:cxn>
                      <a:cxn ang="T95">
                        <a:pos x="T42" y="T43"/>
                      </a:cxn>
                      <a:cxn ang="T96">
                        <a:pos x="T44" y="T45"/>
                      </a:cxn>
                      <a:cxn ang="T97">
                        <a:pos x="T46" y="T47"/>
                      </a:cxn>
                      <a:cxn ang="T98">
                        <a:pos x="T48" y="T49"/>
                      </a:cxn>
                      <a:cxn ang="T99">
                        <a:pos x="T50" y="T51"/>
                      </a:cxn>
                      <a:cxn ang="T100">
                        <a:pos x="T52" y="T53"/>
                      </a:cxn>
                      <a:cxn ang="T101">
                        <a:pos x="T54" y="T55"/>
                      </a:cxn>
                      <a:cxn ang="T102">
                        <a:pos x="T56" y="T57"/>
                      </a:cxn>
                      <a:cxn ang="T103">
                        <a:pos x="T58" y="T59"/>
                      </a:cxn>
                      <a:cxn ang="T104">
                        <a:pos x="T60" y="T61"/>
                      </a:cxn>
                      <a:cxn ang="T105">
                        <a:pos x="T62" y="T63"/>
                      </a:cxn>
                      <a:cxn ang="T106">
                        <a:pos x="T64" y="T65"/>
                      </a:cxn>
                      <a:cxn ang="T107">
                        <a:pos x="T66" y="T67"/>
                      </a:cxn>
                      <a:cxn ang="T108">
                        <a:pos x="T68" y="T69"/>
                      </a:cxn>
                      <a:cxn ang="T109">
                        <a:pos x="T70" y="T71"/>
                      </a:cxn>
                      <a:cxn ang="T110">
                        <a:pos x="T72" y="T73"/>
                      </a:cxn>
                    </a:cxnLst>
                    <a:rect l="T111" t="T112" r="T113" b="T114"/>
                    <a:pathLst>
                      <a:path w="593" h="194">
                        <a:moveTo>
                          <a:pt x="593" y="98"/>
                        </a:moveTo>
                        <a:lnTo>
                          <a:pt x="593" y="102"/>
                        </a:lnTo>
                        <a:lnTo>
                          <a:pt x="592" y="108"/>
                        </a:lnTo>
                        <a:lnTo>
                          <a:pt x="590" y="112"/>
                        </a:lnTo>
                        <a:lnTo>
                          <a:pt x="588" y="117"/>
                        </a:lnTo>
                        <a:lnTo>
                          <a:pt x="580" y="127"/>
                        </a:lnTo>
                        <a:lnTo>
                          <a:pt x="570" y="136"/>
                        </a:lnTo>
                        <a:lnTo>
                          <a:pt x="558" y="143"/>
                        </a:lnTo>
                        <a:lnTo>
                          <a:pt x="543" y="152"/>
                        </a:lnTo>
                        <a:lnTo>
                          <a:pt x="525" y="159"/>
                        </a:lnTo>
                        <a:lnTo>
                          <a:pt x="506" y="167"/>
                        </a:lnTo>
                        <a:lnTo>
                          <a:pt x="485" y="172"/>
                        </a:lnTo>
                        <a:lnTo>
                          <a:pt x="463" y="178"/>
                        </a:lnTo>
                        <a:lnTo>
                          <a:pt x="438" y="183"/>
                        </a:lnTo>
                        <a:lnTo>
                          <a:pt x="412" y="187"/>
                        </a:lnTo>
                        <a:lnTo>
                          <a:pt x="385" y="190"/>
                        </a:lnTo>
                        <a:lnTo>
                          <a:pt x="356" y="192"/>
                        </a:lnTo>
                        <a:lnTo>
                          <a:pt x="327" y="194"/>
                        </a:lnTo>
                        <a:lnTo>
                          <a:pt x="297" y="194"/>
                        </a:lnTo>
                        <a:lnTo>
                          <a:pt x="266" y="194"/>
                        </a:lnTo>
                        <a:lnTo>
                          <a:pt x="237" y="192"/>
                        </a:lnTo>
                        <a:lnTo>
                          <a:pt x="208" y="190"/>
                        </a:lnTo>
                        <a:lnTo>
                          <a:pt x="181" y="187"/>
                        </a:lnTo>
                        <a:lnTo>
                          <a:pt x="156" y="183"/>
                        </a:lnTo>
                        <a:lnTo>
                          <a:pt x="131" y="178"/>
                        </a:lnTo>
                        <a:lnTo>
                          <a:pt x="108" y="172"/>
                        </a:lnTo>
                        <a:lnTo>
                          <a:pt x="87" y="167"/>
                        </a:lnTo>
                        <a:lnTo>
                          <a:pt x="68" y="159"/>
                        </a:lnTo>
                        <a:lnTo>
                          <a:pt x="51" y="152"/>
                        </a:lnTo>
                        <a:lnTo>
                          <a:pt x="36" y="143"/>
                        </a:lnTo>
                        <a:lnTo>
                          <a:pt x="23" y="136"/>
                        </a:lnTo>
                        <a:lnTo>
                          <a:pt x="18" y="131"/>
                        </a:lnTo>
                        <a:lnTo>
                          <a:pt x="13" y="127"/>
                        </a:lnTo>
                        <a:lnTo>
                          <a:pt x="9" y="122"/>
                        </a:lnTo>
                        <a:lnTo>
                          <a:pt x="5" y="117"/>
                        </a:lnTo>
                        <a:lnTo>
                          <a:pt x="3" y="112"/>
                        </a:lnTo>
                        <a:lnTo>
                          <a:pt x="1" y="108"/>
                        </a:lnTo>
                        <a:lnTo>
                          <a:pt x="0" y="102"/>
                        </a:lnTo>
                        <a:lnTo>
                          <a:pt x="0" y="98"/>
                        </a:lnTo>
                        <a:lnTo>
                          <a:pt x="0" y="92"/>
                        </a:lnTo>
                        <a:lnTo>
                          <a:pt x="1" y="88"/>
                        </a:lnTo>
                        <a:lnTo>
                          <a:pt x="3" y="82"/>
                        </a:lnTo>
                        <a:lnTo>
                          <a:pt x="5" y="78"/>
                        </a:lnTo>
                        <a:lnTo>
                          <a:pt x="13" y="69"/>
                        </a:lnTo>
                        <a:lnTo>
                          <a:pt x="23" y="60"/>
                        </a:lnTo>
                        <a:lnTo>
                          <a:pt x="36" y="51"/>
                        </a:lnTo>
                        <a:lnTo>
                          <a:pt x="51" y="43"/>
                        </a:lnTo>
                        <a:lnTo>
                          <a:pt x="68" y="35"/>
                        </a:lnTo>
                        <a:lnTo>
                          <a:pt x="87" y="29"/>
                        </a:lnTo>
                        <a:lnTo>
                          <a:pt x="108" y="22"/>
                        </a:lnTo>
                        <a:lnTo>
                          <a:pt x="131" y="16"/>
                        </a:lnTo>
                        <a:lnTo>
                          <a:pt x="156" y="12"/>
                        </a:lnTo>
                        <a:lnTo>
                          <a:pt x="181" y="8"/>
                        </a:lnTo>
                        <a:lnTo>
                          <a:pt x="208" y="4"/>
                        </a:lnTo>
                        <a:lnTo>
                          <a:pt x="237" y="2"/>
                        </a:lnTo>
                        <a:lnTo>
                          <a:pt x="266" y="1"/>
                        </a:lnTo>
                        <a:lnTo>
                          <a:pt x="297" y="0"/>
                        </a:lnTo>
                        <a:lnTo>
                          <a:pt x="327" y="1"/>
                        </a:lnTo>
                        <a:lnTo>
                          <a:pt x="356" y="2"/>
                        </a:lnTo>
                        <a:lnTo>
                          <a:pt x="385" y="4"/>
                        </a:lnTo>
                        <a:lnTo>
                          <a:pt x="412" y="8"/>
                        </a:lnTo>
                        <a:lnTo>
                          <a:pt x="438" y="12"/>
                        </a:lnTo>
                        <a:lnTo>
                          <a:pt x="463" y="16"/>
                        </a:lnTo>
                        <a:lnTo>
                          <a:pt x="485" y="22"/>
                        </a:lnTo>
                        <a:lnTo>
                          <a:pt x="506" y="29"/>
                        </a:lnTo>
                        <a:lnTo>
                          <a:pt x="525" y="35"/>
                        </a:lnTo>
                        <a:lnTo>
                          <a:pt x="543" y="43"/>
                        </a:lnTo>
                        <a:lnTo>
                          <a:pt x="558" y="51"/>
                        </a:lnTo>
                        <a:lnTo>
                          <a:pt x="570" y="60"/>
                        </a:lnTo>
                        <a:lnTo>
                          <a:pt x="580" y="69"/>
                        </a:lnTo>
                        <a:lnTo>
                          <a:pt x="588" y="78"/>
                        </a:lnTo>
                        <a:lnTo>
                          <a:pt x="590" y="82"/>
                        </a:lnTo>
                        <a:lnTo>
                          <a:pt x="592" y="88"/>
                        </a:lnTo>
                        <a:lnTo>
                          <a:pt x="593" y="92"/>
                        </a:lnTo>
                        <a:lnTo>
                          <a:pt x="593" y="98"/>
                        </a:lnTo>
                        <a:close/>
                      </a:path>
                    </a:pathLst>
                  </a:custGeom>
                  <a:solidFill>
                    <a:srgbClr val="2E5592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24" name="Freeform 173"/>
                  <p:cNvSpPr>
                    <a:spLocks/>
                  </p:cNvSpPr>
                  <p:nvPr/>
                </p:nvSpPr>
                <p:spPr bwMode="auto">
                  <a:xfrm>
                    <a:off x="3255" y="4078"/>
                    <a:ext cx="169" cy="86"/>
                  </a:xfrm>
                  <a:custGeom>
                    <a:avLst/>
                    <a:gdLst>
                      <a:gd name="T0" fmla="*/ 0 w 1184"/>
                      <a:gd name="T1" fmla="*/ 0 h 605"/>
                      <a:gd name="T2" fmla="*/ 0 w 1184"/>
                      <a:gd name="T3" fmla="*/ 0 h 605"/>
                      <a:gd name="T4" fmla="*/ 0 w 1184"/>
                      <a:gd name="T5" fmla="*/ 0 h 605"/>
                      <a:gd name="T6" fmla="*/ 0 w 1184"/>
                      <a:gd name="T7" fmla="*/ 0 h 605"/>
                      <a:gd name="T8" fmla="*/ 0 w 1184"/>
                      <a:gd name="T9" fmla="*/ 0 h 605"/>
                      <a:gd name="T10" fmla="*/ 0 w 1184"/>
                      <a:gd name="T11" fmla="*/ 0 h 605"/>
                      <a:gd name="T12" fmla="*/ 0 w 1184"/>
                      <a:gd name="T13" fmla="*/ 0 h 605"/>
                      <a:gd name="T14" fmla="*/ 0 w 1184"/>
                      <a:gd name="T15" fmla="*/ 0 h 605"/>
                      <a:gd name="T16" fmla="*/ 0 w 1184"/>
                      <a:gd name="T17" fmla="*/ 0 h 605"/>
                      <a:gd name="T18" fmla="*/ 0 w 1184"/>
                      <a:gd name="T19" fmla="*/ 0 h 605"/>
                      <a:gd name="T20" fmla="*/ 0 w 1184"/>
                      <a:gd name="T21" fmla="*/ 0 h 605"/>
                      <a:gd name="T22" fmla="*/ 0 w 1184"/>
                      <a:gd name="T23" fmla="*/ 0 h 605"/>
                      <a:gd name="T24" fmla="*/ 0 w 1184"/>
                      <a:gd name="T25" fmla="*/ 0 h 605"/>
                      <a:gd name="T26" fmla="*/ 0 w 1184"/>
                      <a:gd name="T27" fmla="*/ 0 h 605"/>
                      <a:gd name="T28" fmla="*/ 0 w 1184"/>
                      <a:gd name="T29" fmla="*/ 0 h 605"/>
                      <a:gd name="T30" fmla="*/ 0 w 1184"/>
                      <a:gd name="T31" fmla="*/ 0 h 605"/>
                      <a:gd name="T32" fmla="*/ 0 w 1184"/>
                      <a:gd name="T33" fmla="*/ 0 h 605"/>
                      <a:gd name="T34" fmla="*/ 0 w 1184"/>
                      <a:gd name="T35" fmla="*/ 0 h 605"/>
                      <a:gd name="T36" fmla="*/ 0 w 1184"/>
                      <a:gd name="T37" fmla="*/ 0 h 605"/>
                      <a:gd name="T38" fmla="*/ 0 w 1184"/>
                      <a:gd name="T39" fmla="*/ 0 h 605"/>
                      <a:gd name="T40" fmla="*/ 0 w 1184"/>
                      <a:gd name="T41" fmla="*/ 0 h 605"/>
                      <a:gd name="T42" fmla="*/ 0 w 1184"/>
                      <a:gd name="T43" fmla="*/ 0 h 605"/>
                      <a:gd name="T44" fmla="*/ 0 w 1184"/>
                      <a:gd name="T45" fmla="*/ 0 h 605"/>
                      <a:gd name="T46" fmla="*/ 0 w 1184"/>
                      <a:gd name="T47" fmla="*/ 0 h 605"/>
                      <a:gd name="T48" fmla="*/ 0 w 1184"/>
                      <a:gd name="T49" fmla="*/ 0 h 605"/>
                      <a:gd name="T50" fmla="*/ 0 w 1184"/>
                      <a:gd name="T51" fmla="*/ 0 h 605"/>
                      <a:gd name="T52" fmla="*/ 0 w 1184"/>
                      <a:gd name="T53" fmla="*/ 0 h 605"/>
                      <a:gd name="T54" fmla="*/ 0 w 1184"/>
                      <a:gd name="T55" fmla="*/ 0 h 605"/>
                      <a:gd name="T56" fmla="*/ 0 w 1184"/>
                      <a:gd name="T57" fmla="*/ 0 h 605"/>
                      <a:gd name="T58" fmla="*/ 0 w 1184"/>
                      <a:gd name="T59" fmla="*/ 0 h 605"/>
                      <a:gd name="T60" fmla="*/ 0 w 1184"/>
                      <a:gd name="T61" fmla="*/ 0 h 605"/>
                      <a:gd name="T62" fmla="*/ 0 w 1184"/>
                      <a:gd name="T63" fmla="*/ 0 h 605"/>
                      <a:gd name="T64" fmla="*/ 0 w 1184"/>
                      <a:gd name="T65" fmla="*/ 0 h 605"/>
                      <a:gd name="T66" fmla="*/ 0 w 1184"/>
                      <a:gd name="T67" fmla="*/ 0 h 605"/>
                      <a:gd name="T68" fmla="*/ 0 w 1184"/>
                      <a:gd name="T69" fmla="*/ 0 h 605"/>
                      <a:gd name="T70" fmla="*/ 0 w 1184"/>
                      <a:gd name="T71" fmla="*/ 0 h 605"/>
                      <a:gd name="T72" fmla="*/ 0 w 1184"/>
                      <a:gd name="T73" fmla="*/ 0 h 605"/>
                      <a:gd name="T74" fmla="*/ 0 w 1184"/>
                      <a:gd name="T75" fmla="*/ 0 h 605"/>
                      <a:gd name="T76" fmla="*/ 0 w 1184"/>
                      <a:gd name="T77" fmla="*/ 0 h 605"/>
                      <a:gd name="T78" fmla="*/ 0 w 1184"/>
                      <a:gd name="T79" fmla="*/ 0 h 605"/>
                      <a:gd name="T80" fmla="*/ 0 w 1184"/>
                      <a:gd name="T81" fmla="*/ 0 h 605"/>
                      <a:gd name="T82" fmla="*/ 0 w 1184"/>
                      <a:gd name="T83" fmla="*/ 0 h 605"/>
                      <a:gd name="T84" fmla="*/ 0 w 1184"/>
                      <a:gd name="T85" fmla="*/ 0 h 605"/>
                      <a:gd name="T86" fmla="*/ 0 w 1184"/>
                      <a:gd name="T87" fmla="*/ 0 h 605"/>
                      <a:gd name="T88" fmla="*/ 0 w 1184"/>
                      <a:gd name="T89" fmla="*/ 0 h 605"/>
                      <a:gd name="T90" fmla="*/ 0 w 1184"/>
                      <a:gd name="T91" fmla="*/ 0 h 605"/>
                      <a:gd name="T92" fmla="*/ 0 w 1184"/>
                      <a:gd name="T93" fmla="*/ 0 h 605"/>
                      <a:gd name="T94" fmla="*/ 0 w 1184"/>
                      <a:gd name="T95" fmla="*/ 0 h 605"/>
                      <a:gd name="T96" fmla="*/ 0 w 1184"/>
                      <a:gd name="T97" fmla="*/ 0 h 605"/>
                      <a:gd name="T98" fmla="*/ 0 w 1184"/>
                      <a:gd name="T99" fmla="*/ 0 h 605"/>
                      <a:gd name="T100" fmla="*/ 0 w 1184"/>
                      <a:gd name="T101" fmla="*/ 0 h 605"/>
                      <a:gd name="T102" fmla="*/ 0 w 1184"/>
                      <a:gd name="T103" fmla="*/ 0 h 605"/>
                      <a:gd name="T104" fmla="*/ 0 w 1184"/>
                      <a:gd name="T105" fmla="*/ 0 h 605"/>
                      <a:gd name="T106" fmla="*/ 0 w 1184"/>
                      <a:gd name="T107" fmla="*/ 0 h 605"/>
                      <a:gd name="T108" fmla="*/ 0 w 1184"/>
                      <a:gd name="T109" fmla="*/ 0 h 605"/>
                      <a:gd name="T110" fmla="*/ 0 w 1184"/>
                      <a:gd name="T111" fmla="*/ 0 h 605"/>
                      <a:gd name="T112" fmla="*/ 0 w 1184"/>
                      <a:gd name="T113" fmla="*/ 0 h 605"/>
                      <a:gd name="T114" fmla="*/ 0 w 1184"/>
                      <a:gd name="T115" fmla="*/ 0 h 605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w 1184"/>
                      <a:gd name="T175" fmla="*/ 0 h 605"/>
                      <a:gd name="T176" fmla="*/ 1184 w 1184"/>
                      <a:gd name="T177" fmla="*/ 605 h 605"/>
                    </a:gdLst>
                    <a:ahLst/>
                    <a:cxnLst>
                      <a:cxn ang="T116">
                        <a:pos x="T0" y="T1"/>
                      </a:cxn>
                      <a:cxn ang="T117">
                        <a:pos x="T2" y="T3"/>
                      </a:cxn>
                      <a:cxn ang="T118">
                        <a:pos x="T4" y="T5"/>
                      </a:cxn>
                      <a:cxn ang="T119">
                        <a:pos x="T6" y="T7"/>
                      </a:cxn>
                      <a:cxn ang="T120">
                        <a:pos x="T8" y="T9"/>
                      </a:cxn>
                      <a:cxn ang="T121">
                        <a:pos x="T10" y="T11"/>
                      </a:cxn>
                      <a:cxn ang="T122">
                        <a:pos x="T12" y="T13"/>
                      </a:cxn>
                      <a:cxn ang="T123">
                        <a:pos x="T14" y="T15"/>
                      </a:cxn>
                      <a:cxn ang="T124">
                        <a:pos x="T16" y="T17"/>
                      </a:cxn>
                      <a:cxn ang="T125">
                        <a:pos x="T18" y="T19"/>
                      </a:cxn>
                      <a:cxn ang="T126">
                        <a:pos x="T20" y="T21"/>
                      </a:cxn>
                      <a:cxn ang="T127">
                        <a:pos x="T22" y="T23"/>
                      </a:cxn>
                      <a:cxn ang="T128">
                        <a:pos x="T24" y="T25"/>
                      </a:cxn>
                      <a:cxn ang="T129">
                        <a:pos x="T26" y="T27"/>
                      </a:cxn>
                      <a:cxn ang="T130">
                        <a:pos x="T28" y="T29"/>
                      </a:cxn>
                      <a:cxn ang="T131">
                        <a:pos x="T30" y="T31"/>
                      </a:cxn>
                      <a:cxn ang="T132">
                        <a:pos x="T32" y="T33"/>
                      </a:cxn>
                      <a:cxn ang="T133">
                        <a:pos x="T34" y="T35"/>
                      </a:cxn>
                      <a:cxn ang="T134">
                        <a:pos x="T36" y="T37"/>
                      </a:cxn>
                      <a:cxn ang="T135">
                        <a:pos x="T38" y="T39"/>
                      </a:cxn>
                      <a:cxn ang="T136">
                        <a:pos x="T40" y="T41"/>
                      </a:cxn>
                      <a:cxn ang="T137">
                        <a:pos x="T42" y="T43"/>
                      </a:cxn>
                      <a:cxn ang="T138">
                        <a:pos x="T44" y="T45"/>
                      </a:cxn>
                      <a:cxn ang="T139">
                        <a:pos x="T46" y="T47"/>
                      </a:cxn>
                      <a:cxn ang="T140">
                        <a:pos x="T48" y="T49"/>
                      </a:cxn>
                      <a:cxn ang="T141">
                        <a:pos x="T50" y="T51"/>
                      </a:cxn>
                      <a:cxn ang="T142">
                        <a:pos x="T52" y="T53"/>
                      </a:cxn>
                      <a:cxn ang="T143">
                        <a:pos x="T54" y="T55"/>
                      </a:cxn>
                      <a:cxn ang="T144">
                        <a:pos x="T56" y="T57"/>
                      </a:cxn>
                      <a:cxn ang="T145">
                        <a:pos x="T58" y="T59"/>
                      </a:cxn>
                      <a:cxn ang="T146">
                        <a:pos x="T60" y="T61"/>
                      </a:cxn>
                      <a:cxn ang="T147">
                        <a:pos x="T62" y="T63"/>
                      </a:cxn>
                      <a:cxn ang="T148">
                        <a:pos x="T64" y="T65"/>
                      </a:cxn>
                      <a:cxn ang="T149">
                        <a:pos x="T66" y="T67"/>
                      </a:cxn>
                      <a:cxn ang="T150">
                        <a:pos x="T68" y="T69"/>
                      </a:cxn>
                      <a:cxn ang="T151">
                        <a:pos x="T70" y="T71"/>
                      </a:cxn>
                      <a:cxn ang="T152">
                        <a:pos x="T72" y="T73"/>
                      </a:cxn>
                      <a:cxn ang="T153">
                        <a:pos x="T74" y="T75"/>
                      </a:cxn>
                      <a:cxn ang="T154">
                        <a:pos x="T76" y="T77"/>
                      </a:cxn>
                      <a:cxn ang="T155">
                        <a:pos x="T78" y="T79"/>
                      </a:cxn>
                      <a:cxn ang="T156">
                        <a:pos x="T80" y="T81"/>
                      </a:cxn>
                      <a:cxn ang="T157">
                        <a:pos x="T82" y="T83"/>
                      </a:cxn>
                      <a:cxn ang="T158">
                        <a:pos x="T84" y="T85"/>
                      </a:cxn>
                      <a:cxn ang="T159">
                        <a:pos x="T86" y="T87"/>
                      </a:cxn>
                      <a:cxn ang="T160">
                        <a:pos x="T88" y="T89"/>
                      </a:cxn>
                      <a:cxn ang="T161">
                        <a:pos x="T90" y="T91"/>
                      </a:cxn>
                      <a:cxn ang="T162">
                        <a:pos x="T92" y="T93"/>
                      </a:cxn>
                      <a:cxn ang="T163">
                        <a:pos x="T94" y="T95"/>
                      </a:cxn>
                      <a:cxn ang="T164">
                        <a:pos x="T96" y="T97"/>
                      </a:cxn>
                      <a:cxn ang="T165">
                        <a:pos x="T98" y="T99"/>
                      </a:cxn>
                      <a:cxn ang="T166">
                        <a:pos x="T100" y="T101"/>
                      </a:cxn>
                      <a:cxn ang="T167">
                        <a:pos x="T102" y="T103"/>
                      </a:cxn>
                      <a:cxn ang="T168">
                        <a:pos x="T104" y="T105"/>
                      </a:cxn>
                      <a:cxn ang="T169">
                        <a:pos x="T106" y="T107"/>
                      </a:cxn>
                      <a:cxn ang="T170">
                        <a:pos x="T108" y="T109"/>
                      </a:cxn>
                      <a:cxn ang="T171">
                        <a:pos x="T110" y="T111"/>
                      </a:cxn>
                      <a:cxn ang="T172">
                        <a:pos x="T112" y="T113"/>
                      </a:cxn>
                      <a:cxn ang="T173">
                        <a:pos x="T114" y="T115"/>
                      </a:cxn>
                    </a:cxnLst>
                    <a:rect l="T174" t="T175" r="T176" b="T177"/>
                    <a:pathLst>
                      <a:path w="1184" h="605">
                        <a:moveTo>
                          <a:pt x="1079" y="0"/>
                        </a:moveTo>
                        <a:lnTo>
                          <a:pt x="1086" y="20"/>
                        </a:lnTo>
                        <a:lnTo>
                          <a:pt x="1092" y="40"/>
                        </a:lnTo>
                        <a:lnTo>
                          <a:pt x="1096" y="57"/>
                        </a:lnTo>
                        <a:lnTo>
                          <a:pt x="1098" y="75"/>
                        </a:lnTo>
                        <a:lnTo>
                          <a:pt x="1099" y="92"/>
                        </a:lnTo>
                        <a:lnTo>
                          <a:pt x="1099" y="106"/>
                        </a:lnTo>
                        <a:lnTo>
                          <a:pt x="1097" y="121"/>
                        </a:lnTo>
                        <a:lnTo>
                          <a:pt x="1095" y="134"/>
                        </a:lnTo>
                        <a:lnTo>
                          <a:pt x="1090" y="148"/>
                        </a:lnTo>
                        <a:lnTo>
                          <a:pt x="1085" y="159"/>
                        </a:lnTo>
                        <a:lnTo>
                          <a:pt x="1078" y="170"/>
                        </a:lnTo>
                        <a:lnTo>
                          <a:pt x="1071" y="181"/>
                        </a:lnTo>
                        <a:lnTo>
                          <a:pt x="1063" y="191"/>
                        </a:lnTo>
                        <a:lnTo>
                          <a:pt x="1054" y="200"/>
                        </a:lnTo>
                        <a:lnTo>
                          <a:pt x="1044" y="209"/>
                        </a:lnTo>
                        <a:lnTo>
                          <a:pt x="1033" y="217"/>
                        </a:lnTo>
                        <a:lnTo>
                          <a:pt x="1020" y="224"/>
                        </a:lnTo>
                        <a:lnTo>
                          <a:pt x="1008" y="231"/>
                        </a:lnTo>
                        <a:lnTo>
                          <a:pt x="995" y="239"/>
                        </a:lnTo>
                        <a:lnTo>
                          <a:pt x="981" y="246"/>
                        </a:lnTo>
                        <a:lnTo>
                          <a:pt x="952" y="258"/>
                        </a:lnTo>
                        <a:lnTo>
                          <a:pt x="921" y="269"/>
                        </a:lnTo>
                        <a:lnTo>
                          <a:pt x="857" y="292"/>
                        </a:lnTo>
                        <a:lnTo>
                          <a:pt x="790" y="316"/>
                        </a:lnTo>
                        <a:lnTo>
                          <a:pt x="770" y="323"/>
                        </a:lnTo>
                        <a:lnTo>
                          <a:pt x="749" y="330"/>
                        </a:lnTo>
                        <a:lnTo>
                          <a:pt x="728" y="337"/>
                        </a:lnTo>
                        <a:lnTo>
                          <a:pt x="705" y="342"/>
                        </a:lnTo>
                        <a:lnTo>
                          <a:pt x="659" y="353"/>
                        </a:lnTo>
                        <a:lnTo>
                          <a:pt x="608" y="362"/>
                        </a:lnTo>
                        <a:lnTo>
                          <a:pt x="557" y="369"/>
                        </a:lnTo>
                        <a:lnTo>
                          <a:pt x="505" y="375"/>
                        </a:lnTo>
                        <a:lnTo>
                          <a:pt x="450" y="379"/>
                        </a:lnTo>
                        <a:lnTo>
                          <a:pt x="397" y="381"/>
                        </a:lnTo>
                        <a:lnTo>
                          <a:pt x="342" y="382"/>
                        </a:lnTo>
                        <a:lnTo>
                          <a:pt x="288" y="382"/>
                        </a:lnTo>
                        <a:lnTo>
                          <a:pt x="236" y="381"/>
                        </a:lnTo>
                        <a:lnTo>
                          <a:pt x="183" y="379"/>
                        </a:lnTo>
                        <a:lnTo>
                          <a:pt x="133" y="376"/>
                        </a:lnTo>
                        <a:lnTo>
                          <a:pt x="86" y="370"/>
                        </a:lnTo>
                        <a:lnTo>
                          <a:pt x="42" y="366"/>
                        </a:lnTo>
                        <a:lnTo>
                          <a:pt x="0" y="359"/>
                        </a:lnTo>
                        <a:lnTo>
                          <a:pt x="3" y="372"/>
                        </a:lnTo>
                        <a:lnTo>
                          <a:pt x="6" y="386"/>
                        </a:lnTo>
                        <a:lnTo>
                          <a:pt x="10" y="398"/>
                        </a:lnTo>
                        <a:lnTo>
                          <a:pt x="15" y="410"/>
                        </a:lnTo>
                        <a:lnTo>
                          <a:pt x="20" y="422"/>
                        </a:lnTo>
                        <a:lnTo>
                          <a:pt x="26" y="435"/>
                        </a:lnTo>
                        <a:lnTo>
                          <a:pt x="33" y="447"/>
                        </a:lnTo>
                        <a:lnTo>
                          <a:pt x="41" y="458"/>
                        </a:lnTo>
                        <a:lnTo>
                          <a:pt x="49" y="469"/>
                        </a:lnTo>
                        <a:lnTo>
                          <a:pt x="58" y="479"/>
                        </a:lnTo>
                        <a:lnTo>
                          <a:pt x="69" y="490"/>
                        </a:lnTo>
                        <a:lnTo>
                          <a:pt x="80" y="500"/>
                        </a:lnTo>
                        <a:lnTo>
                          <a:pt x="92" y="509"/>
                        </a:lnTo>
                        <a:lnTo>
                          <a:pt x="105" y="518"/>
                        </a:lnTo>
                        <a:lnTo>
                          <a:pt x="120" y="527"/>
                        </a:lnTo>
                        <a:lnTo>
                          <a:pt x="135" y="536"/>
                        </a:lnTo>
                        <a:lnTo>
                          <a:pt x="153" y="544"/>
                        </a:lnTo>
                        <a:lnTo>
                          <a:pt x="171" y="552"/>
                        </a:lnTo>
                        <a:lnTo>
                          <a:pt x="191" y="558"/>
                        </a:lnTo>
                        <a:lnTo>
                          <a:pt x="212" y="565"/>
                        </a:lnTo>
                        <a:lnTo>
                          <a:pt x="235" y="572"/>
                        </a:lnTo>
                        <a:lnTo>
                          <a:pt x="258" y="577"/>
                        </a:lnTo>
                        <a:lnTo>
                          <a:pt x="283" y="583"/>
                        </a:lnTo>
                        <a:lnTo>
                          <a:pt x="310" y="587"/>
                        </a:lnTo>
                        <a:lnTo>
                          <a:pt x="339" y="592"/>
                        </a:lnTo>
                        <a:lnTo>
                          <a:pt x="369" y="595"/>
                        </a:lnTo>
                        <a:lnTo>
                          <a:pt x="401" y="598"/>
                        </a:lnTo>
                        <a:lnTo>
                          <a:pt x="435" y="601"/>
                        </a:lnTo>
                        <a:lnTo>
                          <a:pt x="470" y="603"/>
                        </a:lnTo>
                        <a:lnTo>
                          <a:pt x="507" y="604"/>
                        </a:lnTo>
                        <a:lnTo>
                          <a:pt x="546" y="605"/>
                        </a:lnTo>
                        <a:lnTo>
                          <a:pt x="587" y="605"/>
                        </a:lnTo>
                        <a:lnTo>
                          <a:pt x="634" y="605"/>
                        </a:lnTo>
                        <a:lnTo>
                          <a:pt x="679" y="603"/>
                        </a:lnTo>
                        <a:lnTo>
                          <a:pt x="721" y="601"/>
                        </a:lnTo>
                        <a:lnTo>
                          <a:pt x="760" y="597"/>
                        </a:lnTo>
                        <a:lnTo>
                          <a:pt x="798" y="594"/>
                        </a:lnTo>
                        <a:lnTo>
                          <a:pt x="832" y="588"/>
                        </a:lnTo>
                        <a:lnTo>
                          <a:pt x="866" y="583"/>
                        </a:lnTo>
                        <a:lnTo>
                          <a:pt x="897" y="576"/>
                        </a:lnTo>
                        <a:lnTo>
                          <a:pt x="926" y="569"/>
                        </a:lnTo>
                        <a:lnTo>
                          <a:pt x="952" y="560"/>
                        </a:lnTo>
                        <a:lnTo>
                          <a:pt x="977" y="552"/>
                        </a:lnTo>
                        <a:lnTo>
                          <a:pt x="1000" y="543"/>
                        </a:lnTo>
                        <a:lnTo>
                          <a:pt x="1023" y="533"/>
                        </a:lnTo>
                        <a:lnTo>
                          <a:pt x="1043" y="522"/>
                        </a:lnTo>
                        <a:lnTo>
                          <a:pt x="1060" y="509"/>
                        </a:lnTo>
                        <a:lnTo>
                          <a:pt x="1077" y="497"/>
                        </a:lnTo>
                        <a:lnTo>
                          <a:pt x="1093" y="485"/>
                        </a:lnTo>
                        <a:lnTo>
                          <a:pt x="1106" y="471"/>
                        </a:lnTo>
                        <a:lnTo>
                          <a:pt x="1118" y="457"/>
                        </a:lnTo>
                        <a:lnTo>
                          <a:pt x="1129" y="443"/>
                        </a:lnTo>
                        <a:lnTo>
                          <a:pt x="1139" y="428"/>
                        </a:lnTo>
                        <a:lnTo>
                          <a:pt x="1148" y="412"/>
                        </a:lnTo>
                        <a:lnTo>
                          <a:pt x="1156" y="397"/>
                        </a:lnTo>
                        <a:lnTo>
                          <a:pt x="1163" y="380"/>
                        </a:lnTo>
                        <a:lnTo>
                          <a:pt x="1168" y="364"/>
                        </a:lnTo>
                        <a:lnTo>
                          <a:pt x="1173" y="347"/>
                        </a:lnTo>
                        <a:lnTo>
                          <a:pt x="1176" y="329"/>
                        </a:lnTo>
                        <a:lnTo>
                          <a:pt x="1179" y="311"/>
                        </a:lnTo>
                        <a:lnTo>
                          <a:pt x="1182" y="293"/>
                        </a:lnTo>
                        <a:lnTo>
                          <a:pt x="1183" y="274"/>
                        </a:lnTo>
                        <a:lnTo>
                          <a:pt x="1184" y="256"/>
                        </a:lnTo>
                        <a:lnTo>
                          <a:pt x="1184" y="237"/>
                        </a:lnTo>
                        <a:lnTo>
                          <a:pt x="1183" y="226"/>
                        </a:lnTo>
                        <a:lnTo>
                          <a:pt x="1181" y="212"/>
                        </a:lnTo>
                        <a:lnTo>
                          <a:pt x="1177" y="198"/>
                        </a:lnTo>
                        <a:lnTo>
                          <a:pt x="1173" y="182"/>
                        </a:lnTo>
                        <a:lnTo>
                          <a:pt x="1161" y="150"/>
                        </a:lnTo>
                        <a:lnTo>
                          <a:pt x="1146" y="115"/>
                        </a:lnTo>
                        <a:lnTo>
                          <a:pt x="1129" y="81"/>
                        </a:lnTo>
                        <a:lnTo>
                          <a:pt x="1112" y="49"/>
                        </a:lnTo>
                        <a:lnTo>
                          <a:pt x="1095" y="21"/>
                        </a:lnTo>
                        <a:lnTo>
                          <a:pt x="1079" y="0"/>
                        </a:lnTo>
                        <a:close/>
                      </a:path>
                    </a:pathLst>
                  </a:custGeom>
                  <a:solidFill>
                    <a:srgbClr val="242B53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25" name="Freeform 174"/>
                  <p:cNvSpPr>
                    <a:spLocks/>
                  </p:cNvSpPr>
                  <p:nvPr/>
                </p:nvSpPr>
                <p:spPr bwMode="auto">
                  <a:xfrm>
                    <a:off x="3255" y="4127"/>
                    <a:ext cx="168" cy="38"/>
                  </a:xfrm>
                  <a:custGeom>
                    <a:avLst/>
                    <a:gdLst>
                      <a:gd name="T0" fmla="*/ 0 w 1173"/>
                      <a:gd name="T1" fmla="*/ 0 h 264"/>
                      <a:gd name="T2" fmla="*/ 0 w 1173"/>
                      <a:gd name="T3" fmla="*/ 0 h 264"/>
                      <a:gd name="T4" fmla="*/ 0 w 1173"/>
                      <a:gd name="T5" fmla="*/ 0 h 264"/>
                      <a:gd name="T6" fmla="*/ 0 w 1173"/>
                      <a:gd name="T7" fmla="*/ 0 h 264"/>
                      <a:gd name="T8" fmla="*/ 0 w 1173"/>
                      <a:gd name="T9" fmla="*/ 0 h 264"/>
                      <a:gd name="T10" fmla="*/ 0 w 1173"/>
                      <a:gd name="T11" fmla="*/ 0 h 264"/>
                      <a:gd name="T12" fmla="*/ 0 w 1173"/>
                      <a:gd name="T13" fmla="*/ 0 h 264"/>
                      <a:gd name="T14" fmla="*/ 0 w 1173"/>
                      <a:gd name="T15" fmla="*/ 0 h 264"/>
                      <a:gd name="T16" fmla="*/ 0 w 1173"/>
                      <a:gd name="T17" fmla="*/ 0 h 264"/>
                      <a:gd name="T18" fmla="*/ 0 w 1173"/>
                      <a:gd name="T19" fmla="*/ 0 h 264"/>
                      <a:gd name="T20" fmla="*/ 0 w 1173"/>
                      <a:gd name="T21" fmla="*/ 0 h 264"/>
                      <a:gd name="T22" fmla="*/ 0 w 1173"/>
                      <a:gd name="T23" fmla="*/ 0 h 264"/>
                      <a:gd name="T24" fmla="*/ 0 w 1173"/>
                      <a:gd name="T25" fmla="*/ 0 h 264"/>
                      <a:gd name="T26" fmla="*/ 0 w 1173"/>
                      <a:gd name="T27" fmla="*/ 0 h 264"/>
                      <a:gd name="T28" fmla="*/ 0 w 1173"/>
                      <a:gd name="T29" fmla="*/ 0 h 264"/>
                      <a:gd name="T30" fmla="*/ 0 w 1173"/>
                      <a:gd name="T31" fmla="*/ 0 h 264"/>
                      <a:gd name="T32" fmla="*/ 0 w 1173"/>
                      <a:gd name="T33" fmla="*/ 0 h 264"/>
                      <a:gd name="T34" fmla="*/ 0 w 1173"/>
                      <a:gd name="T35" fmla="*/ 0 h 264"/>
                      <a:gd name="T36" fmla="*/ 0 w 1173"/>
                      <a:gd name="T37" fmla="*/ 0 h 264"/>
                      <a:gd name="T38" fmla="*/ 0 w 1173"/>
                      <a:gd name="T39" fmla="*/ 0 h 264"/>
                      <a:gd name="T40" fmla="*/ 0 w 1173"/>
                      <a:gd name="T41" fmla="*/ 0 h 264"/>
                      <a:gd name="T42" fmla="*/ 0 w 1173"/>
                      <a:gd name="T43" fmla="*/ 0 h 264"/>
                      <a:gd name="T44" fmla="*/ 0 w 1173"/>
                      <a:gd name="T45" fmla="*/ 0 h 264"/>
                      <a:gd name="T46" fmla="*/ 0 w 1173"/>
                      <a:gd name="T47" fmla="*/ 0 h 264"/>
                      <a:gd name="T48" fmla="*/ 0 w 1173"/>
                      <a:gd name="T49" fmla="*/ 0 h 264"/>
                      <a:gd name="T50" fmla="*/ 0 w 1173"/>
                      <a:gd name="T51" fmla="*/ 0 h 264"/>
                      <a:gd name="T52" fmla="*/ 0 w 1173"/>
                      <a:gd name="T53" fmla="*/ 0 h 264"/>
                      <a:gd name="T54" fmla="*/ 0 w 1173"/>
                      <a:gd name="T55" fmla="*/ 0 h 264"/>
                      <a:gd name="T56" fmla="*/ 0 w 1173"/>
                      <a:gd name="T57" fmla="*/ 0 h 264"/>
                      <a:gd name="T58" fmla="*/ 0 w 1173"/>
                      <a:gd name="T59" fmla="*/ 0 h 264"/>
                      <a:gd name="T60" fmla="*/ 0 w 1173"/>
                      <a:gd name="T61" fmla="*/ 0 h 264"/>
                      <a:gd name="T62" fmla="*/ 0 w 1173"/>
                      <a:gd name="T63" fmla="*/ 0 h 264"/>
                      <a:gd name="T64" fmla="*/ 0 w 1173"/>
                      <a:gd name="T65" fmla="*/ 0 h 264"/>
                      <a:gd name="T66" fmla="*/ 0 w 1173"/>
                      <a:gd name="T67" fmla="*/ 0 h 264"/>
                      <a:gd name="T68" fmla="*/ 0 w 1173"/>
                      <a:gd name="T69" fmla="*/ 0 h 264"/>
                      <a:gd name="T70" fmla="*/ 0 w 1173"/>
                      <a:gd name="T71" fmla="*/ 0 h 264"/>
                      <a:gd name="T72" fmla="*/ 0 w 1173"/>
                      <a:gd name="T73" fmla="*/ 0 h 264"/>
                      <a:gd name="T74" fmla="*/ 0 w 1173"/>
                      <a:gd name="T75" fmla="*/ 0 h 264"/>
                      <a:gd name="T76" fmla="*/ 0 w 1173"/>
                      <a:gd name="T77" fmla="*/ 0 h 264"/>
                      <a:gd name="T78" fmla="*/ 0 w 1173"/>
                      <a:gd name="T79" fmla="*/ 0 h 264"/>
                      <a:gd name="T80" fmla="*/ 0 w 1173"/>
                      <a:gd name="T81" fmla="*/ 0 h 264"/>
                      <a:gd name="T82" fmla="*/ 0 w 1173"/>
                      <a:gd name="T83" fmla="*/ 0 h 264"/>
                      <a:gd name="T84" fmla="*/ 0 w 1173"/>
                      <a:gd name="T85" fmla="*/ 0 h 264"/>
                      <a:gd name="T86" fmla="*/ 0 w 1173"/>
                      <a:gd name="T87" fmla="*/ 0 h 264"/>
                      <a:gd name="T88" fmla="*/ 0 w 1173"/>
                      <a:gd name="T89" fmla="*/ 0 h 264"/>
                      <a:gd name="T90" fmla="*/ 0 w 1173"/>
                      <a:gd name="T91" fmla="*/ 0 h 264"/>
                      <a:gd name="T92" fmla="*/ 0 w 1173"/>
                      <a:gd name="T93" fmla="*/ 0 h 264"/>
                      <a:gd name="T94" fmla="*/ 0 w 1173"/>
                      <a:gd name="T95" fmla="*/ 0 h 264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w 1173"/>
                      <a:gd name="T145" fmla="*/ 0 h 264"/>
                      <a:gd name="T146" fmla="*/ 1173 w 1173"/>
                      <a:gd name="T147" fmla="*/ 264 h 264"/>
                    </a:gdLst>
                    <a:ahLst/>
                    <a:cxnLst>
                      <a:cxn ang="T96">
                        <a:pos x="T0" y="T1"/>
                      </a:cxn>
                      <a:cxn ang="T97">
                        <a:pos x="T2" y="T3"/>
                      </a:cxn>
                      <a:cxn ang="T98">
                        <a:pos x="T4" y="T5"/>
                      </a:cxn>
                      <a:cxn ang="T99">
                        <a:pos x="T6" y="T7"/>
                      </a:cxn>
                      <a:cxn ang="T100">
                        <a:pos x="T8" y="T9"/>
                      </a:cxn>
                      <a:cxn ang="T101">
                        <a:pos x="T10" y="T11"/>
                      </a:cxn>
                      <a:cxn ang="T102">
                        <a:pos x="T12" y="T13"/>
                      </a:cxn>
                      <a:cxn ang="T103">
                        <a:pos x="T14" y="T15"/>
                      </a:cxn>
                      <a:cxn ang="T104">
                        <a:pos x="T16" y="T17"/>
                      </a:cxn>
                      <a:cxn ang="T105">
                        <a:pos x="T18" y="T19"/>
                      </a:cxn>
                      <a:cxn ang="T106">
                        <a:pos x="T20" y="T21"/>
                      </a:cxn>
                      <a:cxn ang="T107">
                        <a:pos x="T22" y="T23"/>
                      </a:cxn>
                      <a:cxn ang="T108">
                        <a:pos x="T24" y="T25"/>
                      </a:cxn>
                      <a:cxn ang="T109">
                        <a:pos x="T26" y="T27"/>
                      </a:cxn>
                      <a:cxn ang="T110">
                        <a:pos x="T28" y="T29"/>
                      </a:cxn>
                      <a:cxn ang="T111">
                        <a:pos x="T30" y="T31"/>
                      </a:cxn>
                      <a:cxn ang="T112">
                        <a:pos x="T32" y="T33"/>
                      </a:cxn>
                      <a:cxn ang="T113">
                        <a:pos x="T34" y="T35"/>
                      </a:cxn>
                      <a:cxn ang="T114">
                        <a:pos x="T36" y="T37"/>
                      </a:cxn>
                      <a:cxn ang="T115">
                        <a:pos x="T38" y="T39"/>
                      </a:cxn>
                      <a:cxn ang="T116">
                        <a:pos x="T40" y="T41"/>
                      </a:cxn>
                      <a:cxn ang="T117">
                        <a:pos x="T42" y="T43"/>
                      </a:cxn>
                      <a:cxn ang="T118">
                        <a:pos x="T44" y="T45"/>
                      </a:cxn>
                      <a:cxn ang="T119">
                        <a:pos x="T46" y="T47"/>
                      </a:cxn>
                      <a:cxn ang="T120">
                        <a:pos x="T48" y="T49"/>
                      </a:cxn>
                      <a:cxn ang="T121">
                        <a:pos x="T50" y="T51"/>
                      </a:cxn>
                      <a:cxn ang="T122">
                        <a:pos x="T52" y="T53"/>
                      </a:cxn>
                      <a:cxn ang="T123">
                        <a:pos x="T54" y="T55"/>
                      </a:cxn>
                      <a:cxn ang="T124">
                        <a:pos x="T56" y="T57"/>
                      </a:cxn>
                      <a:cxn ang="T125">
                        <a:pos x="T58" y="T59"/>
                      </a:cxn>
                      <a:cxn ang="T126">
                        <a:pos x="T60" y="T61"/>
                      </a:cxn>
                      <a:cxn ang="T127">
                        <a:pos x="T62" y="T63"/>
                      </a:cxn>
                      <a:cxn ang="T128">
                        <a:pos x="T64" y="T65"/>
                      </a:cxn>
                      <a:cxn ang="T129">
                        <a:pos x="T66" y="T67"/>
                      </a:cxn>
                      <a:cxn ang="T130">
                        <a:pos x="T68" y="T69"/>
                      </a:cxn>
                      <a:cxn ang="T131">
                        <a:pos x="T70" y="T71"/>
                      </a:cxn>
                      <a:cxn ang="T132">
                        <a:pos x="T72" y="T73"/>
                      </a:cxn>
                      <a:cxn ang="T133">
                        <a:pos x="T74" y="T75"/>
                      </a:cxn>
                      <a:cxn ang="T134">
                        <a:pos x="T76" y="T77"/>
                      </a:cxn>
                      <a:cxn ang="T135">
                        <a:pos x="T78" y="T79"/>
                      </a:cxn>
                      <a:cxn ang="T136">
                        <a:pos x="T80" y="T81"/>
                      </a:cxn>
                      <a:cxn ang="T137">
                        <a:pos x="T82" y="T83"/>
                      </a:cxn>
                      <a:cxn ang="T138">
                        <a:pos x="T84" y="T85"/>
                      </a:cxn>
                      <a:cxn ang="T139">
                        <a:pos x="T86" y="T87"/>
                      </a:cxn>
                      <a:cxn ang="T140">
                        <a:pos x="T88" y="T89"/>
                      </a:cxn>
                      <a:cxn ang="T141">
                        <a:pos x="T90" y="T91"/>
                      </a:cxn>
                      <a:cxn ang="T142">
                        <a:pos x="T92" y="T93"/>
                      </a:cxn>
                      <a:cxn ang="T143">
                        <a:pos x="T94" y="T95"/>
                      </a:cxn>
                    </a:cxnLst>
                    <a:rect l="T144" t="T145" r="T146" b="T147"/>
                    <a:pathLst>
                      <a:path w="1173" h="264">
                        <a:moveTo>
                          <a:pt x="586" y="142"/>
                        </a:moveTo>
                        <a:lnTo>
                          <a:pt x="525" y="142"/>
                        </a:lnTo>
                        <a:lnTo>
                          <a:pt x="467" y="139"/>
                        </a:lnTo>
                        <a:lnTo>
                          <a:pt x="414" y="137"/>
                        </a:lnTo>
                        <a:lnTo>
                          <a:pt x="364" y="133"/>
                        </a:lnTo>
                        <a:lnTo>
                          <a:pt x="316" y="128"/>
                        </a:lnTo>
                        <a:lnTo>
                          <a:pt x="274" y="123"/>
                        </a:lnTo>
                        <a:lnTo>
                          <a:pt x="234" y="116"/>
                        </a:lnTo>
                        <a:lnTo>
                          <a:pt x="197" y="108"/>
                        </a:lnTo>
                        <a:lnTo>
                          <a:pt x="162" y="100"/>
                        </a:lnTo>
                        <a:lnTo>
                          <a:pt x="131" y="90"/>
                        </a:lnTo>
                        <a:lnTo>
                          <a:pt x="103" y="80"/>
                        </a:lnTo>
                        <a:lnTo>
                          <a:pt x="78" y="70"/>
                        </a:lnTo>
                        <a:lnTo>
                          <a:pt x="54" y="58"/>
                        </a:lnTo>
                        <a:lnTo>
                          <a:pt x="34" y="46"/>
                        </a:lnTo>
                        <a:lnTo>
                          <a:pt x="15" y="33"/>
                        </a:lnTo>
                        <a:lnTo>
                          <a:pt x="0" y="19"/>
                        </a:lnTo>
                        <a:lnTo>
                          <a:pt x="2" y="33"/>
                        </a:lnTo>
                        <a:lnTo>
                          <a:pt x="5" y="46"/>
                        </a:lnTo>
                        <a:lnTo>
                          <a:pt x="10" y="58"/>
                        </a:lnTo>
                        <a:lnTo>
                          <a:pt x="14" y="70"/>
                        </a:lnTo>
                        <a:lnTo>
                          <a:pt x="20" y="83"/>
                        </a:lnTo>
                        <a:lnTo>
                          <a:pt x="25" y="95"/>
                        </a:lnTo>
                        <a:lnTo>
                          <a:pt x="32" y="106"/>
                        </a:lnTo>
                        <a:lnTo>
                          <a:pt x="40" y="117"/>
                        </a:lnTo>
                        <a:lnTo>
                          <a:pt x="48" y="128"/>
                        </a:lnTo>
                        <a:lnTo>
                          <a:pt x="58" y="139"/>
                        </a:lnTo>
                        <a:lnTo>
                          <a:pt x="68" y="149"/>
                        </a:lnTo>
                        <a:lnTo>
                          <a:pt x="79" y="159"/>
                        </a:lnTo>
                        <a:lnTo>
                          <a:pt x="91" y="169"/>
                        </a:lnTo>
                        <a:lnTo>
                          <a:pt x="106" y="178"/>
                        </a:lnTo>
                        <a:lnTo>
                          <a:pt x="120" y="187"/>
                        </a:lnTo>
                        <a:lnTo>
                          <a:pt x="136" y="195"/>
                        </a:lnTo>
                        <a:lnTo>
                          <a:pt x="152" y="203"/>
                        </a:lnTo>
                        <a:lnTo>
                          <a:pt x="171" y="211"/>
                        </a:lnTo>
                        <a:lnTo>
                          <a:pt x="190" y="218"/>
                        </a:lnTo>
                        <a:lnTo>
                          <a:pt x="211" y="224"/>
                        </a:lnTo>
                        <a:lnTo>
                          <a:pt x="234" y="231"/>
                        </a:lnTo>
                        <a:lnTo>
                          <a:pt x="258" y="236"/>
                        </a:lnTo>
                        <a:lnTo>
                          <a:pt x="284" y="242"/>
                        </a:lnTo>
                        <a:lnTo>
                          <a:pt x="310" y="246"/>
                        </a:lnTo>
                        <a:lnTo>
                          <a:pt x="338" y="251"/>
                        </a:lnTo>
                        <a:lnTo>
                          <a:pt x="368" y="254"/>
                        </a:lnTo>
                        <a:lnTo>
                          <a:pt x="400" y="257"/>
                        </a:lnTo>
                        <a:lnTo>
                          <a:pt x="434" y="260"/>
                        </a:lnTo>
                        <a:lnTo>
                          <a:pt x="469" y="262"/>
                        </a:lnTo>
                        <a:lnTo>
                          <a:pt x="506" y="263"/>
                        </a:lnTo>
                        <a:lnTo>
                          <a:pt x="545" y="264"/>
                        </a:lnTo>
                        <a:lnTo>
                          <a:pt x="586" y="264"/>
                        </a:lnTo>
                        <a:lnTo>
                          <a:pt x="625" y="264"/>
                        </a:lnTo>
                        <a:lnTo>
                          <a:pt x="662" y="263"/>
                        </a:lnTo>
                        <a:lnTo>
                          <a:pt x="698" y="262"/>
                        </a:lnTo>
                        <a:lnTo>
                          <a:pt x="731" y="260"/>
                        </a:lnTo>
                        <a:lnTo>
                          <a:pt x="763" y="256"/>
                        </a:lnTo>
                        <a:lnTo>
                          <a:pt x="793" y="253"/>
                        </a:lnTo>
                        <a:lnTo>
                          <a:pt x="823" y="250"/>
                        </a:lnTo>
                        <a:lnTo>
                          <a:pt x="851" y="245"/>
                        </a:lnTo>
                        <a:lnTo>
                          <a:pt x="877" y="240"/>
                        </a:lnTo>
                        <a:lnTo>
                          <a:pt x="902" y="234"/>
                        </a:lnTo>
                        <a:lnTo>
                          <a:pt x="926" y="227"/>
                        </a:lnTo>
                        <a:lnTo>
                          <a:pt x="948" y="221"/>
                        </a:lnTo>
                        <a:lnTo>
                          <a:pt x="969" y="214"/>
                        </a:lnTo>
                        <a:lnTo>
                          <a:pt x="988" y="206"/>
                        </a:lnTo>
                        <a:lnTo>
                          <a:pt x="1007" y="198"/>
                        </a:lnTo>
                        <a:lnTo>
                          <a:pt x="1025" y="189"/>
                        </a:lnTo>
                        <a:lnTo>
                          <a:pt x="1040" y="181"/>
                        </a:lnTo>
                        <a:lnTo>
                          <a:pt x="1056" y="172"/>
                        </a:lnTo>
                        <a:lnTo>
                          <a:pt x="1070" y="162"/>
                        </a:lnTo>
                        <a:lnTo>
                          <a:pt x="1083" y="150"/>
                        </a:lnTo>
                        <a:lnTo>
                          <a:pt x="1095" y="140"/>
                        </a:lnTo>
                        <a:lnTo>
                          <a:pt x="1106" y="129"/>
                        </a:lnTo>
                        <a:lnTo>
                          <a:pt x="1116" y="118"/>
                        </a:lnTo>
                        <a:lnTo>
                          <a:pt x="1126" y="106"/>
                        </a:lnTo>
                        <a:lnTo>
                          <a:pt x="1134" y="94"/>
                        </a:lnTo>
                        <a:lnTo>
                          <a:pt x="1142" y="81"/>
                        </a:lnTo>
                        <a:lnTo>
                          <a:pt x="1148" y="68"/>
                        </a:lnTo>
                        <a:lnTo>
                          <a:pt x="1155" y="56"/>
                        </a:lnTo>
                        <a:lnTo>
                          <a:pt x="1161" y="43"/>
                        </a:lnTo>
                        <a:lnTo>
                          <a:pt x="1165" y="28"/>
                        </a:lnTo>
                        <a:lnTo>
                          <a:pt x="1170" y="15"/>
                        </a:lnTo>
                        <a:lnTo>
                          <a:pt x="1173" y="0"/>
                        </a:lnTo>
                        <a:lnTo>
                          <a:pt x="1156" y="16"/>
                        </a:lnTo>
                        <a:lnTo>
                          <a:pt x="1136" y="31"/>
                        </a:lnTo>
                        <a:lnTo>
                          <a:pt x="1115" y="45"/>
                        </a:lnTo>
                        <a:lnTo>
                          <a:pt x="1092" y="58"/>
                        </a:lnTo>
                        <a:lnTo>
                          <a:pt x="1066" y="71"/>
                        </a:lnTo>
                        <a:lnTo>
                          <a:pt x="1037" y="83"/>
                        </a:lnTo>
                        <a:lnTo>
                          <a:pt x="1006" y="94"/>
                        </a:lnTo>
                        <a:lnTo>
                          <a:pt x="971" y="103"/>
                        </a:lnTo>
                        <a:lnTo>
                          <a:pt x="935" y="112"/>
                        </a:lnTo>
                        <a:lnTo>
                          <a:pt x="895" y="119"/>
                        </a:lnTo>
                        <a:lnTo>
                          <a:pt x="851" y="126"/>
                        </a:lnTo>
                        <a:lnTo>
                          <a:pt x="806" y="132"/>
                        </a:lnTo>
                        <a:lnTo>
                          <a:pt x="757" y="136"/>
                        </a:lnTo>
                        <a:lnTo>
                          <a:pt x="703" y="139"/>
                        </a:lnTo>
                        <a:lnTo>
                          <a:pt x="646" y="140"/>
                        </a:lnTo>
                        <a:lnTo>
                          <a:pt x="586" y="142"/>
                        </a:lnTo>
                        <a:close/>
                      </a:path>
                    </a:pathLst>
                  </a:custGeom>
                  <a:solidFill>
                    <a:srgbClr val="1F1A17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26" name="Freeform 175"/>
                  <p:cNvSpPr>
                    <a:spLocks/>
                  </p:cNvSpPr>
                  <p:nvPr/>
                </p:nvSpPr>
                <p:spPr bwMode="auto">
                  <a:xfrm>
                    <a:off x="3437" y="3975"/>
                    <a:ext cx="138" cy="177"/>
                  </a:xfrm>
                  <a:custGeom>
                    <a:avLst/>
                    <a:gdLst>
                      <a:gd name="T0" fmla="*/ 0 w 955"/>
                      <a:gd name="T1" fmla="*/ 0 h 1249"/>
                      <a:gd name="T2" fmla="*/ 0 w 955"/>
                      <a:gd name="T3" fmla="*/ 0 h 1249"/>
                      <a:gd name="T4" fmla="*/ 0 w 955"/>
                      <a:gd name="T5" fmla="*/ 0 h 1249"/>
                      <a:gd name="T6" fmla="*/ 0 w 955"/>
                      <a:gd name="T7" fmla="*/ 0 h 1249"/>
                      <a:gd name="T8" fmla="*/ 0 w 955"/>
                      <a:gd name="T9" fmla="*/ 0 h 1249"/>
                      <a:gd name="T10" fmla="*/ 0 w 955"/>
                      <a:gd name="T11" fmla="*/ 0 h 1249"/>
                      <a:gd name="T12" fmla="*/ 0 w 955"/>
                      <a:gd name="T13" fmla="*/ 0 h 1249"/>
                      <a:gd name="T14" fmla="*/ 0 w 955"/>
                      <a:gd name="T15" fmla="*/ 0 h 1249"/>
                      <a:gd name="T16" fmla="*/ 0 w 955"/>
                      <a:gd name="T17" fmla="*/ 0 h 1249"/>
                      <a:gd name="T18" fmla="*/ 0 w 955"/>
                      <a:gd name="T19" fmla="*/ 0 h 1249"/>
                      <a:gd name="T20" fmla="*/ 0 w 955"/>
                      <a:gd name="T21" fmla="*/ 0 h 1249"/>
                      <a:gd name="T22" fmla="*/ 0 w 955"/>
                      <a:gd name="T23" fmla="*/ 0 h 1249"/>
                      <a:gd name="T24" fmla="*/ 0 w 955"/>
                      <a:gd name="T25" fmla="*/ 0 h 1249"/>
                      <a:gd name="T26" fmla="*/ 0 w 955"/>
                      <a:gd name="T27" fmla="*/ 0 h 1249"/>
                      <a:gd name="T28" fmla="*/ 0 w 955"/>
                      <a:gd name="T29" fmla="*/ 0 h 1249"/>
                      <a:gd name="T30" fmla="*/ 0 w 955"/>
                      <a:gd name="T31" fmla="*/ 0 h 1249"/>
                      <a:gd name="T32" fmla="*/ 0 w 955"/>
                      <a:gd name="T33" fmla="*/ 0 h 1249"/>
                      <a:gd name="T34" fmla="*/ 0 w 955"/>
                      <a:gd name="T35" fmla="*/ 0 h 1249"/>
                      <a:gd name="T36" fmla="*/ 0 w 955"/>
                      <a:gd name="T37" fmla="*/ 0 h 1249"/>
                      <a:gd name="T38" fmla="*/ 0 w 955"/>
                      <a:gd name="T39" fmla="*/ 0 h 1249"/>
                      <a:gd name="T40" fmla="*/ 0 w 955"/>
                      <a:gd name="T41" fmla="*/ 0 h 1249"/>
                      <a:gd name="T42" fmla="*/ 0 w 955"/>
                      <a:gd name="T43" fmla="*/ 0 h 1249"/>
                      <a:gd name="T44" fmla="*/ 0 w 955"/>
                      <a:gd name="T45" fmla="*/ 0 h 1249"/>
                      <a:gd name="T46" fmla="*/ 0 w 955"/>
                      <a:gd name="T47" fmla="*/ 0 h 1249"/>
                      <a:gd name="T48" fmla="*/ 0 w 955"/>
                      <a:gd name="T49" fmla="*/ 0 h 1249"/>
                      <a:gd name="T50" fmla="*/ 0 w 955"/>
                      <a:gd name="T51" fmla="*/ 0 h 1249"/>
                      <a:gd name="T52" fmla="*/ 0 w 955"/>
                      <a:gd name="T53" fmla="*/ 0 h 1249"/>
                      <a:gd name="T54" fmla="*/ 0 w 955"/>
                      <a:gd name="T55" fmla="*/ 0 h 1249"/>
                      <a:gd name="T56" fmla="*/ 0 w 955"/>
                      <a:gd name="T57" fmla="*/ 0 h 1249"/>
                      <a:gd name="T58" fmla="*/ 0 w 955"/>
                      <a:gd name="T59" fmla="*/ 0 h 1249"/>
                      <a:gd name="T60" fmla="*/ 0 w 955"/>
                      <a:gd name="T61" fmla="*/ 0 h 1249"/>
                      <a:gd name="T62" fmla="*/ 0 w 955"/>
                      <a:gd name="T63" fmla="*/ 0 h 1249"/>
                      <a:gd name="T64" fmla="*/ 0 w 955"/>
                      <a:gd name="T65" fmla="*/ 0 h 1249"/>
                      <a:gd name="T66" fmla="*/ 0 w 955"/>
                      <a:gd name="T67" fmla="*/ 0 h 1249"/>
                      <a:gd name="T68" fmla="*/ 0 w 955"/>
                      <a:gd name="T69" fmla="*/ 0 h 1249"/>
                      <a:gd name="T70" fmla="*/ 0 w 955"/>
                      <a:gd name="T71" fmla="*/ 0 h 1249"/>
                      <a:gd name="T72" fmla="*/ 0 w 955"/>
                      <a:gd name="T73" fmla="*/ 0 h 1249"/>
                      <a:gd name="T74" fmla="*/ 0 w 955"/>
                      <a:gd name="T75" fmla="*/ 0 h 1249"/>
                      <a:gd name="T76" fmla="*/ 0 w 955"/>
                      <a:gd name="T77" fmla="*/ 0 h 1249"/>
                      <a:gd name="T78" fmla="*/ 0 w 955"/>
                      <a:gd name="T79" fmla="*/ 0 h 1249"/>
                      <a:gd name="T80" fmla="*/ 0 w 955"/>
                      <a:gd name="T81" fmla="*/ 0 h 1249"/>
                      <a:gd name="T82" fmla="*/ 0 w 955"/>
                      <a:gd name="T83" fmla="*/ 0 h 1249"/>
                      <a:gd name="T84" fmla="*/ 0 w 955"/>
                      <a:gd name="T85" fmla="*/ 0 h 1249"/>
                      <a:gd name="T86" fmla="*/ 0 w 955"/>
                      <a:gd name="T87" fmla="*/ 0 h 1249"/>
                      <a:gd name="T88" fmla="*/ 0 w 955"/>
                      <a:gd name="T89" fmla="*/ 0 h 1249"/>
                      <a:gd name="T90" fmla="*/ 0 w 955"/>
                      <a:gd name="T91" fmla="*/ 0 h 1249"/>
                      <a:gd name="T92" fmla="*/ 0 w 955"/>
                      <a:gd name="T93" fmla="*/ 0 h 1249"/>
                      <a:gd name="T94" fmla="*/ 0 w 955"/>
                      <a:gd name="T95" fmla="*/ 0 h 1249"/>
                      <a:gd name="T96" fmla="*/ 0 w 955"/>
                      <a:gd name="T97" fmla="*/ 0 h 1249"/>
                      <a:gd name="T98" fmla="*/ 0 w 955"/>
                      <a:gd name="T99" fmla="*/ 0 h 1249"/>
                      <a:gd name="T100" fmla="*/ 0 w 955"/>
                      <a:gd name="T101" fmla="*/ 0 h 1249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w 955"/>
                      <a:gd name="T154" fmla="*/ 0 h 1249"/>
                      <a:gd name="T155" fmla="*/ 955 w 955"/>
                      <a:gd name="T156" fmla="*/ 1249 h 1249"/>
                    </a:gdLst>
                    <a:ahLst/>
                    <a:cxnLst>
                      <a:cxn ang="T102">
                        <a:pos x="T0" y="T1"/>
                      </a:cxn>
                      <a:cxn ang="T103">
                        <a:pos x="T2" y="T3"/>
                      </a:cxn>
                      <a:cxn ang="T104">
                        <a:pos x="T4" y="T5"/>
                      </a:cxn>
                      <a:cxn ang="T105">
                        <a:pos x="T6" y="T7"/>
                      </a:cxn>
                      <a:cxn ang="T106">
                        <a:pos x="T8" y="T9"/>
                      </a:cxn>
                      <a:cxn ang="T107">
                        <a:pos x="T10" y="T11"/>
                      </a:cxn>
                      <a:cxn ang="T108">
                        <a:pos x="T12" y="T13"/>
                      </a:cxn>
                      <a:cxn ang="T109">
                        <a:pos x="T14" y="T15"/>
                      </a:cxn>
                      <a:cxn ang="T110">
                        <a:pos x="T16" y="T17"/>
                      </a:cxn>
                      <a:cxn ang="T111">
                        <a:pos x="T18" y="T19"/>
                      </a:cxn>
                      <a:cxn ang="T112">
                        <a:pos x="T20" y="T21"/>
                      </a:cxn>
                      <a:cxn ang="T113">
                        <a:pos x="T22" y="T23"/>
                      </a:cxn>
                      <a:cxn ang="T114">
                        <a:pos x="T24" y="T25"/>
                      </a:cxn>
                      <a:cxn ang="T115">
                        <a:pos x="T26" y="T27"/>
                      </a:cxn>
                      <a:cxn ang="T116">
                        <a:pos x="T28" y="T29"/>
                      </a:cxn>
                      <a:cxn ang="T117">
                        <a:pos x="T30" y="T31"/>
                      </a:cxn>
                      <a:cxn ang="T118">
                        <a:pos x="T32" y="T33"/>
                      </a:cxn>
                      <a:cxn ang="T119">
                        <a:pos x="T34" y="T35"/>
                      </a:cxn>
                      <a:cxn ang="T120">
                        <a:pos x="T36" y="T37"/>
                      </a:cxn>
                      <a:cxn ang="T121">
                        <a:pos x="T38" y="T39"/>
                      </a:cxn>
                      <a:cxn ang="T122">
                        <a:pos x="T40" y="T41"/>
                      </a:cxn>
                      <a:cxn ang="T123">
                        <a:pos x="T42" y="T43"/>
                      </a:cxn>
                      <a:cxn ang="T124">
                        <a:pos x="T44" y="T45"/>
                      </a:cxn>
                      <a:cxn ang="T125">
                        <a:pos x="T46" y="T47"/>
                      </a:cxn>
                      <a:cxn ang="T126">
                        <a:pos x="T48" y="T49"/>
                      </a:cxn>
                      <a:cxn ang="T127">
                        <a:pos x="T50" y="T51"/>
                      </a:cxn>
                      <a:cxn ang="T128">
                        <a:pos x="T52" y="T53"/>
                      </a:cxn>
                      <a:cxn ang="T129">
                        <a:pos x="T54" y="T55"/>
                      </a:cxn>
                      <a:cxn ang="T130">
                        <a:pos x="T56" y="T57"/>
                      </a:cxn>
                      <a:cxn ang="T131">
                        <a:pos x="T58" y="T59"/>
                      </a:cxn>
                      <a:cxn ang="T132">
                        <a:pos x="T60" y="T61"/>
                      </a:cxn>
                      <a:cxn ang="T133">
                        <a:pos x="T62" y="T63"/>
                      </a:cxn>
                      <a:cxn ang="T134">
                        <a:pos x="T64" y="T65"/>
                      </a:cxn>
                      <a:cxn ang="T135">
                        <a:pos x="T66" y="T67"/>
                      </a:cxn>
                      <a:cxn ang="T136">
                        <a:pos x="T68" y="T69"/>
                      </a:cxn>
                      <a:cxn ang="T137">
                        <a:pos x="T70" y="T71"/>
                      </a:cxn>
                      <a:cxn ang="T138">
                        <a:pos x="T72" y="T73"/>
                      </a:cxn>
                      <a:cxn ang="T139">
                        <a:pos x="T74" y="T75"/>
                      </a:cxn>
                      <a:cxn ang="T140">
                        <a:pos x="T76" y="T77"/>
                      </a:cxn>
                      <a:cxn ang="T141">
                        <a:pos x="T78" y="T79"/>
                      </a:cxn>
                      <a:cxn ang="T142">
                        <a:pos x="T80" y="T81"/>
                      </a:cxn>
                      <a:cxn ang="T143">
                        <a:pos x="T82" y="T83"/>
                      </a:cxn>
                      <a:cxn ang="T144">
                        <a:pos x="T84" y="T85"/>
                      </a:cxn>
                      <a:cxn ang="T145">
                        <a:pos x="T86" y="T87"/>
                      </a:cxn>
                      <a:cxn ang="T146">
                        <a:pos x="T88" y="T89"/>
                      </a:cxn>
                      <a:cxn ang="T147">
                        <a:pos x="T90" y="T91"/>
                      </a:cxn>
                      <a:cxn ang="T148">
                        <a:pos x="T92" y="T93"/>
                      </a:cxn>
                      <a:cxn ang="T149">
                        <a:pos x="T94" y="T95"/>
                      </a:cxn>
                      <a:cxn ang="T150">
                        <a:pos x="T96" y="T97"/>
                      </a:cxn>
                      <a:cxn ang="T151">
                        <a:pos x="T98" y="T99"/>
                      </a:cxn>
                      <a:cxn ang="T152">
                        <a:pos x="T100" y="T101"/>
                      </a:cxn>
                    </a:cxnLst>
                    <a:rect l="T153" t="T154" r="T155" b="T156"/>
                    <a:pathLst>
                      <a:path w="955" h="1249">
                        <a:moveTo>
                          <a:pt x="1" y="531"/>
                        </a:moveTo>
                        <a:lnTo>
                          <a:pt x="0" y="463"/>
                        </a:lnTo>
                        <a:lnTo>
                          <a:pt x="3" y="401"/>
                        </a:lnTo>
                        <a:lnTo>
                          <a:pt x="12" y="344"/>
                        </a:lnTo>
                        <a:lnTo>
                          <a:pt x="25" y="292"/>
                        </a:lnTo>
                        <a:lnTo>
                          <a:pt x="43" y="245"/>
                        </a:lnTo>
                        <a:lnTo>
                          <a:pt x="66" y="202"/>
                        </a:lnTo>
                        <a:lnTo>
                          <a:pt x="91" y="164"/>
                        </a:lnTo>
                        <a:lnTo>
                          <a:pt x="120" y="130"/>
                        </a:lnTo>
                        <a:lnTo>
                          <a:pt x="152" y="100"/>
                        </a:lnTo>
                        <a:lnTo>
                          <a:pt x="187" y="75"/>
                        </a:lnTo>
                        <a:lnTo>
                          <a:pt x="224" y="54"/>
                        </a:lnTo>
                        <a:lnTo>
                          <a:pt x="263" y="36"/>
                        </a:lnTo>
                        <a:lnTo>
                          <a:pt x="303" y="23"/>
                        </a:lnTo>
                        <a:lnTo>
                          <a:pt x="345" y="11"/>
                        </a:lnTo>
                        <a:lnTo>
                          <a:pt x="387" y="5"/>
                        </a:lnTo>
                        <a:lnTo>
                          <a:pt x="431" y="0"/>
                        </a:lnTo>
                        <a:lnTo>
                          <a:pt x="474" y="0"/>
                        </a:lnTo>
                        <a:lnTo>
                          <a:pt x="517" y="2"/>
                        </a:lnTo>
                        <a:lnTo>
                          <a:pt x="560" y="7"/>
                        </a:lnTo>
                        <a:lnTo>
                          <a:pt x="602" y="15"/>
                        </a:lnTo>
                        <a:lnTo>
                          <a:pt x="643" y="25"/>
                        </a:lnTo>
                        <a:lnTo>
                          <a:pt x="683" y="37"/>
                        </a:lnTo>
                        <a:lnTo>
                          <a:pt x="720" y="53"/>
                        </a:lnTo>
                        <a:lnTo>
                          <a:pt x="756" y="69"/>
                        </a:lnTo>
                        <a:lnTo>
                          <a:pt x="789" y="88"/>
                        </a:lnTo>
                        <a:lnTo>
                          <a:pt x="819" y="109"/>
                        </a:lnTo>
                        <a:lnTo>
                          <a:pt x="846" y="132"/>
                        </a:lnTo>
                        <a:lnTo>
                          <a:pt x="869" y="155"/>
                        </a:lnTo>
                        <a:lnTo>
                          <a:pt x="888" y="181"/>
                        </a:lnTo>
                        <a:lnTo>
                          <a:pt x="904" y="207"/>
                        </a:lnTo>
                        <a:lnTo>
                          <a:pt x="914" y="235"/>
                        </a:lnTo>
                        <a:lnTo>
                          <a:pt x="919" y="264"/>
                        </a:lnTo>
                        <a:lnTo>
                          <a:pt x="929" y="352"/>
                        </a:lnTo>
                        <a:lnTo>
                          <a:pt x="940" y="448"/>
                        </a:lnTo>
                        <a:lnTo>
                          <a:pt x="945" y="497"/>
                        </a:lnTo>
                        <a:lnTo>
                          <a:pt x="949" y="547"/>
                        </a:lnTo>
                        <a:lnTo>
                          <a:pt x="953" y="596"/>
                        </a:lnTo>
                        <a:lnTo>
                          <a:pt x="954" y="645"/>
                        </a:lnTo>
                        <a:lnTo>
                          <a:pt x="955" y="692"/>
                        </a:lnTo>
                        <a:lnTo>
                          <a:pt x="953" y="738"/>
                        </a:lnTo>
                        <a:lnTo>
                          <a:pt x="951" y="760"/>
                        </a:lnTo>
                        <a:lnTo>
                          <a:pt x="949" y="781"/>
                        </a:lnTo>
                        <a:lnTo>
                          <a:pt x="946" y="803"/>
                        </a:lnTo>
                        <a:lnTo>
                          <a:pt x="943" y="823"/>
                        </a:lnTo>
                        <a:lnTo>
                          <a:pt x="939" y="843"/>
                        </a:lnTo>
                        <a:lnTo>
                          <a:pt x="934" y="860"/>
                        </a:lnTo>
                        <a:lnTo>
                          <a:pt x="928" y="878"/>
                        </a:lnTo>
                        <a:lnTo>
                          <a:pt x="923" y="895"/>
                        </a:lnTo>
                        <a:lnTo>
                          <a:pt x="915" y="911"/>
                        </a:lnTo>
                        <a:lnTo>
                          <a:pt x="907" y="926"/>
                        </a:lnTo>
                        <a:lnTo>
                          <a:pt x="898" y="939"/>
                        </a:lnTo>
                        <a:lnTo>
                          <a:pt x="888" y="952"/>
                        </a:lnTo>
                        <a:lnTo>
                          <a:pt x="877" y="963"/>
                        </a:lnTo>
                        <a:lnTo>
                          <a:pt x="864" y="975"/>
                        </a:lnTo>
                        <a:lnTo>
                          <a:pt x="850" y="987"/>
                        </a:lnTo>
                        <a:lnTo>
                          <a:pt x="835" y="1001"/>
                        </a:lnTo>
                        <a:lnTo>
                          <a:pt x="801" y="1026"/>
                        </a:lnTo>
                        <a:lnTo>
                          <a:pt x="764" y="1052"/>
                        </a:lnTo>
                        <a:lnTo>
                          <a:pt x="723" y="1079"/>
                        </a:lnTo>
                        <a:lnTo>
                          <a:pt x="680" y="1104"/>
                        </a:lnTo>
                        <a:lnTo>
                          <a:pt x="634" y="1129"/>
                        </a:lnTo>
                        <a:lnTo>
                          <a:pt x="586" y="1152"/>
                        </a:lnTo>
                        <a:lnTo>
                          <a:pt x="539" y="1174"/>
                        </a:lnTo>
                        <a:lnTo>
                          <a:pt x="490" y="1194"/>
                        </a:lnTo>
                        <a:lnTo>
                          <a:pt x="464" y="1203"/>
                        </a:lnTo>
                        <a:lnTo>
                          <a:pt x="441" y="1212"/>
                        </a:lnTo>
                        <a:lnTo>
                          <a:pt x="416" y="1220"/>
                        </a:lnTo>
                        <a:lnTo>
                          <a:pt x="392" y="1227"/>
                        </a:lnTo>
                        <a:lnTo>
                          <a:pt x="368" y="1232"/>
                        </a:lnTo>
                        <a:lnTo>
                          <a:pt x="345" y="1238"/>
                        </a:lnTo>
                        <a:lnTo>
                          <a:pt x="322" y="1242"/>
                        </a:lnTo>
                        <a:lnTo>
                          <a:pt x="299" y="1246"/>
                        </a:lnTo>
                        <a:lnTo>
                          <a:pt x="278" y="1248"/>
                        </a:lnTo>
                        <a:lnTo>
                          <a:pt x="257" y="1249"/>
                        </a:lnTo>
                        <a:lnTo>
                          <a:pt x="237" y="1249"/>
                        </a:lnTo>
                        <a:lnTo>
                          <a:pt x="217" y="1248"/>
                        </a:lnTo>
                        <a:lnTo>
                          <a:pt x="192" y="1244"/>
                        </a:lnTo>
                        <a:lnTo>
                          <a:pt x="170" y="1239"/>
                        </a:lnTo>
                        <a:lnTo>
                          <a:pt x="149" y="1231"/>
                        </a:lnTo>
                        <a:lnTo>
                          <a:pt x="130" y="1221"/>
                        </a:lnTo>
                        <a:lnTo>
                          <a:pt x="112" y="1210"/>
                        </a:lnTo>
                        <a:lnTo>
                          <a:pt x="97" y="1197"/>
                        </a:lnTo>
                        <a:lnTo>
                          <a:pt x="83" y="1181"/>
                        </a:lnTo>
                        <a:lnTo>
                          <a:pt x="71" y="1164"/>
                        </a:lnTo>
                        <a:lnTo>
                          <a:pt x="60" y="1146"/>
                        </a:lnTo>
                        <a:lnTo>
                          <a:pt x="50" y="1126"/>
                        </a:lnTo>
                        <a:lnTo>
                          <a:pt x="41" y="1105"/>
                        </a:lnTo>
                        <a:lnTo>
                          <a:pt x="33" y="1083"/>
                        </a:lnTo>
                        <a:lnTo>
                          <a:pt x="27" y="1060"/>
                        </a:lnTo>
                        <a:lnTo>
                          <a:pt x="22" y="1035"/>
                        </a:lnTo>
                        <a:lnTo>
                          <a:pt x="17" y="1010"/>
                        </a:lnTo>
                        <a:lnTo>
                          <a:pt x="13" y="984"/>
                        </a:lnTo>
                        <a:lnTo>
                          <a:pt x="11" y="957"/>
                        </a:lnTo>
                        <a:lnTo>
                          <a:pt x="8" y="929"/>
                        </a:lnTo>
                        <a:lnTo>
                          <a:pt x="7" y="902"/>
                        </a:lnTo>
                        <a:lnTo>
                          <a:pt x="5" y="873"/>
                        </a:lnTo>
                        <a:lnTo>
                          <a:pt x="4" y="815"/>
                        </a:lnTo>
                        <a:lnTo>
                          <a:pt x="4" y="756"/>
                        </a:lnTo>
                        <a:lnTo>
                          <a:pt x="4" y="698"/>
                        </a:lnTo>
                        <a:lnTo>
                          <a:pt x="4" y="640"/>
                        </a:lnTo>
                        <a:lnTo>
                          <a:pt x="3" y="584"/>
                        </a:lnTo>
                        <a:lnTo>
                          <a:pt x="1" y="531"/>
                        </a:lnTo>
                        <a:close/>
                      </a:path>
                    </a:pathLst>
                  </a:custGeom>
                  <a:solidFill>
                    <a:srgbClr val="273669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27" name="Freeform 176"/>
                  <p:cNvSpPr>
                    <a:spLocks/>
                  </p:cNvSpPr>
                  <p:nvPr/>
                </p:nvSpPr>
                <p:spPr bwMode="auto">
                  <a:xfrm>
                    <a:off x="3437" y="3975"/>
                    <a:ext cx="74" cy="138"/>
                  </a:xfrm>
                  <a:custGeom>
                    <a:avLst/>
                    <a:gdLst>
                      <a:gd name="T0" fmla="*/ 0 w 502"/>
                      <a:gd name="T1" fmla="*/ 0 h 967"/>
                      <a:gd name="T2" fmla="*/ 0 w 502"/>
                      <a:gd name="T3" fmla="*/ 0 h 967"/>
                      <a:gd name="T4" fmla="*/ 0 w 502"/>
                      <a:gd name="T5" fmla="*/ 0 h 967"/>
                      <a:gd name="T6" fmla="*/ 0 w 502"/>
                      <a:gd name="T7" fmla="*/ 0 h 967"/>
                      <a:gd name="T8" fmla="*/ 0 w 502"/>
                      <a:gd name="T9" fmla="*/ 0 h 967"/>
                      <a:gd name="T10" fmla="*/ 0 w 502"/>
                      <a:gd name="T11" fmla="*/ 0 h 967"/>
                      <a:gd name="T12" fmla="*/ 0 w 502"/>
                      <a:gd name="T13" fmla="*/ 0 h 967"/>
                      <a:gd name="T14" fmla="*/ 0 w 502"/>
                      <a:gd name="T15" fmla="*/ 0 h 967"/>
                      <a:gd name="T16" fmla="*/ 0 w 502"/>
                      <a:gd name="T17" fmla="*/ 0 h 967"/>
                      <a:gd name="T18" fmla="*/ 0 w 502"/>
                      <a:gd name="T19" fmla="*/ 0 h 967"/>
                      <a:gd name="T20" fmla="*/ 0 w 502"/>
                      <a:gd name="T21" fmla="*/ 0 h 967"/>
                      <a:gd name="T22" fmla="*/ 0 w 502"/>
                      <a:gd name="T23" fmla="*/ 0 h 967"/>
                      <a:gd name="T24" fmla="*/ 0 w 502"/>
                      <a:gd name="T25" fmla="*/ 0 h 967"/>
                      <a:gd name="T26" fmla="*/ 0 w 502"/>
                      <a:gd name="T27" fmla="*/ 0 h 967"/>
                      <a:gd name="T28" fmla="*/ 0 w 502"/>
                      <a:gd name="T29" fmla="*/ 0 h 967"/>
                      <a:gd name="T30" fmla="*/ 0 w 502"/>
                      <a:gd name="T31" fmla="*/ 0 h 967"/>
                      <a:gd name="T32" fmla="*/ 0 w 502"/>
                      <a:gd name="T33" fmla="*/ 0 h 967"/>
                      <a:gd name="T34" fmla="*/ 0 w 502"/>
                      <a:gd name="T35" fmla="*/ 0 h 967"/>
                      <a:gd name="T36" fmla="*/ 0 w 502"/>
                      <a:gd name="T37" fmla="*/ 0 h 967"/>
                      <a:gd name="T38" fmla="*/ 0 w 502"/>
                      <a:gd name="T39" fmla="*/ 0 h 967"/>
                      <a:gd name="T40" fmla="*/ 0 w 502"/>
                      <a:gd name="T41" fmla="*/ 0 h 967"/>
                      <a:gd name="T42" fmla="*/ 0 w 502"/>
                      <a:gd name="T43" fmla="*/ 0 h 967"/>
                      <a:gd name="T44" fmla="*/ 0 w 502"/>
                      <a:gd name="T45" fmla="*/ 0 h 967"/>
                      <a:gd name="T46" fmla="*/ 0 w 502"/>
                      <a:gd name="T47" fmla="*/ 0 h 967"/>
                      <a:gd name="T48" fmla="*/ 0 w 502"/>
                      <a:gd name="T49" fmla="*/ 0 h 967"/>
                      <a:gd name="T50" fmla="*/ 0 w 502"/>
                      <a:gd name="T51" fmla="*/ 0 h 967"/>
                      <a:gd name="T52" fmla="*/ 0 w 502"/>
                      <a:gd name="T53" fmla="*/ 0 h 967"/>
                      <a:gd name="T54" fmla="*/ 0 w 502"/>
                      <a:gd name="T55" fmla="*/ 0 h 967"/>
                      <a:gd name="T56" fmla="*/ 0 w 502"/>
                      <a:gd name="T57" fmla="*/ 0 h 967"/>
                      <a:gd name="T58" fmla="*/ 0 w 502"/>
                      <a:gd name="T59" fmla="*/ 0 h 967"/>
                      <a:gd name="T60" fmla="*/ 0 w 502"/>
                      <a:gd name="T61" fmla="*/ 0 h 967"/>
                      <a:gd name="T62" fmla="*/ 0 w 502"/>
                      <a:gd name="T63" fmla="*/ 0 h 967"/>
                      <a:gd name="T64" fmla="*/ 0 w 502"/>
                      <a:gd name="T65" fmla="*/ 0 h 967"/>
                      <a:gd name="T66" fmla="*/ 0 w 502"/>
                      <a:gd name="T67" fmla="*/ 0 h 967"/>
                      <a:gd name="T68" fmla="*/ 0 w 502"/>
                      <a:gd name="T69" fmla="*/ 0 h 967"/>
                      <a:gd name="T70" fmla="*/ 0 w 502"/>
                      <a:gd name="T71" fmla="*/ 0 h 967"/>
                      <a:gd name="T72" fmla="*/ 0 w 502"/>
                      <a:gd name="T73" fmla="*/ 0 h 967"/>
                      <a:gd name="T74" fmla="*/ 0 w 502"/>
                      <a:gd name="T75" fmla="*/ 0 h 967"/>
                      <a:gd name="T76" fmla="*/ 0 w 502"/>
                      <a:gd name="T77" fmla="*/ 0 h 967"/>
                      <a:gd name="T78" fmla="*/ 0 w 502"/>
                      <a:gd name="T79" fmla="*/ 0 h 967"/>
                      <a:gd name="T80" fmla="*/ 0 w 502"/>
                      <a:gd name="T81" fmla="*/ 0 h 967"/>
                      <a:gd name="T82" fmla="*/ 0 w 502"/>
                      <a:gd name="T83" fmla="*/ 0 h 967"/>
                      <a:gd name="T84" fmla="*/ 0 w 502"/>
                      <a:gd name="T85" fmla="*/ 0 h 96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502"/>
                      <a:gd name="T130" fmla="*/ 0 h 967"/>
                      <a:gd name="T131" fmla="*/ 502 w 502"/>
                      <a:gd name="T132" fmla="*/ 967 h 96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502" h="967">
                        <a:moveTo>
                          <a:pt x="2" y="379"/>
                        </a:moveTo>
                        <a:lnTo>
                          <a:pt x="5" y="358"/>
                        </a:lnTo>
                        <a:lnTo>
                          <a:pt x="10" y="337"/>
                        </a:lnTo>
                        <a:lnTo>
                          <a:pt x="16" y="315"/>
                        </a:lnTo>
                        <a:lnTo>
                          <a:pt x="23" y="291"/>
                        </a:lnTo>
                        <a:lnTo>
                          <a:pt x="32" y="269"/>
                        </a:lnTo>
                        <a:lnTo>
                          <a:pt x="43" y="246"/>
                        </a:lnTo>
                        <a:lnTo>
                          <a:pt x="54" y="224"/>
                        </a:lnTo>
                        <a:lnTo>
                          <a:pt x="68" y="200"/>
                        </a:lnTo>
                        <a:lnTo>
                          <a:pt x="81" y="179"/>
                        </a:lnTo>
                        <a:lnTo>
                          <a:pt x="97" y="157"/>
                        </a:lnTo>
                        <a:lnTo>
                          <a:pt x="112" y="137"/>
                        </a:lnTo>
                        <a:lnTo>
                          <a:pt x="129" y="118"/>
                        </a:lnTo>
                        <a:lnTo>
                          <a:pt x="147" y="100"/>
                        </a:lnTo>
                        <a:lnTo>
                          <a:pt x="164" y="83"/>
                        </a:lnTo>
                        <a:lnTo>
                          <a:pt x="183" y="69"/>
                        </a:lnTo>
                        <a:lnTo>
                          <a:pt x="203" y="55"/>
                        </a:lnTo>
                        <a:lnTo>
                          <a:pt x="213" y="50"/>
                        </a:lnTo>
                        <a:lnTo>
                          <a:pt x="229" y="43"/>
                        </a:lnTo>
                        <a:lnTo>
                          <a:pt x="247" y="37"/>
                        </a:lnTo>
                        <a:lnTo>
                          <a:pt x="268" y="30"/>
                        </a:lnTo>
                        <a:lnTo>
                          <a:pt x="291" y="22"/>
                        </a:lnTo>
                        <a:lnTo>
                          <a:pt x="316" y="15"/>
                        </a:lnTo>
                        <a:lnTo>
                          <a:pt x="341" y="10"/>
                        </a:lnTo>
                        <a:lnTo>
                          <a:pt x="367" y="5"/>
                        </a:lnTo>
                        <a:lnTo>
                          <a:pt x="392" y="2"/>
                        </a:lnTo>
                        <a:lnTo>
                          <a:pt x="415" y="0"/>
                        </a:lnTo>
                        <a:lnTo>
                          <a:pt x="426" y="0"/>
                        </a:lnTo>
                        <a:lnTo>
                          <a:pt x="436" y="1"/>
                        </a:lnTo>
                        <a:lnTo>
                          <a:pt x="446" y="2"/>
                        </a:lnTo>
                        <a:lnTo>
                          <a:pt x="455" y="3"/>
                        </a:lnTo>
                        <a:lnTo>
                          <a:pt x="463" y="5"/>
                        </a:lnTo>
                        <a:lnTo>
                          <a:pt x="471" y="9"/>
                        </a:lnTo>
                        <a:lnTo>
                          <a:pt x="476" y="13"/>
                        </a:lnTo>
                        <a:lnTo>
                          <a:pt x="481" y="18"/>
                        </a:lnTo>
                        <a:lnTo>
                          <a:pt x="484" y="23"/>
                        </a:lnTo>
                        <a:lnTo>
                          <a:pt x="487" y="30"/>
                        </a:lnTo>
                        <a:lnTo>
                          <a:pt x="487" y="38"/>
                        </a:lnTo>
                        <a:lnTo>
                          <a:pt x="487" y="45"/>
                        </a:lnTo>
                        <a:lnTo>
                          <a:pt x="487" y="62"/>
                        </a:lnTo>
                        <a:lnTo>
                          <a:pt x="488" y="107"/>
                        </a:lnTo>
                        <a:lnTo>
                          <a:pt x="491" y="172"/>
                        </a:lnTo>
                        <a:lnTo>
                          <a:pt x="492" y="252"/>
                        </a:lnTo>
                        <a:lnTo>
                          <a:pt x="494" y="341"/>
                        </a:lnTo>
                        <a:lnTo>
                          <a:pt x="495" y="433"/>
                        </a:lnTo>
                        <a:lnTo>
                          <a:pt x="496" y="520"/>
                        </a:lnTo>
                        <a:lnTo>
                          <a:pt x="496" y="596"/>
                        </a:lnTo>
                        <a:lnTo>
                          <a:pt x="497" y="630"/>
                        </a:lnTo>
                        <a:lnTo>
                          <a:pt x="499" y="664"/>
                        </a:lnTo>
                        <a:lnTo>
                          <a:pt x="502" y="700"/>
                        </a:lnTo>
                        <a:lnTo>
                          <a:pt x="502" y="737"/>
                        </a:lnTo>
                        <a:lnTo>
                          <a:pt x="501" y="754"/>
                        </a:lnTo>
                        <a:lnTo>
                          <a:pt x="498" y="771"/>
                        </a:lnTo>
                        <a:lnTo>
                          <a:pt x="495" y="788"/>
                        </a:lnTo>
                        <a:lnTo>
                          <a:pt x="491" y="803"/>
                        </a:lnTo>
                        <a:lnTo>
                          <a:pt x="484" y="819"/>
                        </a:lnTo>
                        <a:lnTo>
                          <a:pt x="476" y="833"/>
                        </a:lnTo>
                        <a:lnTo>
                          <a:pt x="472" y="840"/>
                        </a:lnTo>
                        <a:lnTo>
                          <a:pt x="466" y="847"/>
                        </a:lnTo>
                        <a:lnTo>
                          <a:pt x="461" y="853"/>
                        </a:lnTo>
                        <a:lnTo>
                          <a:pt x="454" y="859"/>
                        </a:lnTo>
                        <a:lnTo>
                          <a:pt x="445" y="867"/>
                        </a:lnTo>
                        <a:lnTo>
                          <a:pt x="434" y="875"/>
                        </a:lnTo>
                        <a:lnTo>
                          <a:pt x="424" y="882"/>
                        </a:lnTo>
                        <a:lnTo>
                          <a:pt x="412" y="888"/>
                        </a:lnTo>
                        <a:lnTo>
                          <a:pt x="388" y="900"/>
                        </a:lnTo>
                        <a:lnTo>
                          <a:pt x="361" y="910"/>
                        </a:lnTo>
                        <a:lnTo>
                          <a:pt x="335" y="919"/>
                        </a:lnTo>
                        <a:lnTo>
                          <a:pt x="306" y="927"/>
                        </a:lnTo>
                        <a:lnTo>
                          <a:pt x="277" y="933"/>
                        </a:lnTo>
                        <a:lnTo>
                          <a:pt x="247" y="939"/>
                        </a:lnTo>
                        <a:lnTo>
                          <a:pt x="186" y="947"/>
                        </a:lnTo>
                        <a:lnTo>
                          <a:pt x="126" y="954"/>
                        </a:lnTo>
                        <a:lnTo>
                          <a:pt x="69" y="960"/>
                        </a:lnTo>
                        <a:lnTo>
                          <a:pt x="16" y="967"/>
                        </a:lnTo>
                        <a:lnTo>
                          <a:pt x="19" y="946"/>
                        </a:lnTo>
                        <a:lnTo>
                          <a:pt x="20" y="918"/>
                        </a:lnTo>
                        <a:lnTo>
                          <a:pt x="20" y="886"/>
                        </a:lnTo>
                        <a:lnTo>
                          <a:pt x="19" y="850"/>
                        </a:lnTo>
                        <a:lnTo>
                          <a:pt x="15" y="768"/>
                        </a:lnTo>
                        <a:lnTo>
                          <a:pt x="10" y="679"/>
                        </a:lnTo>
                        <a:lnTo>
                          <a:pt x="5" y="589"/>
                        </a:lnTo>
                        <a:lnTo>
                          <a:pt x="2" y="505"/>
                        </a:lnTo>
                        <a:lnTo>
                          <a:pt x="1" y="467"/>
                        </a:lnTo>
                        <a:lnTo>
                          <a:pt x="0" y="433"/>
                        </a:lnTo>
                        <a:lnTo>
                          <a:pt x="1" y="404"/>
                        </a:lnTo>
                        <a:lnTo>
                          <a:pt x="2" y="379"/>
                        </a:lnTo>
                        <a:close/>
                      </a:path>
                    </a:pathLst>
                  </a:custGeom>
                  <a:solidFill>
                    <a:srgbClr val="242B53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28" name="Freeform 177"/>
                  <p:cNvSpPr>
                    <a:spLocks/>
                  </p:cNvSpPr>
                  <p:nvPr/>
                </p:nvSpPr>
                <p:spPr bwMode="auto">
                  <a:xfrm>
                    <a:off x="3442" y="4059"/>
                    <a:ext cx="170" cy="105"/>
                  </a:xfrm>
                  <a:custGeom>
                    <a:avLst/>
                    <a:gdLst>
                      <a:gd name="T0" fmla="*/ 0 w 1192"/>
                      <a:gd name="T1" fmla="*/ 0 h 736"/>
                      <a:gd name="T2" fmla="*/ 0 w 1192"/>
                      <a:gd name="T3" fmla="*/ 0 h 736"/>
                      <a:gd name="T4" fmla="*/ 0 w 1192"/>
                      <a:gd name="T5" fmla="*/ 0 h 736"/>
                      <a:gd name="T6" fmla="*/ 0 w 1192"/>
                      <a:gd name="T7" fmla="*/ 0 h 736"/>
                      <a:gd name="T8" fmla="*/ 0 w 1192"/>
                      <a:gd name="T9" fmla="*/ 0 h 736"/>
                      <a:gd name="T10" fmla="*/ 0 w 1192"/>
                      <a:gd name="T11" fmla="*/ 0 h 736"/>
                      <a:gd name="T12" fmla="*/ 0 w 1192"/>
                      <a:gd name="T13" fmla="*/ 0 h 736"/>
                      <a:gd name="T14" fmla="*/ 0 w 1192"/>
                      <a:gd name="T15" fmla="*/ 0 h 736"/>
                      <a:gd name="T16" fmla="*/ 0 w 1192"/>
                      <a:gd name="T17" fmla="*/ 0 h 736"/>
                      <a:gd name="T18" fmla="*/ 0 w 1192"/>
                      <a:gd name="T19" fmla="*/ 0 h 736"/>
                      <a:gd name="T20" fmla="*/ 0 w 1192"/>
                      <a:gd name="T21" fmla="*/ 0 h 736"/>
                      <a:gd name="T22" fmla="*/ 0 w 1192"/>
                      <a:gd name="T23" fmla="*/ 0 h 736"/>
                      <a:gd name="T24" fmla="*/ 0 w 1192"/>
                      <a:gd name="T25" fmla="*/ 0 h 736"/>
                      <a:gd name="T26" fmla="*/ 0 w 1192"/>
                      <a:gd name="T27" fmla="*/ 0 h 736"/>
                      <a:gd name="T28" fmla="*/ 0 w 1192"/>
                      <a:gd name="T29" fmla="*/ 0 h 736"/>
                      <a:gd name="T30" fmla="*/ 0 w 1192"/>
                      <a:gd name="T31" fmla="*/ 0 h 736"/>
                      <a:gd name="T32" fmla="*/ 0 w 1192"/>
                      <a:gd name="T33" fmla="*/ 0 h 736"/>
                      <a:gd name="T34" fmla="*/ 0 w 1192"/>
                      <a:gd name="T35" fmla="*/ 0 h 736"/>
                      <a:gd name="T36" fmla="*/ 0 w 1192"/>
                      <a:gd name="T37" fmla="*/ 0 h 736"/>
                      <a:gd name="T38" fmla="*/ 0 w 1192"/>
                      <a:gd name="T39" fmla="*/ 0 h 736"/>
                      <a:gd name="T40" fmla="*/ 0 w 1192"/>
                      <a:gd name="T41" fmla="*/ 0 h 736"/>
                      <a:gd name="T42" fmla="*/ 0 w 1192"/>
                      <a:gd name="T43" fmla="*/ 0 h 736"/>
                      <a:gd name="T44" fmla="*/ 0 w 1192"/>
                      <a:gd name="T45" fmla="*/ 0 h 736"/>
                      <a:gd name="T46" fmla="*/ 0 w 1192"/>
                      <a:gd name="T47" fmla="*/ 0 h 736"/>
                      <a:gd name="T48" fmla="*/ 0 w 1192"/>
                      <a:gd name="T49" fmla="*/ 0 h 736"/>
                      <a:gd name="T50" fmla="*/ 0 w 1192"/>
                      <a:gd name="T51" fmla="*/ 0 h 736"/>
                      <a:gd name="T52" fmla="*/ 0 w 1192"/>
                      <a:gd name="T53" fmla="*/ 0 h 736"/>
                      <a:gd name="T54" fmla="*/ 0 w 1192"/>
                      <a:gd name="T55" fmla="*/ 0 h 736"/>
                      <a:gd name="T56" fmla="*/ 0 w 1192"/>
                      <a:gd name="T57" fmla="*/ 0 h 736"/>
                      <a:gd name="T58" fmla="*/ 0 w 1192"/>
                      <a:gd name="T59" fmla="*/ 0 h 736"/>
                      <a:gd name="T60" fmla="*/ 0 w 1192"/>
                      <a:gd name="T61" fmla="*/ 0 h 736"/>
                      <a:gd name="T62" fmla="*/ 0 w 1192"/>
                      <a:gd name="T63" fmla="*/ 0 h 736"/>
                      <a:gd name="T64" fmla="*/ 0 w 1192"/>
                      <a:gd name="T65" fmla="*/ 0 h 736"/>
                      <a:gd name="T66" fmla="*/ 0 w 1192"/>
                      <a:gd name="T67" fmla="*/ 0 h 736"/>
                      <a:gd name="T68" fmla="*/ 0 w 1192"/>
                      <a:gd name="T69" fmla="*/ 0 h 736"/>
                      <a:gd name="T70" fmla="*/ 0 w 1192"/>
                      <a:gd name="T71" fmla="*/ 0 h 736"/>
                      <a:gd name="T72" fmla="*/ 0 w 1192"/>
                      <a:gd name="T73" fmla="*/ 0 h 736"/>
                      <a:gd name="T74" fmla="*/ 0 w 1192"/>
                      <a:gd name="T75" fmla="*/ 0 h 736"/>
                      <a:gd name="T76" fmla="*/ 0 w 1192"/>
                      <a:gd name="T77" fmla="*/ 0 h 736"/>
                      <a:gd name="T78" fmla="*/ 0 w 1192"/>
                      <a:gd name="T79" fmla="*/ 0 h 736"/>
                      <a:gd name="T80" fmla="*/ 0 w 1192"/>
                      <a:gd name="T81" fmla="*/ 0 h 736"/>
                      <a:gd name="T82" fmla="*/ 0 w 1192"/>
                      <a:gd name="T83" fmla="*/ 0 h 736"/>
                      <a:gd name="T84" fmla="*/ 0 w 1192"/>
                      <a:gd name="T85" fmla="*/ 0 h 736"/>
                      <a:gd name="T86" fmla="*/ 0 w 1192"/>
                      <a:gd name="T87" fmla="*/ 0 h 736"/>
                      <a:gd name="T88" fmla="*/ 0 w 1192"/>
                      <a:gd name="T89" fmla="*/ 0 h 736"/>
                      <a:gd name="T90" fmla="*/ 0 w 1192"/>
                      <a:gd name="T91" fmla="*/ 0 h 736"/>
                      <a:gd name="T92" fmla="*/ 0 w 1192"/>
                      <a:gd name="T93" fmla="*/ 0 h 736"/>
                      <a:gd name="T94" fmla="*/ 0 w 1192"/>
                      <a:gd name="T95" fmla="*/ 0 h 736"/>
                      <a:gd name="T96" fmla="*/ 0 w 1192"/>
                      <a:gd name="T97" fmla="*/ 0 h 736"/>
                      <a:gd name="T98" fmla="*/ 0 w 1192"/>
                      <a:gd name="T99" fmla="*/ 0 h 736"/>
                      <a:gd name="T100" fmla="*/ 0 w 1192"/>
                      <a:gd name="T101" fmla="*/ 0 h 736"/>
                      <a:gd name="T102" fmla="*/ 0 w 1192"/>
                      <a:gd name="T103" fmla="*/ 0 h 736"/>
                      <a:gd name="T104" fmla="*/ 0 w 1192"/>
                      <a:gd name="T105" fmla="*/ 0 h 736"/>
                      <a:gd name="T106" fmla="*/ 0 w 1192"/>
                      <a:gd name="T107" fmla="*/ 0 h 736"/>
                      <a:gd name="T108" fmla="*/ 0 w 1192"/>
                      <a:gd name="T109" fmla="*/ 0 h 736"/>
                      <a:gd name="T110" fmla="*/ 0 w 1192"/>
                      <a:gd name="T111" fmla="*/ 0 h 736"/>
                      <a:gd name="T112" fmla="*/ 0 w 1192"/>
                      <a:gd name="T113" fmla="*/ 0 h 736"/>
                      <a:gd name="T114" fmla="*/ 0 w 1192"/>
                      <a:gd name="T115" fmla="*/ 0 h 736"/>
                      <a:gd name="T116" fmla="*/ 0 w 1192"/>
                      <a:gd name="T117" fmla="*/ 0 h 736"/>
                      <a:gd name="T118" fmla="*/ 0 w 1192"/>
                      <a:gd name="T119" fmla="*/ 0 h 736"/>
                      <a:gd name="T120" fmla="*/ 0 w 1192"/>
                      <a:gd name="T121" fmla="*/ 0 h 736"/>
                      <a:gd name="T122" fmla="*/ 0 w 1192"/>
                      <a:gd name="T123" fmla="*/ 0 h 736"/>
                      <a:gd name="T124" fmla="*/ 0 w 1192"/>
                      <a:gd name="T125" fmla="*/ 0 h 7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60000 65536"/>
                      <a:gd name="T184" fmla="*/ 0 60000 65536"/>
                      <a:gd name="T185" fmla="*/ 0 60000 65536"/>
                      <a:gd name="T186" fmla="*/ 0 60000 65536"/>
                      <a:gd name="T187" fmla="*/ 0 60000 65536"/>
                      <a:gd name="T188" fmla="*/ 0 60000 65536"/>
                      <a:gd name="T189" fmla="*/ 0 w 1192"/>
                      <a:gd name="T190" fmla="*/ 0 h 736"/>
                      <a:gd name="T191" fmla="*/ 1192 w 1192"/>
                      <a:gd name="T192" fmla="*/ 736 h 736"/>
                    </a:gdLst>
                    <a:ahLst/>
                    <a:cxnLst>
                      <a:cxn ang="T126">
                        <a:pos x="T0" y="T1"/>
                      </a:cxn>
                      <a:cxn ang="T127">
                        <a:pos x="T2" y="T3"/>
                      </a:cxn>
                      <a:cxn ang="T128">
                        <a:pos x="T4" y="T5"/>
                      </a:cxn>
                      <a:cxn ang="T129">
                        <a:pos x="T6" y="T7"/>
                      </a:cxn>
                      <a:cxn ang="T130">
                        <a:pos x="T8" y="T9"/>
                      </a:cxn>
                      <a:cxn ang="T131">
                        <a:pos x="T10" y="T11"/>
                      </a:cxn>
                      <a:cxn ang="T132">
                        <a:pos x="T12" y="T13"/>
                      </a:cxn>
                      <a:cxn ang="T133">
                        <a:pos x="T14" y="T15"/>
                      </a:cxn>
                      <a:cxn ang="T134">
                        <a:pos x="T16" y="T17"/>
                      </a:cxn>
                      <a:cxn ang="T135">
                        <a:pos x="T18" y="T19"/>
                      </a:cxn>
                      <a:cxn ang="T136">
                        <a:pos x="T20" y="T21"/>
                      </a:cxn>
                      <a:cxn ang="T137">
                        <a:pos x="T22" y="T23"/>
                      </a:cxn>
                      <a:cxn ang="T138">
                        <a:pos x="T24" y="T25"/>
                      </a:cxn>
                      <a:cxn ang="T139">
                        <a:pos x="T26" y="T27"/>
                      </a:cxn>
                      <a:cxn ang="T140">
                        <a:pos x="T28" y="T29"/>
                      </a:cxn>
                      <a:cxn ang="T141">
                        <a:pos x="T30" y="T31"/>
                      </a:cxn>
                      <a:cxn ang="T142">
                        <a:pos x="T32" y="T33"/>
                      </a:cxn>
                      <a:cxn ang="T143">
                        <a:pos x="T34" y="T35"/>
                      </a:cxn>
                      <a:cxn ang="T144">
                        <a:pos x="T36" y="T37"/>
                      </a:cxn>
                      <a:cxn ang="T145">
                        <a:pos x="T38" y="T39"/>
                      </a:cxn>
                      <a:cxn ang="T146">
                        <a:pos x="T40" y="T41"/>
                      </a:cxn>
                      <a:cxn ang="T147">
                        <a:pos x="T42" y="T43"/>
                      </a:cxn>
                      <a:cxn ang="T148">
                        <a:pos x="T44" y="T45"/>
                      </a:cxn>
                      <a:cxn ang="T149">
                        <a:pos x="T46" y="T47"/>
                      </a:cxn>
                      <a:cxn ang="T150">
                        <a:pos x="T48" y="T49"/>
                      </a:cxn>
                      <a:cxn ang="T151">
                        <a:pos x="T50" y="T51"/>
                      </a:cxn>
                      <a:cxn ang="T152">
                        <a:pos x="T52" y="T53"/>
                      </a:cxn>
                      <a:cxn ang="T153">
                        <a:pos x="T54" y="T55"/>
                      </a:cxn>
                      <a:cxn ang="T154">
                        <a:pos x="T56" y="T57"/>
                      </a:cxn>
                      <a:cxn ang="T155">
                        <a:pos x="T58" y="T59"/>
                      </a:cxn>
                      <a:cxn ang="T156">
                        <a:pos x="T60" y="T61"/>
                      </a:cxn>
                      <a:cxn ang="T157">
                        <a:pos x="T62" y="T63"/>
                      </a:cxn>
                      <a:cxn ang="T158">
                        <a:pos x="T64" y="T65"/>
                      </a:cxn>
                      <a:cxn ang="T159">
                        <a:pos x="T66" y="T67"/>
                      </a:cxn>
                      <a:cxn ang="T160">
                        <a:pos x="T68" y="T69"/>
                      </a:cxn>
                      <a:cxn ang="T161">
                        <a:pos x="T70" y="T71"/>
                      </a:cxn>
                      <a:cxn ang="T162">
                        <a:pos x="T72" y="T73"/>
                      </a:cxn>
                      <a:cxn ang="T163">
                        <a:pos x="T74" y="T75"/>
                      </a:cxn>
                      <a:cxn ang="T164">
                        <a:pos x="T76" y="T77"/>
                      </a:cxn>
                      <a:cxn ang="T165">
                        <a:pos x="T78" y="T79"/>
                      </a:cxn>
                      <a:cxn ang="T166">
                        <a:pos x="T80" y="T81"/>
                      </a:cxn>
                      <a:cxn ang="T167">
                        <a:pos x="T82" y="T83"/>
                      </a:cxn>
                      <a:cxn ang="T168">
                        <a:pos x="T84" y="T85"/>
                      </a:cxn>
                      <a:cxn ang="T169">
                        <a:pos x="T86" y="T87"/>
                      </a:cxn>
                      <a:cxn ang="T170">
                        <a:pos x="T88" y="T89"/>
                      </a:cxn>
                      <a:cxn ang="T171">
                        <a:pos x="T90" y="T91"/>
                      </a:cxn>
                      <a:cxn ang="T172">
                        <a:pos x="T92" y="T93"/>
                      </a:cxn>
                      <a:cxn ang="T173">
                        <a:pos x="T94" y="T95"/>
                      </a:cxn>
                      <a:cxn ang="T174">
                        <a:pos x="T96" y="T97"/>
                      </a:cxn>
                      <a:cxn ang="T175">
                        <a:pos x="T98" y="T99"/>
                      </a:cxn>
                      <a:cxn ang="T176">
                        <a:pos x="T100" y="T101"/>
                      </a:cxn>
                      <a:cxn ang="T177">
                        <a:pos x="T102" y="T103"/>
                      </a:cxn>
                      <a:cxn ang="T178">
                        <a:pos x="T104" y="T105"/>
                      </a:cxn>
                      <a:cxn ang="T179">
                        <a:pos x="T106" y="T107"/>
                      </a:cxn>
                      <a:cxn ang="T180">
                        <a:pos x="T108" y="T109"/>
                      </a:cxn>
                      <a:cxn ang="T181">
                        <a:pos x="T110" y="T111"/>
                      </a:cxn>
                      <a:cxn ang="T182">
                        <a:pos x="T112" y="T113"/>
                      </a:cxn>
                      <a:cxn ang="T183">
                        <a:pos x="T114" y="T115"/>
                      </a:cxn>
                      <a:cxn ang="T184">
                        <a:pos x="T116" y="T117"/>
                      </a:cxn>
                      <a:cxn ang="T185">
                        <a:pos x="T118" y="T119"/>
                      </a:cxn>
                      <a:cxn ang="T186">
                        <a:pos x="T120" y="T121"/>
                      </a:cxn>
                      <a:cxn ang="T187">
                        <a:pos x="T122" y="T123"/>
                      </a:cxn>
                      <a:cxn ang="T188">
                        <a:pos x="T124" y="T125"/>
                      </a:cxn>
                    </a:cxnLst>
                    <a:rect l="T189" t="T190" r="T191" b="T192"/>
                    <a:pathLst>
                      <a:path w="1192" h="736">
                        <a:moveTo>
                          <a:pt x="0" y="368"/>
                        </a:moveTo>
                        <a:lnTo>
                          <a:pt x="0" y="387"/>
                        </a:lnTo>
                        <a:lnTo>
                          <a:pt x="2" y="405"/>
                        </a:lnTo>
                        <a:lnTo>
                          <a:pt x="3" y="424"/>
                        </a:lnTo>
                        <a:lnTo>
                          <a:pt x="5" y="442"/>
                        </a:lnTo>
                        <a:lnTo>
                          <a:pt x="8" y="460"/>
                        </a:lnTo>
                        <a:lnTo>
                          <a:pt x="12" y="478"/>
                        </a:lnTo>
                        <a:lnTo>
                          <a:pt x="16" y="495"/>
                        </a:lnTo>
                        <a:lnTo>
                          <a:pt x="22" y="511"/>
                        </a:lnTo>
                        <a:lnTo>
                          <a:pt x="28" y="528"/>
                        </a:lnTo>
                        <a:lnTo>
                          <a:pt x="36" y="543"/>
                        </a:lnTo>
                        <a:lnTo>
                          <a:pt x="45" y="559"/>
                        </a:lnTo>
                        <a:lnTo>
                          <a:pt x="55" y="574"/>
                        </a:lnTo>
                        <a:lnTo>
                          <a:pt x="66" y="588"/>
                        </a:lnTo>
                        <a:lnTo>
                          <a:pt x="78" y="602"/>
                        </a:lnTo>
                        <a:lnTo>
                          <a:pt x="92" y="616"/>
                        </a:lnTo>
                        <a:lnTo>
                          <a:pt x="107" y="628"/>
                        </a:lnTo>
                        <a:lnTo>
                          <a:pt x="124" y="640"/>
                        </a:lnTo>
                        <a:lnTo>
                          <a:pt x="142" y="653"/>
                        </a:lnTo>
                        <a:lnTo>
                          <a:pt x="162" y="664"/>
                        </a:lnTo>
                        <a:lnTo>
                          <a:pt x="184" y="674"/>
                        </a:lnTo>
                        <a:lnTo>
                          <a:pt x="206" y="683"/>
                        </a:lnTo>
                        <a:lnTo>
                          <a:pt x="232" y="691"/>
                        </a:lnTo>
                        <a:lnTo>
                          <a:pt x="259" y="700"/>
                        </a:lnTo>
                        <a:lnTo>
                          <a:pt x="288" y="707"/>
                        </a:lnTo>
                        <a:lnTo>
                          <a:pt x="319" y="714"/>
                        </a:lnTo>
                        <a:lnTo>
                          <a:pt x="352" y="719"/>
                        </a:lnTo>
                        <a:lnTo>
                          <a:pt x="387" y="725"/>
                        </a:lnTo>
                        <a:lnTo>
                          <a:pt x="425" y="728"/>
                        </a:lnTo>
                        <a:lnTo>
                          <a:pt x="463" y="732"/>
                        </a:lnTo>
                        <a:lnTo>
                          <a:pt x="506" y="734"/>
                        </a:lnTo>
                        <a:lnTo>
                          <a:pt x="550" y="736"/>
                        </a:lnTo>
                        <a:lnTo>
                          <a:pt x="597" y="736"/>
                        </a:lnTo>
                        <a:lnTo>
                          <a:pt x="648" y="736"/>
                        </a:lnTo>
                        <a:lnTo>
                          <a:pt x="697" y="734"/>
                        </a:lnTo>
                        <a:lnTo>
                          <a:pt x="743" y="732"/>
                        </a:lnTo>
                        <a:lnTo>
                          <a:pt x="785" y="728"/>
                        </a:lnTo>
                        <a:lnTo>
                          <a:pt x="825" y="725"/>
                        </a:lnTo>
                        <a:lnTo>
                          <a:pt x="863" y="719"/>
                        </a:lnTo>
                        <a:lnTo>
                          <a:pt x="898" y="714"/>
                        </a:lnTo>
                        <a:lnTo>
                          <a:pt x="930" y="707"/>
                        </a:lnTo>
                        <a:lnTo>
                          <a:pt x="959" y="700"/>
                        </a:lnTo>
                        <a:lnTo>
                          <a:pt x="987" y="691"/>
                        </a:lnTo>
                        <a:lnTo>
                          <a:pt x="1012" y="683"/>
                        </a:lnTo>
                        <a:lnTo>
                          <a:pt x="1034" y="674"/>
                        </a:lnTo>
                        <a:lnTo>
                          <a:pt x="1056" y="664"/>
                        </a:lnTo>
                        <a:lnTo>
                          <a:pt x="1075" y="653"/>
                        </a:lnTo>
                        <a:lnTo>
                          <a:pt x="1092" y="640"/>
                        </a:lnTo>
                        <a:lnTo>
                          <a:pt x="1108" y="628"/>
                        </a:lnTo>
                        <a:lnTo>
                          <a:pt x="1121" y="616"/>
                        </a:lnTo>
                        <a:lnTo>
                          <a:pt x="1133" y="602"/>
                        </a:lnTo>
                        <a:lnTo>
                          <a:pt x="1145" y="588"/>
                        </a:lnTo>
                        <a:lnTo>
                          <a:pt x="1154" y="574"/>
                        </a:lnTo>
                        <a:lnTo>
                          <a:pt x="1162" y="559"/>
                        </a:lnTo>
                        <a:lnTo>
                          <a:pt x="1169" y="543"/>
                        </a:lnTo>
                        <a:lnTo>
                          <a:pt x="1175" y="528"/>
                        </a:lnTo>
                        <a:lnTo>
                          <a:pt x="1179" y="511"/>
                        </a:lnTo>
                        <a:lnTo>
                          <a:pt x="1184" y="495"/>
                        </a:lnTo>
                        <a:lnTo>
                          <a:pt x="1187" y="478"/>
                        </a:lnTo>
                        <a:lnTo>
                          <a:pt x="1189" y="460"/>
                        </a:lnTo>
                        <a:lnTo>
                          <a:pt x="1190" y="442"/>
                        </a:lnTo>
                        <a:lnTo>
                          <a:pt x="1192" y="405"/>
                        </a:lnTo>
                        <a:lnTo>
                          <a:pt x="1192" y="368"/>
                        </a:lnTo>
                        <a:lnTo>
                          <a:pt x="1192" y="349"/>
                        </a:lnTo>
                        <a:lnTo>
                          <a:pt x="1190" y="331"/>
                        </a:lnTo>
                        <a:lnTo>
                          <a:pt x="1186" y="312"/>
                        </a:lnTo>
                        <a:lnTo>
                          <a:pt x="1180" y="294"/>
                        </a:lnTo>
                        <a:lnTo>
                          <a:pt x="1174" y="276"/>
                        </a:lnTo>
                        <a:lnTo>
                          <a:pt x="1166" y="259"/>
                        </a:lnTo>
                        <a:lnTo>
                          <a:pt x="1157" y="242"/>
                        </a:lnTo>
                        <a:lnTo>
                          <a:pt x="1146" y="225"/>
                        </a:lnTo>
                        <a:lnTo>
                          <a:pt x="1133" y="209"/>
                        </a:lnTo>
                        <a:lnTo>
                          <a:pt x="1121" y="193"/>
                        </a:lnTo>
                        <a:lnTo>
                          <a:pt x="1107" y="177"/>
                        </a:lnTo>
                        <a:lnTo>
                          <a:pt x="1091" y="163"/>
                        </a:lnTo>
                        <a:lnTo>
                          <a:pt x="1075" y="148"/>
                        </a:lnTo>
                        <a:lnTo>
                          <a:pt x="1057" y="134"/>
                        </a:lnTo>
                        <a:lnTo>
                          <a:pt x="1038" y="121"/>
                        </a:lnTo>
                        <a:lnTo>
                          <a:pt x="1018" y="108"/>
                        </a:lnTo>
                        <a:lnTo>
                          <a:pt x="998" y="96"/>
                        </a:lnTo>
                        <a:lnTo>
                          <a:pt x="975" y="84"/>
                        </a:lnTo>
                        <a:lnTo>
                          <a:pt x="953" y="73"/>
                        </a:lnTo>
                        <a:lnTo>
                          <a:pt x="930" y="63"/>
                        </a:lnTo>
                        <a:lnTo>
                          <a:pt x="905" y="54"/>
                        </a:lnTo>
                        <a:lnTo>
                          <a:pt x="881" y="45"/>
                        </a:lnTo>
                        <a:lnTo>
                          <a:pt x="855" y="36"/>
                        </a:lnTo>
                        <a:lnTo>
                          <a:pt x="829" y="29"/>
                        </a:lnTo>
                        <a:lnTo>
                          <a:pt x="802" y="23"/>
                        </a:lnTo>
                        <a:lnTo>
                          <a:pt x="774" y="17"/>
                        </a:lnTo>
                        <a:lnTo>
                          <a:pt x="746" y="12"/>
                        </a:lnTo>
                        <a:lnTo>
                          <a:pt x="717" y="7"/>
                        </a:lnTo>
                        <a:lnTo>
                          <a:pt x="687" y="5"/>
                        </a:lnTo>
                        <a:lnTo>
                          <a:pt x="658" y="2"/>
                        </a:lnTo>
                        <a:lnTo>
                          <a:pt x="627" y="0"/>
                        </a:lnTo>
                        <a:lnTo>
                          <a:pt x="597" y="0"/>
                        </a:lnTo>
                        <a:lnTo>
                          <a:pt x="566" y="0"/>
                        </a:lnTo>
                        <a:lnTo>
                          <a:pt x="536" y="2"/>
                        </a:lnTo>
                        <a:lnTo>
                          <a:pt x="506" y="5"/>
                        </a:lnTo>
                        <a:lnTo>
                          <a:pt x="477" y="7"/>
                        </a:lnTo>
                        <a:lnTo>
                          <a:pt x="448" y="12"/>
                        </a:lnTo>
                        <a:lnTo>
                          <a:pt x="419" y="17"/>
                        </a:lnTo>
                        <a:lnTo>
                          <a:pt x="392" y="23"/>
                        </a:lnTo>
                        <a:lnTo>
                          <a:pt x="364" y="29"/>
                        </a:lnTo>
                        <a:lnTo>
                          <a:pt x="339" y="36"/>
                        </a:lnTo>
                        <a:lnTo>
                          <a:pt x="312" y="45"/>
                        </a:lnTo>
                        <a:lnTo>
                          <a:pt x="288" y="54"/>
                        </a:lnTo>
                        <a:lnTo>
                          <a:pt x="263" y="63"/>
                        </a:lnTo>
                        <a:lnTo>
                          <a:pt x="240" y="73"/>
                        </a:lnTo>
                        <a:lnTo>
                          <a:pt x="217" y="84"/>
                        </a:lnTo>
                        <a:lnTo>
                          <a:pt x="196" y="96"/>
                        </a:lnTo>
                        <a:lnTo>
                          <a:pt x="175" y="108"/>
                        </a:lnTo>
                        <a:lnTo>
                          <a:pt x="155" y="121"/>
                        </a:lnTo>
                        <a:lnTo>
                          <a:pt x="136" y="134"/>
                        </a:lnTo>
                        <a:lnTo>
                          <a:pt x="120" y="148"/>
                        </a:lnTo>
                        <a:lnTo>
                          <a:pt x="103" y="163"/>
                        </a:lnTo>
                        <a:lnTo>
                          <a:pt x="87" y="177"/>
                        </a:lnTo>
                        <a:lnTo>
                          <a:pt x="73" y="193"/>
                        </a:lnTo>
                        <a:lnTo>
                          <a:pt x="59" y="209"/>
                        </a:lnTo>
                        <a:lnTo>
                          <a:pt x="47" y="225"/>
                        </a:lnTo>
                        <a:lnTo>
                          <a:pt x="37" y="242"/>
                        </a:lnTo>
                        <a:lnTo>
                          <a:pt x="27" y="259"/>
                        </a:lnTo>
                        <a:lnTo>
                          <a:pt x="19" y="276"/>
                        </a:lnTo>
                        <a:lnTo>
                          <a:pt x="13" y="294"/>
                        </a:lnTo>
                        <a:lnTo>
                          <a:pt x="7" y="312"/>
                        </a:lnTo>
                        <a:lnTo>
                          <a:pt x="4" y="331"/>
                        </a:lnTo>
                        <a:lnTo>
                          <a:pt x="2" y="349"/>
                        </a:lnTo>
                        <a:lnTo>
                          <a:pt x="0" y="368"/>
                        </a:lnTo>
                        <a:close/>
                      </a:path>
                    </a:pathLst>
                  </a:custGeom>
                  <a:solidFill>
                    <a:srgbClr val="273669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29" name="Freeform 178"/>
                  <p:cNvSpPr>
                    <a:spLocks/>
                  </p:cNvSpPr>
                  <p:nvPr/>
                </p:nvSpPr>
                <p:spPr bwMode="auto">
                  <a:xfrm>
                    <a:off x="3487" y="4059"/>
                    <a:ext cx="84" cy="29"/>
                  </a:xfrm>
                  <a:custGeom>
                    <a:avLst/>
                    <a:gdLst>
                      <a:gd name="T0" fmla="*/ 0 w 593"/>
                      <a:gd name="T1" fmla="*/ 0 h 194"/>
                      <a:gd name="T2" fmla="*/ 0 w 593"/>
                      <a:gd name="T3" fmla="*/ 0 h 194"/>
                      <a:gd name="T4" fmla="*/ 0 w 593"/>
                      <a:gd name="T5" fmla="*/ 0 h 194"/>
                      <a:gd name="T6" fmla="*/ 0 w 593"/>
                      <a:gd name="T7" fmla="*/ 0 h 194"/>
                      <a:gd name="T8" fmla="*/ 0 w 593"/>
                      <a:gd name="T9" fmla="*/ 0 h 194"/>
                      <a:gd name="T10" fmla="*/ 0 w 593"/>
                      <a:gd name="T11" fmla="*/ 0 h 194"/>
                      <a:gd name="T12" fmla="*/ 0 w 593"/>
                      <a:gd name="T13" fmla="*/ 0 h 194"/>
                      <a:gd name="T14" fmla="*/ 0 w 593"/>
                      <a:gd name="T15" fmla="*/ 0 h 194"/>
                      <a:gd name="T16" fmla="*/ 0 w 593"/>
                      <a:gd name="T17" fmla="*/ 0 h 194"/>
                      <a:gd name="T18" fmla="*/ 0 w 593"/>
                      <a:gd name="T19" fmla="*/ 0 h 194"/>
                      <a:gd name="T20" fmla="*/ 0 w 593"/>
                      <a:gd name="T21" fmla="*/ 0 h 194"/>
                      <a:gd name="T22" fmla="*/ 0 w 593"/>
                      <a:gd name="T23" fmla="*/ 0 h 194"/>
                      <a:gd name="T24" fmla="*/ 0 w 593"/>
                      <a:gd name="T25" fmla="*/ 0 h 194"/>
                      <a:gd name="T26" fmla="*/ 0 w 593"/>
                      <a:gd name="T27" fmla="*/ 0 h 194"/>
                      <a:gd name="T28" fmla="*/ 0 w 593"/>
                      <a:gd name="T29" fmla="*/ 0 h 194"/>
                      <a:gd name="T30" fmla="*/ 0 w 593"/>
                      <a:gd name="T31" fmla="*/ 0 h 194"/>
                      <a:gd name="T32" fmla="*/ 0 w 593"/>
                      <a:gd name="T33" fmla="*/ 0 h 194"/>
                      <a:gd name="T34" fmla="*/ 0 w 593"/>
                      <a:gd name="T35" fmla="*/ 0 h 194"/>
                      <a:gd name="T36" fmla="*/ 0 w 593"/>
                      <a:gd name="T37" fmla="*/ 0 h 194"/>
                      <a:gd name="T38" fmla="*/ 0 w 593"/>
                      <a:gd name="T39" fmla="*/ 0 h 194"/>
                      <a:gd name="T40" fmla="*/ 0 w 593"/>
                      <a:gd name="T41" fmla="*/ 0 h 194"/>
                      <a:gd name="T42" fmla="*/ 0 w 593"/>
                      <a:gd name="T43" fmla="*/ 0 h 194"/>
                      <a:gd name="T44" fmla="*/ 0 w 593"/>
                      <a:gd name="T45" fmla="*/ 0 h 194"/>
                      <a:gd name="T46" fmla="*/ 0 w 593"/>
                      <a:gd name="T47" fmla="*/ 0 h 194"/>
                      <a:gd name="T48" fmla="*/ 0 w 593"/>
                      <a:gd name="T49" fmla="*/ 0 h 194"/>
                      <a:gd name="T50" fmla="*/ 0 w 593"/>
                      <a:gd name="T51" fmla="*/ 0 h 194"/>
                      <a:gd name="T52" fmla="*/ 0 w 593"/>
                      <a:gd name="T53" fmla="*/ 0 h 194"/>
                      <a:gd name="T54" fmla="*/ 0 w 593"/>
                      <a:gd name="T55" fmla="*/ 0 h 194"/>
                      <a:gd name="T56" fmla="*/ 0 w 593"/>
                      <a:gd name="T57" fmla="*/ 0 h 194"/>
                      <a:gd name="T58" fmla="*/ 0 w 593"/>
                      <a:gd name="T59" fmla="*/ 0 h 194"/>
                      <a:gd name="T60" fmla="*/ 0 w 593"/>
                      <a:gd name="T61" fmla="*/ 0 h 194"/>
                      <a:gd name="T62" fmla="*/ 0 w 593"/>
                      <a:gd name="T63" fmla="*/ 0 h 194"/>
                      <a:gd name="T64" fmla="*/ 0 w 593"/>
                      <a:gd name="T65" fmla="*/ 0 h 194"/>
                      <a:gd name="T66" fmla="*/ 0 w 593"/>
                      <a:gd name="T67" fmla="*/ 0 h 194"/>
                      <a:gd name="T68" fmla="*/ 0 w 593"/>
                      <a:gd name="T69" fmla="*/ 0 h 194"/>
                      <a:gd name="T70" fmla="*/ 0 w 593"/>
                      <a:gd name="T71" fmla="*/ 0 h 194"/>
                      <a:gd name="T72" fmla="*/ 0 w 593"/>
                      <a:gd name="T73" fmla="*/ 0 h 194"/>
                      <a:gd name="T74" fmla="*/ 0 w 593"/>
                      <a:gd name="T75" fmla="*/ 0 h 194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w 593"/>
                      <a:gd name="T115" fmla="*/ 0 h 194"/>
                      <a:gd name="T116" fmla="*/ 593 w 593"/>
                      <a:gd name="T117" fmla="*/ 194 h 194"/>
                    </a:gdLst>
                    <a:ahLst/>
                    <a:cxnLst>
                      <a:cxn ang="T76">
                        <a:pos x="T0" y="T1"/>
                      </a:cxn>
                      <a:cxn ang="T77">
                        <a:pos x="T2" y="T3"/>
                      </a:cxn>
                      <a:cxn ang="T78">
                        <a:pos x="T4" y="T5"/>
                      </a:cxn>
                      <a:cxn ang="T79">
                        <a:pos x="T6" y="T7"/>
                      </a:cxn>
                      <a:cxn ang="T80">
                        <a:pos x="T8" y="T9"/>
                      </a:cxn>
                      <a:cxn ang="T81">
                        <a:pos x="T10" y="T11"/>
                      </a:cxn>
                      <a:cxn ang="T82">
                        <a:pos x="T12" y="T13"/>
                      </a:cxn>
                      <a:cxn ang="T83">
                        <a:pos x="T14" y="T15"/>
                      </a:cxn>
                      <a:cxn ang="T84">
                        <a:pos x="T16" y="T17"/>
                      </a:cxn>
                      <a:cxn ang="T85">
                        <a:pos x="T18" y="T19"/>
                      </a:cxn>
                      <a:cxn ang="T86">
                        <a:pos x="T20" y="T21"/>
                      </a:cxn>
                      <a:cxn ang="T87">
                        <a:pos x="T22" y="T23"/>
                      </a:cxn>
                      <a:cxn ang="T88">
                        <a:pos x="T24" y="T25"/>
                      </a:cxn>
                      <a:cxn ang="T89">
                        <a:pos x="T26" y="T27"/>
                      </a:cxn>
                      <a:cxn ang="T90">
                        <a:pos x="T28" y="T29"/>
                      </a:cxn>
                      <a:cxn ang="T91">
                        <a:pos x="T30" y="T31"/>
                      </a:cxn>
                      <a:cxn ang="T92">
                        <a:pos x="T32" y="T33"/>
                      </a:cxn>
                      <a:cxn ang="T93">
                        <a:pos x="T34" y="T35"/>
                      </a:cxn>
                      <a:cxn ang="T94">
                        <a:pos x="T36" y="T37"/>
                      </a:cxn>
                      <a:cxn ang="T95">
                        <a:pos x="T38" y="T39"/>
                      </a:cxn>
                      <a:cxn ang="T96">
                        <a:pos x="T40" y="T41"/>
                      </a:cxn>
                      <a:cxn ang="T97">
                        <a:pos x="T42" y="T43"/>
                      </a:cxn>
                      <a:cxn ang="T98">
                        <a:pos x="T44" y="T45"/>
                      </a:cxn>
                      <a:cxn ang="T99">
                        <a:pos x="T46" y="T47"/>
                      </a:cxn>
                      <a:cxn ang="T100">
                        <a:pos x="T48" y="T49"/>
                      </a:cxn>
                      <a:cxn ang="T101">
                        <a:pos x="T50" y="T51"/>
                      </a:cxn>
                      <a:cxn ang="T102">
                        <a:pos x="T52" y="T53"/>
                      </a:cxn>
                      <a:cxn ang="T103">
                        <a:pos x="T54" y="T55"/>
                      </a:cxn>
                      <a:cxn ang="T104">
                        <a:pos x="T56" y="T57"/>
                      </a:cxn>
                      <a:cxn ang="T105">
                        <a:pos x="T58" y="T59"/>
                      </a:cxn>
                      <a:cxn ang="T106">
                        <a:pos x="T60" y="T61"/>
                      </a:cxn>
                      <a:cxn ang="T107">
                        <a:pos x="T62" y="T63"/>
                      </a:cxn>
                      <a:cxn ang="T108">
                        <a:pos x="T64" y="T65"/>
                      </a:cxn>
                      <a:cxn ang="T109">
                        <a:pos x="T66" y="T67"/>
                      </a:cxn>
                      <a:cxn ang="T110">
                        <a:pos x="T68" y="T69"/>
                      </a:cxn>
                      <a:cxn ang="T111">
                        <a:pos x="T70" y="T71"/>
                      </a:cxn>
                      <a:cxn ang="T112">
                        <a:pos x="T72" y="T73"/>
                      </a:cxn>
                      <a:cxn ang="T113">
                        <a:pos x="T74" y="T75"/>
                      </a:cxn>
                    </a:cxnLst>
                    <a:rect l="T114" t="T115" r="T116" b="T117"/>
                    <a:pathLst>
                      <a:path w="593" h="194">
                        <a:moveTo>
                          <a:pt x="0" y="98"/>
                        </a:moveTo>
                        <a:lnTo>
                          <a:pt x="0" y="102"/>
                        </a:lnTo>
                        <a:lnTo>
                          <a:pt x="1" y="108"/>
                        </a:lnTo>
                        <a:lnTo>
                          <a:pt x="4" y="112"/>
                        </a:lnTo>
                        <a:lnTo>
                          <a:pt x="6" y="117"/>
                        </a:lnTo>
                        <a:lnTo>
                          <a:pt x="9" y="122"/>
                        </a:lnTo>
                        <a:lnTo>
                          <a:pt x="14" y="127"/>
                        </a:lnTo>
                        <a:lnTo>
                          <a:pt x="18" y="131"/>
                        </a:lnTo>
                        <a:lnTo>
                          <a:pt x="24" y="136"/>
                        </a:lnTo>
                        <a:lnTo>
                          <a:pt x="36" y="143"/>
                        </a:lnTo>
                        <a:lnTo>
                          <a:pt x="50" y="152"/>
                        </a:lnTo>
                        <a:lnTo>
                          <a:pt x="68" y="159"/>
                        </a:lnTo>
                        <a:lnTo>
                          <a:pt x="87" y="167"/>
                        </a:lnTo>
                        <a:lnTo>
                          <a:pt x="108" y="172"/>
                        </a:lnTo>
                        <a:lnTo>
                          <a:pt x="130" y="178"/>
                        </a:lnTo>
                        <a:lnTo>
                          <a:pt x="155" y="183"/>
                        </a:lnTo>
                        <a:lnTo>
                          <a:pt x="182" y="187"/>
                        </a:lnTo>
                        <a:lnTo>
                          <a:pt x="208" y="190"/>
                        </a:lnTo>
                        <a:lnTo>
                          <a:pt x="237" y="192"/>
                        </a:lnTo>
                        <a:lnTo>
                          <a:pt x="266" y="194"/>
                        </a:lnTo>
                        <a:lnTo>
                          <a:pt x="296" y="194"/>
                        </a:lnTo>
                        <a:lnTo>
                          <a:pt x="327" y="194"/>
                        </a:lnTo>
                        <a:lnTo>
                          <a:pt x="356" y="192"/>
                        </a:lnTo>
                        <a:lnTo>
                          <a:pt x="385" y="190"/>
                        </a:lnTo>
                        <a:lnTo>
                          <a:pt x="412" y="187"/>
                        </a:lnTo>
                        <a:lnTo>
                          <a:pt x="438" y="183"/>
                        </a:lnTo>
                        <a:lnTo>
                          <a:pt x="462" y="178"/>
                        </a:lnTo>
                        <a:lnTo>
                          <a:pt x="485" y="172"/>
                        </a:lnTo>
                        <a:lnTo>
                          <a:pt x="507" y="167"/>
                        </a:lnTo>
                        <a:lnTo>
                          <a:pt x="526" y="159"/>
                        </a:lnTo>
                        <a:lnTo>
                          <a:pt x="542" y="152"/>
                        </a:lnTo>
                        <a:lnTo>
                          <a:pt x="558" y="143"/>
                        </a:lnTo>
                        <a:lnTo>
                          <a:pt x="570" y="136"/>
                        </a:lnTo>
                        <a:lnTo>
                          <a:pt x="576" y="131"/>
                        </a:lnTo>
                        <a:lnTo>
                          <a:pt x="580" y="127"/>
                        </a:lnTo>
                        <a:lnTo>
                          <a:pt x="585" y="122"/>
                        </a:lnTo>
                        <a:lnTo>
                          <a:pt x="588" y="117"/>
                        </a:lnTo>
                        <a:lnTo>
                          <a:pt x="590" y="112"/>
                        </a:lnTo>
                        <a:lnTo>
                          <a:pt x="592" y="108"/>
                        </a:lnTo>
                        <a:lnTo>
                          <a:pt x="593" y="102"/>
                        </a:lnTo>
                        <a:lnTo>
                          <a:pt x="593" y="98"/>
                        </a:lnTo>
                        <a:lnTo>
                          <a:pt x="593" y="92"/>
                        </a:lnTo>
                        <a:lnTo>
                          <a:pt x="592" y="88"/>
                        </a:lnTo>
                        <a:lnTo>
                          <a:pt x="590" y="82"/>
                        </a:lnTo>
                        <a:lnTo>
                          <a:pt x="588" y="78"/>
                        </a:lnTo>
                        <a:lnTo>
                          <a:pt x="580" y="69"/>
                        </a:lnTo>
                        <a:lnTo>
                          <a:pt x="570" y="60"/>
                        </a:lnTo>
                        <a:lnTo>
                          <a:pt x="558" y="51"/>
                        </a:lnTo>
                        <a:lnTo>
                          <a:pt x="542" y="43"/>
                        </a:lnTo>
                        <a:lnTo>
                          <a:pt x="526" y="35"/>
                        </a:lnTo>
                        <a:lnTo>
                          <a:pt x="507" y="29"/>
                        </a:lnTo>
                        <a:lnTo>
                          <a:pt x="485" y="22"/>
                        </a:lnTo>
                        <a:lnTo>
                          <a:pt x="462" y="16"/>
                        </a:lnTo>
                        <a:lnTo>
                          <a:pt x="438" y="12"/>
                        </a:lnTo>
                        <a:lnTo>
                          <a:pt x="412" y="8"/>
                        </a:lnTo>
                        <a:lnTo>
                          <a:pt x="385" y="4"/>
                        </a:lnTo>
                        <a:lnTo>
                          <a:pt x="356" y="2"/>
                        </a:lnTo>
                        <a:lnTo>
                          <a:pt x="327" y="1"/>
                        </a:lnTo>
                        <a:lnTo>
                          <a:pt x="296" y="0"/>
                        </a:lnTo>
                        <a:lnTo>
                          <a:pt x="266" y="1"/>
                        </a:lnTo>
                        <a:lnTo>
                          <a:pt x="237" y="2"/>
                        </a:lnTo>
                        <a:lnTo>
                          <a:pt x="208" y="4"/>
                        </a:lnTo>
                        <a:lnTo>
                          <a:pt x="182" y="8"/>
                        </a:lnTo>
                        <a:lnTo>
                          <a:pt x="155" y="12"/>
                        </a:lnTo>
                        <a:lnTo>
                          <a:pt x="130" y="16"/>
                        </a:lnTo>
                        <a:lnTo>
                          <a:pt x="108" y="22"/>
                        </a:lnTo>
                        <a:lnTo>
                          <a:pt x="87" y="29"/>
                        </a:lnTo>
                        <a:lnTo>
                          <a:pt x="68" y="35"/>
                        </a:lnTo>
                        <a:lnTo>
                          <a:pt x="50" y="43"/>
                        </a:lnTo>
                        <a:lnTo>
                          <a:pt x="36" y="51"/>
                        </a:lnTo>
                        <a:lnTo>
                          <a:pt x="24" y="60"/>
                        </a:lnTo>
                        <a:lnTo>
                          <a:pt x="14" y="69"/>
                        </a:lnTo>
                        <a:lnTo>
                          <a:pt x="6" y="78"/>
                        </a:lnTo>
                        <a:lnTo>
                          <a:pt x="4" y="82"/>
                        </a:lnTo>
                        <a:lnTo>
                          <a:pt x="1" y="88"/>
                        </a:lnTo>
                        <a:lnTo>
                          <a:pt x="0" y="92"/>
                        </a:lnTo>
                        <a:lnTo>
                          <a:pt x="0" y="98"/>
                        </a:lnTo>
                        <a:close/>
                      </a:path>
                    </a:pathLst>
                  </a:custGeom>
                  <a:solidFill>
                    <a:srgbClr val="2E5592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30" name="Freeform 179"/>
                  <p:cNvSpPr>
                    <a:spLocks/>
                  </p:cNvSpPr>
                  <p:nvPr/>
                </p:nvSpPr>
                <p:spPr bwMode="auto">
                  <a:xfrm>
                    <a:off x="3442" y="4078"/>
                    <a:ext cx="169" cy="86"/>
                  </a:xfrm>
                  <a:custGeom>
                    <a:avLst/>
                    <a:gdLst>
                      <a:gd name="T0" fmla="*/ 0 w 1185"/>
                      <a:gd name="T1" fmla="*/ 0 h 605"/>
                      <a:gd name="T2" fmla="*/ 0 w 1185"/>
                      <a:gd name="T3" fmla="*/ 0 h 605"/>
                      <a:gd name="T4" fmla="*/ 0 w 1185"/>
                      <a:gd name="T5" fmla="*/ 0 h 605"/>
                      <a:gd name="T6" fmla="*/ 0 w 1185"/>
                      <a:gd name="T7" fmla="*/ 0 h 605"/>
                      <a:gd name="T8" fmla="*/ 0 w 1185"/>
                      <a:gd name="T9" fmla="*/ 0 h 605"/>
                      <a:gd name="T10" fmla="*/ 0 w 1185"/>
                      <a:gd name="T11" fmla="*/ 0 h 605"/>
                      <a:gd name="T12" fmla="*/ 0 w 1185"/>
                      <a:gd name="T13" fmla="*/ 0 h 605"/>
                      <a:gd name="T14" fmla="*/ 0 w 1185"/>
                      <a:gd name="T15" fmla="*/ 0 h 605"/>
                      <a:gd name="T16" fmla="*/ 0 w 1185"/>
                      <a:gd name="T17" fmla="*/ 0 h 605"/>
                      <a:gd name="T18" fmla="*/ 0 w 1185"/>
                      <a:gd name="T19" fmla="*/ 0 h 605"/>
                      <a:gd name="T20" fmla="*/ 0 w 1185"/>
                      <a:gd name="T21" fmla="*/ 0 h 605"/>
                      <a:gd name="T22" fmla="*/ 0 w 1185"/>
                      <a:gd name="T23" fmla="*/ 0 h 605"/>
                      <a:gd name="T24" fmla="*/ 0 w 1185"/>
                      <a:gd name="T25" fmla="*/ 0 h 605"/>
                      <a:gd name="T26" fmla="*/ 0 w 1185"/>
                      <a:gd name="T27" fmla="*/ 0 h 605"/>
                      <a:gd name="T28" fmla="*/ 0 w 1185"/>
                      <a:gd name="T29" fmla="*/ 0 h 605"/>
                      <a:gd name="T30" fmla="*/ 0 w 1185"/>
                      <a:gd name="T31" fmla="*/ 0 h 605"/>
                      <a:gd name="T32" fmla="*/ 0 w 1185"/>
                      <a:gd name="T33" fmla="*/ 0 h 605"/>
                      <a:gd name="T34" fmla="*/ 0 w 1185"/>
                      <a:gd name="T35" fmla="*/ 0 h 605"/>
                      <a:gd name="T36" fmla="*/ 0 w 1185"/>
                      <a:gd name="T37" fmla="*/ 0 h 605"/>
                      <a:gd name="T38" fmla="*/ 0 w 1185"/>
                      <a:gd name="T39" fmla="*/ 0 h 605"/>
                      <a:gd name="T40" fmla="*/ 0 w 1185"/>
                      <a:gd name="T41" fmla="*/ 0 h 605"/>
                      <a:gd name="T42" fmla="*/ 0 w 1185"/>
                      <a:gd name="T43" fmla="*/ 0 h 605"/>
                      <a:gd name="T44" fmla="*/ 0 w 1185"/>
                      <a:gd name="T45" fmla="*/ 0 h 605"/>
                      <a:gd name="T46" fmla="*/ 0 w 1185"/>
                      <a:gd name="T47" fmla="*/ 0 h 605"/>
                      <a:gd name="T48" fmla="*/ 0 w 1185"/>
                      <a:gd name="T49" fmla="*/ 0 h 605"/>
                      <a:gd name="T50" fmla="*/ 0 w 1185"/>
                      <a:gd name="T51" fmla="*/ 0 h 605"/>
                      <a:gd name="T52" fmla="*/ 0 w 1185"/>
                      <a:gd name="T53" fmla="*/ 0 h 605"/>
                      <a:gd name="T54" fmla="*/ 0 w 1185"/>
                      <a:gd name="T55" fmla="*/ 0 h 605"/>
                      <a:gd name="T56" fmla="*/ 0 w 1185"/>
                      <a:gd name="T57" fmla="*/ 0 h 605"/>
                      <a:gd name="T58" fmla="*/ 0 w 1185"/>
                      <a:gd name="T59" fmla="*/ 0 h 605"/>
                      <a:gd name="T60" fmla="*/ 0 w 1185"/>
                      <a:gd name="T61" fmla="*/ 0 h 605"/>
                      <a:gd name="T62" fmla="*/ 0 w 1185"/>
                      <a:gd name="T63" fmla="*/ 0 h 605"/>
                      <a:gd name="T64" fmla="*/ 0 w 1185"/>
                      <a:gd name="T65" fmla="*/ 0 h 605"/>
                      <a:gd name="T66" fmla="*/ 0 w 1185"/>
                      <a:gd name="T67" fmla="*/ 0 h 605"/>
                      <a:gd name="T68" fmla="*/ 0 w 1185"/>
                      <a:gd name="T69" fmla="*/ 0 h 605"/>
                      <a:gd name="T70" fmla="*/ 0 w 1185"/>
                      <a:gd name="T71" fmla="*/ 0 h 605"/>
                      <a:gd name="T72" fmla="*/ 0 w 1185"/>
                      <a:gd name="T73" fmla="*/ 0 h 605"/>
                      <a:gd name="T74" fmla="*/ 0 w 1185"/>
                      <a:gd name="T75" fmla="*/ 0 h 605"/>
                      <a:gd name="T76" fmla="*/ 0 w 1185"/>
                      <a:gd name="T77" fmla="*/ 0 h 605"/>
                      <a:gd name="T78" fmla="*/ 0 w 1185"/>
                      <a:gd name="T79" fmla="*/ 0 h 605"/>
                      <a:gd name="T80" fmla="*/ 0 w 1185"/>
                      <a:gd name="T81" fmla="*/ 0 h 605"/>
                      <a:gd name="T82" fmla="*/ 0 w 1185"/>
                      <a:gd name="T83" fmla="*/ 0 h 605"/>
                      <a:gd name="T84" fmla="*/ 0 w 1185"/>
                      <a:gd name="T85" fmla="*/ 0 h 605"/>
                      <a:gd name="T86" fmla="*/ 0 w 1185"/>
                      <a:gd name="T87" fmla="*/ 0 h 605"/>
                      <a:gd name="T88" fmla="*/ 0 w 1185"/>
                      <a:gd name="T89" fmla="*/ 0 h 605"/>
                      <a:gd name="T90" fmla="*/ 0 w 1185"/>
                      <a:gd name="T91" fmla="*/ 0 h 605"/>
                      <a:gd name="T92" fmla="*/ 0 w 1185"/>
                      <a:gd name="T93" fmla="*/ 0 h 605"/>
                      <a:gd name="T94" fmla="*/ 0 w 1185"/>
                      <a:gd name="T95" fmla="*/ 0 h 605"/>
                      <a:gd name="T96" fmla="*/ 0 w 1185"/>
                      <a:gd name="T97" fmla="*/ 0 h 605"/>
                      <a:gd name="T98" fmla="*/ 0 w 1185"/>
                      <a:gd name="T99" fmla="*/ 0 h 605"/>
                      <a:gd name="T100" fmla="*/ 0 w 1185"/>
                      <a:gd name="T101" fmla="*/ 0 h 605"/>
                      <a:gd name="T102" fmla="*/ 0 w 1185"/>
                      <a:gd name="T103" fmla="*/ 0 h 605"/>
                      <a:gd name="T104" fmla="*/ 0 w 1185"/>
                      <a:gd name="T105" fmla="*/ 0 h 605"/>
                      <a:gd name="T106" fmla="*/ 0 w 1185"/>
                      <a:gd name="T107" fmla="*/ 0 h 605"/>
                      <a:gd name="T108" fmla="*/ 0 w 1185"/>
                      <a:gd name="T109" fmla="*/ 0 h 605"/>
                      <a:gd name="T110" fmla="*/ 0 w 1185"/>
                      <a:gd name="T111" fmla="*/ 0 h 605"/>
                      <a:gd name="T112" fmla="*/ 0 w 1185"/>
                      <a:gd name="T113" fmla="*/ 0 h 605"/>
                      <a:gd name="T114" fmla="*/ 0 w 1185"/>
                      <a:gd name="T115" fmla="*/ 0 h 605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w 1185"/>
                      <a:gd name="T175" fmla="*/ 0 h 605"/>
                      <a:gd name="T176" fmla="*/ 1185 w 1185"/>
                      <a:gd name="T177" fmla="*/ 605 h 605"/>
                    </a:gdLst>
                    <a:ahLst/>
                    <a:cxnLst>
                      <a:cxn ang="T116">
                        <a:pos x="T0" y="T1"/>
                      </a:cxn>
                      <a:cxn ang="T117">
                        <a:pos x="T2" y="T3"/>
                      </a:cxn>
                      <a:cxn ang="T118">
                        <a:pos x="T4" y="T5"/>
                      </a:cxn>
                      <a:cxn ang="T119">
                        <a:pos x="T6" y="T7"/>
                      </a:cxn>
                      <a:cxn ang="T120">
                        <a:pos x="T8" y="T9"/>
                      </a:cxn>
                      <a:cxn ang="T121">
                        <a:pos x="T10" y="T11"/>
                      </a:cxn>
                      <a:cxn ang="T122">
                        <a:pos x="T12" y="T13"/>
                      </a:cxn>
                      <a:cxn ang="T123">
                        <a:pos x="T14" y="T15"/>
                      </a:cxn>
                      <a:cxn ang="T124">
                        <a:pos x="T16" y="T17"/>
                      </a:cxn>
                      <a:cxn ang="T125">
                        <a:pos x="T18" y="T19"/>
                      </a:cxn>
                      <a:cxn ang="T126">
                        <a:pos x="T20" y="T21"/>
                      </a:cxn>
                      <a:cxn ang="T127">
                        <a:pos x="T22" y="T23"/>
                      </a:cxn>
                      <a:cxn ang="T128">
                        <a:pos x="T24" y="T25"/>
                      </a:cxn>
                      <a:cxn ang="T129">
                        <a:pos x="T26" y="T27"/>
                      </a:cxn>
                      <a:cxn ang="T130">
                        <a:pos x="T28" y="T29"/>
                      </a:cxn>
                      <a:cxn ang="T131">
                        <a:pos x="T30" y="T31"/>
                      </a:cxn>
                      <a:cxn ang="T132">
                        <a:pos x="T32" y="T33"/>
                      </a:cxn>
                      <a:cxn ang="T133">
                        <a:pos x="T34" y="T35"/>
                      </a:cxn>
                      <a:cxn ang="T134">
                        <a:pos x="T36" y="T37"/>
                      </a:cxn>
                      <a:cxn ang="T135">
                        <a:pos x="T38" y="T39"/>
                      </a:cxn>
                      <a:cxn ang="T136">
                        <a:pos x="T40" y="T41"/>
                      </a:cxn>
                      <a:cxn ang="T137">
                        <a:pos x="T42" y="T43"/>
                      </a:cxn>
                      <a:cxn ang="T138">
                        <a:pos x="T44" y="T45"/>
                      </a:cxn>
                      <a:cxn ang="T139">
                        <a:pos x="T46" y="T47"/>
                      </a:cxn>
                      <a:cxn ang="T140">
                        <a:pos x="T48" y="T49"/>
                      </a:cxn>
                      <a:cxn ang="T141">
                        <a:pos x="T50" y="T51"/>
                      </a:cxn>
                      <a:cxn ang="T142">
                        <a:pos x="T52" y="T53"/>
                      </a:cxn>
                      <a:cxn ang="T143">
                        <a:pos x="T54" y="T55"/>
                      </a:cxn>
                      <a:cxn ang="T144">
                        <a:pos x="T56" y="T57"/>
                      </a:cxn>
                      <a:cxn ang="T145">
                        <a:pos x="T58" y="T59"/>
                      </a:cxn>
                      <a:cxn ang="T146">
                        <a:pos x="T60" y="T61"/>
                      </a:cxn>
                      <a:cxn ang="T147">
                        <a:pos x="T62" y="T63"/>
                      </a:cxn>
                      <a:cxn ang="T148">
                        <a:pos x="T64" y="T65"/>
                      </a:cxn>
                      <a:cxn ang="T149">
                        <a:pos x="T66" y="T67"/>
                      </a:cxn>
                      <a:cxn ang="T150">
                        <a:pos x="T68" y="T69"/>
                      </a:cxn>
                      <a:cxn ang="T151">
                        <a:pos x="T70" y="T71"/>
                      </a:cxn>
                      <a:cxn ang="T152">
                        <a:pos x="T72" y="T73"/>
                      </a:cxn>
                      <a:cxn ang="T153">
                        <a:pos x="T74" y="T75"/>
                      </a:cxn>
                      <a:cxn ang="T154">
                        <a:pos x="T76" y="T77"/>
                      </a:cxn>
                      <a:cxn ang="T155">
                        <a:pos x="T78" y="T79"/>
                      </a:cxn>
                      <a:cxn ang="T156">
                        <a:pos x="T80" y="T81"/>
                      </a:cxn>
                      <a:cxn ang="T157">
                        <a:pos x="T82" y="T83"/>
                      </a:cxn>
                      <a:cxn ang="T158">
                        <a:pos x="T84" y="T85"/>
                      </a:cxn>
                      <a:cxn ang="T159">
                        <a:pos x="T86" y="T87"/>
                      </a:cxn>
                      <a:cxn ang="T160">
                        <a:pos x="T88" y="T89"/>
                      </a:cxn>
                      <a:cxn ang="T161">
                        <a:pos x="T90" y="T91"/>
                      </a:cxn>
                      <a:cxn ang="T162">
                        <a:pos x="T92" y="T93"/>
                      </a:cxn>
                      <a:cxn ang="T163">
                        <a:pos x="T94" y="T95"/>
                      </a:cxn>
                      <a:cxn ang="T164">
                        <a:pos x="T96" y="T97"/>
                      </a:cxn>
                      <a:cxn ang="T165">
                        <a:pos x="T98" y="T99"/>
                      </a:cxn>
                      <a:cxn ang="T166">
                        <a:pos x="T100" y="T101"/>
                      </a:cxn>
                      <a:cxn ang="T167">
                        <a:pos x="T102" y="T103"/>
                      </a:cxn>
                      <a:cxn ang="T168">
                        <a:pos x="T104" y="T105"/>
                      </a:cxn>
                      <a:cxn ang="T169">
                        <a:pos x="T106" y="T107"/>
                      </a:cxn>
                      <a:cxn ang="T170">
                        <a:pos x="T108" y="T109"/>
                      </a:cxn>
                      <a:cxn ang="T171">
                        <a:pos x="T110" y="T111"/>
                      </a:cxn>
                      <a:cxn ang="T172">
                        <a:pos x="T112" y="T113"/>
                      </a:cxn>
                      <a:cxn ang="T173">
                        <a:pos x="T114" y="T115"/>
                      </a:cxn>
                    </a:cxnLst>
                    <a:rect l="T174" t="T175" r="T176" b="T177"/>
                    <a:pathLst>
                      <a:path w="1185" h="605">
                        <a:moveTo>
                          <a:pt x="105" y="0"/>
                        </a:moveTo>
                        <a:lnTo>
                          <a:pt x="98" y="20"/>
                        </a:lnTo>
                        <a:lnTo>
                          <a:pt x="93" y="40"/>
                        </a:lnTo>
                        <a:lnTo>
                          <a:pt x="88" y="57"/>
                        </a:lnTo>
                        <a:lnTo>
                          <a:pt x="86" y="75"/>
                        </a:lnTo>
                        <a:lnTo>
                          <a:pt x="85" y="92"/>
                        </a:lnTo>
                        <a:lnTo>
                          <a:pt x="85" y="106"/>
                        </a:lnTo>
                        <a:lnTo>
                          <a:pt x="87" y="121"/>
                        </a:lnTo>
                        <a:lnTo>
                          <a:pt x="89" y="134"/>
                        </a:lnTo>
                        <a:lnTo>
                          <a:pt x="94" y="148"/>
                        </a:lnTo>
                        <a:lnTo>
                          <a:pt x="100" y="159"/>
                        </a:lnTo>
                        <a:lnTo>
                          <a:pt x="106" y="170"/>
                        </a:lnTo>
                        <a:lnTo>
                          <a:pt x="113" y="181"/>
                        </a:lnTo>
                        <a:lnTo>
                          <a:pt x="122" y="191"/>
                        </a:lnTo>
                        <a:lnTo>
                          <a:pt x="131" y="200"/>
                        </a:lnTo>
                        <a:lnTo>
                          <a:pt x="141" y="209"/>
                        </a:lnTo>
                        <a:lnTo>
                          <a:pt x="152" y="217"/>
                        </a:lnTo>
                        <a:lnTo>
                          <a:pt x="164" y="224"/>
                        </a:lnTo>
                        <a:lnTo>
                          <a:pt x="176" y="231"/>
                        </a:lnTo>
                        <a:lnTo>
                          <a:pt x="190" y="239"/>
                        </a:lnTo>
                        <a:lnTo>
                          <a:pt x="203" y="246"/>
                        </a:lnTo>
                        <a:lnTo>
                          <a:pt x="232" y="258"/>
                        </a:lnTo>
                        <a:lnTo>
                          <a:pt x="263" y="269"/>
                        </a:lnTo>
                        <a:lnTo>
                          <a:pt x="328" y="292"/>
                        </a:lnTo>
                        <a:lnTo>
                          <a:pt x="394" y="316"/>
                        </a:lnTo>
                        <a:lnTo>
                          <a:pt x="414" y="323"/>
                        </a:lnTo>
                        <a:lnTo>
                          <a:pt x="436" y="330"/>
                        </a:lnTo>
                        <a:lnTo>
                          <a:pt x="457" y="337"/>
                        </a:lnTo>
                        <a:lnTo>
                          <a:pt x="479" y="342"/>
                        </a:lnTo>
                        <a:lnTo>
                          <a:pt x="526" y="353"/>
                        </a:lnTo>
                        <a:lnTo>
                          <a:pt x="576" y="362"/>
                        </a:lnTo>
                        <a:lnTo>
                          <a:pt x="627" y="369"/>
                        </a:lnTo>
                        <a:lnTo>
                          <a:pt x="679" y="375"/>
                        </a:lnTo>
                        <a:lnTo>
                          <a:pt x="734" y="379"/>
                        </a:lnTo>
                        <a:lnTo>
                          <a:pt x="787" y="381"/>
                        </a:lnTo>
                        <a:lnTo>
                          <a:pt x="842" y="382"/>
                        </a:lnTo>
                        <a:lnTo>
                          <a:pt x="896" y="382"/>
                        </a:lnTo>
                        <a:lnTo>
                          <a:pt x="949" y="381"/>
                        </a:lnTo>
                        <a:lnTo>
                          <a:pt x="1001" y="379"/>
                        </a:lnTo>
                        <a:lnTo>
                          <a:pt x="1051" y="376"/>
                        </a:lnTo>
                        <a:lnTo>
                          <a:pt x="1098" y="370"/>
                        </a:lnTo>
                        <a:lnTo>
                          <a:pt x="1142" y="366"/>
                        </a:lnTo>
                        <a:lnTo>
                          <a:pt x="1185" y="359"/>
                        </a:lnTo>
                        <a:lnTo>
                          <a:pt x="1181" y="372"/>
                        </a:lnTo>
                        <a:lnTo>
                          <a:pt x="1178" y="386"/>
                        </a:lnTo>
                        <a:lnTo>
                          <a:pt x="1175" y="398"/>
                        </a:lnTo>
                        <a:lnTo>
                          <a:pt x="1169" y="410"/>
                        </a:lnTo>
                        <a:lnTo>
                          <a:pt x="1165" y="422"/>
                        </a:lnTo>
                        <a:lnTo>
                          <a:pt x="1158" y="435"/>
                        </a:lnTo>
                        <a:lnTo>
                          <a:pt x="1151" y="447"/>
                        </a:lnTo>
                        <a:lnTo>
                          <a:pt x="1145" y="458"/>
                        </a:lnTo>
                        <a:lnTo>
                          <a:pt x="1136" y="469"/>
                        </a:lnTo>
                        <a:lnTo>
                          <a:pt x="1127" y="479"/>
                        </a:lnTo>
                        <a:lnTo>
                          <a:pt x="1116" y="490"/>
                        </a:lnTo>
                        <a:lnTo>
                          <a:pt x="1105" y="500"/>
                        </a:lnTo>
                        <a:lnTo>
                          <a:pt x="1092" y="509"/>
                        </a:lnTo>
                        <a:lnTo>
                          <a:pt x="1079" y="518"/>
                        </a:lnTo>
                        <a:lnTo>
                          <a:pt x="1064" y="527"/>
                        </a:lnTo>
                        <a:lnTo>
                          <a:pt x="1049" y="536"/>
                        </a:lnTo>
                        <a:lnTo>
                          <a:pt x="1031" y="544"/>
                        </a:lnTo>
                        <a:lnTo>
                          <a:pt x="1013" y="552"/>
                        </a:lnTo>
                        <a:lnTo>
                          <a:pt x="993" y="558"/>
                        </a:lnTo>
                        <a:lnTo>
                          <a:pt x="972" y="565"/>
                        </a:lnTo>
                        <a:lnTo>
                          <a:pt x="950" y="572"/>
                        </a:lnTo>
                        <a:lnTo>
                          <a:pt x="926" y="577"/>
                        </a:lnTo>
                        <a:lnTo>
                          <a:pt x="901" y="583"/>
                        </a:lnTo>
                        <a:lnTo>
                          <a:pt x="874" y="587"/>
                        </a:lnTo>
                        <a:lnTo>
                          <a:pt x="845" y="592"/>
                        </a:lnTo>
                        <a:lnTo>
                          <a:pt x="815" y="595"/>
                        </a:lnTo>
                        <a:lnTo>
                          <a:pt x="783" y="598"/>
                        </a:lnTo>
                        <a:lnTo>
                          <a:pt x="750" y="601"/>
                        </a:lnTo>
                        <a:lnTo>
                          <a:pt x="714" y="603"/>
                        </a:lnTo>
                        <a:lnTo>
                          <a:pt x="677" y="604"/>
                        </a:lnTo>
                        <a:lnTo>
                          <a:pt x="638" y="605"/>
                        </a:lnTo>
                        <a:lnTo>
                          <a:pt x="597" y="605"/>
                        </a:lnTo>
                        <a:lnTo>
                          <a:pt x="550" y="605"/>
                        </a:lnTo>
                        <a:lnTo>
                          <a:pt x="506" y="603"/>
                        </a:lnTo>
                        <a:lnTo>
                          <a:pt x="463" y="601"/>
                        </a:lnTo>
                        <a:lnTo>
                          <a:pt x="425" y="597"/>
                        </a:lnTo>
                        <a:lnTo>
                          <a:pt x="387" y="594"/>
                        </a:lnTo>
                        <a:lnTo>
                          <a:pt x="352" y="588"/>
                        </a:lnTo>
                        <a:lnTo>
                          <a:pt x="319" y="583"/>
                        </a:lnTo>
                        <a:lnTo>
                          <a:pt x="288" y="576"/>
                        </a:lnTo>
                        <a:lnTo>
                          <a:pt x="259" y="569"/>
                        </a:lnTo>
                        <a:lnTo>
                          <a:pt x="232" y="560"/>
                        </a:lnTo>
                        <a:lnTo>
                          <a:pt x="206" y="552"/>
                        </a:lnTo>
                        <a:lnTo>
                          <a:pt x="184" y="543"/>
                        </a:lnTo>
                        <a:lnTo>
                          <a:pt x="162" y="533"/>
                        </a:lnTo>
                        <a:lnTo>
                          <a:pt x="142" y="522"/>
                        </a:lnTo>
                        <a:lnTo>
                          <a:pt x="124" y="509"/>
                        </a:lnTo>
                        <a:lnTo>
                          <a:pt x="107" y="497"/>
                        </a:lnTo>
                        <a:lnTo>
                          <a:pt x="92" y="485"/>
                        </a:lnTo>
                        <a:lnTo>
                          <a:pt x="78" y="471"/>
                        </a:lnTo>
                        <a:lnTo>
                          <a:pt x="66" y="457"/>
                        </a:lnTo>
                        <a:lnTo>
                          <a:pt x="55" y="443"/>
                        </a:lnTo>
                        <a:lnTo>
                          <a:pt x="45" y="428"/>
                        </a:lnTo>
                        <a:lnTo>
                          <a:pt x="36" y="412"/>
                        </a:lnTo>
                        <a:lnTo>
                          <a:pt x="28" y="397"/>
                        </a:lnTo>
                        <a:lnTo>
                          <a:pt x="22" y="380"/>
                        </a:lnTo>
                        <a:lnTo>
                          <a:pt x="16" y="364"/>
                        </a:lnTo>
                        <a:lnTo>
                          <a:pt x="12" y="347"/>
                        </a:lnTo>
                        <a:lnTo>
                          <a:pt x="8" y="329"/>
                        </a:lnTo>
                        <a:lnTo>
                          <a:pt x="5" y="311"/>
                        </a:lnTo>
                        <a:lnTo>
                          <a:pt x="3" y="293"/>
                        </a:lnTo>
                        <a:lnTo>
                          <a:pt x="2" y="274"/>
                        </a:lnTo>
                        <a:lnTo>
                          <a:pt x="0" y="256"/>
                        </a:lnTo>
                        <a:lnTo>
                          <a:pt x="0" y="237"/>
                        </a:lnTo>
                        <a:lnTo>
                          <a:pt x="2" y="226"/>
                        </a:lnTo>
                        <a:lnTo>
                          <a:pt x="4" y="212"/>
                        </a:lnTo>
                        <a:lnTo>
                          <a:pt x="7" y="198"/>
                        </a:lnTo>
                        <a:lnTo>
                          <a:pt x="12" y="182"/>
                        </a:lnTo>
                        <a:lnTo>
                          <a:pt x="24" y="150"/>
                        </a:lnTo>
                        <a:lnTo>
                          <a:pt x="38" y="115"/>
                        </a:lnTo>
                        <a:lnTo>
                          <a:pt x="55" y="81"/>
                        </a:lnTo>
                        <a:lnTo>
                          <a:pt x="73" y="49"/>
                        </a:lnTo>
                        <a:lnTo>
                          <a:pt x="89" y="21"/>
                        </a:lnTo>
                        <a:lnTo>
                          <a:pt x="105" y="0"/>
                        </a:lnTo>
                        <a:close/>
                      </a:path>
                    </a:pathLst>
                  </a:custGeom>
                  <a:solidFill>
                    <a:srgbClr val="242B53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31" name="Freeform 180"/>
                  <p:cNvSpPr>
                    <a:spLocks/>
                  </p:cNvSpPr>
                  <p:nvPr/>
                </p:nvSpPr>
                <p:spPr bwMode="auto">
                  <a:xfrm>
                    <a:off x="3443" y="4127"/>
                    <a:ext cx="168" cy="38"/>
                  </a:xfrm>
                  <a:custGeom>
                    <a:avLst/>
                    <a:gdLst>
                      <a:gd name="T0" fmla="*/ 0 w 1174"/>
                      <a:gd name="T1" fmla="*/ 0 h 264"/>
                      <a:gd name="T2" fmla="*/ 0 w 1174"/>
                      <a:gd name="T3" fmla="*/ 0 h 264"/>
                      <a:gd name="T4" fmla="*/ 0 w 1174"/>
                      <a:gd name="T5" fmla="*/ 0 h 264"/>
                      <a:gd name="T6" fmla="*/ 0 w 1174"/>
                      <a:gd name="T7" fmla="*/ 0 h 264"/>
                      <a:gd name="T8" fmla="*/ 0 w 1174"/>
                      <a:gd name="T9" fmla="*/ 0 h 264"/>
                      <a:gd name="T10" fmla="*/ 0 w 1174"/>
                      <a:gd name="T11" fmla="*/ 0 h 264"/>
                      <a:gd name="T12" fmla="*/ 0 w 1174"/>
                      <a:gd name="T13" fmla="*/ 0 h 264"/>
                      <a:gd name="T14" fmla="*/ 0 w 1174"/>
                      <a:gd name="T15" fmla="*/ 0 h 264"/>
                      <a:gd name="T16" fmla="*/ 0 w 1174"/>
                      <a:gd name="T17" fmla="*/ 0 h 264"/>
                      <a:gd name="T18" fmla="*/ 0 w 1174"/>
                      <a:gd name="T19" fmla="*/ 0 h 264"/>
                      <a:gd name="T20" fmla="*/ 0 w 1174"/>
                      <a:gd name="T21" fmla="*/ 0 h 264"/>
                      <a:gd name="T22" fmla="*/ 0 w 1174"/>
                      <a:gd name="T23" fmla="*/ 0 h 264"/>
                      <a:gd name="T24" fmla="*/ 0 w 1174"/>
                      <a:gd name="T25" fmla="*/ 0 h 264"/>
                      <a:gd name="T26" fmla="*/ 0 w 1174"/>
                      <a:gd name="T27" fmla="*/ 0 h 264"/>
                      <a:gd name="T28" fmla="*/ 0 w 1174"/>
                      <a:gd name="T29" fmla="*/ 0 h 264"/>
                      <a:gd name="T30" fmla="*/ 0 w 1174"/>
                      <a:gd name="T31" fmla="*/ 0 h 264"/>
                      <a:gd name="T32" fmla="*/ 0 w 1174"/>
                      <a:gd name="T33" fmla="*/ 0 h 264"/>
                      <a:gd name="T34" fmla="*/ 0 w 1174"/>
                      <a:gd name="T35" fmla="*/ 0 h 264"/>
                      <a:gd name="T36" fmla="*/ 0 w 1174"/>
                      <a:gd name="T37" fmla="*/ 0 h 264"/>
                      <a:gd name="T38" fmla="*/ 0 w 1174"/>
                      <a:gd name="T39" fmla="*/ 0 h 264"/>
                      <a:gd name="T40" fmla="*/ 0 w 1174"/>
                      <a:gd name="T41" fmla="*/ 0 h 264"/>
                      <a:gd name="T42" fmla="*/ 0 w 1174"/>
                      <a:gd name="T43" fmla="*/ 0 h 264"/>
                      <a:gd name="T44" fmla="*/ 0 w 1174"/>
                      <a:gd name="T45" fmla="*/ 0 h 264"/>
                      <a:gd name="T46" fmla="*/ 0 w 1174"/>
                      <a:gd name="T47" fmla="*/ 0 h 264"/>
                      <a:gd name="T48" fmla="*/ 0 w 1174"/>
                      <a:gd name="T49" fmla="*/ 0 h 264"/>
                      <a:gd name="T50" fmla="*/ 0 w 1174"/>
                      <a:gd name="T51" fmla="*/ 0 h 264"/>
                      <a:gd name="T52" fmla="*/ 0 w 1174"/>
                      <a:gd name="T53" fmla="*/ 0 h 264"/>
                      <a:gd name="T54" fmla="*/ 0 w 1174"/>
                      <a:gd name="T55" fmla="*/ 0 h 264"/>
                      <a:gd name="T56" fmla="*/ 0 w 1174"/>
                      <a:gd name="T57" fmla="*/ 0 h 264"/>
                      <a:gd name="T58" fmla="*/ 0 w 1174"/>
                      <a:gd name="T59" fmla="*/ 0 h 264"/>
                      <a:gd name="T60" fmla="*/ 0 w 1174"/>
                      <a:gd name="T61" fmla="*/ 0 h 264"/>
                      <a:gd name="T62" fmla="*/ 0 w 1174"/>
                      <a:gd name="T63" fmla="*/ 0 h 264"/>
                      <a:gd name="T64" fmla="*/ 0 w 1174"/>
                      <a:gd name="T65" fmla="*/ 0 h 264"/>
                      <a:gd name="T66" fmla="*/ 0 w 1174"/>
                      <a:gd name="T67" fmla="*/ 0 h 264"/>
                      <a:gd name="T68" fmla="*/ 0 w 1174"/>
                      <a:gd name="T69" fmla="*/ 0 h 264"/>
                      <a:gd name="T70" fmla="*/ 0 w 1174"/>
                      <a:gd name="T71" fmla="*/ 0 h 264"/>
                      <a:gd name="T72" fmla="*/ 0 w 1174"/>
                      <a:gd name="T73" fmla="*/ 0 h 264"/>
                      <a:gd name="T74" fmla="*/ 0 w 1174"/>
                      <a:gd name="T75" fmla="*/ 0 h 264"/>
                      <a:gd name="T76" fmla="*/ 0 w 1174"/>
                      <a:gd name="T77" fmla="*/ 0 h 264"/>
                      <a:gd name="T78" fmla="*/ 0 w 1174"/>
                      <a:gd name="T79" fmla="*/ 0 h 264"/>
                      <a:gd name="T80" fmla="*/ 0 w 1174"/>
                      <a:gd name="T81" fmla="*/ 0 h 264"/>
                      <a:gd name="T82" fmla="*/ 0 w 1174"/>
                      <a:gd name="T83" fmla="*/ 0 h 264"/>
                      <a:gd name="T84" fmla="*/ 0 w 1174"/>
                      <a:gd name="T85" fmla="*/ 0 h 264"/>
                      <a:gd name="T86" fmla="*/ 0 w 1174"/>
                      <a:gd name="T87" fmla="*/ 0 h 264"/>
                      <a:gd name="T88" fmla="*/ 0 w 1174"/>
                      <a:gd name="T89" fmla="*/ 0 h 264"/>
                      <a:gd name="T90" fmla="*/ 0 w 1174"/>
                      <a:gd name="T91" fmla="*/ 0 h 264"/>
                      <a:gd name="T92" fmla="*/ 0 w 1174"/>
                      <a:gd name="T93" fmla="*/ 0 h 264"/>
                      <a:gd name="T94" fmla="*/ 0 w 1174"/>
                      <a:gd name="T95" fmla="*/ 0 h 264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w 1174"/>
                      <a:gd name="T145" fmla="*/ 0 h 264"/>
                      <a:gd name="T146" fmla="*/ 1174 w 1174"/>
                      <a:gd name="T147" fmla="*/ 264 h 264"/>
                    </a:gdLst>
                    <a:ahLst/>
                    <a:cxnLst>
                      <a:cxn ang="T96">
                        <a:pos x="T0" y="T1"/>
                      </a:cxn>
                      <a:cxn ang="T97">
                        <a:pos x="T2" y="T3"/>
                      </a:cxn>
                      <a:cxn ang="T98">
                        <a:pos x="T4" y="T5"/>
                      </a:cxn>
                      <a:cxn ang="T99">
                        <a:pos x="T6" y="T7"/>
                      </a:cxn>
                      <a:cxn ang="T100">
                        <a:pos x="T8" y="T9"/>
                      </a:cxn>
                      <a:cxn ang="T101">
                        <a:pos x="T10" y="T11"/>
                      </a:cxn>
                      <a:cxn ang="T102">
                        <a:pos x="T12" y="T13"/>
                      </a:cxn>
                      <a:cxn ang="T103">
                        <a:pos x="T14" y="T15"/>
                      </a:cxn>
                      <a:cxn ang="T104">
                        <a:pos x="T16" y="T17"/>
                      </a:cxn>
                      <a:cxn ang="T105">
                        <a:pos x="T18" y="T19"/>
                      </a:cxn>
                      <a:cxn ang="T106">
                        <a:pos x="T20" y="T21"/>
                      </a:cxn>
                      <a:cxn ang="T107">
                        <a:pos x="T22" y="T23"/>
                      </a:cxn>
                      <a:cxn ang="T108">
                        <a:pos x="T24" y="T25"/>
                      </a:cxn>
                      <a:cxn ang="T109">
                        <a:pos x="T26" y="T27"/>
                      </a:cxn>
                      <a:cxn ang="T110">
                        <a:pos x="T28" y="T29"/>
                      </a:cxn>
                      <a:cxn ang="T111">
                        <a:pos x="T30" y="T31"/>
                      </a:cxn>
                      <a:cxn ang="T112">
                        <a:pos x="T32" y="T33"/>
                      </a:cxn>
                      <a:cxn ang="T113">
                        <a:pos x="T34" y="T35"/>
                      </a:cxn>
                      <a:cxn ang="T114">
                        <a:pos x="T36" y="T37"/>
                      </a:cxn>
                      <a:cxn ang="T115">
                        <a:pos x="T38" y="T39"/>
                      </a:cxn>
                      <a:cxn ang="T116">
                        <a:pos x="T40" y="T41"/>
                      </a:cxn>
                      <a:cxn ang="T117">
                        <a:pos x="T42" y="T43"/>
                      </a:cxn>
                      <a:cxn ang="T118">
                        <a:pos x="T44" y="T45"/>
                      </a:cxn>
                      <a:cxn ang="T119">
                        <a:pos x="T46" y="T47"/>
                      </a:cxn>
                      <a:cxn ang="T120">
                        <a:pos x="T48" y="T49"/>
                      </a:cxn>
                      <a:cxn ang="T121">
                        <a:pos x="T50" y="T51"/>
                      </a:cxn>
                      <a:cxn ang="T122">
                        <a:pos x="T52" y="T53"/>
                      </a:cxn>
                      <a:cxn ang="T123">
                        <a:pos x="T54" y="T55"/>
                      </a:cxn>
                      <a:cxn ang="T124">
                        <a:pos x="T56" y="T57"/>
                      </a:cxn>
                      <a:cxn ang="T125">
                        <a:pos x="T58" y="T59"/>
                      </a:cxn>
                      <a:cxn ang="T126">
                        <a:pos x="T60" y="T61"/>
                      </a:cxn>
                      <a:cxn ang="T127">
                        <a:pos x="T62" y="T63"/>
                      </a:cxn>
                      <a:cxn ang="T128">
                        <a:pos x="T64" y="T65"/>
                      </a:cxn>
                      <a:cxn ang="T129">
                        <a:pos x="T66" y="T67"/>
                      </a:cxn>
                      <a:cxn ang="T130">
                        <a:pos x="T68" y="T69"/>
                      </a:cxn>
                      <a:cxn ang="T131">
                        <a:pos x="T70" y="T71"/>
                      </a:cxn>
                      <a:cxn ang="T132">
                        <a:pos x="T72" y="T73"/>
                      </a:cxn>
                      <a:cxn ang="T133">
                        <a:pos x="T74" y="T75"/>
                      </a:cxn>
                      <a:cxn ang="T134">
                        <a:pos x="T76" y="T77"/>
                      </a:cxn>
                      <a:cxn ang="T135">
                        <a:pos x="T78" y="T79"/>
                      </a:cxn>
                      <a:cxn ang="T136">
                        <a:pos x="T80" y="T81"/>
                      </a:cxn>
                      <a:cxn ang="T137">
                        <a:pos x="T82" y="T83"/>
                      </a:cxn>
                      <a:cxn ang="T138">
                        <a:pos x="T84" y="T85"/>
                      </a:cxn>
                      <a:cxn ang="T139">
                        <a:pos x="T86" y="T87"/>
                      </a:cxn>
                      <a:cxn ang="T140">
                        <a:pos x="T88" y="T89"/>
                      </a:cxn>
                      <a:cxn ang="T141">
                        <a:pos x="T90" y="T91"/>
                      </a:cxn>
                      <a:cxn ang="T142">
                        <a:pos x="T92" y="T93"/>
                      </a:cxn>
                      <a:cxn ang="T143">
                        <a:pos x="T94" y="T95"/>
                      </a:cxn>
                    </a:cxnLst>
                    <a:rect l="T144" t="T145" r="T146" b="T147"/>
                    <a:pathLst>
                      <a:path w="1174" h="264">
                        <a:moveTo>
                          <a:pt x="587" y="142"/>
                        </a:moveTo>
                        <a:lnTo>
                          <a:pt x="648" y="142"/>
                        </a:lnTo>
                        <a:lnTo>
                          <a:pt x="706" y="139"/>
                        </a:lnTo>
                        <a:lnTo>
                          <a:pt x="760" y="137"/>
                        </a:lnTo>
                        <a:lnTo>
                          <a:pt x="811" y="133"/>
                        </a:lnTo>
                        <a:lnTo>
                          <a:pt x="857" y="128"/>
                        </a:lnTo>
                        <a:lnTo>
                          <a:pt x="900" y="123"/>
                        </a:lnTo>
                        <a:lnTo>
                          <a:pt x="940" y="116"/>
                        </a:lnTo>
                        <a:lnTo>
                          <a:pt x="978" y="108"/>
                        </a:lnTo>
                        <a:lnTo>
                          <a:pt x="1011" y="100"/>
                        </a:lnTo>
                        <a:lnTo>
                          <a:pt x="1042" y="90"/>
                        </a:lnTo>
                        <a:lnTo>
                          <a:pt x="1070" y="80"/>
                        </a:lnTo>
                        <a:lnTo>
                          <a:pt x="1096" y="70"/>
                        </a:lnTo>
                        <a:lnTo>
                          <a:pt x="1119" y="58"/>
                        </a:lnTo>
                        <a:lnTo>
                          <a:pt x="1139" y="46"/>
                        </a:lnTo>
                        <a:lnTo>
                          <a:pt x="1158" y="33"/>
                        </a:lnTo>
                        <a:lnTo>
                          <a:pt x="1174" y="19"/>
                        </a:lnTo>
                        <a:lnTo>
                          <a:pt x="1171" y="33"/>
                        </a:lnTo>
                        <a:lnTo>
                          <a:pt x="1168" y="46"/>
                        </a:lnTo>
                        <a:lnTo>
                          <a:pt x="1164" y="58"/>
                        </a:lnTo>
                        <a:lnTo>
                          <a:pt x="1159" y="70"/>
                        </a:lnTo>
                        <a:lnTo>
                          <a:pt x="1154" y="83"/>
                        </a:lnTo>
                        <a:lnTo>
                          <a:pt x="1148" y="95"/>
                        </a:lnTo>
                        <a:lnTo>
                          <a:pt x="1141" y="106"/>
                        </a:lnTo>
                        <a:lnTo>
                          <a:pt x="1134" y="117"/>
                        </a:lnTo>
                        <a:lnTo>
                          <a:pt x="1125" y="128"/>
                        </a:lnTo>
                        <a:lnTo>
                          <a:pt x="1116" y="139"/>
                        </a:lnTo>
                        <a:lnTo>
                          <a:pt x="1106" y="149"/>
                        </a:lnTo>
                        <a:lnTo>
                          <a:pt x="1095" y="159"/>
                        </a:lnTo>
                        <a:lnTo>
                          <a:pt x="1081" y="169"/>
                        </a:lnTo>
                        <a:lnTo>
                          <a:pt x="1068" y="178"/>
                        </a:lnTo>
                        <a:lnTo>
                          <a:pt x="1053" y="187"/>
                        </a:lnTo>
                        <a:lnTo>
                          <a:pt x="1038" y="195"/>
                        </a:lnTo>
                        <a:lnTo>
                          <a:pt x="1021" y="203"/>
                        </a:lnTo>
                        <a:lnTo>
                          <a:pt x="1002" y="211"/>
                        </a:lnTo>
                        <a:lnTo>
                          <a:pt x="983" y="218"/>
                        </a:lnTo>
                        <a:lnTo>
                          <a:pt x="962" y="224"/>
                        </a:lnTo>
                        <a:lnTo>
                          <a:pt x="940" y="231"/>
                        </a:lnTo>
                        <a:lnTo>
                          <a:pt x="915" y="236"/>
                        </a:lnTo>
                        <a:lnTo>
                          <a:pt x="890" y="242"/>
                        </a:lnTo>
                        <a:lnTo>
                          <a:pt x="863" y="246"/>
                        </a:lnTo>
                        <a:lnTo>
                          <a:pt x="835" y="251"/>
                        </a:lnTo>
                        <a:lnTo>
                          <a:pt x="805" y="254"/>
                        </a:lnTo>
                        <a:lnTo>
                          <a:pt x="773" y="257"/>
                        </a:lnTo>
                        <a:lnTo>
                          <a:pt x="740" y="260"/>
                        </a:lnTo>
                        <a:lnTo>
                          <a:pt x="704" y="262"/>
                        </a:lnTo>
                        <a:lnTo>
                          <a:pt x="667" y="263"/>
                        </a:lnTo>
                        <a:lnTo>
                          <a:pt x="628" y="264"/>
                        </a:lnTo>
                        <a:lnTo>
                          <a:pt x="587" y="264"/>
                        </a:lnTo>
                        <a:lnTo>
                          <a:pt x="548" y="264"/>
                        </a:lnTo>
                        <a:lnTo>
                          <a:pt x="511" y="263"/>
                        </a:lnTo>
                        <a:lnTo>
                          <a:pt x="476" y="262"/>
                        </a:lnTo>
                        <a:lnTo>
                          <a:pt x="442" y="260"/>
                        </a:lnTo>
                        <a:lnTo>
                          <a:pt x="410" y="256"/>
                        </a:lnTo>
                        <a:lnTo>
                          <a:pt x="380" y="253"/>
                        </a:lnTo>
                        <a:lnTo>
                          <a:pt x="350" y="250"/>
                        </a:lnTo>
                        <a:lnTo>
                          <a:pt x="323" y="245"/>
                        </a:lnTo>
                        <a:lnTo>
                          <a:pt x="297" y="240"/>
                        </a:lnTo>
                        <a:lnTo>
                          <a:pt x="271" y="234"/>
                        </a:lnTo>
                        <a:lnTo>
                          <a:pt x="248" y="227"/>
                        </a:lnTo>
                        <a:lnTo>
                          <a:pt x="225" y="221"/>
                        </a:lnTo>
                        <a:lnTo>
                          <a:pt x="204" y="214"/>
                        </a:lnTo>
                        <a:lnTo>
                          <a:pt x="185" y="206"/>
                        </a:lnTo>
                        <a:lnTo>
                          <a:pt x="166" y="198"/>
                        </a:lnTo>
                        <a:lnTo>
                          <a:pt x="149" y="189"/>
                        </a:lnTo>
                        <a:lnTo>
                          <a:pt x="133" y="181"/>
                        </a:lnTo>
                        <a:lnTo>
                          <a:pt x="117" y="172"/>
                        </a:lnTo>
                        <a:lnTo>
                          <a:pt x="103" y="162"/>
                        </a:lnTo>
                        <a:lnTo>
                          <a:pt x="91" y="150"/>
                        </a:lnTo>
                        <a:lnTo>
                          <a:pt x="78" y="140"/>
                        </a:lnTo>
                        <a:lnTo>
                          <a:pt x="67" y="129"/>
                        </a:lnTo>
                        <a:lnTo>
                          <a:pt x="57" y="118"/>
                        </a:lnTo>
                        <a:lnTo>
                          <a:pt x="47" y="106"/>
                        </a:lnTo>
                        <a:lnTo>
                          <a:pt x="39" y="94"/>
                        </a:lnTo>
                        <a:lnTo>
                          <a:pt x="32" y="81"/>
                        </a:lnTo>
                        <a:lnTo>
                          <a:pt x="25" y="68"/>
                        </a:lnTo>
                        <a:lnTo>
                          <a:pt x="18" y="56"/>
                        </a:lnTo>
                        <a:lnTo>
                          <a:pt x="13" y="43"/>
                        </a:lnTo>
                        <a:lnTo>
                          <a:pt x="8" y="28"/>
                        </a:lnTo>
                        <a:lnTo>
                          <a:pt x="4" y="15"/>
                        </a:lnTo>
                        <a:lnTo>
                          <a:pt x="0" y="0"/>
                        </a:lnTo>
                        <a:lnTo>
                          <a:pt x="18" y="16"/>
                        </a:lnTo>
                        <a:lnTo>
                          <a:pt x="37" y="31"/>
                        </a:lnTo>
                        <a:lnTo>
                          <a:pt x="58" y="45"/>
                        </a:lnTo>
                        <a:lnTo>
                          <a:pt x="82" y="58"/>
                        </a:lnTo>
                        <a:lnTo>
                          <a:pt x="107" y="71"/>
                        </a:lnTo>
                        <a:lnTo>
                          <a:pt x="136" y="83"/>
                        </a:lnTo>
                        <a:lnTo>
                          <a:pt x="167" y="94"/>
                        </a:lnTo>
                        <a:lnTo>
                          <a:pt x="202" y="103"/>
                        </a:lnTo>
                        <a:lnTo>
                          <a:pt x="239" y="112"/>
                        </a:lnTo>
                        <a:lnTo>
                          <a:pt x="279" y="119"/>
                        </a:lnTo>
                        <a:lnTo>
                          <a:pt x="322" y="126"/>
                        </a:lnTo>
                        <a:lnTo>
                          <a:pt x="368" y="132"/>
                        </a:lnTo>
                        <a:lnTo>
                          <a:pt x="418" y="136"/>
                        </a:lnTo>
                        <a:lnTo>
                          <a:pt x="470" y="139"/>
                        </a:lnTo>
                        <a:lnTo>
                          <a:pt x="527" y="140"/>
                        </a:lnTo>
                        <a:lnTo>
                          <a:pt x="587" y="142"/>
                        </a:lnTo>
                        <a:close/>
                      </a:path>
                    </a:pathLst>
                  </a:custGeom>
                  <a:solidFill>
                    <a:srgbClr val="1F1A17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32" name="Freeform 181"/>
                  <p:cNvSpPr>
                    <a:spLocks/>
                  </p:cNvSpPr>
                  <p:nvPr/>
                </p:nvSpPr>
                <p:spPr bwMode="auto">
                  <a:xfrm>
                    <a:off x="3160" y="3573"/>
                    <a:ext cx="570" cy="481"/>
                  </a:xfrm>
                  <a:custGeom>
                    <a:avLst/>
                    <a:gdLst>
                      <a:gd name="T0" fmla="*/ 0 w 3992"/>
                      <a:gd name="T1" fmla="*/ 0 h 3371"/>
                      <a:gd name="T2" fmla="*/ 0 w 3992"/>
                      <a:gd name="T3" fmla="*/ 0 h 3371"/>
                      <a:gd name="T4" fmla="*/ 0 w 3992"/>
                      <a:gd name="T5" fmla="*/ 0 h 3371"/>
                      <a:gd name="T6" fmla="*/ 0 w 3992"/>
                      <a:gd name="T7" fmla="*/ 0 h 3371"/>
                      <a:gd name="T8" fmla="*/ 0 w 3992"/>
                      <a:gd name="T9" fmla="*/ 0 h 3371"/>
                      <a:gd name="T10" fmla="*/ 0 w 3992"/>
                      <a:gd name="T11" fmla="*/ 0 h 3371"/>
                      <a:gd name="T12" fmla="*/ 0 w 3992"/>
                      <a:gd name="T13" fmla="*/ 0 h 3371"/>
                      <a:gd name="T14" fmla="*/ 0 w 3992"/>
                      <a:gd name="T15" fmla="*/ 0 h 3371"/>
                      <a:gd name="T16" fmla="*/ 0 w 3992"/>
                      <a:gd name="T17" fmla="*/ 0 h 3371"/>
                      <a:gd name="T18" fmla="*/ 0 w 3992"/>
                      <a:gd name="T19" fmla="*/ 0 h 3371"/>
                      <a:gd name="T20" fmla="*/ 0 w 3992"/>
                      <a:gd name="T21" fmla="*/ 0 h 3371"/>
                      <a:gd name="T22" fmla="*/ 0 w 3992"/>
                      <a:gd name="T23" fmla="*/ 0 h 3371"/>
                      <a:gd name="T24" fmla="*/ 0 w 3992"/>
                      <a:gd name="T25" fmla="*/ 0 h 3371"/>
                      <a:gd name="T26" fmla="*/ 0 w 3992"/>
                      <a:gd name="T27" fmla="*/ 0 h 3371"/>
                      <a:gd name="T28" fmla="*/ 0 w 3992"/>
                      <a:gd name="T29" fmla="*/ 0 h 3371"/>
                      <a:gd name="T30" fmla="*/ 0 w 3992"/>
                      <a:gd name="T31" fmla="*/ 0 h 3371"/>
                      <a:gd name="T32" fmla="*/ 0 w 3992"/>
                      <a:gd name="T33" fmla="*/ 0 h 3371"/>
                      <a:gd name="T34" fmla="*/ 0 w 3992"/>
                      <a:gd name="T35" fmla="*/ 0 h 3371"/>
                      <a:gd name="T36" fmla="*/ 0 w 3992"/>
                      <a:gd name="T37" fmla="*/ 0 h 3371"/>
                      <a:gd name="T38" fmla="*/ 0 w 3992"/>
                      <a:gd name="T39" fmla="*/ 0 h 3371"/>
                      <a:gd name="T40" fmla="*/ 0 w 3992"/>
                      <a:gd name="T41" fmla="*/ 0 h 3371"/>
                      <a:gd name="T42" fmla="*/ 0 w 3992"/>
                      <a:gd name="T43" fmla="*/ 0 h 3371"/>
                      <a:gd name="T44" fmla="*/ 0 w 3992"/>
                      <a:gd name="T45" fmla="*/ 0 h 3371"/>
                      <a:gd name="T46" fmla="*/ 0 w 3992"/>
                      <a:gd name="T47" fmla="*/ 0 h 3371"/>
                      <a:gd name="T48" fmla="*/ 0 w 3992"/>
                      <a:gd name="T49" fmla="*/ 0 h 3371"/>
                      <a:gd name="T50" fmla="*/ 0 w 3992"/>
                      <a:gd name="T51" fmla="*/ 0 h 3371"/>
                      <a:gd name="T52" fmla="*/ 0 w 3992"/>
                      <a:gd name="T53" fmla="*/ 0 h 3371"/>
                      <a:gd name="T54" fmla="*/ 0 w 3992"/>
                      <a:gd name="T55" fmla="*/ 0 h 3371"/>
                      <a:gd name="T56" fmla="*/ 0 w 3992"/>
                      <a:gd name="T57" fmla="*/ 0 h 3371"/>
                      <a:gd name="T58" fmla="*/ 0 w 3992"/>
                      <a:gd name="T59" fmla="*/ 0 h 3371"/>
                      <a:gd name="T60" fmla="*/ 0 w 3992"/>
                      <a:gd name="T61" fmla="*/ 0 h 3371"/>
                      <a:gd name="T62" fmla="*/ 0 w 3992"/>
                      <a:gd name="T63" fmla="*/ 0 h 3371"/>
                      <a:gd name="T64" fmla="*/ 0 w 3992"/>
                      <a:gd name="T65" fmla="*/ 0 h 3371"/>
                      <a:gd name="T66" fmla="*/ 0 w 3992"/>
                      <a:gd name="T67" fmla="*/ 0 h 3371"/>
                      <a:gd name="T68" fmla="*/ 0 w 3992"/>
                      <a:gd name="T69" fmla="*/ 0 h 3371"/>
                      <a:gd name="T70" fmla="*/ 0 w 3992"/>
                      <a:gd name="T71" fmla="*/ 0 h 3371"/>
                      <a:gd name="T72" fmla="*/ 0 w 3992"/>
                      <a:gd name="T73" fmla="*/ 0 h 3371"/>
                      <a:gd name="T74" fmla="*/ 0 w 3992"/>
                      <a:gd name="T75" fmla="*/ 0 h 3371"/>
                      <a:gd name="T76" fmla="*/ 0 w 3992"/>
                      <a:gd name="T77" fmla="*/ 0 h 3371"/>
                      <a:gd name="T78" fmla="*/ 0 w 3992"/>
                      <a:gd name="T79" fmla="*/ 0 h 3371"/>
                      <a:gd name="T80" fmla="*/ 0 w 3992"/>
                      <a:gd name="T81" fmla="*/ 0 h 3371"/>
                      <a:gd name="T82" fmla="*/ 0 w 3992"/>
                      <a:gd name="T83" fmla="*/ 0 h 3371"/>
                      <a:gd name="T84" fmla="*/ 0 w 3992"/>
                      <a:gd name="T85" fmla="*/ 0 h 3371"/>
                      <a:gd name="T86" fmla="*/ 0 w 3992"/>
                      <a:gd name="T87" fmla="*/ 0 h 3371"/>
                      <a:gd name="T88" fmla="*/ 0 w 3992"/>
                      <a:gd name="T89" fmla="*/ 0 h 3371"/>
                      <a:gd name="T90" fmla="*/ 0 w 3992"/>
                      <a:gd name="T91" fmla="*/ 0 h 3371"/>
                      <a:gd name="T92" fmla="*/ 0 w 3992"/>
                      <a:gd name="T93" fmla="*/ 0 h 3371"/>
                      <a:gd name="T94" fmla="*/ 0 w 3992"/>
                      <a:gd name="T95" fmla="*/ 0 h 3371"/>
                      <a:gd name="T96" fmla="*/ 0 w 3992"/>
                      <a:gd name="T97" fmla="*/ 0 h 3371"/>
                      <a:gd name="T98" fmla="*/ 0 w 3992"/>
                      <a:gd name="T99" fmla="*/ 0 h 3371"/>
                      <a:gd name="T100" fmla="*/ 0 w 3992"/>
                      <a:gd name="T101" fmla="*/ 0 h 3371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w 3992"/>
                      <a:gd name="T154" fmla="*/ 0 h 3371"/>
                      <a:gd name="T155" fmla="*/ 3992 w 3992"/>
                      <a:gd name="T156" fmla="*/ 3371 h 3371"/>
                    </a:gdLst>
                    <a:ahLst/>
                    <a:cxnLst>
                      <a:cxn ang="T102">
                        <a:pos x="T0" y="T1"/>
                      </a:cxn>
                      <a:cxn ang="T103">
                        <a:pos x="T2" y="T3"/>
                      </a:cxn>
                      <a:cxn ang="T104">
                        <a:pos x="T4" y="T5"/>
                      </a:cxn>
                      <a:cxn ang="T105">
                        <a:pos x="T6" y="T7"/>
                      </a:cxn>
                      <a:cxn ang="T106">
                        <a:pos x="T8" y="T9"/>
                      </a:cxn>
                      <a:cxn ang="T107">
                        <a:pos x="T10" y="T11"/>
                      </a:cxn>
                      <a:cxn ang="T108">
                        <a:pos x="T12" y="T13"/>
                      </a:cxn>
                      <a:cxn ang="T109">
                        <a:pos x="T14" y="T15"/>
                      </a:cxn>
                      <a:cxn ang="T110">
                        <a:pos x="T16" y="T17"/>
                      </a:cxn>
                      <a:cxn ang="T111">
                        <a:pos x="T18" y="T19"/>
                      </a:cxn>
                      <a:cxn ang="T112">
                        <a:pos x="T20" y="T21"/>
                      </a:cxn>
                      <a:cxn ang="T113">
                        <a:pos x="T22" y="T23"/>
                      </a:cxn>
                      <a:cxn ang="T114">
                        <a:pos x="T24" y="T25"/>
                      </a:cxn>
                      <a:cxn ang="T115">
                        <a:pos x="T26" y="T27"/>
                      </a:cxn>
                      <a:cxn ang="T116">
                        <a:pos x="T28" y="T29"/>
                      </a:cxn>
                      <a:cxn ang="T117">
                        <a:pos x="T30" y="T31"/>
                      </a:cxn>
                      <a:cxn ang="T118">
                        <a:pos x="T32" y="T33"/>
                      </a:cxn>
                      <a:cxn ang="T119">
                        <a:pos x="T34" y="T35"/>
                      </a:cxn>
                      <a:cxn ang="T120">
                        <a:pos x="T36" y="T37"/>
                      </a:cxn>
                      <a:cxn ang="T121">
                        <a:pos x="T38" y="T39"/>
                      </a:cxn>
                      <a:cxn ang="T122">
                        <a:pos x="T40" y="T41"/>
                      </a:cxn>
                      <a:cxn ang="T123">
                        <a:pos x="T42" y="T43"/>
                      </a:cxn>
                      <a:cxn ang="T124">
                        <a:pos x="T44" y="T45"/>
                      </a:cxn>
                      <a:cxn ang="T125">
                        <a:pos x="T46" y="T47"/>
                      </a:cxn>
                      <a:cxn ang="T126">
                        <a:pos x="T48" y="T49"/>
                      </a:cxn>
                      <a:cxn ang="T127">
                        <a:pos x="T50" y="T51"/>
                      </a:cxn>
                      <a:cxn ang="T128">
                        <a:pos x="T52" y="T53"/>
                      </a:cxn>
                      <a:cxn ang="T129">
                        <a:pos x="T54" y="T55"/>
                      </a:cxn>
                      <a:cxn ang="T130">
                        <a:pos x="T56" y="T57"/>
                      </a:cxn>
                      <a:cxn ang="T131">
                        <a:pos x="T58" y="T59"/>
                      </a:cxn>
                      <a:cxn ang="T132">
                        <a:pos x="T60" y="T61"/>
                      </a:cxn>
                      <a:cxn ang="T133">
                        <a:pos x="T62" y="T63"/>
                      </a:cxn>
                      <a:cxn ang="T134">
                        <a:pos x="T64" y="T65"/>
                      </a:cxn>
                      <a:cxn ang="T135">
                        <a:pos x="T66" y="T67"/>
                      </a:cxn>
                      <a:cxn ang="T136">
                        <a:pos x="T68" y="T69"/>
                      </a:cxn>
                      <a:cxn ang="T137">
                        <a:pos x="T70" y="T71"/>
                      </a:cxn>
                      <a:cxn ang="T138">
                        <a:pos x="T72" y="T73"/>
                      </a:cxn>
                      <a:cxn ang="T139">
                        <a:pos x="T74" y="T75"/>
                      </a:cxn>
                      <a:cxn ang="T140">
                        <a:pos x="T76" y="T77"/>
                      </a:cxn>
                      <a:cxn ang="T141">
                        <a:pos x="T78" y="T79"/>
                      </a:cxn>
                      <a:cxn ang="T142">
                        <a:pos x="T80" y="T81"/>
                      </a:cxn>
                      <a:cxn ang="T143">
                        <a:pos x="T82" y="T83"/>
                      </a:cxn>
                      <a:cxn ang="T144">
                        <a:pos x="T84" y="T85"/>
                      </a:cxn>
                      <a:cxn ang="T145">
                        <a:pos x="T86" y="T87"/>
                      </a:cxn>
                      <a:cxn ang="T146">
                        <a:pos x="T88" y="T89"/>
                      </a:cxn>
                      <a:cxn ang="T147">
                        <a:pos x="T90" y="T91"/>
                      </a:cxn>
                      <a:cxn ang="T148">
                        <a:pos x="T92" y="T93"/>
                      </a:cxn>
                      <a:cxn ang="T149">
                        <a:pos x="T94" y="T95"/>
                      </a:cxn>
                      <a:cxn ang="T150">
                        <a:pos x="T96" y="T97"/>
                      </a:cxn>
                      <a:cxn ang="T151">
                        <a:pos x="T98" y="T99"/>
                      </a:cxn>
                      <a:cxn ang="T152">
                        <a:pos x="T100" y="T101"/>
                      </a:cxn>
                    </a:cxnLst>
                    <a:rect l="T153" t="T154" r="T155" b="T156"/>
                    <a:pathLst>
                      <a:path w="3992" h="3371">
                        <a:moveTo>
                          <a:pt x="2681" y="32"/>
                        </a:moveTo>
                        <a:lnTo>
                          <a:pt x="2664" y="27"/>
                        </a:lnTo>
                        <a:lnTo>
                          <a:pt x="2647" y="21"/>
                        </a:lnTo>
                        <a:lnTo>
                          <a:pt x="2629" y="17"/>
                        </a:lnTo>
                        <a:lnTo>
                          <a:pt x="2611" y="12"/>
                        </a:lnTo>
                        <a:lnTo>
                          <a:pt x="2574" y="7"/>
                        </a:lnTo>
                        <a:lnTo>
                          <a:pt x="2539" y="3"/>
                        </a:lnTo>
                        <a:lnTo>
                          <a:pt x="2502" y="1"/>
                        </a:lnTo>
                        <a:lnTo>
                          <a:pt x="2464" y="0"/>
                        </a:lnTo>
                        <a:lnTo>
                          <a:pt x="2428" y="1"/>
                        </a:lnTo>
                        <a:lnTo>
                          <a:pt x="2390" y="3"/>
                        </a:lnTo>
                        <a:lnTo>
                          <a:pt x="2315" y="8"/>
                        </a:lnTo>
                        <a:lnTo>
                          <a:pt x="2241" y="13"/>
                        </a:lnTo>
                        <a:lnTo>
                          <a:pt x="2204" y="16"/>
                        </a:lnTo>
                        <a:lnTo>
                          <a:pt x="2166" y="17"/>
                        </a:lnTo>
                        <a:lnTo>
                          <a:pt x="2129" y="17"/>
                        </a:lnTo>
                        <a:lnTo>
                          <a:pt x="2094" y="16"/>
                        </a:lnTo>
                        <a:lnTo>
                          <a:pt x="2027" y="12"/>
                        </a:lnTo>
                        <a:lnTo>
                          <a:pt x="1961" y="9"/>
                        </a:lnTo>
                        <a:lnTo>
                          <a:pt x="1894" y="7"/>
                        </a:lnTo>
                        <a:lnTo>
                          <a:pt x="1829" y="6"/>
                        </a:lnTo>
                        <a:lnTo>
                          <a:pt x="1763" y="7"/>
                        </a:lnTo>
                        <a:lnTo>
                          <a:pt x="1696" y="9"/>
                        </a:lnTo>
                        <a:lnTo>
                          <a:pt x="1664" y="11"/>
                        </a:lnTo>
                        <a:lnTo>
                          <a:pt x="1631" y="14"/>
                        </a:lnTo>
                        <a:lnTo>
                          <a:pt x="1598" y="18"/>
                        </a:lnTo>
                        <a:lnTo>
                          <a:pt x="1566" y="22"/>
                        </a:lnTo>
                        <a:lnTo>
                          <a:pt x="1534" y="27"/>
                        </a:lnTo>
                        <a:lnTo>
                          <a:pt x="1502" y="32"/>
                        </a:lnTo>
                        <a:lnTo>
                          <a:pt x="1469" y="39"/>
                        </a:lnTo>
                        <a:lnTo>
                          <a:pt x="1437" y="46"/>
                        </a:lnTo>
                        <a:lnTo>
                          <a:pt x="1405" y="55"/>
                        </a:lnTo>
                        <a:lnTo>
                          <a:pt x="1374" y="63"/>
                        </a:lnTo>
                        <a:lnTo>
                          <a:pt x="1342" y="73"/>
                        </a:lnTo>
                        <a:lnTo>
                          <a:pt x="1311" y="85"/>
                        </a:lnTo>
                        <a:lnTo>
                          <a:pt x="1280" y="97"/>
                        </a:lnTo>
                        <a:lnTo>
                          <a:pt x="1249" y="110"/>
                        </a:lnTo>
                        <a:lnTo>
                          <a:pt x="1219" y="125"/>
                        </a:lnTo>
                        <a:lnTo>
                          <a:pt x="1189" y="140"/>
                        </a:lnTo>
                        <a:lnTo>
                          <a:pt x="1159" y="157"/>
                        </a:lnTo>
                        <a:lnTo>
                          <a:pt x="1129" y="175"/>
                        </a:lnTo>
                        <a:lnTo>
                          <a:pt x="1100" y="194"/>
                        </a:lnTo>
                        <a:lnTo>
                          <a:pt x="1071" y="215"/>
                        </a:lnTo>
                        <a:lnTo>
                          <a:pt x="990" y="278"/>
                        </a:lnTo>
                        <a:lnTo>
                          <a:pt x="913" y="348"/>
                        </a:lnTo>
                        <a:lnTo>
                          <a:pt x="839" y="422"/>
                        </a:lnTo>
                        <a:lnTo>
                          <a:pt x="769" y="501"/>
                        </a:lnTo>
                        <a:lnTo>
                          <a:pt x="702" y="583"/>
                        </a:lnTo>
                        <a:lnTo>
                          <a:pt x="640" y="669"/>
                        </a:lnTo>
                        <a:lnTo>
                          <a:pt x="580" y="758"/>
                        </a:lnTo>
                        <a:lnTo>
                          <a:pt x="524" y="849"/>
                        </a:lnTo>
                        <a:lnTo>
                          <a:pt x="471" y="943"/>
                        </a:lnTo>
                        <a:lnTo>
                          <a:pt x="422" y="1038"/>
                        </a:lnTo>
                        <a:lnTo>
                          <a:pt x="375" y="1134"/>
                        </a:lnTo>
                        <a:lnTo>
                          <a:pt x="332" y="1232"/>
                        </a:lnTo>
                        <a:lnTo>
                          <a:pt x="291" y="1329"/>
                        </a:lnTo>
                        <a:lnTo>
                          <a:pt x="254" y="1427"/>
                        </a:lnTo>
                        <a:lnTo>
                          <a:pt x="219" y="1522"/>
                        </a:lnTo>
                        <a:lnTo>
                          <a:pt x="187" y="1618"/>
                        </a:lnTo>
                        <a:lnTo>
                          <a:pt x="158" y="1713"/>
                        </a:lnTo>
                        <a:lnTo>
                          <a:pt x="131" y="1804"/>
                        </a:lnTo>
                        <a:lnTo>
                          <a:pt x="108" y="1894"/>
                        </a:lnTo>
                        <a:lnTo>
                          <a:pt x="87" y="1981"/>
                        </a:lnTo>
                        <a:lnTo>
                          <a:pt x="68" y="2063"/>
                        </a:lnTo>
                        <a:lnTo>
                          <a:pt x="51" y="2143"/>
                        </a:lnTo>
                        <a:lnTo>
                          <a:pt x="38" y="2218"/>
                        </a:lnTo>
                        <a:lnTo>
                          <a:pt x="26" y="2288"/>
                        </a:lnTo>
                        <a:lnTo>
                          <a:pt x="17" y="2354"/>
                        </a:lnTo>
                        <a:lnTo>
                          <a:pt x="9" y="2413"/>
                        </a:lnTo>
                        <a:lnTo>
                          <a:pt x="5" y="2466"/>
                        </a:lnTo>
                        <a:lnTo>
                          <a:pt x="1" y="2513"/>
                        </a:lnTo>
                        <a:lnTo>
                          <a:pt x="0" y="2553"/>
                        </a:lnTo>
                        <a:lnTo>
                          <a:pt x="0" y="2585"/>
                        </a:lnTo>
                        <a:lnTo>
                          <a:pt x="2" y="2610"/>
                        </a:lnTo>
                        <a:lnTo>
                          <a:pt x="7" y="2625"/>
                        </a:lnTo>
                        <a:lnTo>
                          <a:pt x="20" y="2652"/>
                        </a:lnTo>
                        <a:lnTo>
                          <a:pt x="32" y="2679"/>
                        </a:lnTo>
                        <a:lnTo>
                          <a:pt x="46" y="2704"/>
                        </a:lnTo>
                        <a:lnTo>
                          <a:pt x="60" y="2729"/>
                        </a:lnTo>
                        <a:lnTo>
                          <a:pt x="75" y="2752"/>
                        </a:lnTo>
                        <a:lnTo>
                          <a:pt x="89" y="2774"/>
                        </a:lnTo>
                        <a:lnTo>
                          <a:pt x="105" y="2797"/>
                        </a:lnTo>
                        <a:lnTo>
                          <a:pt x="120" y="2817"/>
                        </a:lnTo>
                        <a:lnTo>
                          <a:pt x="136" y="2837"/>
                        </a:lnTo>
                        <a:lnTo>
                          <a:pt x="153" y="2856"/>
                        </a:lnTo>
                        <a:lnTo>
                          <a:pt x="169" y="2873"/>
                        </a:lnTo>
                        <a:lnTo>
                          <a:pt x="186" y="2891"/>
                        </a:lnTo>
                        <a:lnTo>
                          <a:pt x="203" y="2908"/>
                        </a:lnTo>
                        <a:lnTo>
                          <a:pt x="219" y="2923"/>
                        </a:lnTo>
                        <a:lnTo>
                          <a:pt x="236" y="2938"/>
                        </a:lnTo>
                        <a:lnTo>
                          <a:pt x="254" y="2952"/>
                        </a:lnTo>
                        <a:lnTo>
                          <a:pt x="271" y="2966"/>
                        </a:lnTo>
                        <a:lnTo>
                          <a:pt x="288" y="2979"/>
                        </a:lnTo>
                        <a:lnTo>
                          <a:pt x="305" y="2991"/>
                        </a:lnTo>
                        <a:lnTo>
                          <a:pt x="323" y="3002"/>
                        </a:lnTo>
                        <a:lnTo>
                          <a:pt x="357" y="3022"/>
                        </a:lnTo>
                        <a:lnTo>
                          <a:pt x="391" y="3041"/>
                        </a:lnTo>
                        <a:lnTo>
                          <a:pt x="424" y="3057"/>
                        </a:lnTo>
                        <a:lnTo>
                          <a:pt x="456" y="3070"/>
                        </a:lnTo>
                        <a:lnTo>
                          <a:pt x="486" y="3081"/>
                        </a:lnTo>
                        <a:lnTo>
                          <a:pt x="517" y="3090"/>
                        </a:lnTo>
                        <a:lnTo>
                          <a:pt x="550" y="3100"/>
                        </a:lnTo>
                        <a:lnTo>
                          <a:pt x="586" y="3111"/>
                        </a:lnTo>
                        <a:lnTo>
                          <a:pt x="622" y="3125"/>
                        </a:lnTo>
                        <a:lnTo>
                          <a:pt x="660" y="3138"/>
                        </a:lnTo>
                        <a:lnTo>
                          <a:pt x="740" y="3169"/>
                        </a:lnTo>
                        <a:lnTo>
                          <a:pt x="825" y="3201"/>
                        </a:lnTo>
                        <a:lnTo>
                          <a:pt x="868" y="3216"/>
                        </a:lnTo>
                        <a:lnTo>
                          <a:pt x="913" y="3232"/>
                        </a:lnTo>
                        <a:lnTo>
                          <a:pt x="957" y="3246"/>
                        </a:lnTo>
                        <a:lnTo>
                          <a:pt x="1003" y="3260"/>
                        </a:lnTo>
                        <a:lnTo>
                          <a:pt x="1049" y="3272"/>
                        </a:lnTo>
                        <a:lnTo>
                          <a:pt x="1094" y="3282"/>
                        </a:lnTo>
                        <a:lnTo>
                          <a:pt x="1140" y="3291"/>
                        </a:lnTo>
                        <a:lnTo>
                          <a:pt x="1185" y="3296"/>
                        </a:lnTo>
                        <a:lnTo>
                          <a:pt x="1264" y="3306"/>
                        </a:lnTo>
                        <a:lnTo>
                          <a:pt x="1350" y="3316"/>
                        </a:lnTo>
                        <a:lnTo>
                          <a:pt x="1439" y="3327"/>
                        </a:lnTo>
                        <a:lnTo>
                          <a:pt x="1532" y="3339"/>
                        </a:lnTo>
                        <a:lnTo>
                          <a:pt x="1624" y="3350"/>
                        </a:lnTo>
                        <a:lnTo>
                          <a:pt x="1716" y="3359"/>
                        </a:lnTo>
                        <a:lnTo>
                          <a:pt x="1761" y="3363"/>
                        </a:lnTo>
                        <a:lnTo>
                          <a:pt x="1805" y="3366"/>
                        </a:lnTo>
                        <a:lnTo>
                          <a:pt x="1849" y="3369"/>
                        </a:lnTo>
                        <a:lnTo>
                          <a:pt x="1890" y="3371"/>
                        </a:lnTo>
                        <a:lnTo>
                          <a:pt x="1933" y="3371"/>
                        </a:lnTo>
                        <a:lnTo>
                          <a:pt x="1978" y="3370"/>
                        </a:lnTo>
                        <a:lnTo>
                          <a:pt x="2021" y="3367"/>
                        </a:lnTo>
                        <a:lnTo>
                          <a:pt x="2065" y="3364"/>
                        </a:lnTo>
                        <a:lnTo>
                          <a:pt x="2108" y="3359"/>
                        </a:lnTo>
                        <a:lnTo>
                          <a:pt x="2152" y="3353"/>
                        </a:lnTo>
                        <a:lnTo>
                          <a:pt x="2195" y="3346"/>
                        </a:lnTo>
                        <a:lnTo>
                          <a:pt x="2238" y="3340"/>
                        </a:lnTo>
                        <a:lnTo>
                          <a:pt x="2324" y="3325"/>
                        </a:lnTo>
                        <a:lnTo>
                          <a:pt x="2410" y="3313"/>
                        </a:lnTo>
                        <a:lnTo>
                          <a:pt x="2452" y="3307"/>
                        </a:lnTo>
                        <a:lnTo>
                          <a:pt x="2494" y="3302"/>
                        </a:lnTo>
                        <a:lnTo>
                          <a:pt x="2536" y="3298"/>
                        </a:lnTo>
                        <a:lnTo>
                          <a:pt x="2578" y="3296"/>
                        </a:lnTo>
                        <a:lnTo>
                          <a:pt x="2615" y="3294"/>
                        </a:lnTo>
                        <a:lnTo>
                          <a:pt x="2655" y="3291"/>
                        </a:lnTo>
                        <a:lnTo>
                          <a:pt x="2698" y="3285"/>
                        </a:lnTo>
                        <a:lnTo>
                          <a:pt x="2745" y="3278"/>
                        </a:lnTo>
                        <a:lnTo>
                          <a:pt x="2793" y="3270"/>
                        </a:lnTo>
                        <a:lnTo>
                          <a:pt x="2842" y="3261"/>
                        </a:lnTo>
                        <a:lnTo>
                          <a:pt x="2892" y="3251"/>
                        </a:lnTo>
                        <a:lnTo>
                          <a:pt x="2942" y="3239"/>
                        </a:lnTo>
                        <a:lnTo>
                          <a:pt x="3040" y="3218"/>
                        </a:lnTo>
                        <a:lnTo>
                          <a:pt x="3133" y="3196"/>
                        </a:lnTo>
                        <a:lnTo>
                          <a:pt x="3214" y="3175"/>
                        </a:lnTo>
                        <a:lnTo>
                          <a:pt x="3282" y="3158"/>
                        </a:lnTo>
                        <a:lnTo>
                          <a:pt x="3327" y="3146"/>
                        </a:lnTo>
                        <a:lnTo>
                          <a:pt x="3375" y="3132"/>
                        </a:lnTo>
                        <a:lnTo>
                          <a:pt x="3425" y="3115"/>
                        </a:lnTo>
                        <a:lnTo>
                          <a:pt x="3477" y="3096"/>
                        </a:lnTo>
                        <a:lnTo>
                          <a:pt x="3531" y="3075"/>
                        </a:lnTo>
                        <a:lnTo>
                          <a:pt x="3584" y="3053"/>
                        </a:lnTo>
                        <a:lnTo>
                          <a:pt x="3637" y="3027"/>
                        </a:lnTo>
                        <a:lnTo>
                          <a:pt x="3689" y="3000"/>
                        </a:lnTo>
                        <a:lnTo>
                          <a:pt x="3714" y="2986"/>
                        </a:lnTo>
                        <a:lnTo>
                          <a:pt x="3740" y="2971"/>
                        </a:lnTo>
                        <a:lnTo>
                          <a:pt x="3764" y="2957"/>
                        </a:lnTo>
                        <a:lnTo>
                          <a:pt x="3788" y="2941"/>
                        </a:lnTo>
                        <a:lnTo>
                          <a:pt x="3810" y="2926"/>
                        </a:lnTo>
                        <a:lnTo>
                          <a:pt x="3832" y="2909"/>
                        </a:lnTo>
                        <a:lnTo>
                          <a:pt x="3853" y="2892"/>
                        </a:lnTo>
                        <a:lnTo>
                          <a:pt x="3873" y="2874"/>
                        </a:lnTo>
                        <a:lnTo>
                          <a:pt x="3892" y="2858"/>
                        </a:lnTo>
                        <a:lnTo>
                          <a:pt x="3910" y="2840"/>
                        </a:lnTo>
                        <a:lnTo>
                          <a:pt x="3927" y="2821"/>
                        </a:lnTo>
                        <a:lnTo>
                          <a:pt x="3941" y="2802"/>
                        </a:lnTo>
                        <a:lnTo>
                          <a:pt x="3955" y="2783"/>
                        </a:lnTo>
                        <a:lnTo>
                          <a:pt x="3967" y="2764"/>
                        </a:lnTo>
                        <a:lnTo>
                          <a:pt x="3977" y="2744"/>
                        </a:lnTo>
                        <a:lnTo>
                          <a:pt x="3986" y="2724"/>
                        </a:lnTo>
                        <a:lnTo>
                          <a:pt x="3990" y="2703"/>
                        </a:lnTo>
                        <a:lnTo>
                          <a:pt x="3992" y="2671"/>
                        </a:lnTo>
                        <a:lnTo>
                          <a:pt x="3991" y="2627"/>
                        </a:lnTo>
                        <a:lnTo>
                          <a:pt x="3988" y="2575"/>
                        </a:lnTo>
                        <a:lnTo>
                          <a:pt x="3982" y="2514"/>
                        </a:lnTo>
                        <a:lnTo>
                          <a:pt x="3974" y="2445"/>
                        </a:lnTo>
                        <a:lnTo>
                          <a:pt x="3962" y="2368"/>
                        </a:lnTo>
                        <a:lnTo>
                          <a:pt x="3948" y="2284"/>
                        </a:lnTo>
                        <a:lnTo>
                          <a:pt x="3931" y="2195"/>
                        </a:lnTo>
                        <a:lnTo>
                          <a:pt x="3911" y="2099"/>
                        </a:lnTo>
                        <a:lnTo>
                          <a:pt x="3888" y="1999"/>
                        </a:lnTo>
                        <a:lnTo>
                          <a:pt x="3862" y="1894"/>
                        </a:lnTo>
                        <a:lnTo>
                          <a:pt x="3833" y="1787"/>
                        </a:lnTo>
                        <a:lnTo>
                          <a:pt x="3802" y="1677"/>
                        </a:lnTo>
                        <a:lnTo>
                          <a:pt x="3768" y="1565"/>
                        </a:lnTo>
                        <a:lnTo>
                          <a:pt x="3730" y="1451"/>
                        </a:lnTo>
                        <a:lnTo>
                          <a:pt x="3689" y="1338"/>
                        </a:lnTo>
                        <a:lnTo>
                          <a:pt x="3644" y="1223"/>
                        </a:lnTo>
                        <a:lnTo>
                          <a:pt x="3597" y="1111"/>
                        </a:lnTo>
                        <a:lnTo>
                          <a:pt x="3547" y="999"/>
                        </a:lnTo>
                        <a:lnTo>
                          <a:pt x="3494" y="889"/>
                        </a:lnTo>
                        <a:lnTo>
                          <a:pt x="3437" y="783"/>
                        </a:lnTo>
                        <a:lnTo>
                          <a:pt x="3377" y="680"/>
                        </a:lnTo>
                        <a:lnTo>
                          <a:pt x="3314" y="582"/>
                        </a:lnTo>
                        <a:lnTo>
                          <a:pt x="3247" y="489"/>
                        </a:lnTo>
                        <a:lnTo>
                          <a:pt x="3175" y="401"/>
                        </a:lnTo>
                        <a:lnTo>
                          <a:pt x="3102" y="319"/>
                        </a:lnTo>
                        <a:lnTo>
                          <a:pt x="3025" y="245"/>
                        </a:lnTo>
                        <a:lnTo>
                          <a:pt x="2945" y="178"/>
                        </a:lnTo>
                        <a:lnTo>
                          <a:pt x="2861" y="120"/>
                        </a:lnTo>
                        <a:lnTo>
                          <a:pt x="2773" y="71"/>
                        </a:lnTo>
                        <a:lnTo>
                          <a:pt x="2681" y="32"/>
                        </a:lnTo>
                        <a:close/>
                      </a:path>
                    </a:pathLst>
                  </a:custGeom>
                  <a:solidFill>
                    <a:srgbClr val="311F74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33" name="Freeform 182"/>
                  <p:cNvSpPr>
                    <a:spLocks noEditPoints="1"/>
                  </p:cNvSpPr>
                  <p:nvPr/>
                </p:nvSpPr>
                <p:spPr bwMode="auto">
                  <a:xfrm>
                    <a:off x="3333" y="3710"/>
                    <a:ext cx="230" cy="174"/>
                  </a:xfrm>
                  <a:custGeom>
                    <a:avLst/>
                    <a:gdLst>
                      <a:gd name="T0" fmla="*/ 0 w 1608"/>
                      <a:gd name="T1" fmla="*/ 0 h 1215"/>
                      <a:gd name="T2" fmla="*/ 0 w 1608"/>
                      <a:gd name="T3" fmla="*/ 0 h 1215"/>
                      <a:gd name="T4" fmla="*/ 0 w 1608"/>
                      <a:gd name="T5" fmla="*/ 0 h 1215"/>
                      <a:gd name="T6" fmla="*/ 0 w 1608"/>
                      <a:gd name="T7" fmla="*/ 0 h 1215"/>
                      <a:gd name="T8" fmla="*/ 0 w 1608"/>
                      <a:gd name="T9" fmla="*/ 0 h 1215"/>
                      <a:gd name="T10" fmla="*/ 0 w 1608"/>
                      <a:gd name="T11" fmla="*/ 0 h 1215"/>
                      <a:gd name="T12" fmla="*/ 0 w 1608"/>
                      <a:gd name="T13" fmla="*/ 0 h 1215"/>
                      <a:gd name="T14" fmla="*/ 0 w 1608"/>
                      <a:gd name="T15" fmla="*/ 0 h 1215"/>
                      <a:gd name="T16" fmla="*/ 0 w 1608"/>
                      <a:gd name="T17" fmla="*/ 0 h 1215"/>
                      <a:gd name="T18" fmla="*/ 0 w 1608"/>
                      <a:gd name="T19" fmla="*/ 0 h 1215"/>
                      <a:gd name="T20" fmla="*/ 0 w 1608"/>
                      <a:gd name="T21" fmla="*/ 0 h 1215"/>
                      <a:gd name="T22" fmla="*/ 0 w 1608"/>
                      <a:gd name="T23" fmla="*/ 0 h 1215"/>
                      <a:gd name="T24" fmla="*/ 0 w 1608"/>
                      <a:gd name="T25" fmla="*/ 0 h 1215"/>
                      <a:gd name="T26" fmla="*/ 0 w 1608"/>
                      <a:gd name="T27" fmla="*/ 0 h 1215"/>
                      <a:gd name="T28" fmla="*/ 0 w 1608"/>
                      <a:gd name="T29" fmla="*/ 0 h 1215"/>
                      <a:gd name="T30" fmla="*/ 0 w 1608"/>
                      <a:gd name="T31" fmla="*/ 0 h 1215"/>
                      <a:gd name="T32" fmla="*/ 0 w 1608"/>
                      <a:gd name="T33" fmla="*/ 0 h 1215"/>
                      <a:gd name="T34" fmla="*/ 0 w 1608"/>
                      <a:gd name="T35" fmla="*/ 0 h 1215"/>
                      <a:gd name="T36" fmla="*/ 0 w 1608"/>
                      <a:gd name="T37" fmla="*/ 0 h 1215"/>
                      <a:gd name="T38" fmla="*/ 0 w 1608"/>
                      <a:gd name="T39" fmla="*/ 0 h 1215"/>
                      <a:gd name="T40" fmla="*/ 0 w 1608"/>
                      <a:gd name="T41" fmla="*/ 0 h 1215"/>
                      <a:gd name="T42" fmla="*/ 0 w 1608"/>
                      <a:gd name="T43" fmla="*/ 0 h 1215"/>
                      <a:gd name="T44" fmla="*/ 0 w 1608"/>
                      <a:gd name="T45" fmla="*/ 0 h 1215"/>
                      <a:gd name="T46" fmla="*/ 0 w 1608"/>
                      <a:gd name="T47" fmla="*/ 0 h 1215"/>
                      <a:gd name="T48" fmla="*/ 0 w 1608"/>
                      <a:gd name="T49" fmla="*/ 0 h 1215"/>
                      <a:gd name="T50" fmla="*/ 0 w 1608"/>
                      <a:gd name="T51" fmla="*/ 0 h 1215"/>
                      <a:gd name="T52" fmla="*/ 0 w 1608"/>
                      <a:gd name="T53" fmla="*/ 0 h 1215"/>
                      <a:gd name="T54" fmla="*/ 0 w 1608"/>
                      <a:gd name="T55" fmla="*/ 0 h 1215"/>
                      <a:gd name="T56" fmla="*/ 0 w 1608"/>
                      <a:gd name="T57" fmla="*/ 0 h 1215"/>
                      <a:gd name="T58" fmla="*/ 0 w 1608"/>
                      <a:gd name="T59" fmla="*/ 0 h 1215"/>
                      <a:gd name="T60" fmla="*/ 0 w 1608"/>
                      <a:gd name="T61" fmla="*/ 0 h 1215"/>
                      <a:gd name="T62" fmla="*/ 0 w 1608"/>
                      <a:gd name="T63" fmla="*/ 0 h 1215"/>
                      <a:gd name="T64" fmla="*/ 0 w 1608"/>
                      <a:gd name="T65" fmla="*/ 0 h 1215"/>
                      <a:gd name="T66" fmla="*/ 0 w 1608"/>
                      <a:gd name="T67" fmla="*/ 0 h 1215"/>
                      <a:gd name="T68" fmla="*/ 0 w 1608"/>
                      <a:gd name="T69" fmla="*/ 0 h 1215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w 1608"/>
                      <a:gd name="T106" fmla="*/ 0 h 1215"/>
                      <a:gd name="T107" fmla="*/ 1608 w 1608"/>
                      <a:gd name="T108" fmla="*/ 1215 h 1215"/>
                    </a:gdLst>
                    <a:ahLst/>
                    <a:cxnLst>
                      <a:cxn ang="T70">
                        <a:pos x="T0" y="T1"/>
                      </a:cxn>
                      <a:cxn ang="T71">
                        <a:pos x="T2" y="T3"/>
                      </a:cxn>
                      <a:cxn ang="T72">
                        <a:pos x="T4" y="T5"/>
                      </a:cxn>
                      <a:cxn ang="T73">
                        <a:pos x="T6" y="T7"/>
                      </a:cxn>
                      <a:cxn ang="T74">
                        <a:pos x="T8" y="T9"/>
                      </a:cxn>
                      <a:cxn ang="T75">
                        <a:pos x="T10" y="T11"/>
                      </a:cxn>
                      <a:cxn ang="T76">
                        <a:pos x="T12" y="T13"/>
                      </a:cxn>
                      <a:cxn ang="T77">
                        <a:pos x="T14" y="T15"/>
                      </a:cxn>
                      <a:cxn ang="T78">
                        <a:pos x="T16" y="T17"/>
                      </a:cxn>
                      <a:cxn ang="T79">
                        <a:pos x="T18" y="T19"/>
                      </a:cxn>
                      <a:cxn ang="T80">
                        <a:pos x="T20" y="T21"/>
                      </a:cxn>
                      <a:cxn ang="T81">
                        <a:pos x="T22" y="T23"/>
                      </a:cxn>
                      <a:cxn ang="T82">
                        <a:pos x="T24" y="T25"/>
                      </a:cxn>
                      <a:cxn ang="T83">
                        <a:pos x="T26" y="T27"/>
                      </a:cxn>
                      <a:cxn ang="T84">
                        <a:pos x="T28" y="T29"/>
                      </a:cxn>
                      <a:cxn ang="T85">
                        <a:pos x="T30" y="T31"/>
                      </a:cxn>
                      <a:cxn ang="T86">
                        <a:pos x="T32" y="T33"/>
                      </a:cxn>
                      <a:cxn ang="T87">
                        <a:pos x="T34" y="T35"/>
                      </a:cxn>
                      <a:cxn ang="T88">
                        <a:pos x="T36" y="T37"/>
                      </a:cxn>
                      <a:cxn ang="T89">
                        <a:pos x="T38" y="T39"/>
                      </a:cxn>
                      <a:cxn ang="T90">
                        <a:pos x="T40" y="T41"/>
                      </a:cxn>
                      <a:cxn ang="T91">
                        <a:pos x="T42" y="T43"/>
                      </a:cxn>
                      <a:cxn ang="T92">
                        <a:pos x="T44" y="T45"/>
                      </a:cxn>
                      <a:cxn ang="T93">
                        <a:pos x="T46" y="T47"/>
                      </a:cxn>
                      <a:cxn ang="T94">
                        <a:pos x="T48" y="T49"/>
                      </a:cxn>
                      <a:cxn ang="T95">
                        <a:pos x="T50" y="T51"/>
                      </a:cxn>
                      <a:cxn ang="T96">
                        <a:pos x="T52" y="T53"/>
                      </a:cxn>
                      <a:cxn ang="T97">
                        <a:pos x="T54" y="T55"/>
                      </a:cxn>
                      <a:cxn ang="T98">
                        <a:pos x="T56" y="T57"/>
                      </a:cxn>
                      <a:cxn ang="T99">
                        <a:pos x="T58" y="T59"/>
                      </a:cxn>
                      <a:cxn ang="T100">
                        <a:pos x="T60" y="T61"/>
                      </a:cxn>
                      <a:cxn ang="T101">
                        <a:pos x="T62" y="T63"/>
                      </a:cxn>
                      <a:cxn ang="T102">
                        <a:pos x="T64" y="T65"/>
                      </a:cxn>
                      <a:cxn ang="T103">
                        <a:pos x="T66" y="T67"/>
                      </a:cxn>
                      <a:cxn ang="T104">
                        <a:pos x="T68" y="T69"/>
                      </a:cxn>
                    </a:cxnLst>
                    <a:rect l="T105" t="T106" r="T107" b="T108"/>
                    <a:pathLst>
                      <a:path w="1608" h="1215">
                        <a:moveTo>
                          <a:pt x="1573" y="0"/>
                        </a:moveTo>
                        <a:lnTo>
                          <a:pt x="0" y="0"/>
                        </a:lnTo>
                        <a:lnTo>
                          <a:pt x="1" y="1215"/>
                        </a:lnTo>
                        <a:lnTo>
                          <a:pt x="1596" y="1215"/>
                        </a:lnTo>
                        <a:lnTo>
                          <a:pt x="1608" y="0"/>
                        </a:lnTo>
                        <a:lnTo>
                          <a:pt x="1573" y="0"/>
                        </a:lnTo>
                        <a:close/>
                        <a:moveTo>
                          <a:pt x="1537" y="54"/>
                        </a:moveTo>
                        <a:lnTo>
                          <a:pt x="1537" y="75"/>
                        </a:lnTo>
                        <a:lnTo>
                          <a:pt x="1537" y="115"/>
                        </a:lnTo>
                        <a:lnTo>
                          <a:pt x="1536" y="171"/>
                        </a:lnTo>
                        <a:lnTo>
                          <a:pt x="1535" y="241"/>
                        </a:lnTo>
                        <a:lnTo>
                          <a:pt x="1535" y="324"/>
                        </a:lnTo>
                        <a:lnTo>
                          <a:pt x="1534" y="414"/>
                        </a:lnTo>
                        <a:lnTo>
                          <a:pt x="1533" y="510"/>
                        </a:lnTo>
                        <a:lnTo>
                          <a:pt x="1532" y="609"/>
                        </a:lnTo>
                        <a:lnTo>
                          <a:pt x="1530" y="708"/>
                        </a:lnTo>
                        <a:lnTo>
                          <a:pt x="1529" y="803"/>
                        </a:lnTo>
                        <a:lnTo>
                          <a:pt x="1529" y="894"/>
                        </a:lnTo>
                        <a:lnTo>
                          <a:pt x="1528" y="975"/>
                        </a:lnTo>
                        <a:lnTo>
                          <a:pt x="1527" y="1046"/>
                        </a:lnTo>
                        <a:lnTo>
                          <a:pt x="1527" y="1103"/>
                        </a:lnTo>
                        <a:lnTo>
                          <a:pt x="1526" y="1142"/>
                        </a:lnTo>
                        <a:lnTo>
                          <a:pt x="1526" y="1162"/>
                        </a:lnTo>
                        <a:lnTo>
                          <a:pt x="1500" y="1162"/>
                        </a:lnTo>
                        <a:lnTo>
                          <a:pt x="1448" y="1162"/>
                        </a:lnTo>
                        <a:lnTo>
                          <a:pt x="1373" y="1162"/>
                        </a:lnTo>
                        <a:lnTo>
                          <a:pt x="1281" y="1162"/>
                        </a:lnTo>
                        <a:lnTo>
                          <a:pt x="1173" y="1162"/>
                        </a:lnTo>
                        <a:lnTo>
                          <a:pt x="1054" y="1162"/>
                        </a:lnTo>
                        <a:lnTo>
                          <a:pt x="928" y="1162"/>
                        </a:lnTo>
                        <a:lnTo>
                          <a:pt x="799" y="1162"/>
                        </a:lnTo>
                        <a:lnTo>
                          <a:pt x="669" y="1162"/>
                        </a:lnTo>
                        <a:lnTo>
                          <a:pt x="543" y="1162"/>
                        </a:lnTo>
                        <a:lnTo>
                          <a:pt x="425" y="1162"/>
                        </a:lnTo>
                        <a:lnTo>
                          <a:pt x="317" y="1162"/>
                        </a:lnTo>
                        <a:lnTo>
                          <a:pt x="225" y="1162"/>
                        </a:lnTo>
                        <a:lnTo>
                          <a:pt x="150" y="1162"/>
                        </a:lnTo>
                        <a:lnTo>
                          <a:pt x="98" y="1162"/>
                        </a:lnTo>
                        <a:lnTo>
                          <a:pt x="71" y="1162"/>
                        </a:lnTo>
                        <a:lnTo>
                          <a:pt x="71" y="1142"/>
                        </a:lnTo>
                        <a:lnTo>
                          <a:pt x="71" y="1103"/>
                        </a:lnTo>
                        <a:lnTo>
                          <a:pt x="71" y="1046"/>
                        </a:lnTo>
                        <a:lnTo>
                          <a:pt x="71" y="975"/>
                        </a:lnTo>
                        <a:lnTo>
                          <a:pt x="71" y="894"/>
                        </a:lnTo>
                        <a:lnTo>
                          <a:pt x="71" y="803"/>
                        </a:lnTo>
                        <a:lnTo>
                          <a:pt x="71" y="708"/>
                        </a:lnTo>
                        <a:lnTo>
                          <a:pt x="71" y="609"/>
                        </a:lnTo>
                        <a:lnTo>
                          <a:pt x="71" y="510"/>
                        </a:lnTo>
                        <a:lnTo>
                          <a:pt x="71" y="414"/>
                        </a:lnTo>
                        <a:lnTo>
                          <a:pt x="71" y="324"/>
                        </a:lnTo>
                        <a:lnTo>
                          <a:pt x="71" y="241"/>
                        </a:lnTo>
                        <a:lnTo>
                          <a:pt x="71" y="171"/>
                        </a:lnTo>
                        <a:lnTo>
                          <a:pt x="71" y="115"/>
                        </a:lnTo>
                        <a:lnTo>
                          <a:pt x="71" y="75"/>
                        </a:lnTo>
                        <a:lnTo>
                          <a:pt x="71" y="54"/>
                        </a:lnTo>
                        <a:lnTo>
                          <a:pt x="98" y="54"/>
                        </a:lnTo>
                        <a:lnTo>
                          <a:pt x="150" y="54"/>
                        </a:lnTo>
                        <a:lnTo>
                          <a:pt x="225" y="54"/>
                        </a:lnTo>
                        <a:lnTo>
                          <a:pt x="318" y="54"/>
                        </a:lnTo>
                        <a:lnTo>
                          <a:pt x="427" y="54"/>
                        </a:lnTo>
                        <a:lnTo>
                          <a:pt x="547" y="54"/>
                        </a:lnTo>
                        <a:lnTo>
                          <a:pt x="673" y="54"/>
                        </a:lnTo>
                        <a:lnTo>
                          <a:pt x="804" y="54"/>
                        </a:lnTo>
                        <a:lnTo>
                          <a:pt x="935" y="54"/>
                        </a:lnTo>
                        <a:lnTo>
                          <a:pt x="1062" y="54"/>
                        </a:lnTo>
                        <a:lnTo>
                          <a:pt x="1181" y="54"/>
                        </a:lnTo>
                        <a:lnTo>
                          <a:pt x="1289" y="54"/>
                        </a:lnTo>
                        <a:lnTo>
                          <a:pt x="1382" y="54"/>
                        </a:lnTo>
                        <a:lnTo>
                          <a:pt x="1458" y="54"/>
                        </a:lnTo>
                        <a:lnTo>
                          <a:pt x="1510" y="54"/>
                        </a:lnTo>
                        <a:lnTo>
                          <a:pt x="1537" y="54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34" name="Freeform 183"/>
                  <p:cNvSpPr>
                    <a:spLocks noEditPoints="1"/>
                  </p:cNvSpPr>
                  <p:nvPr/>
                </p:nvSpPr>
                <p:spPr bwMode="auto">
                  <a:xfrm>
                    <a:off x="3359" y="3730"/>
                    <a:ext cx="178" cy="134"/>
                  </a:xfrm>
                  <a:custGeom>
                    <a:avLst/>
                    <a:gdLst>
                      <a:gd name="T0" fmla="*/ 0 w 1245"/>
                      <a:gd name="T1" fmla="*/ 0 h 941"/>
                      <a:gd name="T2" fmla="*/ 0 w 1245"/>
                      <a:gd name="T3" fmla="*/ 0 h 941"/>
                      <a:gd name="T4" fmla="*/ 0 w 1245"/>
                      <a:gd name="T5" fmla="*/ 0 h 941"/>
                      <a:gd name="T6" fmla="*/ 0 w 1245"/>
                      <a:gd name="T7" fmla="*/ 0 h 941"/>
                      <a:gd name="T8" fmla="*/ 0 w 1245"/>
                      <a:gd name="T9" fmla="*/ 0 h 941"/>
                      <a:gd name="T10" fmla="*/ 0 w 1245"/>
                      <a:gd name="T11" fmla="*/ 0 h 941"/>
                      <a:gd name="T12" fmla="*/ 0 w 1245"/>
                      <a:gd name="T13" fmla="*/ 0 h 941"/>
                      <a:gd name="T14" fmla="*/ 0 w 1245"/>
                      <a:gd name="T15" fmla="*/ 0 h 941"/>
                      <a:gd name="T16" fmla="*/ 0 w 1245"/>
                      <a:gd name="T17" fmla="*/ 0 h 941"/>
                      <a:gd name="T18" fmla="*/ 0 w 1245"/>
                      <a:gd name="T19" fmla="*/ 0 h 941"/>
                      <a:gd name="T20" fmla="*/ 0 w 1245"/>
                      <a:gd name="T21" fmla="*/ 0 h 941"/>
                      <a:gd name="T22" fmla="*/ 0 w 1245"/>
                      <a:gd name="T23" fmla="*/ 0 h 941"/>
                      <a:gd name="T24" fmla="*/ 0 w 1245"/>
                      <a:gd name="T25" fmla="*/ 0 h 941"/>
                      <a:gd name="T26" fmla="*/ 0 w 1245"/>
                      <a:gd name="T27" fmla="*/ 0 h 941"/>
                      <a:gd name="T28" fmla="*/ 0 w 1245"/>
                      <a:gd name="T29" fmla="*/ 0 h 941"/>
                      <a:gd name="T30" fmla="*/ 0 w 1245"/>
                      <a:gd name="T31" fmla="*/ 0 h 941"/>
                      <a:gd name="T32" fmla="*/ 0 w 1245"/>
                      <a:gd name="T33" fmla="*/ 0 h 941"/>
                      <a:gd name="T34" fmla="*/ 0 w 1245"/>
                      <a:gd name="T35" fmla="*/ 0 h 941"/>
                      <a:gd name="T36" fmla="*/ 0 w 1245"/>
                      <a:gd name="T37" fmla="*/ 0 h 941"/>
                      <a:gd name="T38" fmla="*/ 0 w 1245"/>
                      <a:gd name="T39" fmla="*/ 0 h 941"/>
                      <a:gd name="T40" fmla="*/ 0 w 1245"/>
                      <a:gd name="T41" fmla="*/ 0 h 941"/>
                      <a:gd name="T42" fmla="*/ 0 w 1245"/>
                      <a:gd name="T43" fmla="*/ 0 h 941"/>
                      <a:gd name="T44" fmla="*/ 0 w 1245"/>
                      <a:gd name="T45" fmla="*/ 0 h 941"/>
                      <a:gd name="T46" fmla="*/ 0 w 1245"/>
                      <a:gd name="T47" fmla="*/ 0 h 941"/>
                      <a:gd name="T48" fmla="*/ 0 w 1245"/>
                      <a:gd name="T49" fmla="*/ 0 h 941"/>
                      <a:gd name="T50" fmla="*/ 0 w 1245"/>
                      <a:gd name="T51" fmla="*/ 0 h 941"/>
                      <a:gd name="T52" fmla="*/ 0 w 1245"/>
                      <a:gd name="T53" fmla="*/ 0 h 941"/>
                      <a:gd name="T54" fmla="*/ 0 w 1245"/>
                      <a:gd name="T55" fmla="*/ 0 h 941"/>
                      <a:gd name="T56" fmla="*/ 0 w 1245"/>
                      <a:gd name="T57" fmla="*/ 0 h 941"/>
                      <a:gd name="T58" fmla="*/ 0 w 1245"/>
                      <a:gd name="T59" fmla="*/ 0 h 941"/>
                      <a:gd name="T60" fmla="*/ 0 w 1245"/>
                      <a:gd name="T61" fmla="*/ 0 h 941"/>
                      <a:gd name="T62" fmla="*/ 0 w 1245"/>
                      <a:gd name="T63" fmla="*/ 0 h 941"/>
                      <a:gd name="T64" fmla="*/ 0 w 1245"/>
                      <a:gd name="T65" fmla="*/ 0 h 941"/>
                      <a:gd name="T66" fmla="*/ 0 w 1245"/>
                      <a:gd name="T67" fmla="*/ 0 h 941"/>
                      <a:gd name="T68" fmla="*/ 0 w 1245"/>
                      <a:gd name="T69" fmla="*/ 0 h 941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w 1245"/>
                      <a:gd name="T106" fmla="*/ 0 h 941"/>
                      <a:gd name="T107" fmla="*/ 1245 w 1245"/>
                      <a:gd name="T108" fmla="*/ 941 h 941"/>
                    </a:gdLst>
                    <a:ahLst/>
                    <a:cxnLst>
                      <a:cxn ang="T70">
                        <a:pos x="T0" y="T1"/>
                      </a:cxn>
                      <a:cxn ang="T71">
                        <a:pos x="T2" y="T3"/>
                      </a:cxn>
                      <a:cxn ang="T72">
                        <a:pos x="T4" y="T5"/>
                      </a:cxn>
                      <a:cxn ang="T73">
                        <a:pos x="T6" y="T7"/>
                      </a:cxn>
                      <a:cxn ang="T74">
                        <a:pos x="T8" y="T9"/>
                      </a:cxn>
                      <a:cxn ang="T75">
                        <a:pos x="T10" y="T11"/>
                      </a:cxn>
                      <a:cxn ang="T76">
                        <a:pos x="T12" y="T13"/>
                      </a:cxn>
                      <a:cxn ang="T77">
                        <a:pos x="T14" y="T15"/>
                      </a:cxn>
                      <a:cxn ang="T78">
                        <a:pos x="T16" y="T17"/>
                      </a:cxn>
                      <a:cxn ang="T79">
                        <a:pos x="T18" y="T19"/>
                      </a:cxn>
                      <a:cxn ang="T80">
                        <a:pos x="T20" y="T21"/>
                      </a:cxn>
                      <a:cxn ang="T81">
                        <a:pos x="T22" y="T23"/>
                      </a:cxn>
                      <a:cxn ang="T82">
                        <a:pos x="T24" y="T25"/>
                      </a:cxn>
                      <a:cxn ang="T83">
                        <a:pos x="T26" y="T27"/>
                      </a:cxn>
                      <a:cxn ang="T84">
                        <a:pos x="T28" y="T29"/>
                      </a:cxn>
                      <a:cxn ang="T85">
                        <a:pos x="T30" y="T31"/>
                      </a:cxn>
                      <a:cxn ang="T86">
                        <a:pos x="T32" y="T33"/>
                      </a:cxn>
                      <a:cxn ang="T87">
                        <a:pos x="T34" y="T35"/>
                      </a:cxn>
                      <a:cxn ang="T88">
                        <a:pos x="T36" y="T37"/>
                      </a:cxn>
                      <a:cxn ang="T89">
                        <a:pos x="T38" y="T39"/>
                      </a:cxn>
                      <a:cxn ang="T90">
                        <a:pos x="T40" y="T41"/>
                      </a:cxn>
                      <a:cxn ang="T91">
                        <a:pos x="T42" y="T43"/>
                      </a:cxn>
                      <a:cxn ang="T92">
                        <a:pos x="T44" y="T45"/>
                      </a:cxn>
                      <a:cxn ang="T93">
                        <a:pos x="T46" y="T47"/>
                      </a:cxn>
                      <a:cxn ang="T94">
                        <a:pos x="T48" y="T49"/>
                      </a:cxn>
                      <a:cxn ang="T95">
                        <a:pos x="T50" y="T51"/>
                      </a:cxn>
                      <a:cxn ang="T96">
                        <a:pos x="T52" y="T53"/>
                      </a:cxn>
                      <a:cxn ang="T97">
                        <a:pos x="T54" y="T55"/>
                      </a:cxn>
                      <a:cxn ang="T98">
                        <a:pos x="T56" y="T57"/>
                      </a:cxn>
                      <a:cxn ang="T99">
                        <a:pos x="T58" y="T59"/>
                      </a:cxn>
                      <a:cxn ang="T100">
                        <a:pos x="T60" y="T61"/>
                      </a:cxn>
                      <a:cxn ang="T101">
                        <a:pos x="T62" y="T63"/>
                      </a:cxn>
                      <a:cxn ang="T102">
                        <a:pos x="T64" y="T65"/>
                      </a:cxn>
                      <a:cxn ang="T103">
                        <a:pos x="T66" y="T67"/>
                      </a:cxn>
                      <a:cxn ang="T104">
                        <a:pos x="T68" y="T69"/>
                      </a:cxn>
                    </a:cxnLst>
                    <a:rect l="T105" t="T106" r="T107" b="T108"/>
                    <a:pathLst>
                      <a:path w="1245" h="941">
                        <a:moveTo>
                          <a:pt x="1210" y="0"/>
                        </a:moveTo>
                        <a:lnTo>
                          <a:pt x="0" y="0"/>
                        </a:lnTo>
                        <a:lnTo>
                          <a:pt x="0" y="941"/>
                        </a:lnTo>
                        <a:lnTo>
                          <a:pt x="1237" y="941"/>
                        </a:lnTo>
                        <a:lnTo>
                          <a:pt x="1245" y="0"/>
                        </a:lnTo>
                        <a:lnTo>
                          <a:pt x="1210" y="0"/>
                        </a:lnTo>
                        <a:close/>
                        <a:moveTo>
                          <a:pt x="1174" y="54"/>
                        </a:moveTo>
                        <a:lnTo>
                          <a:pt x="1174" y="71"/>
                        </a:lnTo>
                        <a:lnTo>
                          <a:pt x="1174" y="102"/>
                        </a:lnTo>
                        <a:lnTo>
                          <a:pt x="1174" y="145"/>
                        </a:lnTo>
                        <a:lnTo>
                          <a:pt x="1172" y="198"/>
                        </a:lnTo>
                        <a:lnTo>
                          <a:pt x="1172" y="259"/>
                        </a:lnTo>
                        <a:lnTo>
                          <a:pt x="1171" y="327"/>
                        </a:lnTo>
                        <a:lnTo>
                          <a:pt x="1171" y="398"/>
                        </a:lnTo>
                        <a:lnTo>
                          <a:pt x="1170" y="472"/>
                        </a:lnTo>
                        <a:lnTo>
                          <a:pt x="1170" y="545"/>
                        </a:lnTo>
                        <a:lnTo>
                          <a:pt x="1169" y="616"/>
                        </a:lnTo>
                        <a:lnTo>
                          <a:pt x="1168" y="683"/>
                        </a:lnTo>
                        <a:lnTo>
                          <a:pt x="1168" y="744"/>
                        </a:lnTo>
                        <a:lnTo>
                          <a:pt x="1168" y="798"/>
                        </a:lnTo>
                        <a:lnTo>
                          <a:pt x="1167" y="840"/>
                        </a:lnTo>
                        <a:lnTo>
                          <a:pt x="1167" y="871"/>
                        </a:lnTo>
                        <a:lnTo>
                          <a:pt x="1167" y="888"/>
                        </a:lnTo>
                        <a:lnTo>
                          <a:pt x="1146" y="888"/>
                        </a:lnTo>
                        <a:lnTo>
                          <a:pt x="1106" y="888"/>
                        </a:lnTo>
                        <a:lnTo>
                          <a:pt x="1049" y="888"/>
                        </a:lnTo>
                        <a:lnTo>
                          <a:pt x="980" y="888"/>
                        </a:lnTo>
                        <a:lnTo>
                          <a:pt x="900" y="888"/>
                        </a:lnTo>
                        <a:lnTo>
                          <a:pt x="812" y="888"/>
                        </a:lnTo>
                        <a:lnTo>
                          <a:pt x="718" y="888"/>
                        </a:lnTo>
                        <a:lnTo>
                          <a:pt x="623" y="888"/>
                        </a:lnTo>
                        <a:lnTo>
                          <a:pt x="526" y="888"/>
                        </a:lnTo>
                        <a:lnTo>
                          <a:pt x="432" y="888"/>
                        </a:lnTo>
                        <a:lnTo>
                          <a:pt x="343" y="888"/>
                        </a:lnTo>
                        <a:lnTo>
                          <a:pt x="262" y="888"/>
                        </a:lnTo>
                        <a:lnTo>
                          <a:pt x="192" y="888"/>
                        </a:lnTo>
                        <a:lnTo>
                          <a:pt x="135" y="888"/>
                        </a:lnTo>
                        <a:lnTo>
                          <a:pt x="94" y="888"/>
                        </a:lnTo>
                        <a:lnTo>
                          <a:pt x="71" y="888"/>
                        </a:lnTo>
                        <a:lnTo>
                          <a:pt x="71" y="871"/>
                        </a:lnTo>
                        <a:lnTo>
                          <a:pt x="71" y="840"/>
                        </a:lnTo>
                        <a:lnTo>
                          <a:pt x="71" y="798"/>
                        </a:lnTo>
                        <a:lnTo>
                          <a:pt x="71" y="744"/>
                        </a:lnTo>
                        <a:lnTo>
                          <a:pt x="71" y="683"/>
                        </a:lnTo>
                        <a:lnTo>
                          <a:pt x="71" y="615"/>
                        </a:lnTo>
                        <a:lnTo>
                          <a:pt x="71" y="544"/>
                        </a:lnTo>
                        <a:lnTo>
                          <a:pt x="71" y="472"/>
                        </a:lnTo>
                        <a:lnTo>
                          <a:pt x="71" y="398"/>
                        </a:lnTo>
                        <a:lnTo>
                          <a:pt x="71" y="327"/>
                        </a:lnTo>
                        <a:lnTo>
                          <a:pt x="71" y="259"/>
                        </a:lnTo>
                        <a:lnTo>
                          <a:pt x="71" y="198"/>
                        </a:lnTo>
                        <a:lnTo>
                          <a:pt x="71" y="145"/>
                        </a:lnTo>
                        <a:lnTo>
                          <a:pt x="72" y="102"/>
                        </a:lnTo>
                        <a:lnTo>
                          <a:pt x="72" y="71"/>
                        </a:lnTo>
                        <a:lnTo>
                          <a:pt x="72" y="53"/>
                        </a:lnTo>
                        <a:lnTo>
                          <a:pt x="94" y="53"/>
                        </a:lnTo>
                        <a:lnTo>
                          <a:pt x="134" y="53"/>
                        </a:lnTo>
                        <a:lnTo>
                          <a:pt x="192" y="53"/>
                        </a:lnTo>
                        <a:lnTo>
                          <a:pt x="262" y="53"/>
                        </a:lnTo>
                        <a:lnTo>
                          <a:pt x="342" y="53"/>
                        </a:lnTo>
                        <a:lnTo>
                          <a:pt x="431" y="53"/>
                        </a:lnTo>
                        <a:lnTo>
                          <a:pt x="526" y="53"/>
                        </a:lnTo>
                        <a:lnTo>
                          <a:pt x="623" y="53"/>
                        </a:lnTo>
                        <a:lnTo>
                          <a:pt x="719" y="53"/>
                        </a:lnTo>
                        <a:lnTo>
                          <a:pt x="814" y="53"/>
                        </a:lnTo>
                        <a:lnTo>
                          <a:pt x="902" y="53"/>
                        </a:lnTo>
                        <a:lnTo>
                          <a:pt x="983" y="53"/>
                        </a:lnTo>
                        <a:lnTo>
                          <a:pt x="1053" y="54"/>
                        </a:lnTo>
                        <a:lnTo>
                          <a:pt x="1110" y="54"/>
                        </a:lnTo>
                        <a:lnTo>
                          <a:pt x="1151" y="54"/>
                        </a:lnTo>
                        <a:lnTo>
                          <a:pt x="1174" y="54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35" name="Freeform 184"/>
                  <p:cNvSpPr>
                    <a:spLocks noEditPoints="1"/>
                  </p:cNvSpPr>
                  <p:nvPr/>
                </p:nvSpPr>
                <p:spPr bwMode="auto">
                  <a:xfrm>
                    <a:off x="3382" y="3748"/>
                    <a:ext cx="132" cy="103"/>
                  </a:xfrm>
                  <a:custGeom>
                    <a:avLst/>
                    <a:gdLst>
                      <a:gd name="T0" fmla="*/ 0 w 926"/>
                      <a:gd name="T1" fmla="*/ 0 h 700"/>
                      <a:gd name="T2" fmla="*/ 0 w 926"/>
                      <a:gd name="T3" fmla="*/ 0 h 700"/>
                      <a:gd name="T4" fmla="*/ 0 w 926"/>
                      <a:gd name="T5" fmla="*/ 0 h 700"/>
                      <a:gd name="T6" fmla="*/ 0 w 926"/>
                      <a:gd name="T7" fmla="*/ 0 h 700"/>
                      <a:gd name="T8" fmla="*/ 0 w 926"/>
                      <a:gd name="T9" fmla="*/ 0 h 700"/>
                      <a:gd name="T10" fmla="*/ 0 w 926"/>
                      <a:gd name="T11" fmla="*/ 0 h 700"/>
                      <a:gd name="T12" fmla="*/ 0 w 926"/>
                      <a:gd name="T13" fmla="*/ 0 h 700"/>
                      <a:gd name="T14" fmla="*/ 0 w 926"/>
                      <a:gd name="T15" fmla="*/ 0 h 700"/>
                      <a:gd name="T16" fmla="*/ 0 w 926"/>
                      <a:gd name="T17" fmla="*/ 0 h 700"/>
                      <a:gd name="T18" fmla="*/ 0 w 926"/>
                      <a:gd name="T19" fmla="*/ 0 h 700"/>
                      <a:gd name="T20" fmla="*/ 0 w 926"/>
                      <a:gd name="T21" fmla="*/ 0 h 700"/>
                      <a:gd name="T22" fmla="*/ 0 w 926"/>
                      <a:gd name="T23" fmla="*/ 0 h 700"/>
                      <a:gd name="T24" fmla="*/ 0 w 926"/>
                      <a:gd name="T25" fmla="*/ 0 h 700"/>
                      <a:gd name="T26" fmla="*/ 0 w 926"/>
                      <a:gd name="T27" fmla="*/ 0 h 700"/>
                      <a:gd name="T28" fmla="*/ 0 w 926"/>
                      <a:gd name="T29" fmla="*/ 0 h 700"/>
                      <a:gd name="T30" fmla="*/ 0 w 926"/>
                      <a:gd name="T31" fmla="*/ 0 h 700"/>
                      <a:gd name="T32" fmla="*/ 0 w 926"/>
                      <a:gd name="T33" fmla="*/ 0 h 700"/>
                      <a:gd name="T34" fmla="*/ 0 w 926"/>
                      <a:gd name="T35" fmla="*/ 0 h 700"/>
                      <a:gd name="T36" fmla="*/ 0 w 926"/>
                      <a:gd name="T37" fmla="*/ 0 h 700"/>
                      <a:gd name="T38" fmla="*/ 0 w 926"/>
                      <a:gd name="T39" fmla="*/ 0 h 700"/>
                      <a:gd name="T40" fmla="*/ 0 w 926"/>
                      <a:gd name="T41" fmla="*/ 0 h 700"/>
                      <a:gd name="T42" fmla="*/ 0 w 926"/>
                      <a:gd name="T43" fmla="*/ 0 h 700"/>
                      <a:gd name="T44" fmla="*/ 0 w 926"/>
                      <a:gd name="T45" fmla="*/ 0 h 700"/>
                      <a:gd name="T46" fmla="*/ 0 w 926"/>
                      <a:gd name="T47" fmla="*/ 0 h 700"/>
                      <a:gd name="T48" fmla="*/ 0 w 926"/>
                      <a:gd name="T49" fmla="*/ 0 h 700"/>
                      <a:gd name="T50" fmla="*/ 0 w 926"/>
                      <a:gd name="T51" fmla="*/ 0 h 700"/>
                      <a:gd name="T52" fmla="*/ 0 w 926"/>
                      <a:gd name="T53" fmla="*/ 0 h 700"/>
                      <a:gd name="T54" fmla="*/ 0 w 926"/>
                      <a:gd name="T55" fmla="*/ 0 h 700"/>
                      <a:gd name="T56" fmla="*/ 0 w 926"/>
                      <a:gd name="T57" fmla="*/ 0 h 700"/>
                      <a:gd name="T58" fmla="*/ 0 w 926"/>
                      <a:gd name="T59" fmla="*/ 0 h 700"/>
                      <a:gd name="T60" fmla="*/ 0 w 926"/>
                      <a:gd name="T61" fmla="*/ 0 h 700"/>
                      <a:gd name="T62" fmla="*/ 0 w 926"/>
                      <a:gd name="T63" fmla="*/ 0 h 700"/>
                      <a:gd name="T64" fmla="*/ 0 w 926"/>
                      <a:gd name="T65" fmla="*/ 0 h 700"/>
                      <a:gd name="T66" fmla="*/ 0 w 926"/>
                      <a:gd name="T67" fmla="*/ 0 h 700"/>
                      <a:gd name="T68" fmla="*/ 0 w 926"/>
                      <a:gd name="T69" fmla="*/ 0 h 700"/>
                      <a:gd name="T70" fmla="*/ 0 w 926"/>
                      <a:gd name="T71" fmla="*/ 0 h 700"/>
                      <a:gd name="T72" fmla="*/ 0 w 926"/>
                      <a:gd name="T73" fmla="*/ 0 h 700"/>
                      <a:gd name="T74" fmla="*/ 0 w 926"/>
                      <a:gd name="T75" fmla="*/ 0 h 700"/>
                      <a:gd name="T76" fmla="*/ 0 w 926"/>
                      <a:gd name="T77" fmla="*/ 0 h 700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w 926"/>
                      <a:gd name="T118" fmla="*/ 0 h 700"/>
                      <a:gd name="T119" fmla="*/ 926 w 926"/>
                      <a:gd name="T120" fmla="*/ 700 h 700"/>
                    </a:gdLst>
                    <a:ahLst/>
                    <a:cxnLst>
                      <a:cxn ang="T78">
                        <a:pos x="T0" y="T1"/>
                      </a:cxn>
                      <a:cxn ang="T79">
                        <a:pos x="T2" y="T3"/>
                      </a:cxn>
                      <a:cxn ang="T80">
                        <a:pos x="T4" y="T5"/>
                      </a:cxn>
                      <a:cxn ang="T81">
                        <a:pos x="T6" y="T7"/>
                      </a:cxn>
                      <a:cxn ang="T82">
                        <a:pos x="T8" y="T9"/>
                      </a:cxn>
                      <a:cxn ang="T83">
                        <a:pos x="T10" y="T11"/>
                      </a:cxn>
                      <a:cxn ang="T84">
                        <a:pos x="T12" y="T13"/>
                      </a:cxn>
                      <a:cxn ang="T85">
                        <a:pos x="T14" y="T15"/>
                      </a:cxn>
                      <a:cxn ang="T86">
                        <a:pos x="T16" y="T17"/>
                      </a:cxn>
                      <a:cxn ang="T87">
                        <a:pos x="T18" y="T19"/>
                      </a:cxn>
                      <a:cxn ang="T88">
                        <a:pos x="T20" y="T21"/>
                      </a:cxn>
                      <a:cxn ang="T89">
                        <a:pos x="T22" y="T23"/>
                      </a:cxn>
                      <a:cxn ang="T90">
                        <a:pos x="T24" y="T25"/>
                      </a:cxn>
                      <a:cxn ang="T91">
                        <a:pos x="T26" y="T27"/>
                      </a:cxn>
                      <a:cxn ang="T92">
                        <a:pos x="T28" y="T29"/>
                      </a:cxn>
                      <a:cxn ang="T93">
                        <a:pos x="T30" y="T31"/>
                      </a:cxn>
                      <a:cxn ang="T94">
                        <a:pos x="T32" y="T33"/>
                      </a:cxn>
                      <a:cxn ang="T95">
                        <a:pos x="T34" y="T35"/>
                      </a:cxn>
                      <a:cxn ang="T96">
                        <a:pos x="T36" y="T37"/>
                      </a:cxn>
                      <a:cxn ang="T97">
                        <a:pos x="T38" y="T39"/>
                      </a:cxn>
                      <a:cxn ang="T98">
                        <a:pos x="T40" y="T41"/>
                      </a:cxn>
                      <a:cxn ang="T99">
                        <a:pos x="T42" y="T43"/>
                      </a:cxn>
                      <a:cxn ang="T100">
                        <a:pos x="T44" y="T45"/>
                      </a:cxn>
                      <a:cxn ang="T101">
                        <a:pos x="T46" y="T47"/>
                      </a:cxn>
                      <a:cxn ang="T102">
                        <a:pos x="T48" y="T49"/>
                      </a:cxn>
                      <a:cxn ang="T103">
                        <a:pos x="T50" y="T51"/>
                      </a:cxn>
                      <a:cxn ang="T104">
                        <a:pos x="T52" y="T53"/>
                      </a:cxn>
                      <a:cxn ang="T105">
                        <a:pos x="T54" y="T55"/>
                      </a:cxn>
                      <a:cxn ang="T106">
                        <a:pos x="T56" y="T57"/>
                      </a:cxn>
                      <a:cxn ang="T107">
                        <a:pos x="T58" y="T59"/>
                      </a:cxn>
                      <a:cxn ang="T108">
                        <a:pos x="T60" y="T61"/>
                      </a:cxn>
                      <a:cxn ang="T109">
                        <a:pos x="T62" y="T63"/>
                      </a:cxn>
                      <a:cxn ang="T110">
                        <a:pos x="T64" y="T65"/>
                      </a:cxn>
                      <a:cxn ang="T111">
                        <a:pos x="T66" y="T67"/>
                      </a:cxn>
                      <a:cxn ang="T112">
                        <a:pos x="T68" y="T69"/>
                      </a:cxn>
                      <a:cxn ang="T113">
                        <a:pos x="T70" y="T71"/>
                      </a:cxn>
                      <a:cxn ang="T114">
                        <a:pos x="T72" y="T73"/>
                      </a:cxn>
                      <a:cxn ang="T115">
                        <a:pos x="T74" y="T75"/>
                      </a:cxn>
                      <a:cxn ang="T116">
                        <a:pos x="T76" y="T77"/>
                      </a:cxn>
                    </a:cxnLst>
                    <a:rect l="T117" t="T118" r="T119" b="T120"/>
                    <a:pathLst>
                      <a:path w="926" h="700">
                        <a:moveTo>
                          <a:pt x="890" y="0"/>
                        </a:moveTo>
                        <a:lnTo>
                          <a:pt x="1" y="0"/>
                        </a:lnTo>
                        <a:lnTo>
                          <a:pt x="0" y="700"/>
                        </a:lnTo>
                        <a:lnTo>
                          <a:pt x="920" y="700"/>
                        </a:lnTo>
                        <a:lnTo>
                          <a:pt x="926" y="0"/>
                        </a:lnTo>
                        <a:lnTo>
                          <a:pt x="890" y="0"/>
                        </a:lnTo>
                        <a:close/>
                        <a:moveTo>
                          <a:pt x="854" y="54"/>
                        </a:moveTo>
                        <a:lnTo>
                          <a:pt x="854" y="91"/>
                        </a:lnTo>
                        <a:lnTo>
                          <a:pt x="853" y="160"/>
                        </a:lnTo>
                        <a:lnTo>
                          <a:pt x="853" y="251"/>
                        </a:lnTo>
                        <a:lnTo>
                          <a:pt x="852" y="351"/>
                        </a:lnTo>
                        <a:lnTo>
                          <a:pt x="852" y="451"/>
                        </a:lnTo>
                        <a:lnTo>
                          <a:pt x="851" y="541"/>
                        </a:lnTo>
                        <a:lnTo>
                          <a:pt x="851" y="610"/>
                        </a:lnTo>
                        <a:lnTo>
                          <a:pt x="850" y="647"/>
                        </a:lnTo>
                        <a:lnTo>
                          <a:pt x="801" y="647"/>
                        </a:lnTo>
                        <a:lnTo>
                          <a:pt x="711" y="647"/>
                        </a:lnTo>
                        <a:lnTo>
                          <a:pt x="593" y="647"/>
                        </a:lnTo>
                        <a:lnTo>
                          <a:pt x="460" y="647"/>
                        </a:lnTo>
                        <a:lnTo>
                          <a:pt x="328" y="647"/>
                        </a:lnTo>
                        <a:lnTo>
                          <a:pt x="210" y="647"/>
                        </a:lnTo>
                        <a:lnTo>
                          <a:pt x="119" y="647"/>
                        </a:lnTo>
                        <a:lnTo>
                          <a:pt x="71" y="647"/>
                        </a:lnTo>
                        <a:lnTo>
                          <a:pt x="71" y="610"/>
                        </a:lnTo>
                        <a:lnTo>
                          <a:pt x="71" y="541"/>
                        </a:lnTo>
                        <a:lnTo>
                          <a:pt x="71" y="451"/>
                        </a:lnTo>
                        <a:lnTo>
                          <a:pt x="71" y="351"/>
                        </a:lnTo>
                        <a:lnTo>
                          <a:pt x="71" y="251"/>
                        </a:lnTo>
                        <a:lnTo>
                          <a:pt x="71" y="160"/>
                        </a:lnTo>
                        <a:lnTo>
                          <a:pt x="72" y="91"/>
                        </a:lnTo>
                        <a:lnTo>
                          <a:pt x="72" y="54"/>
                        </a:lnTo>
                        <a:lnTo>
                          <a:pt x="121" y="54"/>
                        </a:lnTo>
                        <a:lnTo>
                          <a:pt x="211" y="54"/>
                        </a:lnTo>
                        <a:lnTo>
                          <a:pt x="330" y="54"/>
                        </a:lnTo>
                        <a:lnTo>
                          <a:pt x="463" y="54"/>
                        </a:lnTo>
                        <a:lnTo>
                          <a:pt x="596" y="54"/>
                        </a:lnTo>
                        <a:lnTo>
                          <a:pt x="714" y="54"/>
                        </a:lnTo>
                        <a:lnTo>
                          <a:pt x="805" y="54"/>
                        </a:lnTo>
                        <a:lnTo>
                          <a:pt x="854" y="54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36" name="Freeform 185"/>
                  <p:cNvSpPr>
                    <a:spLocks noEditPoints="1"/>
                  </p:cNvSpPr>
                  <p:nvPr/>
                </p:nvSpPr>
                <p:spPr bwMode="auto">
                  <a:xfrm>
                    <a:off x="3403" y="3763"/>
                    <a:ext cx="89" cy="68"/>
                  </a:xfrm>
                  <a:custGeom>
                    <a:avLst/>
                    <a:gdLst>
                      <a:gd name="T0" fmla="*/ 0 w 624"/>
                      <a:gd name="T1" fmla="*/ 0 h 472"/>
                      <a:gd name="T2" fmla="*/ 0 w 624"/>
                      <a:gd name="T3" fmla="*/ 0 h 472"/>
                      <a:gd name="T4" fmla="*/ 0 w 624"/>
                      <a:gd name="T5" fmla="*/ 0 h 472"/>
                      <a:gd name="T6" fmla="*/ 0 w 624"/>
                      <a:gd name="T7" fmla="*/ 0 h 472"/>
                      <a:gd name="T8" fmla="*/ 0 w 624"/>
                      <a:gd name="T9" fmla="*/ 0 h 472"/>
                      <a:gd name="T10" fmla="*/ 0 w 624"/>
                      <a:gd name="T11" fmla="*/ 0 h 472"/>
                      <a:gd name="T12" fmla="*/ 0 w 624"/>
                      <a:gd name="T13" fmla="*/ 0 h 472"/>
                      <a:gd name="T14" fmla="*/ 0 w 624"/>
                      <a:gd name="T15" fmla="*/ 0 h 472"/>
                      <a:gd name="T16" fmla="*/ 0 w 624"/>
                      <a:gd name="T17" fmla="*/ 0 h 472"/>
                      <a:gd name="T18" fmla="*/ 0 w 624"/>
                      <a:gd name="T19" fmla="*/ 0 h 472"/>
                      <a:gd name="T20" fmla="*/ 0 w 624"/>
                      <a:gd name="T21" fmla="*/ 0 h 472"/>
                      <a:gd name="T22" fmla="*/ 0 w 624"/>
                      <a:gd name="T23" fmla="*/ 0 h 472"/>
                      <a:gd name="T24" fmla="*/ 0 w 624"/>
                      <a:gd name="T25" fmla="*/ 0 h 472"/>
                      <a:gd name="T26" fmla="*/ 0 w 624"/>
                      <a:gd name="T27" fmla="*/ 0 h 472"/>
                      <a:gd name="T28" fmla="*/ 0 w 624"/>
                      <a:gd name="T29" fmla="*/ 0 h 472"/>
                      <a:gd name="T30" fmla="*/ 0 w 624"/>
                      <a:gd name="T31" fmla="*/ 0 h 472"/>
                      <a:gd name="T32" fmla="*/ 0 w 624"/>
                      <a:gd name="T33" fmla="*/ 0 h 472"/>
                      <a:gd name="T34" fmla="*/ 0 w 624"/>
                      <a:gd name="T35" fmla="*/ 0 h 472"/>
                      <a:gd name="T36" fmla="*/ 0 w 624"/>
                      <a:gd name="T37" fmla="*/ 0 h 472"/>
                      <a:gd name="T38" fmla="*/ 0 w 624"/>
                      <a:gd name="T39" fmla="*/ 0 h 472"/>
                      <a:gd name="T40" fmla="*/ 0 w 624"/>
                      <a:gd name="T41" fmla="*/ 0 h 472"/>
                      <a:gd name="T42" fmla="*/ 0 w 624"/>
                      <a:gd name="T43" fmla="*/ 0 h 472"/>
                      <a:gd name="T44" fmla="*/ 0 w 624"/>
                      <a:gd name="T45" fmla="*/ 0 h 472"/>
                      <a:gd name="T46" fmla="*/ 0 w 624"/>
                      <a:gd name="T47" fmla="*/ 0 h 472"/>
                      <a:gd name="T48" fmla="*/ 0 w 624"/>
                      <a:gd name="T49" fmla="*/ 0 h 472"/>
                      <a:gd name="T50" fmla="*/ 0 w 624"/>
                      <a:gd name="T51" fmla="*/ 0 h 472"/>
                      <a:gd name="T52" fmla="*/ 0 w 624"/>
                      <a:gd name="T53" fmla="*/ 0 h 472"/>
                      <a:gd name="T54" fmla="*/ 0 w 624"/>
                      <a:gd name="T55" fmla="*/ 0 h 472"/>
                      <a:gd name="T56" fmla="*/ 0 w 624"/>
                      <a:gd name="T57" fmla="*/ 0 h 472"/>
                      <a:gd name="T58" fmla="*/ 0 w 624"/>
                      <a:gd name="T59" fmla="*/ 0 h 472"/>
                      <a:gd name="T60" fmla="*/ 0 w 624"/>
                      <a:gd name="T61" fmla="*/ 0 h 472"/>
                      <a:gd name="T62" fmla="*/ 0 w 624"/>
                      <a:gd name="T63" fmla="*/ 0 h 472"/>
                      <a:gd name="T64" fmla="*/ 0 w 624"/>
                      <a:gd name="T65" fmla="*/ 0 h 472"/>
                      <a:gd name="T66" fmla="*/ 0 w 624"/>
                      <a:gd name="T67" fmla="*/ 0 h 472"/>
                      <a:gd name="T68" fmla="*/ 0 w 624"/>
                      <a:gd name="T69" fmla="*/ 0 h 472"/>
                      <a:gd name="T70" fmla="*/ 0 w 624"/>
                      <a:gd name="T71" fmla="*/ 0 h 472"/>
                      <a:gd name="T72" fmla="*/ 0 w 624"/>
                      <a:gd name="T73" fmla="*/ 0 h 472"/>
                      <a:gd name="T74" fmla="*/ 0 w 624"/>
                      <a:gd name="T75" fmla="*/ 0 h 472"/>
                      <a:gd name="T76" fmla="*/ 0 w 624"/>
                      <a:gd name="T77" fmla="*/ 0 h 472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w 624"/>
                      <a:gd name="T118" fmla="*/ 0 h 472"/>
                      <a:gd name="T119" fmla="*/ 624 w 624"/>
                      <a:gd name="T120" fmla="*/ 472 h 472"/>
                    </a:gdLst>
                    <a:ahLst/>
                    <a:cxnLst>
                      <a:cxn ang="T78">
                        <a:pos x="T0" y="T1"/>
                      </a:cxn>
                      <a:cxn ang="T79">
                        <a:pos x="T2" y="T3"/>
                      </a:cxn>
                      <a:cxn ang="T80">
                        <a:pos x="T4" y="T5"/>
                      </a:cxn>
                      <a:cxn ang="T81">
                        <a:pos x="T6" y="T7"/>
                      </a:cxn>
                      <a:cxn ang="T82">
                        <a:pos x="T8" y="T9"/>
                      </a:cxn>
                      <a:cxn ang="T83">
                        <a:pos x="T10" y="T11"/>
                      </a:cxn>
                      <a:cxn ang="T84">
                        <a:pos x="T12" y="T13"/>
                      </a:cxn>
                      <a:cxn ang="T85">
                        <a:pos x="T14" y="T15"/>
                      </a:cxn>
                      <a:cxn ang="T86">
                        <a:pos x="T16" y="T17"/>
                      </a:cxn>
                      <a:cxn ang="T87">
                        <a:pos x="T18" y="T19"/>
                      </a:cxn>
                      <a:cxn ang="T88">
                        <a:pos x="T20" y="T21"/>
                      </a:cxn>
                      <a:cxn ang="T89">
                        <a:pos x="T22" y="T23"/>
                      </a:cxn>
                      <a:cxn ang="T90">
                        <a:pos x="T24" y="T25"/>
                      </a:cxn>
                      <a:cxn ang="T91">
                        <a:pos x="T26" y="T27"/>
                      </a:cxn>
                      <a:cxn ang="T92">
                        <a:pos x="T28" y="T29"/>
                      </a:cxn>
                      <a:cxn ang="T93">
                        <a:pos x="T30" y="T31"/>
                      </a:cxn>
                      <a:cxn ang="T94">
                        <a:pos x="T32" y="T33"/>
                      </a:cxn>
                      <a:cxn ang="T95">
                        <a:pos x="T34" y="T35"/>
                      </a:cxn>
                      <a:cxn ang="T96">
                        <a:pos x="T36" y="T37"/>
                      </a:cxn>
                      <a:cxn ang="T97">
                        <a:pos x="T38" y="T39"/>
                      </a:cxn>
                      <a:cxn ang="T98">
                        <a:pos x="T40" y="T41"/>
                      </a:cxn>
                      <a:cxn ang="T99">
                        <a:pos x="T42" y="T43"/>
                      </a:cxn>
                      <a:cxn ang="T100">
                        <a:pos x="T44" y="T45"/>
                      </a:cxn>
                      <a:cxn ang="T101">
                        <a:pos x="T46" y="T47"/>
                      </a:cxn>
                      <a:cxn ang="T102">
                        <a:pos x="T48" y="T49"/>
                      </a:cxn>
                      <a:cxn ang="T103">
                        <a:pos x="T50" y="T51"/>
                      </a:cxn>
                      <a:cxn ang="T104">
                        <a:pos x="T52" y="T53"/>
                      </a:cxn>
                      <a:cxn ang="T105">
                        <a:pos x="T54" y="T55"/>
                      </a:cxn>
                      <a:cxn ang="T106">
                        <a:pos x="T56" y="T57"/>
                      </a:cxn>
                      <a:cxn ang="T107">
                        <a:pos x="T58" y="T59"/>
                      </a:cxn>
                      <a:cxn ang="T108">
                        <a:pos x="T60" y="T61"/>
                      </a:cxn>
                      <a:cxn ang="T109">
                        <a:pos x="T62" y="T63"/>
                      </a:cxn>
                      <a:cxn ang="T110">
                        <a:pos x="T64" y="T65"/>
                      </a:cxn>
                      <a:cxn ang="T111">
                        <a:pos x="T66" y="T67"/>
                      </a:cxn>
                      <a:cxn ang="T112">
                        <a:pos x="T68" y="T69"/>
                      </a:cxn>
                      <a:cxn ang="T113">
                        <a:pos x="T70" y="T71"/>
                      </a:cxn>
                      <a:cxn ang="T114">
                        <a:pos x="T72" y="T73"/>
                      </a:cxn>
                      <a:cxn ang="T115">
                        <a:pos x="T74" y="T75"/>
                      </a:cxn>
                      <a:cxn ang="T116">
                        <a:pos x="T76" y="T77"/>
                      </a:cxn>
                    </a:cxnLst>
                    <a:rect l="T117" t="T118" r="T119" b="T120"/>
                    <a:pathLst>
                      <a:path w="624" h="472">
                        <a:moveTo>
                          <a:pt x="589" y="0"/>
                        </a:moveTo>
                        <a:lnTo>
                          <a:pt x="1" y="0"/>
                        </a:lnTo>
                        <a:lnTo>
                          <a:pt x="0" y="472"/>
                        </a:lnTo>
                        <a:lnTo>
                          <a:pt x="621" y="472"/>
                        </a:lnTo>
                        <a:lnTo>
                          <a:pt x="624" y="0"/>
                        </a:lnTo>
                        <a:lnTo>
                          <a:pt x="589" y="0"/>
                        </a:lnTo>
                        <a:close/>
                        <a:moveTo>
                          <a:pt x="553" y="53"/>
                        </a:moveTo>
                        <a:lnTo>
                          <a:pt x="553" y="80"/>
                        </a:lnTo>
                        <a:lnTo>
                          <a:pt x="553" y="123"/>
                        </a:lnTo>
                        <a:lnTo>
                          <a:pt x="552" y="177"/>
                        </a:lnTo>
                        <a:lnTo>
                          <a:pt x="552" y="236"/>
                        </a:lnTo>
                        <a:lnTo>
                          <a:pt x="552" y="296"/>
                        </a:lnTo>
                        <a:lnTo>
                          <a:pt x="552" y="349"/>
                        </a:lnTo>
                        <a:lnTo>
                          <a:pt x="551" y="392"/>
                        </a:lnTo>
                        <a:lnTo>
                          <a:pt x="551" y="418"/>
                        </a:lnTo>
                        <a:lnTo>
                          <a:pt x="516" y="418"/>
                        </a:lnTo>
                        <a:lnTo>
                          <a:pt x="459" y="418"/>
                        </a:lnTo>
                        <a:lnTo>
                          <a:pt x="388" y="418"/>
                        </a:lnTo>
                        <a:lnTo>
                          <a:pt x="310" y="418"/>
                        </a:lnTo>
                        <a:lnTo>
                          <a:pt x="232" y="418"/>
                        </a:lnTo>
                        <a:lnTo>
                          <a:pt x="162" y="418"/>
                        </a:lnTo>
                        <a:lnTo>
                          <a:pt x="106" y="418"/>
                        </a:lnTo>
                        <a:lnTo>
                          <a:pt x="71" y="418"/>
                        </a:lnTo>
                        <a:lnTo>
                          <a:pt x="71" y="392"/>
                        </a:lnTo>
                        <a:lnTo>
                          <a:pt x="71" y="349"/>
                        </a:lnTo>
                        <a:lnTo>
                          <a:pt x="71" y="296"/>
                        </a:lnTo>
                        <a:lnTo>
                          <a:pt x="71" y="236"/>
                        </a:lnTo>
                        <a:lnTo>
                          <a:pt x="71" y="177"/>
                        </a:lnTo>
                        <a:lnTo>
                          <a:pt x="72" y="123"/>
                        </a:lnTo>
                        <a:lnTo>
                          <a:pt x="72" y="80"/>
                        </a:lnTo>
                        <a:lnTo>
                          <a:pt x="72" y="53"/>
                        </a:lnTo>
                        <a:lnTo>
                          <a:pt x="107" y="53"/>
                        </a:lnTo>
                        <a:lnTo>
                          <a:pt x="163" y="53"/>
                        </a:lnTo>
                        <a:lnTo>
                          <a:pt x="235" y="53"/>
                        </a:lnTo>
                        <a:lnTo>
                          <a:pt x="313" y="53"/>
                        </a:lnTo>
                        <a:lnTo>
                          <a:pt x="390" y="53"/>
                        </a:lnTo>
                        <a:lnTo>
                          <a:pt x="462" y="53"/>
                        </a:lnTo>
                        <a:lnTo>
                          <a:pt x="518" y="53"/>
                        </a:lnTo>
                        <a:lnTo>
                          <a:pt x="553" y="53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37" name="Freeform 186"/>
                  <p:cNvSpPr>
                    <a:spLocks/>
                  </p:cNvSpPr>
                  <p:nvPr/>
                </p:nvSpPr>
                <p:spPr bwMode="auto">
                  <a:xfrm>
                    <a:off x="3408" y="3768"/>
                    <a:ext cx="79" cy="62"/>
                  </a:xfrm>
                  <a:custGeom>
                    <a:avLst/>
                    <a:gdLst>
                      <a:gd name="T0" fmla="*/ 0 w 556"/>
                      <a:gd name="T1" fmla="*/ 0 h 421"/>
                      <a:gd name="T2" fmla="*/ 0 w 556"/>
                      <a:gd name="T3" fmla="*/ 0 h 421"/>
                      <a:gd name="T4" fmla="*/ 0 w 556"/>
                      <a:gd name="T5" fmla="*/ 0 h 421"/>
                      <a:gd name="T6" fmla="*/ 0 w 556"/>
                      <a:gd name="T7" fmla="*/ 0 h 421"/>
                      <a:gd name="T8" fmla="*/ 0 w 556"/>
                      <a:gd name="T9" fmla="*/ 0 h 421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556"/>
                      <a:gd name="T16" fmla="*/ 0 h 421"/>
                      <a:gd name="T17" fmla="*/ 556 w 556"/>
                      <a:gd name="T18" fmla="*/ 421 h 421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556" h="421">
                        <a:moveTo>
                          <a:pt x="0" y="421"/>
                        </a:moveTo>
                        <a:lnTo>
                          <a:pt x="1" y="0"/>
                        </a:lnTo>
                        <a:lnTo>
                          <a:pt x="556" y="0"/>
                        </a:lnTo>
                        <a:lnTo>
                          <a:pt x="553" y="421"/>
                        </a:lnTo>
                        <a:lnTo>
                          <a:pt x="0" y="421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38" name="Freeform 187"/>
                  <p:cNvSpPr>
                    <a:spLocks/>
                  </p:cNvSpPr>
                  <p:nvPr/>
                </p:nvSpPr>
                <p:spPr bwMode="auto">
                  <a:xfrm>
                    <a:off x="3189" y="3727"/>
                    <a:ext cx="508" cy="134"/>
                  </a:xfrm>
                  <a:custGeom>
                    <a:avLst/>
                    <a:gdLst>
                      <a:gd name="T0" fmla="*/ 0 w 3561"/>
                      <a:gd name="T1" fmla="*/ 0 h 941"/>
                      <a:gd name="T2" fmla="*/ 0 w 3561"/>
                      <a:gd name="T3" fmla="*/ 0 h 941"/>
                      <a:gd name="T4" fmla="*/ 0 w 3561"/>
                      <a:gd name="T5" fmla="*/ 0 h 941"/>
                      <a:gd name="T6" fmla="*/ 0 w 3561"/>
                      <a:gd name="T7" fmla="*/ 0 h 941"/>
                      <a:gd name="T8" fmla="*/ 0 w 3561"/>
                      <a:gd name="T9" fmla="*/ 0 h 941"/>
                      <a:gd name="T10" fmla="*/ 0 w 3561"/>
                      <a:gd name="T11" fmla="*/ 0 h 941"/>
                      <a:gd name="T12" fmla="*/ 0 w 3561"/>
                      <a:gd name="T13" fmla="*/ 0 h 941"/>
                      <a:gd name="T14" fmla="*/ 0 w 3561"/>
                      <a:gd name="T15" fmla="*/ 0 h 941"/>
                      <a:gd name="T16" fmla="*/ 0 w 3561"/>
                      <a:gd name="T17" fmla="*/ 0 h 941"/>
                      <a:gd name="T18" fmla="*/ 0 w 3561"/>
                      <a:gd name="T19" fmla="*/ 0 h 941"/>
                      <a:gd name="T20" fmla="*/ 0 w 3561"/>
                      <a:gd name="T21" fmla="*/ 0 h 941"/>
                      <a:gd name="T22" fmla="*/ 0 w 3561"/>
                      <a:gd name="T23" fmla="*/ 0 h 941"/>
                      <a:gd name="T24" fmla="*/ 0 w 3561"/>
                      <a:gd name="T25" fmla="*/ 0 h 941"/>
                      <a:gd name="T26" fmla="*/ 0 w 3561"/>
                      <a:gd name="T27" fmla="*/ 0 h 941"/>
                      <a:gd name="T28" fmla="*/ 0 w 3561"/>
                      <a:gd name="T29" fmla="*/ 0 h 941"/>
                      <a:gd name="T30" fmla="*/ 0 w 3561"/>
                      <a:gd name="T31" fmla="*/ 0 h 941"/>
                      <a:gd name="T32" fmla="*/ 0 w 3561"/>
                      <a:gd name="T33" fmla="*/ 0 h 941"/>
                      <a:gd name="T34" fmla="*/ 0 w 3561"/>
                      <a:gd name="T35" fmla="*/ 0 h 941"/>
                      <a:gd name="T36" fmla="*/ 0 w 3561"/>
                      <a:gd name="T37" fmla="*/ 0 h 941"/>
                      <a:gd name="T38" fmla="*/ 0 w 3561"/>
                      <a:gd name="T39" fmla="*/ 0 h 941"/>
                      <a:gd name="T40" fmla="*/ 0 w 3561"/>
                      <a:gd name="T41" fmla="*/ 0 h 941"/>
                      <a:gd name="T42" fmla="*/ 0 w 3561"/>
                      <a:gd name="T43" fmla="*/ 0 h 941"/>
                      <a:gd name="T44" fmla="*/ 0 w 3561"/>
                      <a:gd name="T45" fmla="*/ 0 h 941"/>
                      <a:gd name="T46" fmla="*/ 0 w 3561"/>
                      <a:gd name="T47" fmla="*/ 0 h 941"/>
                      <a:gd name="T48" fmla="*/ 0 w 3561"/>
                      <a:gd name="T49" fmla="*/ 0 h 941"/>
                      <a:gd name="T50" fmla="*/ 0 w 3561"/>
                      <a:gd name="T51" fmla="*/ 0 h 941"/>
                      <a:gd name="T52" fmla="*/ 0 w 3561"/>
                      <a:gd name="T53" fmla="*/ 0 h 941"/>
                      <a:gd name="T54" fmla="*/ 0 w 3561"/>
                      <a:gd name="T55" fmla="*/ 0 h 941"/>
                      <a:gd name="T56" fmla="*/ 0 w 3561"/>
                      <a:gd name="T57" fmla="*/ 0 h 941"/>
                      <a:gd name="T58" fmla="*/ 0 w 3561"/>
                      <a:gd name="T59" fmla="*/ 0 h 941"/>
                      <a:gd name="T60" fmla="*/ 0 w 3561"/>
                      <a:gd name="T61" fmla="*/ 0 h 941"/>
                      <a:gd name="T62" fmla="*/ 0 w 3561"/>
                      <a:gd name="T63" fmla="*/ 0 h 941"/>
                      <a:gd name="T64" fmla="*/ 0 w 3561"/>
                      <a:gd name="T65" fmla="*/ 0 h 941"/>
                      <a:gd name="T66" fmla="*/ 0 w 3561"/>
                      <a:gd name="T67" fmla="*/ 0 h 941"/>
                      <a:gd name="T68" fmla="*/ 0 w 3561"/>
                      <a:gd name="T69" fmla="*/ 0 h 941"/>
                      <a:gd name="T70" fmla="*/ 0 w 3561"/>
                      <a:gd name="T71" fmla="*/ 0 h 941"/>
                      <a:gd name="T72" fmla="*/ 0 w 3561"/>
                      <a:gd name="T73" fmla="*/ 0 h 941"/>
                      <a:gd name="T74" fmla="*/ 0 w 3561"/>
                      <a:gd name="T75" fmla="*/ 0 h 941"/>
                      <a:gd name="T76" fmla="*/ 0 w 3561"/>
                      <a:gd name="T77" fmla="*/ 0 h 941"/>
                      <a:gd name="T78" fmla="*/ 0 w 3561"/>
                      <a:gd name="T79" fmla="*/ 0 h 941"/>
                      <a:gd name="T80" fmla="*/ 0 w 3561"/>
                      <a:gd name="T81" fmla="*/ 0 h 941"/>
                      <a:gd name="T82" fmla="*/ 0 w 3561"/>
                      <a:gd name="T83" fmla="*/ 0 h 941"/>
                      <a:gd name="T84" fmla="*/ 0 w 3561"/>
                      <a:gd name="T85" fmla="*/ 0 h 941"/>
                      <a:gd name="T86" fmla="*/ 0 w 3561"/>
                      <a:gd name="T87" fmla="*/ 0 h 941"/>
                      <a:gd name="T88" fmla="*/ 0 w 3561"/>
                      <a:gd name="T89" fmla="*/ 0 h 941"/>
                      <a:gd name="T90" fmla="*/ 0 w 3561"/>
                      <a:gd name="T91" fmla="*/ 0 h 941"/>
                      <a:gd name="T92" fmla="*/ 0 w 3561"/>
                      <a:gd name="T93" fmla="*/ 0 h 941"/>
                      <a:gd name="T94" fmla="*/ 0 w 3561"/>
                      <a:gd name="T95" fmla="*/ 0 h 941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w 3561"/>
                      <a:gd name="T145" fmla="*/ 0 h 941"/>
                      <a:gd name="T146" fmla="*/ 3561 w 3561"/>
                      <a:gd name="T147" fmla="*/ 941 h 941"/>
                    </a:gdLst>
                    <a:ahLst/>
                    <a:cxnLst>
                      <a:cxn ang="T96">
                        <a:pos x="T0" y="T1"/>
                      </a:cxn>
                      <a:cxn ang="T97">
                        <a:pos x="T2" y="T3"/>
                      </a:cxn>
                      <a:cxn ang="T98">
                        <a:pos x="T4" y="T5"/>
                      </a:cxn>
                      <a:cxn ang="T99">
                        <a:pos x="T6" y="T7"/>
                      </a:cxn>
                      <a:cxn ang="T100">
                        <a:pos x="T8" y="T9"/>
                      </a:cxn>
                      <a:cxn ang="T101">
                        <a:pos x="T10" y="T11"/>
                      </a:cxn>
                      <a:cxn ang="T102">
                        <a:pos x="T12" y="T13"/>
                      </a:cxn>
                      <a:cxn ang="T103">
                        <a:pos x="T14" y="T15"/>
                      </a:cxn>
                      <a:cxn ang="T104">
                        <a:pos x="T16" y="T17"/>
                      </a:cxn>
                      <a:cxn ang="T105">
                        <a:pos x="T18" y="T19"/>
                      </a:cxn>
                      <a:cxn ang="T106">
                        <a:pos x="T20" y="T21"/>
                      </a:cxn>
                      <a:cxn ang="T107">
                        <a:pos x="T22" y="T23"/>
                      </a:cxn>
                      <a:cxn ang="T108">
                        <a:pos x="T24" y="T25"/>
                      </a:cxn>
                      <a:cxn ang="T109">
                        <a:pos x="T26" y="T27"/>
                      </a:cxn>
                      <a:cxn ang="T110">
                        <a:pos x="T28" y="T29"/>
                      </a:cxn>
                      <a:cxn ang="T111">
                        <a:pos x="T30" y="T31"/>
                      </a:cxn>
                      <a:cxn ang="T112">
                        <a:pos x="T32" y="T33"/>
                      </a:cxn>
                      <a:cxn ang="T113">
                        <a:pos x="T34" y="T35"/>
                      </a:cxn>
                      <a:cxn ang="T114">
                        <a:pos x="T36" y="T37"/>
                      </a:cxn>
                      <a:cxn ang="T115">
                        <a:pos x="T38" y="T39"/>
                      </a:cxn>
                      <a:cxn ang="T116">
                        <a:pos x="T40" y="T41"/>
                      </a:cxn>
                      <a:cxn ang="T117">
                        <a:pos x="T42" y="T43"/>
                      </a:cxn>
                      <a:cxn ang="T118">
                        <a:pos x="T44" y="T45"/>
                      </a:cxn>
                      <a:cxn ang="T119">
                        <a:pos x="T46" y="T47"/>
                      </a:cxn>
                      <a:cxn ang="T120">
                        <a:pos x="T48" y="T49"/>
                      </a:cxn>
                      <a:cxn ang="T121">
                        <a:pos x="T50" y="T51"/>
                      </a:cxn>
                      <a:cxn ang="T122">
                        <a:pos x="T52" y="T53"/>
                      </a:cxn>
                      <a:cxn ang="T123">
                        <a:pos x="T54" y="T55"/>
                      </a:cxn>
                      <a:cxn ang="T124">
                        <a:pos x="T56" y="T57"/>
                      </a:cxn>
                      <a:cxn ang="T125">
                        <a:pos x="T58" y="T59"/>
                      </a:cxn>
                      <a:cxn ang="T126">
                        <a:pos x="T60" y="T61"/>
                      </a:cxn>
                      <a:cxn ang="T127">
                        <a:pos x="T62" y="T63"/>
                      </a:cxn>
                      <a:cxn ang="T128">
                        <a:pos x="T64" y="T65"/>
                      </a:cxn>
                      <a:cxn ang="T129">
                        <a:pos x="T66" y="T67"/>
                      </a:cxn>
                      <a:cxn ang="T130">
                        <a:pos x="T68" y="T69"/>
                      </a:cxn>
                      <a:cxn ang="T131">
                        <a:pos x="T70" y="T71"/>
                      </a:cxn>
                      <a:cxn ang="T132">
                        <a:pos x="T72" y="T73"/>
                      </a:cxn>
                      <a:cxn ang="T133">
                        <a:pos x="T74" y="T75"/>
                      </a:cxn>
                      <a:cxn ang="T134">
                        <a:pos x="T76" y="T77"/>
                      </a:cxn>
                      <a:cxn ang="T135">
                        <a:pos x="T78" y="T79"/>
                      </a:cxn>
                      <a:cxn ang="T136">
                        <a:pos x="T80" y="T81"/>
                      </a:cxn>
                      <a:cxn ang="T137">
                        <a:pos x="T82" y="T83"/>
                      </a:cxn>
                      <a:cxn ang="T138">
                        <a:pos x="T84" y="T85"/>
                      </a:cxn>
                      <a:cxn ang="T139">
                        <a:pos x="T86" y="T87"/>
                      </a:cxn>
                      <a:cxn ang="T140">
                        <a:pos x="T88" y="T89"/>
                      </a:cxn>
                      <a:cxn ang="T141">
                        <a:pos x="T90" y="T91"/>
                      </a:cxn>
                      <a:cxn ang="T142">
                        <a:pos x="T92" y="T93"/>
                      </a:cxn>
                      <a:cxn ang="T143">
                        <a:pos x="T94" y="T95"/>
                      </a:cxn>
                    </a:cxnLst>
                    <a:rect l="T144" t="T145" r="T146" b="T147"/>
                    <a:pathLst>
                      <a:path w="3561" h="941">
                        <a:moveTo>
                          <a:pt x="3519" y="41"/>
                        </a:moveTo>
                        <a:lnTo>
                          <a:pt x="3462" y="83"/>
                        </a:lnTo>
                        <a:lnTo>
                          <a:pt x="3404" y="123"/>
                        </a:lnTo>
                        <a:lnTo>
                          <a:pt x="3347" y="160"/>
                        </a:lnTo>
                        <a:lnTo>
                          <a:pt x="3289" y="194"/>
                        </a:lnTo>
                        <a:lnTo>
                          <a:pt x="3231" y="226"/>
                        </a:lnTo>
                        <a:lnTo>
                          <a:pt x="3172" y="255"/>
                        </a:lnTo>
                        <a:lnTo>
                          <a:pt x="3115" y="283"/>
                        </a:lnTo>
                        <a:lnTo>
                          <a:pt x="3056" y="308"/>
                        </a:lnTo>
                        <a:lnTo>
                          <a:pt x="2997" y="330"/>
                        </a:lnTo>
                        <a:lnTo>
                          <a:pt x="2936" y="351"/>
                        </a:lnTo>
                        <a:lnTo>
                          <a:pt x="2876" y="370"/>
                        </a:lnTo>
                        <a:lnTo>
                          <a:pt x="2816" y="387"/>
                        </a:lnTo>
                        <a:lnTo>
                          <a:pt x="2756" y="401"/>
                        </a:lnTo>
                        <a:lnTo>
                          <a:pt x="2695" y="414"/>
                        </a:lnTo>
                        <a:lnTo>
                          <a:pt x="2635" y="427"/>
                        </a:lnTo>
                        <a:lnTo>
                          <a:pt x="2572" y="437"/>
                        </a:lnTo>
                        <a:lnTo>
                          <a:pt x="2511" y="446"/>
                        </a:lnTo>
                        <a:lnTo>
                          <a:pt x="2449" y="453"/>
                        </a:lnTo>
                        <a:lnTo>
                          <a:pt x="2387" y="460"/>
                        </a:lnTo>
                        <a:lnTo>
                          <a:pt x="2323" y="464"/>
                        </a:lnTo>
                        <a:lnTo>
                          <a:pt x="2260" y="469"/>
                        </a:lnTo>
                        <a:lnTo>
                          <a:pt x="2196" y="472"/>
                        </a:lnTo>
                        <a:lnTo>
                          <a:pt x="2132" y="475"/>
                        </a:lnTo>
                        <a:lnTo>
                          <a:pt x="2068" y="476"/>
                        </a:lnTo>
                        <a:lnTo>
                          <a:pt x="1937" y="478"/>
                        </a:lnTo>
                        <a:lnTo>
                          <a:pt x="1806" y="477"/>
                        </a:lnTo>
                        <a:lnTo>
                          <a:pt x="1672" y="475"/>
                        </a:lnTo>
                        <a:lnTo>
                          <a:pt x="1536" y="472"/>
                        </a:lnTo>
                        <a:lnTo>
                          <a:pt x="1468" y="470"/>
                        </a:lnTo>
                        <a:lnTo>
                          <a:pt x="1400" y="466"/>
                        </a:lnTo>
                        <a:lnTo>
                          <a:pt x="1334" y="458"/>
                        </a:lnTo>
                        <a:lnTo>
                          <a:pt x="1267" y="449"/>
                        </a:lnTo>
                        <a:lnTo>
                          <a:pt x="1202" y="438"/>
                        </a:lnTo>
                        <a:lnTo>
                          <a:pt x="1137" y="424"/>
                        </a:lnTo>
                        <a:lnTo>
                          <a:pt x="1073" y="410"/>
                        </a:lnTo>
                        <a:lnTo>
                          <a:pt x="1011" y="393"/>
                        </a:lnTo>
                        <a:lnTo>
                          <a:pt x="950" y="375"/>
                        </a:lnTo>
                        <a:lnTo>
                          <a:pt x="890" y="358"/>
                        </a:lnTo>
                        <a:lnTo>
                          <a:pt x="831" y="338"/>
                        </a:lnTo>
                        <a:lnTo>
                          <a:pt x="774" y="318"/>
                        </a:lnTo>
                        <a:lnTo>
                          <a:pt x="719" y="296"/>
                        </a:lnTo>
                        <a:lnTo>
                          <a:pt x="666" y="275"/>
                        </a:lnTo>
                        <a:lnTo>
                          <a:pt x="614" y="253"/>
                        </a:lnTo>
                        <a:lnTo>
                          <a:pt x="565" y="232"/>
                        </a:lnTo>
                        <a:lnTo>
                          <a:pt x="517" y="210"/>
                        </a:lnTo>
                        <a:lnTo>
                          <a:pt x="471" y="189"/>
                        </a:lnTo>
                        <a:lnTo>
                          <a:pt x="429" y="167"/>
                        </a:lnTo>
                        <a:lnTo>
                          <a:pt x="389" y="146"/>
                        </a:lnTo>
                        <a:lnTo>
                          <a:pt x="315" y="107"/>
                        </a:lnTo>
                        <a:lnTo>
                          <a:pt x="254" y="72"/>
                        </a:lnTo>
                        <a:lnTo>
                          <a:pt x="204" y="43"/>
                        </a:lnTo>
                        <a:lnTo>
                          <a:pt x="168" y="19"/>
                        </a:lnTo>
                        <a:lnTo>
                          <a:pt x="145" y="5"/>
                        </a:lnTo>
                        <a:lnTo>
                          <a:pt x="137" y="0"/>
                        </a:lnTo>
                        <a:lnTo>
                          <a:pt x="122" y="34"/>
                        </a:lnTo>
                        <a:lnTo>
                          <a:pt x="107" y="65"/>
                        </a:lnTo>
                        <a:lnTo>
                          <a:pt x="93" y="93"/>
                        </a:lnTo>
                        <a:lnTo>
                          <a:pt x="78" y="118"/>
                        </a:lnTo>
                        <a:lnTo>
                          <a:pt x="53" y="164"/>
                        </a:lnTo>
                        <a:lnTo>
                          <a:pt x="31" y="202"/>
                        </a:lnTo>
                        <a:lnTo>
                          <a:pt x="23" y="220"/>
                        </a:lnTo>
                        <a:lnTo>
                          <a:pt x="15" y="236"/>
                        </a:lnTo>
                        <a:lnTo>
                          <a:pt x="8" y="252"/>
                        </a:lnTo>
                        <a:lnTo>
                          <a:pt x="4" y="268"/>
                        </a:lnTo>
                        <a:lnTo>
                          <a:pt x="1" y="283"/>
                        </a:lnTo>
                        <a:lnTo>
                          <a:pt x="0" y="299"/>
                        </a:lnTo>
                        <a:lnTo>
                          <a:pt x="0" y="314"/>
                        </a:lnTo>
                        <a:lnTo>
                          <a:pt x="4" y="331"/>
                        </a:lnTo>
                        <a:lnTo>
                          <a:pt x="9" y="348"/>
                        </a:lnTo>
                        <a:lnTo>
                          <a:pt x="19" y="365"/>
                        </a:lnTo>
                        <a:lnTo>
                          <a:pt x="33" y="385"/>
                        </a:lnTo>
                        <a:lnTo>
                          <a:pt x="49" y="406"/>
                        </a:lnTo>
                        <a:lnTo>
                          <a:pt x="70" y="427"/>
                        </a:lnTo>
                        <a:lnTo>
                          <a:pt x="94" y="450"/>
                        </a:lnTo>
                        <a:lnTo>
                          <a:pt x="122" y="472"/>
                        </a:lnTo>
                        <a:lnTo>
                          <a:pt x="152" y="497"/>
                        </a:lnTo>
                        <a:lnTo>
                          <a:pt x="185" y="521"/>
                        </a:lnTo>
                        <a:lnTo>
                          <a:pt x="222" y="546"/>
                        </a:lnTo>
                        <a:lnTo>
                          <a:pt x="261" y="570"/>
                        </a:lnTo>
                        <a:lnTo>
                          <a:pt x="303" y="596"/>
                        </a:lnTo>
                        <a:lnTo>
                          <a:pt x="348" y="620"/>
                        </a:lnTo>
                        <a:lnTo>
                          <a:pt x="395" y="646"/>
                        </a:lnTo>
                        <a:lnTo>
                          <a:pt x="444" y="670"/>
                        </a:lnTo>
                        <a:lnTo>
                          <a:pt x="497" y="695"/>
                        </a:lnTo>
                        <a:lnTo>
                          <a:pt x="550" y="718"/>
                        </a:lnTo>
                        <a:lnTo>
                          <a:pt x="606" y="742"/>
                        </a:lnTo>
                        <a:lnTo>
                          <a:pt x="664" y="765"/>
                        </a:lnTo>
                        <a:lnTo>
                          <a:pt x="724" y="786"/>
                        </a:lnTo>
                        <a:lnTo>
                          <a:pt x="785" y="807"/>
                        </a:lnTo>
                        <a:lnTo>
                          <a:pt x="847" y="827"/>
                        </a:lnTo>
                        <a:lnTo>
                          <a:pt x="912" y="846"/>
                        </a:lnTo>
                        <a:lnTo>
                          <a:pt x="978" y="863"/>
                        </a:lnTo>
                        <a:lnTo>
                          <a:pt x="1044" y="878"/>
                        </a:lnTo>
                        <a:lnTo>
                          <a:pt x="1112" y="893"/>
                        </a:lnTo>
                        <a:lnTo>
                          <a:pt x="1181" y="906"/>
                        </a:lnTo>
                        <a:lnTo>
                          <a:pt x="1250" y="916"/>
                        </a:lnTo>
                        <a:lnTo>
                          <a:pt x="1321" y="926"/>
                        </a:lnTo>
                        <a:lnTo>
                          <a:pt x="1393" y="933"/>
                        </a:lnTo>
                        <a:lnTo>
                          <a:pt x="1464" y="937"/>
                        </a:lnTo>
                        <a:lnTo>
                          <a:pt x="1536" y="940"/>
                        </a:lnTo>
                        <a:lnTo>
                          <a:pt x="1608" y="941"/>
                        </a:lnTo>
                        <a:lnTo>
                          <a:pt x="1679" y="941"/>
                        </a:lnTo>
                        <a:lnTo>
                          <a:pt x="1749" y="941"/>
                        </a:lnTo>
                        <a:lnTo>
                          <a:pt x="1819" y="940"/>
                        </a:lnTo>
                        <a:lnTo>
                          <a:pt x="1888" y="937"/>
                        </a:lnTo>
                        <a:lnTo>
                          <a:pt x="1957" y="935"/>
                        </a:lnTo>
                        <a:lnTo>
                          <a:pt x="2025" y="932"/>
                        </a:lnTo>
                        <a:lnTo>
                          <a:pt x="2093" y="927"/>
                        </a:lnTo>
                        <a:lnTo>
                          <a:pt x="2160" y="922"/>
                        </a:lnTo>
                        <a:lnTo>
                          <a:pt x="2225" y="915"/>
                        </a:lnTo>
                        <a:lnTo>
                          <a:pt x="2291" y="909"/>
                        </a:lnTo>
                        <a:lnTo>
                          <a:pt x="2357" y="900"/>
                        </a:lnTo>
                        <a:lnTo>
                          <a:pt x="2421" y="890"/>
                        </a:lnTo>
                        <a:lnTo>
                          <a:pt x="2485" y="880"/>
                        </a:lnTo>
                        <a:lnTo>
                          <a:pt x="2549" y="867"/>
                        </a:lnTo>
                        <a:lnTo>
                          <a:pt x="2611" y="854"/>
                        </a:lnTo>
                        <a:lnTo>
                          <a:pt x="2674" y="841"/>
                        </a:lnTo>
                        <a:lnTo>
                          <a:pt x="2736" y="825"/>
                        </a:lnTo>
                        <a:lnTo>
                          <a:pt x="2797" y="808"/>
                        </a:lnTo>
                        <a:lnTo>
                          <a:pt x="2859" y="789"/>
                        </a:lnTo>
                        <a:lnTo>
                          <a:pt x="2919" y="771"/>
                        </a:lnTo>
                        <a:lnTo>
                          <a:pt x="2979" y="749"/>
                        </a:lnTo>
                        <a:lnTo>
                          <a:pt x="3039" y="727"/>
                        </a:lnTo>
                        <a:lnTo>
                          <a:pt x="3098" y="703"/>
                        </a:lnTo>
                        <a:lnTo>
                          <a:pt x="3157" y="678"/>
                        </a:lnTo>
                        <a:lnTo>
                          <a:pt x="3216" y="650"/>
                        </a:lnTo>
                        <a:lnTo>
                          <a:pt x="3274" y="623"/>
                        </a:lnTo>
                        <a:lnTo>
                          <a:pt x="3330" y="592"/>
                        </a:lnTo>
                        <a:lnTo>
                          <a:pt x="3388" y="560"/>
                        </a:lnTo>
                        <a:lnTo>
                          <a:pt x="3445" y="527"/>
                        </a:lnTo>
                        <a:lnTo>
                          <a:pt x="3502" y="491"/>
                        </a:lnTo>
                        <a:lnTo>
                          <a:pt x="3557" y="453"/>
                        </a:lnTo>
                        <a:lnTo>
                          <a:pt x="3560" y="437"/>
                        </a:lnTo>
                        <a:lnTo>
                          <a:pt x="3561" y="416"/>
                        </a:lnTo>
                        <a:lnTo>
                          <a:pt x="3561" y="391"/>
                        </a:lnTo>
                        <a:lnTo>
                          <a:pt x="3561" y="364"/>
                        </a:lnTo>
                        <a:lnTo>
                          <a:pt x="3559" y="303"/>
                        </a:lnTo>
                        <a:lnTo>
                          <a:pt x="3553" y="239"/>
                        </a:lnTo>
                        <a:lnTo>
                          <a:pt x="3545" y="174"/>
                        </a:lnTo>
                        <a:lnTo>
                          <a:pt x="3537" y="116"/>
                        </a:lnTo>
                        <a:lnTo>
                          <a:pt x="3533" y="92"/>
                        </a:lnTo>
                        <a:lnTo>
                          <a:pt x="3527" y="71"/>
                        </a:lnTo>
                        <a:lnTo>
                          <a:pt x="3523" y="53"/>
                        </a:lnTo>
                        <a:lnTo>
                          <a:pt x="3519" y="41"/>
                        </a:lnTo>
                        <a:close/>
                      </a:path>
                    </a:pathLst>
                  </a:custGeom>
                  <a:solidFill>
                    <a:srgbClr val="C93A27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39" name="Freeform 188"/>
                  <p:cNvSpPr>
                    <a:spLocks/>
                  </p:cNvSpPr>
                  <p:nvPr/>
                </p:nvSpPr>
                <p:spPr bwMode="auto">
                  <a:xfrm>
                    <a:off x="3186" y="3764"/>
                    <a:ext cx="511" cy="95"/>
                  </a:xfrm>
                  <a:custGeom>
                    <a:avLst/>
                    <a:gdLst>
                      <a:gd name="T0" fmla="*/ 0 w 3561"/>
                      <a:gd name="T1" fmla="*/ 0 h 668"/>
                      <a:gd name="T2" fmla="*/ 0 w 3561"/>
                      <a:gd name="T3" fmla="*/ 0 h 668"/>
                      <a:gd name="T4" fmla="*/ 0 w 3561"/>
                      <a:gd name="T5" fmla="*/ 0 h 668"/>
                      <a:gd name="T6" fmla="*/ 0 w 3561"/>
                      <a:gd name="T7" fmla="*/ 0 h 668"/>
                      <a:gd name="T8" fmla="*/ 0 w 3561"/>
                      <a:gd name="T9" fmla="*/ 0 h 668"/>
                      <a:gd name="T10" fmla="*/ 0 w 3561"/>
                      <a:gd name="T11" fmla="*/ 0 h 668"/>
                      <a:gd name="T12" fmla="*/ 0 w 3561"/>
                      <a:gd name="T13" fmla="*/ 0 h 668"/>
                      <a:gd name="T14" fmla="*/ 0 w 3561"/>
                      <a:gd name="T15" fmla="*/ 0 h 668"/>
                      <a:gd name="T16" fmla="*/ 0 w 3561"/>
                      <a:gd name="T17" fmla="*/ 0 h 668"/>
                      <a:gd name="T18" fmla="*/ 0 w 3561"/>
                      <a:gd name="T19" fmla="*/ 0 h 668"/>
                      <a:gd name="T20" fmla="*/ 0 w 3561"/>
                      <a:gd name="T21" fmla="*/ 0 h 668"/>
                      <a:gd name="T22" fmla="*/ 0 w 3561"/>
                      <a:gd name="T23" fmla="*/ 0 h 668"/>
                      <a:gd name="T24" fmla="*/ 0 w 3561"/>
                      <a:gd name="T25" fmla="*/ 0 h 668"/>
                      <a:gd name="T26" fmla="*/ 0 w 3561"/>
                      <a:gd name="T27" fmla="*/ 0 h 668"/>
                      <a:gd name="T28" fmla="*/ 0 w 3561"/>
                      <a:gd name="T29" fmla="*/ 0 h 668"/>
                      <a:gd name="T30" fmla="*/ 0 w 3561"/>
                      <a:gd name="T31" fmla="*/ 0 h 668"/>
                      <a:gd name="T32" fmla="*/ 0 w 3561"/>
                      <a:gd name="T33" fmla="*/ 0 h 668"/>
                      <a:gd name="T34" fmla="*/ 0 w 3561"/>
                      <a:gd name="T35" fmla="*/ 0 h 668"/>
                      <a:gd name="T36" fmla="*/ 0 w 3561"/>
                      <a:gd name="T37" fmla="*/ 0 h 668"/>
                      <a:gd name="T38" fmla="*/ 0 w 3561"/>
                      <a:gd name="T39" fmla="*/ 0 h 668"/>
                      <a:gd name="T40" fmla="*/ 0 w 3561"/>
                      <a:gd name="T41" fmla="*/ 0 h 668"/>
                      <a:gd name="T42" fmla="*/ 0 w 3561"/>
                      <a:gd name="T43" fmla="*/ 0 h 668"/>
                      <a:gd name="T44" fmla="*/ 0 w 3561"/>
                      <a:gd name="T45" fmla="*/ 0 h 668"/>
                      <a:gd name="T46" fmla="*/ 0 w 3561"/>
                      <a:gd name="T47" fmla="*/ 0 h 668"/>
                      <a:gd name="T48" fmla="*/ 0 w 3561"/>
                      <a:gd name="T49" fmla="*/ 0 h 668"/>
                      <a:gd name="T50" fmla="*/ 0 w 3561"/>
                      <a:gd name="T51" fmla="*/ 0 h 668"/>
                      <a:gd name="T52" fmla="*/ 0 w 3561"/>
                      <a:gd name="T53" fmla="*/ 0 h 668"/>
                      <a:gd name="T54" fmla="*/ 0 w 3561"/>
                      <a:gd name="T55" fmla="*/ 0 h 668"/>
                      <a:gd name="T56" fmla="*/ 0 w 3561"/>
                      <a:gd name="T57" fmla="*/ 0 h 668"/>
                      <a:gd name="T58" fmla="*/ 0 w 3561"/>
                      <a:gd name="T59" fmla="*/ 0 h 668"/>
                      <a:gd name="T60" fmla="*/ 0 w 3561"/>
                      <a:gd name="T61" fmla="*/ 0 h 668"/>
                      <a:gd name="T62" fmla="*/ 0 w 3561"/>
                      <a:gd name="T63" fmla="*/ 0 h 668"/>
                      <a:gd name="T64" fmla="*/ 0 w 3561"/>
                      <a:gd name="T65" fmla="*/ 0 h 668"/>
                      <a:gd name="T66" fmla="*/ 0 w 3561"/>
                      <a:gd name="T67" fmla="*/ 0 h 668"/>
                      <a:gd name="T68" fmla="*/ 0 w 3561"/>
                      <a:gd name="T69" fmla="*/ 0 h 668"/>
                      <a:gd name="T70" fmla="*/ 0 w 3561"/>
                      <a:gd name="T71" fmla="*/ 0 h 668"/>
                      <a:gd name="T72" fmla="*/ 0 w 3561"/>
                      <a:gd name="T73" fmla="*/ 0 h 668"/>
                      <a:gd name="T74" fmla="*/ 0 w 3561"/>
                      <a:gd name="T75" fmla="*/ 0 h 668"/>
                      <a:gd name="T76" fmla="*/ 0 w 3561"/>
                      <a:gd name="T77" fmla="*/ 0 h 668"/>
                      <a:gd name="T78" fmla="*/ 0 w 3561"/>
                      <a:gd name="T79" fmla="*/ 0 h 668"/>
                      <a:gd name="T80" fmla="*/ 0 w 3561"/>
                      <a:gd name="T81" fmla="*/ 0 h 668"/>
                      <a:gd name="T82" fmla="*/ 0 w 3561"/>
                      <a:gd name="T83" fmla="*/ 0 h 668"/>
                      <a:gd name="T84" fmla="*/ 0 w 3561"/>
                      <a:gd name="T85" fmla="*/ 0 h 668"/>
                      <a:gd name="T86" fmla="*/ 0 w 3561"/>
                      <a:gd name="T87" fmla="*/ 0 h 668"/>
                      <a:gd name="T88" fmla="*/ 0 w 3561"/>
                      <a:gd name="T89" fmla="*/ 0 h 668"/>
                      <a:gd name="T90" fmla="*/ 0 w 3561"/>
                      <a:gd name="T91" fmla="*/ 0 h 668"/>
                      <a:gd name="T92" fmla="*/ 0 w 3561"/>
                      <a:gd name="T93" fmla="*/ 0 h 668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w 3561"/>
                      <a:gd name="T142" fmla="*/ 0 h 668"/>
                      <a:gd name="T143" fmla="*/ 3561 w 3561"/>
                      <a:gd name="T144" fmla="*/ 668 h 668"/>
                    </a:gdLst>
                    <a:ahLst/>
                    <a:cxnLst>
                      <a:cxn ang="T94">
                        <a:pos x="T0" y="T1"/>
                      </a:cxn>
                      <a:cxn ang="T95">
                        <a:pos x="T2" y="T3"/>
                      </a:cxn>
                      <a:cxn ang="T96">
                        <a:pos x="T4" y="T5"/>
                      </a:cxn>
                      <a:cxn ang="T97">
                        <a:pos x="T6" y="T7"/>
                      </a:cxn>
                      <a:cxn ang="T98">
                        <a:pos x="T8" y="T9"/>
                      </a:cxn>
                      <a:cxn ang="T99">
                        <a:pos x="T10" y="T11"/>
                      </a:cxn>
                      <a:cxn ang="T100">
                        <a:pos x="T12" y="T13"/>
                      </a:cxn>
                      <a:cxn ang="T101">
                        <a:pos x="T14" y="T15"/>
                      </a:cxn>
                      <a:cxn ang="T102">
                        <a:pos x="T16" y="T17"/>
                      </a:cxn>
                      <a:cxn ang="T103">
                        <a:pos x="T18" y="T19"/>
                      </a:cxn>
                      <a:cxn ang="T104">
                        <a:pos x="T20" y="T21"/>
                      </a:cxn>
                      <a:cxn ang="T105">
                        <a:pos x="T22" y="T23"/>
                      </a:cxn>
                      <a:cxn ang="T106">
                        <a:pos x="T24" y="T25"/>
                      </a:cxn>
                      <a:cxn ang="T107">
                        <a:pos x="T26" y="T27"/>
                      </a:cxn>
                      <a:cxn ang="T108">
                        <a:pos x="T28" y="T29"/>
                      </a:cxn>
                      <a:cxn ang="T109">
                        <a:pos x="T30" y="T31"/>
                      </a:cxn>
                      <a:cxn ang="T110">
                        <a:pos x="T32" y="T33"/>
                      </a:cxn>
                      <a:cxn ang="T111">
                        <a:pos x="T34" y="T35"/>
                      </a:cxn>
                      <a:cxn ang="T112">
                        <a:pos x="T36" y="T37"/>
                      </a:cxn>
                      <a:cxn ang="T113">
                        <a:pos x="T38" y="T39"/>
                      </a:cxn>
                      <a:cxn ang="T114">
                        <a:pos x="T40" y="T41"/>
                      </a:cxn>
                      <a:cxn ang="T115">
                        <a:pos x="T42" y="T43"/>
                      </a:cxn>
                      <a:cxn ang="T116">
                        <a:pos x="T44" y="T45"/>
                      </a:cxn>
                      <a:cxn ang="T117">
                        <a:pos x="T46" y="T47"/>
                      </a:cxn>
                      <a:cxn ang="T118">
                        <a:pos x="T48" y="T49"/>
                      </a:cxn>
                      <a:cxn ang="T119">
                        <a:pos x="T50" y="T51"/>
                      </a:cxn>
                      <a:cxn ang="T120">
                        <a:pos x="T52" y="T53"/>
                      </a:cxn>
                      <a:cxn ang="T121">
                        <a:pos x="T54" y="T55"/>
                      </a:cxn>
                      <a:cxn ang="T122">
                        <a:pos x="T56" y="T57"/>
                      </a:cxn>
                      <a:cxn ang="T123">
                        <a:pos x="T58" y="T59"/>
                      </a:cxn>
                      <a:cxn ang="T124">
                        <a:pos x="T60" y="T61"/>
                      </a:cxn>
                      <a:cxn ang="T125">
                        <a:pos x="T62" y="T63"/>
                      </a:cxn>
                      <a:cxn ang="T126">
                        <a:pos x="T64" y="T65"/>
                      </a:cxn>
                      <a:cxn ang="T127">
                        <a:pos x="T66" y="T67"/>
                      </a:cxn>
                      <a:cxn ang="T128">
                        <a:pos x="T68" y="T69"/>
                      </a:cxn>
                      <a:cxn ang="T129">
                        <a:pos x="T70" y="T71"/>
                      </a:cxn>
                      <a:cxn ang="T130">
                        <a:pos x="T72" y="T73"/>
                      </a:cxn>
                      <a:cxn ang="T131">
                        <a:pos x="T74" y="T75"/>
                      </a:cxn>
                      <a:cxn ang="T132">
                        <a:pos x="T76" y="T77"/>
                      </a:cxn>
                      <a:cxn ang="T133">
                        <a:pos x="T78" y="T79"/>
                      </a:cxn>
                      <a:cxn ang="T134">
                        <a:pos x="T80" y="T81"/>
                      </a:cxn>
                      <a:cxn ang="T135">
                        <a:pos x="T82" y="T83"/>
                      </a:cxn>
                      <a:cxn ang="T136">
                        <a:pos x="T84" y="T85"/>
                      </a:cxn>
                      <a:cxn ang="T137">
                        <a:pos x="T86" y="T87"/>
                      </a:cxn>
                      <a:cxn ang="T138">
                        <a:pos x="T88" y="T89"/>
                      </a:cxn>
                      <a:cxn ang="T139">
                        <a:pos x="T90" y="T91"/>
                      </a:cxn>
                      <a:cxn ang="T140">
                        <a:pos x="T92" y="T93"/>
                      </a:cxn>
                    </a:cxnLst>
                    <a:rect l="T141" t="T142" r="T143" b="T144"/>
                    <a:pathLst>
                      <a:path w="3561" h="668">
                        <a:moveTo>
                          <a:pt x="3557" y="128"/>
                        </a:moveTo>
                        <a:lnTo>
                          <a:pt x="3501" y="165"/>
                        </a:lnTo>
                        <a:lnTo>
                          <a:pt x="3444" y="200"/>
                        </a:lnTo>
                        <a:lnTo>
                          <a:pt x="3388" y="234"/>
                        </a:lnTo>
                        <a:lnTo>
                          <a:pt x="3330" y="266"/>
                        </a:lnTo>
                        <a:lnTo>
                          <a:pt x="3273" y="296"/>
                        </a:lnTo>
                        <a:lnTo>
                          <a:pt x="3215" y="325"/>
                        </a:lnTo>
                        <a:lnTo>
                          <a:pt x="3156" y="352"/>
                        </a:lnTo>
                        <a:lnTo>
                          <a:pt x="3097" y="377"/>
                        </a:lnTo>
                        <a:lnTo>
                          <a:pt x="3038" y="401"/>
                        </a:lnTo>
                        <a:lnTo>
                          <a:pt x="2979" y="424"/>
                        </a:lnTo>
                        <a:lnTo>
                          <a:pt x="2918" y="444"/>
                        </a:lnTo>
                        <a:lnTo>
                          <a:pt x="2858" y="464"/>
                        </a:lnTo>
                        <a:lnTo>
                          <a:pt x="2797" y="482"/>
                        </a:lnTo>
                        <a:lnTo>
                          <a:pt x="2735" y="499"/>
                        </a:lnTo>
                        <a:lnTo>
                          <a:pt x="2673" y="514"/>
                        </a:lnTo>
                        <a:lnTo>
                          <a:pt x="2611" y="529"/>
                        </a:lnTo>
                        <a:lnTo>
                          <a:pt x="2548" y="542"/>
                        </a:lnTo>
                        <a:lnTo>
                          <a:pt x="2485" y="553"/>
                        </a:lnTo>
                        <a:lnTo>
                          <a:pt x="2420" y="564"/>
                        </a:lnTo>
                        <a:lnTo>
                          <a:pt x="2356" y="573"/>
                        </a:lnTo>
                        <a:lnTo>
                          <a:pt x="2290" y="582"/>
                        </a:lnTo>
                        <a:lnTo>
                          <a:pt x="2225" y="590"/>
                        </a:lnTo>
                        <a:lnTo>
                          <a:pt x="2159" y="595"/>
                        </a:lnTo>
                        <a:lnTo>
                          <a:pt x="2092" y="601"/>
                        </a:lnTo>
                        <a:lnTo>
                          <a:pt x="2024" y="605"/>
                        </a:lnTo>
                        <a:lnTo>
                          <a:pt x="1956" y="609"/>
                        </a:lnTo>
                        <a:lnTo>
                          <a:pt x="1888" y="612"/>
                        </a:lnTo>
                        <a:lnTo>
                          <a:pt x="1818" y="614"/>
                        </a:lnTo>
                        <a:lnTo>
                          <a:pt x="1749" y="615"/>
                        </a:lnTo>
                        <a:lnTo>
                          <a:pt x="1678" y="615"/>
                        </a:lnTo>
                        <a:lnTo>
                          <a:pt x="1607" y="615"/>
                        </a:lnTo>
                        <a:lnTo>
                          <a:pt x="1536" y="614"/>
                        </a:lnTo>
                        <a:lnTo>
                          <a:pt x="1463" y="612"/>
                        </a:lnTo>
                        <a:lnTo>
                          <a:pt x="1392" y="607"/>
                        </a:lnTo>
                        <a:lnTo>
                          <a:pt x="1321" y="600"/>
                        </a:lnTo>
                        <a:lnTo>
                          <a:pt x="1250" y="591"/>
                        </a:lnTo>
                        <a:lnTo>
                          <a:pt x="1181" y="580"/>
                        </a:lnTo>
                        <a:lnTo>
                          <a:pt x="1112" y="568"/>
                        </a:lnTo>
                        <a:lnTo>
                          <a:pt x="1044" y="553"/>
                        </a:lnTo>
                        <a:lnTo>
                          <a:pt x="977" y="538"/>
                        </a:lnTo>
                        <a:lnTo>
                          <a:pt x="911" y="520"/>
                        </a:lnTo>
                        <a:lnTo>
                          <a:pt x="847" y="501"/>
                        </a:lnTo>
                        <a:lnTo>
                          <a:pt x="784" y="482"/>
                        </a:lnTo>
                        <a:lnTo>
                          <a:pt x="723" y="461"/>
                        </a:lnTo>
                        <a:lnTo>
                          <a:pt x="663" y="439"/>
                        </a:lnTo>
                        <a:lnTo>
                          <a:pt x="605" y="416"/>
                        </a:lnTo>
                        <a:lnTo>
                          <a:pt x="549" y="393"/>
                        </a:lnTo>
                        <a:lnTo>
                          <a:pt x="496" y="368"/>
                        </a:lnTo>
                        <a:lnTo>
                          <a:pt x="444" y="344"/>
                        </a:lnTo>
                        <a:lnTo>
                          <a:pt x="395" y="319"/>
                        </a:lnTo>
                        <a:lnTo>
                          <a:pt x="347" y="295"/>
                        </a:lnTo>
                        <a:lnTo>
                          <a:pt x="302" y="269"/>
                        </a:lnTo>
                        <a:lnTo>
                          <a:pt x="260" y="245"/>
                        </a:lnTo>
                        <a:lnTo>
                          <a:pt x="221" y="219"/>
                        </a:lnTo>
                        <a:lnTo>
                          <a:pt x="184" y="195"/>
                        </a:lnTo>
                        <a:lnTo>
                          <a:pt x="151" y="170"/>
                        </a:lnTo>
                        <a:lnTo>
                          <a:pt x="121" y="147"/>
                        </a:lnTo>
                        <a:lnTo>
                          <a:pt x="93" y="124"/>
                        </a:lnTo>
                        <a:lnTo>
                          <a:pt x="70" y="101"/>
                        </a:lnTo>
                        <a:lnTo>
                          <a:pt x="49" y="80"/>
                        </a:lnTo>
                        <a:lnTo>
                          <a:pt x="32" y="59"/>
                        </a:lnTo>
                        <a:lnTo>
                          <a:pt x="19" y="40"/>
                        </a:lnTo>
                        <a:lnTo>
                          <a:pt x="9" y="22"/>
                        </a:lnTo>
                        <a:lnTo>
                          <a:pt x="3" y="5"/>
                        </a:lnTo>
                        <a:lnTo>
                          <a:pt x="3" y="2"/>
                        </a:lnTo>
                        <a:lnTo>
                          <a:pt x="2" y="0"/>
                        </a:lnTo>
                        <a:lnTo>
                          <a:pt x="0" y="15"/>
                        </a:lnTo>
                        <a:lnTo>
                          <a:pt x="0" y="28"/>
                        </a:lnTo>
                        <a:lnTo>
                          <a:pt x="1" y="42"/>
                        </a:lnTo>
                        <a:lnTo>
                          <a:pt x="3" y="58"/>
                        </a:lnTo>
                        <a:lnTo>
                          <a:pt x="9" y="75"/>
                        </a:lnTo>
                        <a:lnTo>
                          <a:pt x="19" y="92"/>
                        </a:lnTo>
                        <a:lnTo>
                          <a:pt x="32" y="112"/>
                        </a:lnTo>
                        <a:lnTo>
                          <a:pt x="49" y="133"/>
                        </a:lnTo>
                        <a:lnTo>
                          <a:pt x="70" y="154"/>
                        </a:lnTo>
                        <a:lnTo>
                          <a:pt x="93" y="177"/>
                        </a:lnTo>
                        <a:lnTo>
                          <a:pt x="121" y="199"/>
                        </a:lnTo>
                        <a:lnTo>
                          <a:pt x="151" y="224"/>
                        </a:lnTo>
                        <a:lnTo>
                          <a:pt x="184" y="248"/>
                        </a:lnTo>
                        <a:lnTo>
                          <a:pt x="221" y="273"/>
                        </a:lnTo>
                        <a:lnTo>
                          <a:pt x="260" y="297"/>
                        </a:lnTo>
                        <a:lnTo>
                          <a:pt x="302" y="323"/>
                        </a:lnTo>
                        <a:lnTo>
                          <a:pt x="347" y="347"/>
                        </a:lnTo>
                        <a:lnTo>
                          <a:pt x="395" y="373"/>
                        </a:lnTo>
                        <a:lnTo>
                          <a:pt x="444" y="397"/>
                        </a:lnTo>
                        <a:lnTo>
                          <a:pt x="496" y="422"/>
                        </a:lnTo>
                        <a:lnTo>
                          <a:pt x="549" y="445"/>
                        </a:lnTo>
                        <a:lnTo>
                          <a:pt x="605" y="469"/>
                        </a:lnTo>
                        <a:lnTo>
                          <a:pt x="663" y="492"/>
                        </a:lnTo>
                        <a:lnTo>
                          <a:pt x="723" y="513"/>
                        </a:lnTo>
                        <a:lnTo>
                          <a:pt x="784" y="534"/>
                        </a:lnTo>
                        <a:lnTo>
                          <a:pt x="847" y="554"/>
                        </a:lnTo>
                        <a:lnTo>
                          <a:pt x="911" y="573"/>
                        </a:lnTo>
                        <a:lnTo>
                          <a:pt x="977" y="590"/>
                        </a:lnTo>
                        <a:lnTo>
                          <a:pt x="1044" y="605"/>
                        </a:lnTo>
                        <a:lnTo>
                          <a:pt x="1112" y="620"/>
                        </a:lnTo>
                        <a:lnTo>
                          <a:pt x="1181" y="633"/>
                        </a:lnTo>
                        <a:lnTo>
                          <a:pt x="1250" y="643"/>
                        </a:lnTo>
                        <a:lnTo>
                          <a:pt x="1321" y="653"/>
                        </a:lnTo>
                        <a:lnTo>
                          <a:pt x="1392" y="660"/>
                        </a:lnTo>
                        <a:lnTo>
                          <a:pt x="1463" y="664"/>
                        </a:lnTo>
                        <a:lnTo>
                          <a:pt x="1536" y="667"/>
                        </a:lnTo>
                        <a:lnTo>
                          <a:pt x="1607" y="668"/>
                        </a:lnTo>
                        <a:lnTo>
                          <a:pt x="1678" y="668"/>
                        </a:lnTo>
                        <a:lnTo>
                          <a:pt x="1749" y="668"/>
                        </a:lnTo>
                        <a:lnTo>
                          <a:pt x="1818" y="667"/>
                        </a:lnTo>
                        <a:lnTo>
                          <a:pt x="1888" y="664"/>
                        </a:lnTo>
                        <a:lnTo>
                          <a:pt x="1956" y="662"/>
                        </a:lnTo>
                        <a:lnTo>
                          <a:pt x="2024" y="659"/>
                        </a:lnTo>
                        <a:lnTo>
                          <a:pt x="2092" y="654"/>
                        </a:lnTo>
                        <a:lnTo>
                          <a:pt x="2159" y="649"/>
                        </a:lnTo>
                        <a:lnTo>
                          <a:pt x="2225" y="642"/>
                        </a:lnTo>
                        <a:lnTo>
                          <a:pt x="2290" y="636"/>
                        </a:lnTo>
                        <a:lnTo>
                          <a:pt x="2356" y="627"/>
                        </a:lnTo>
                        <a:lnTo>
                          <a:pt x="2420" y="617"/>
                        </a:lnTo>
                        <a:lnTo>
                          <a:pt x="2485" y="607"/>
                        </a:lnTo>
                        <a:lnTo>
                          <a:pt x="2548" y="594"/>
                        </a:lnTo>
                        <a:lnTo>
                          <a:pt x="2611" y="581"/>
                        </a:lnTo>
                        <a:lnTo>
                          <a:pt x="2673" y="568"/>
                        </a:lnTo>
                        <a:lnTo>
                          <a:pt x="2735" y="552"/>
                        </a:lnTo>
                        <a:lnTo>
                          <a:pt x="2797" y="535"/>
                        </a:lnTo>
                        <a:lnTo>
                          <a:pt x="2858" y="516"/>
                        </a:lnTo>
                        <a:lnTo>
                          <a:pt x="2918" y="498"/>
                        </a:lnTo>
                        <a:lnTo>
                          <a:pt x="2979" y="476"/>
                        </a:lnTo>
                        <a:lnTo>
                          <a:pt x="3038" y="454"/>
                        </a:lnTo>
                        <a:lnTo>
                          <a:pt x="3097" y="430"/>
                        </a:lnTo>
                        <a:lnTo>
                          <a:pt x="3156" y="405"/>
                        </a:lnTo>
                        <a:lnTo>
                          <a:pt x="3215" y="377"/>
                        </a:lnTo>
                        <a:lnTo>
                          <a:pt x="3273" y="350"/>
                        </a:lnTo>
                        <a:lnTo>
                          <a:pt x="3330" y="319"/>
                        </a:lnTo>
                        <a:lnTo>
                          <a:pt x="3388" y="287"/>
                        </a:lnTo>
                        <a:lnTo>
                          <a:pt x="3444" y="254"/>
                        </a:lnTo>
                        <a:lnTo>
                          <a:pt x="3501" y="218"/>
                        </a:lnTo>
                        <a:lnTo>
                          <a:pt x="3557" y="180"/>
                        </a:lnTo>
                        <a:lnTo>
                          <a:pt x="3559" y="164"/>
                        </a:lnTo>
                        <a:lnTo>
                          <a:pt x="3560" y="143"/>
                        </a:lnTo>
                        <a:lnTo>
                          <a:pt x="3561" y="118"/>
                        </a:lnTo>
                        <a:lnTo>
                          <a:pt x="3560" y="90"/>
                        </a:lnTo>
                        <a:lnTo>
                          <a:pt x="3560" y="101"/>
                        </a:lnTo>
                        <a:lnTo>
                          <a:pt x="3559" y="111"/>
                        </a:lnTo>
                        <a:lnTo>
                          <a:pt x="3558" y="120"/>
                        </a:lnTo>
                        <a:lnTo>
                          <a:pt x="3557" y="128"/>
                        </a:lnTo>
                        <a:close/>
                      </a:path>
                    </a:pathLst>
                  </a:custGeom>
                  <a:solidFill>
                    <a:srgbClr val="99312C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40" name="Freeform 189"/>
                  <p:cNvSpPr>
                    <a:spLocks/>
                  </p:cNvSpPr>
                  <p:nvPr/>
                </p:nvSpPr>
                <p:spPr bwMode="auto">
                  <a:xfrm>
                    <a:off x="3223" y="3764"/>
                    <a:ext cx="20" cy="18"/>
                  </a:xfrm>
                  <a:custGeom>
                    <a:avLst/>
                    <a:gdLst>
                      <a:gd name="T0" fmla="*/ 0 w 139"/>
                      <a:gd name="T1" fmla="*/ 0 h 125"/>
                      <a:gd name="T2" fmla="*/ 0 w 139"/>
                      <a:gd name="T3" fmla="*/ 0 h 125"/>
                      <a:gd name="T4" fmla="*/ 0 w 139"/>
                      <a:gd name="T5" fmla="*/ 0 h 125"/>
                      <a:gd name="T6" fmla="*/ 0 w 139"/>
                      <a:gd name="T7" fmla="*/ 0 h 125"/>
                      <a:gd name="T8" fmla="*/ 0 w 139"/>
                      <a:gd name="T9" fmla="*/ 0 h 12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39"/>
                      <a:gd name="T16" fmla="*/ 0 h 125"/>
                      <a:gd name="T17" fmla="*/ 139 w 139"/>
                      <a:gd name="T18" fmla="*/ 125 h 12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39" h="125">
                        <a:moveTo>
                          <a:pt x="69" y="125"/>
                        </a:moveTo>
                        <a:lnTo>
                          <a:pt x="0" y="62"/>
                        </a:lnTo>
                        <a:lnTo>
                          <a:pt x="69" y="0"/>
                        </a:lnTo>
                        <a:lnTo>
                          <a:pt x="139" y="62"/>
                        </a:lnTo>
                        <a:lnTo>
                          <a:pt x="69" y="125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41" name="Freeform 190"/>
                  <p:cNvSpPr>
                    <a:spLocks/>
                  </p:cNvSpPr>
                  <p:nvPr/>
                </p:nvSpPr>
                <p:spPr bwMode="auto">
                  <a:xfrm>
                    <a:off x="3251" y="3779"/>
                    <a:ext cx="35" cy="31"/>
                  </a:xfrm>
                  <a:custGeom>
                    <a:avLst/>
                    <a:gdLst>
                      <a:gd name="T0" fmla="*/ 0 w 233"/>
                      <a:gd name="T1" fmla="*/ 0 h 207"/>
                      <a:gd name="T2" fmla="*/ 0 w 233"/>
                      <a:gd name="T3" fmla="*/ 0 h 207"/>
                      <a:gd name="T4" fmla="*/ 0 w 233"/>
                      <a:gd name="T5" fmla="*/ 0 h 207"/>
                      <a:gd name="T6" fmla="*/ 0 w 233"/>
                      <a:gd name="T7" fmla="*/ 0 h 207"/>
                      <a:gd name="T8" fmla="*/ 0 w 233"/>
                      <a:gd name="T9" fmla="*/ 0 h 20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33"/>
                      <a:gd name="T16" fmla="*/ 0 h 207"/>
                      <a:gd name="T17" fmla="*/ 233 w 233"/>
                      <a:gd name="T18" fmla="*/ 207 h 20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33" h="207">
                        <a:moveTo>
                          <a:pt x="96" y="207"/>
                        </a:moveTo>
                        <a:lnTo>
                          <a:pt x="0" y="85"/>
                        </a:lnTo>
                        <a:lnTo>
                          <a:pt x="137" y="0"/>
                        </a:lnTo>
                        <a:lnTo>
                          <a:pt x="233" y="122"/>
                        </a:lnTo>
                        <a:lnTo>
                          <a:pt x="96" y="207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42" name="Freeform 191"/>
                  <p:cNvSpPr>
                    <a:spLocks/>
                  </p:cNvSpPr>
                  <p:nvPr/>
                </p:nvSpPr>
                <p:spPr bwMode="auto">
                  <a:xfrm>
                    <a:off x="3300" y="3802"/>
                    <a:ext cx="17" cy="15"/>
                  </a:xfrm>
                  <a:custGeom>
                    <a:avLst/>
                    <a:gdLst>
                      <a:gd name="T0" fmla="*/ 0 w 122"/>
                      <a:gd name="T1" fmla="*/ 0 h 109"/>
                      <a:gd name="T2" fmla="*/ 0 w 122"/>
                      <a:gd name="T3" fmla="*/ 0 h 109"/>
                      <a:gd name="T4" fmla="*/ 0 w 122"/>
                      <a:gd name="T5" fmla="*/ 0 h 109"/>
                      <a:gd name="T6" fmla="*/ 0 w 122"/>
                      <a:gd name="T7" fmla="*/ 0 h 109"/>
                      <a:gd name="T8" fmla="*/ 0 w 122"/>
                      <a:gd name="T9" fmla="*/ 0 h 10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22"/>
                      <a:gd name="T16" fmla="*/ 0 h 109"/>
                      <a:gd name="T17" fmla="*/ 122 w 122"/>
                      <a:gd name="T18" fmla="*/ 109 h 10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22" h="109">
                        <a:moveTo>
                          <a:pt x="37" y="109"/>
                        </a:moveTo>
                        <a:lnTo>
                          <a:pt x="0" y="32"/>
                        </a:lnTo>
                        <a:lnTo>
                          <a:pt x="86" y="0"/>
                        </a:lnTo>
                        <a:lnTo>
                          <a:pt x="122" y="76"/>
                        </a:lnTo>
                        <a:lnTo>
                          <a:pt x="37" y="109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43" name="Freeform 192"/>
                  <p:cNvSpPr>
                    <a:spLocks/>
                  </p:cNvSpPr>
                  <p:nvPr/>
                </p:nvSpPr>
                <p:spPr bwMode="auto">
                  <a:xfrm>
                    <a:off x="3341" y="3811"/>
                    <a:ext cx="22" cy="19"/>
                  </a:xfrm>
                  <a:custGeom>
                    <a:avLst/>
                    <a:gdLst>
                      <a:gd name="T0" fmla="*/ 0 w 143"/>
                      <a:gd name="T1" fmla="*/ 0 h 128"/>
                      <a:gd name="T2" fmla="*/ 0 w 143"/>
                      <a:gd name="T3" fmla="*/ 0 h 128"/>
                      <a:gd name="T4" fmla="*/ 0 w 143"/>
                      <a:gd name="T5" fmla="*/ 0 h 128"/>
                      <a:gd name="T6" fmla="*/ 0 w 143"/>
                      <a:gd name="T7" fmla="*/ 0 h 128"/>
                      <a:gd name="T8" fmla="*/ 0 w 143"/>
                      <a:gd name="T9" fmla="*/ 0 h 12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43"/>
                      <a:gd name="T16" fmla="*/ 0 h 128"/>
                      <a:gd name="T17" fmla="*/ 143 w 143"/>
                      <a:gd name="T18" fmla="*/ 128 h 12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43" h="128">
                        <a:moveTo>
                          <a:pt x="57" y="128"/>
                        </a:moveTo>
                        <a:lnTo>
                          <a:pt x="0" y="52"/>
                        </a:lnTo>
                        <a:lnTo>
                          <a:pt x="86" y="0"/>
                        </a:lnTo>
                        <a:lnTo>
                          <a:pt x="143" y="77"/>
                        </a:lnTo>
                        <a:lnTo>
                          <a:pt x="57" y="128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44" name="Freeform 193"/>
                  <p:cNvSpPr>
                    <a:spLocks/>
                  </p:cNvSpPr>
                  <p:nvPr/>
                </p:nvSpPr>
                <p:spPr bwMode="auto">
                  <a:xfrm>
                    <a:off x="3668" y="3764"/>
                    <a:ext cx="20" cy="18"/>
                  </a:xfrm>
                  <a:custGeom>
                    <a:avLst/>
                    <a:gdLst>
                      <a:gd name="T0" fmla="*/ 0 w 139"/>
                      <a:gd name="T1" fmla="*/ 0 h 125"/>
                      <a:gd name="T2" fmla="*/ 0 w 139"/>
                      <a:gd name="T3" fmla="*/ 0 h 125"/>
                      <a:gd name="T4" fmla="*/ 0 w 139"/>
                      <a:gd name="T5" fmla="*/ 0 h 125"/>
                      <a:gd name="T6" fmla="*/ 0 w 139"/>
                      <a:gd name="T7" fmla="*/ 0 h 125"/>
                      <a:gd name="T8" fmla="*/ 0 w 139"/>
                      <a:gd name="T9" fmla="*/ 0 h 12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39"/>
                      <a:gd name="T16" fmla="*/ 0 h 125"/>
                      <a:gd name="T17" fmla="*/ 139 w 139"/>
                      <a:gd name="T18" fmla="*/ 125 h 12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39" h="125">
                        <a:moveTo>
                          <a:pt x="69" y="125"/>
                        </a:moveTo>
                        <a:lnTo>
                          <a:pt x="139" y="62"/>
                        </a:lnTo>
                        <a:lnTo>
                          <a:pt x="69" y="0"/>
                        </a:lnTo>
                        <a:lnTo>
                          <a:pt x="0" y="62"/>
                        </a:lnTo>
                        <a:lnTo>
                          <a:pt x="69" y="125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45" name="Freeform 194"/>
                  <p:cNvSpPr>
                    <a:spLocks/>
                  </p:cNvSpPr>
                  <p:nvPr/>
                </p:nvSpPr>
                <p:spPr bwMode="auto">
                  <a:xfrm>
                    <a:off x="3627" y="3779"/>
                    <a:ext cx="33" cy="31"/>
                  </a:xfrm>
                  <a:custGeom>
                    <a:avLst/>
                    <a:gdLst>
                      <a:gd name="T0" fmla="*/ 0 w 231"/>
                      <a:gd name="T1" fmla="*/ 0 h 207"/>
                      <a:gd name="T2" fmla="*/ 0 w 231"/>
                      <a:gd name="T3" fmla="*/ 0 h 207"/>
                      <a:gd name="T4" fmla="*/ 0 w 231"/>
                      <a:gd name="T5" fmla="*/ 0 h 207"/>
                      <a:gd name="T6" fmla="*/ 0 w 231"/>
                      <a:gd name="T7" fmla="*/ 0 h 207"/>
                      <a:gd name="T8" fmla="*/ 0 w 231"/>
                      <a:gd name="T9" fmla="*/ 0 h 20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31"/>
                      <a:gd name="T16" fmla="*/ 0 h 207"/>
                      <a:gd name="T17" fmla="*/ 231 w 231"/>
                      <a:gd name="T18" fmla="*/ 207 h 20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31" h="207">
                        <a:moveTo>
                          <a:pt x="137" y="207"/>
                        </a:moveTo>
                        <a:lnTo>
                          <a:pt x="231" y="85"/>
                        </a:lnTo>
                        <a:lnTo>
                          <a:pt x="95" y="0"/>
                        </a:lnTo>
                        <a:lnTo>
                          <a:pt x="0" y="122"/>
                        </a:lnTo>
                        <a:lnTo>
                          <a:pt x="137" y="207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46" name="Freeform 195"/>
                  <p:cNvSpPr>
                    <a:spLocks/>
                  </p:cNvSpPr>
                  <p:nvPr/>
                </p:nvSpPr>
                <p:spPr bwMode="auto">
                  <a:xfrm>
                    <a:off x="3594" y="3802"/>
                    <a:ext cx="18" cy="15"/>
                  </a:xfrm>
                  <a:custGeom>
                    <a:avLst/>
                    <a:gdLst>
                      <a:gd name="T0" fmla="*/ 0 w 122"/>
                      <a:gd name="T1" fmla="*/ 0 h 109"/>
                      <a:gd name="T2" fmla="*/ 0 w 122"/>
                      <a:gd name="T3" fmla="*/ 0 h 109"/>
                      <a:gd name="T4" fmla="*/ 0 w 122"/>
                      <a:gd name="T5" fmla="*/ 0 h 109"/>
                      <a:gd name="T6" fmla="*/ 0 w 122"/>
                      <a:gd name="T7" fmla="*/ 0 h 109"/>
                      <a:gd name="T8" fmla="*/ 0 w 122"/>
                      <a:gd name="T9" fmla="*/ 0 h 10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22"/>
                      <a:gd name="T16" fmla="*/ 0 h 109"/>
                      <a:gd name="T17" fmla="*/ 122 w 122"/>
                      <a:gd name="T18" fmla="*/ 109 h 10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22" h="109">
                        <a:moveTo>
                          <a:pt x="85" y="109"/>
                        </a:moveTo>
                        <a:lnTo>
                          <a:pt x="122" y="32"/>
                        </a:lnTo>
                        <a:lnTo>
                          <a:pt x="36" y="0"/>
                        </a:lnTo>
                        <a:lnTo>
                          <a:pt x="0" y="76"/>
                        </a:lnTo>
                        <a:lnTo>
                          <a:pt x="85" y="109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47" name="Freeform 196"/>
                  <p:cNvSpPr>
                    <a:spLocks/>
                  </p:cNvSpPr>
                  <p:nvPr/>
                </p:nvSpPr>
                <p:spPr bwMode="auto">
                  <a:xfrm>
                    <a:off x="3550" y="3811"/>
                    <a:ext cx="20" cy="19"/>
                  </a:xfrm>
                  <a:custGeom>
                    <a:avLst/>
                    <a:gdLst>
                      <a:gd name="T0" fmla="*/ 0 w 141"/>
                      <a:gd name="T1" fmla="*/ 0 h 128"/>
                      <a:gd name="T2" fmla="*/ 0 w 141"/>
                      <a:gd name="T3" fmla="*/ 0 h 128"/>
                      <a:gd name="T4" fmla="*/ 0 w 141"/>
                      <a:gd name="T5" fmla="*/ 0 h 128"/>
                      <a:gd name="T6" fmla="*/ 0 w 141"/>
                      <a:gd name="T7" fmla="*/ 0 h 128"/>
                      <a:gd name="T8" fmla="*/ 0 w 141"/>
                      <a:gd name="T9" fmla="*/ 0 h 12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41"/>
                      <a:gd name="T16" fmla="*/ 0 h 128"/>
                      <a:gd name="T17" fmla="*/ 141 w 141"/>
                      <a:gd name="T18" fmla="*/ 128 h 12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41" h="128">
                        <a:moveTo>
                          <a:pt x="85" y="128"/>
                        </a:moveTo>
                        <a:lnTo>
                          <a:pt x="141" y="52"/>
                        </a:lnTo>
                        <a:lnTo>
                          <a:pt x="57" y="0"/>
                        </a:lnTo>
                        <a:lnTo>
                          <a:pt x="0" y="77"/>
                        </a:lnTo>
                        <a:lnTo>
                          <a:pt x="85" y="128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48" name="Freeform 197"/>
                  <p:cNvSpPr>
                    <a:spLocks/>
                  </p:cNvSpPr>
                  <p:nvPr/>
                </p:nvSpPr>
                <p:spPr bwMode="auto">
                  <a:xfrm>
                    <a:off x="3165" y="3511"/>
                    <a:ext cx="294" cy="330"/>
                  </a:xfrm>
                  <a:custGeom>
                    <a:avLst/>
                    <a:gdLst>
                      <a:gd name="T0" fmla="*/ 0 w 2056"/>
                      <a:gd name="T1" fmla="*/ 0 h 2325"/>
                      <a:gd name="T2" fmla="*/ 0 w 2056"/>
                      <a:gd name="T3" fmla="*/ 0 h 2325"/>
                      <a:gd name="T4" fmla="*/ 0 w 2056"/>
                      <a:gd name="T5" fmla="*/ 0 h 2325"/>
                      <a:gd name="T6" fmla="*/ 0 w 2056"/>
                      <a:gd name="T7" fmla="*/ 0 h 2325"/>
                      <a:gd name="T8" fmla="*/ 0 w 2056"/>
                      <a:gd name="T9" fmla="*/ 0 h 2325"/>
                      <a:gd name="T10" fmla="*/ 0 w 2056"/>
                      <a:gd name="T11" fmla="*/ 0 h 2325"/>
                      <a:gd name="T12" fmla="*/ 0 w 2056"/>
                      <a:gd name="T13" fmla="*/ 0 h 2325"/>
                      <a:gd name="T14" fmla="*/ 0 w 2056"/>
                      <a:gd name="T15" fmla="*/ 0 h 2325"/>
                      <a:gd name="T16" fmla="*/ 0 w 2056"/>
                      <a:gd name="T17" fmla="*/ 0 h 2325"/>
                      <a:gd name="T18" fmla="*/ 0 w 2056"/>
                      <a:gd name="T19" fmla="*/ 0 h 2325"/>
                      <a:gd name="T20" fmla="*/ 0 w 2056"/>
                      <a:gd name="T21" fmla="*/ 0 h 2325"/>
                      <a:gd name="T22" fmla="*/ 0 w 2056"/>
                      <a:gd name="T23" fmla="*/ 0 h 2325"/>
                      <a:gd name="T24" fmla="*/ 0 w 2056"/>
                      <a:gd name="T25" fmla="*/ 0 h 2325"/>
                      <a:gd name="T26" fmla="*/ 0 w 2056"/>
                      <a:gd name="T27" fmla="*/ 0 h 2325"/>
                      <a:gd name="T28" fmla="*/ 0 w 2056"/>
                      <a:gd name="T29" fmla="*/ 0 h 2325"/>
                      <a:gd name="T30" fmla="*/ 0 w 2056"/>
                      <a:gd name="T31" fmla="*/ 0 h 2325"/>
                      <a:gd name="T32" fmla="*/ 0 w 2056"/>
                      <a:gd name="T33" fmla="*/ 0 h 2325"/>
                      <a:gd name="T34" fmla="*/ 0 w 2056"/>
                      <a:gd name="T35" fmla="*/ 0 h 2325"/>
                      <a:gd name="T36" fmla="*/ 0 w 2056"/>
                      <a:gd name="T37" fmla="*/ 0 h 2325"/>
                      <a:gd name="T38" fmla="*/ 0 w 2056"/>
                      <a:gd name="T39" fmla="*/ 0 h 2325"/>
                      <a:gd name="T40" fmla="*/ 0 w 2056"/>
                      <a:gd name="T41" fmla="*/ 0 h 2325"/>
                      <a:gd name="T42" fmla="*/ 0 w 2056"/>
                      <a:gd name="T43" fmla="*/ 0 h 2325"/>
                      <a:gd name="T44" fmla="*/ 0 w 2056"/>
                      <a:gd name="T45" fmla="*/ 0 h 2325"/>
                      <a:gd name="T46" fmla="*/ 0 w 2056"/>
                      <a:gd name="T47" fmla="*/ 0 h 2325"/>
                      <a:gd name="T48" fmla="*/ 0 w 2056"/>
                      <a:gd name="T49" fmla="*/ 0 h 2325"/>
                      <a:gd name="T50" fmla="*/ 0 w 2056"/>
                      <a:gd name="T51" fmla="*/ 0 h 2325"/>
                      <a:gd name="T52" fmla="*/ 0 w 2056"/>
                      <a:gd name="T53" fmla="*/ 0 h 2325"/>
                      <a:gd name="T54" fmla="*/ 0 w 2056"/>
                      <a:gd name="T55" fmla="*/ 0 h 2325"/>
                      <a:gd name="T56" fmla="*/ 0 w 2056"/>
                      <a:gd name="T57" fmla="*/ 0 h 2325"/>
                      <a:gd name="T58" fmla="*/ 0 w 2056"/>
                      <a:gd name="T59" fmla="*/ 0 h 2325"/>
                      <a:gd name="T60" fmla="*/ 0 w 2056"/>
                      <a:gd name="T61" fmla="*/ 0 h 2325"/>
                      <a:gd name="T62" fmla="*/ 0 w 2056"/>
                      <a:gd name="T63" fmla="*/ 0 h 2325"/>
                      <a:gd name="T64" fmla="*/ 0 w 2056"/>
                      <a:gd name="T65" fmla="*/ 0 h 2325"/>
                      <a:gd name="T66" fmla="*/ 0 w 2056"/>
                      <a:gd name="T67" fmla="*/ 0 h 2325"/>
                      <a:gd name="T68" fmla="*/ 0 w 2056"/>
                      <a:gd name="T69" fmla="*/ 0 h 2325"/>
                      <a:gd name="T70" fmla="*/ 0 w 2056"/>
                      <a:gd name="T71" fmla="*/ 0 h 2325"/>
                      <a:gd name="T72" fmla="*/ 0 w 2056"/>
                      <a:gd name="T73" fmla="*/ 0 h 2325"/>
                      <a:gd name="T74" fmla="*/ 0 w 2056"/>
                      <a:gd name="T75" fmla="*/ 0 h 2325"/>
                      <a:gd name="T76" fmla="*/ 0 w 2056"/>
                      <a:gd name="T77" fmla="*/ 0 h 2325"/>
                      <a:gd name="T78" fmla="*/ 0 w 2056"/>
                      <a:gd name="T79" fmla="*/ 0 h 2325"/>
                      <a:gd name="T80" fmla="*/ 0 w 2056"/>
                      <a:gd name="T81" fmla="*/ 0 h 2325"/>
                      <a:gd name="T82" fmla="*/ 0 w 2056"/>
                      <a:gd name="T83" fmla="*/ 0 h 2325"/>
                      <a:gd name="T84" fmla="*/ 0 w 2056"/>
                      <a:gd name="T85" fmla="*/ 0 h 2325"/>
                      <a:gd name="T86" fmla="*/ 0 w 2056"/>
                      <a:gd name="T87" fmla="*/ 0 h 2325"/>
                      <a:gd name="T88" fmla="*/ 0 w 2056"/>
                      <a:gd name="T89" fmla="*/ 0 h 2325"/>
                      <a:gd name="T90" fmla="*/ 0 w 2056"/>
                      <a:gd name="T91" fmla="*/ 0 h 2325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w 2056"/>
                      <a:gd name="T139" fmla="*/ 0 h 2325"/>
                      <a:gd name="T140" fmla="*/ 2056 w 2056"/>
                      <a:gd name="T141" fmla="*/ 2325 h 2325"/>
                    </a:gdLst>
                    <a:ahLst/>
                    <a:cxnLst>
                      <a:cxn ang="T92">
                        <a:pos x="T0" y="T1"/>
                      </a:cxn>
                      <a:cxn ang="T93">
                        <a:pos x="T2" y="T3"/>
                      </a:cxn>
                      <a:cxn ang="T94">
                        <a:pos x="T4" y="T5"/>
                      </a:cxn>
                      <a:cxn ang="T95">
                        <a:pos x="T6" y="T7"/>
                      </a:cxn>
                      <a:cxn ang="T96">
                        <a:pos x="T8" y="T9"/>
                      </a:cxn>
                      <a:cxn ang="T97">
                        <a:pos x="T10" y="T11"/>
                      </a:cxn>
                      <a:cxn ang="T98">
                        <a:pos x="T12" y="T13"/>
                      </a:cxn>
                      <a:cxn ang="T99">
                        <a:pos x="T14" y="T15"/>
                      </a:cxn>
                      <a:cxn ang="T100">
                        <a:pos x="T16" y="T17"/>
                      </a:cxn>
                      <a:cxn ang="T101">
                        <a:pos x="T18" y="T19"/>
                      </a:cxn>
                      <a:cxn ang="T102">
                        <a:pos x="T20" y="T21"/>
                      </a:cxn>
                      <a:cxn ang="T103">
                        <a:pos x="T22" y="T23"/>
                      </a:cxn>
                      <a:cxn ang="T104">
                        <a:pos x="T24" y="T25"/>
                      </a:cxn>
                      <a:cxn ang="T105">
                        <a:pos x="T26" y="T27"/>
                      </a:cxn>
                      <a:cxn ang="T106">
                        <a:pos x="T28" y="T29"/>
                      </a:cxn>
                      <a:cxn ang="T107">
                        <a:pos x="T30" y="T31"/>
                      </a:cxn>
                      <a:cxn ang="T108">
                        <a:pos x="T32" y="T33"/>
                      </a:cxn>
                      <a:cxn ang="T109">
                        <a:pos x="T34" y="T35"/>
                      </a:cxn>
                      <a:cxn ang="T110">
                        <a:pos x="T36" y="T37"/>
                      </a:cxn>
                      <a:cxn ang="T111">
                        <a:pos x="T38" y="T39"/>
                      </a:cxn>
                      <a:cxn ang="T112">
                        <a:pos x="T40" y="T41"/>
                      </a:cxn>
                      <a:cxn ang="T113">
                        <a:pos x="T42" y="T43"/>
                      </a:cxn>
                      <a:cxn ang="T114">
                        <a:pos x="T44" y="T45"/>
                      </a:cxn>
                      <a:cxn ang="T115">
                        <a:pos x="T46" y="T47"/>
                      </a:cxn>
                      <a:cxn ang="T116">
                        <a:pos x="T48" y="T49"/>
                      </a:cxn>
                      <a:cxn ang="T117">
                        <a:pos x="T50" y="T51"/>
                      </a:cxn>
                      <a:cxn ang="T118">
                        <a:pos x="T52" y="T53"/>
                      </a:cxn>
                      <a:cxn ang="T119">
                        <a:pos x="T54" y="T55"/>
                      </a:cxn>
                      <a:cxn ang="T120">
                        <a:pos x="T56" y="T57"/>
                      </a:cxn>
                      <a:cxn ang="T121">
                        <a:pos x="T58" y="T59"/>
                      </a:cxn>
                      <a:cxn ang="T122">
                        <a:pos x="T60" y="T61"/>
                      </a:cxn>
                      <a:cxn ang="T123">
                        <a:pos x="T62" y="T63"/>
                      </a:cxn>
                      <a:cxn ang="T124">
                        <a:pos x="T64" y="T65"/>
                      </a:cxn>
                      <a:cxn ang="T125">
                        <a:pos x="T66" y="T67"/>
                      </a:cxn>
                      <a:cxn ang="T126">
                        <a:pos x="T68" y="T69"/>
                      </a:cxn>
                      <a:cxn ang="T127">
                        <a:pos x="T70" y="T71"/>
                      </a:cxn>
                      <a:cxn ang="T128">
                        <a:pos x="T72" y="T73"/>
                      </a:cxn>
                      <a:cxn ang="T129">
                        <a:pos x="T74" y="T75"/>
                      </a:cxn>
                      <a:cxn ang="T130">
                        <a:pos x="T76" y="T77"/>
                      </a:cxn>
                      <a:cxn ang="T131">
                        <a:pos x="T78" y="T79"/>
                      </a:cxn>
                      <a:cxn ang="T132">
                        <a:pos x="T80" y="T81"/>
                      </a:cxn>
                      <a:cxn ang="T133">
                        <a:pos x="T82" y="T83"/>
                      </a:cxn>
                      <a:cxn ang="T134">
                        <a:pos x="T84" y="T85"/>
                      </a:cxn>
                      <a:cxn ang="T135">
                        <a:pos x="T86" y="T87"/>
                      </a:cxn>
                      <a:cxn ang="T136">
                        <a:pos x="T88" y="T89"/>
                      </a:cxn>
                      <a:cxn ang="T137">
                        <a:pos x="T90" y="T91"/>
                      </a:cxn>
                    </a:cxnLst>
                    <a:rect l="T138" t="T139" r="T140" b="T141"/>
                    <a:pathLst>
                      <a:path w="2056" h="2325">
                        <a:moveTo>
                          <a:pt x="297" y="0"/>
                        </a:moveTo>
                        <a:lnTo>
                          <a:pt x="307" y="2"/>
                        </a:lnTo>
                        <a:lnTo>
                          <a:pt x="335" y="9"/>
                        </a:lnTo>
                        <a:lnTo>
                          <a:pt x="379" y="20"/>
                        </a:lnTo>
                        <a:lnTo>
                          <a:pt x="437" y="35"/>
                        </a:lnTo>
                        <a:lnTo>
                          <a:pt x="507" y="51"/>
                        </a:lnTo>
                        <a:lnTo>
                          <a:pt x="588" y="69"/>
                        </a:lnTo>
                        <a:lnTo>
                          <a:pt x="679" y="88"/>
                        </a:lnTo>
                        <a:lnTo>
                          <a:pt x="774" y="107"/>
                        </a:lnTo>
                        <a:lnTo>
                          <a:pt x="876" y="126"/>
                        </a:lnTo>
                        <a:lnTo>
                          <a:pt x="979" y="144"/>
                        </a:lnTo>
                        <a:lnTo>
                          <a:pt x="1032" y="152"/>
                        </a:lnTo>
                        <a:lnTo>
                          <a:pt x="1085" y="158"/>
                        </a:lnTo>
                        <a:lnTo>
                          <a:pt x="1136" y="165"/>
                        </a:lnTo>
                        <a:lnTo>
                          <a:pt x="1188" y="170"/>
                        </a:lnTo>
                        <a:lnTo>
                          <a:pt x="1239" y="175"/>
                        </a:lnTo>
                        <a:lnTo>
                          <a:pt x="1290" y="179"/>
                        </a:lnTo>
                        <a:lnTo>
                          <a:pt x="1337" y="182"/>
                        </a:lnTo>
                        <a:lnTo>
                          <a:pt x="1385" y="183"/>
                        </a:lnTo>
                        <a:lnTo>
                          <a:pt x="1431" y="183"/>
                        </a:lnTo>
                        <a:lnTo>
                          <a:pt x="1474" y="182"/>
                        </a:lnTo>
                        <a:lnTo>
                          <a:pt x="1517" y="179"/>
                        </a:lnTo>
                        <a:lnTo>
                          <a:pt x="1556" y="175"/>
                        </a:lnTo>
                        <a:lnTo>
                          <a:pt x="1629" y="166"/>
                        </a:lnTo>
                        <a:lnTo>
                          <a:pt x="1695" y="158"/>
                        </a:lnTo>
                        <a:lnTo>
                          <a:pt x="1725" y="156"/>
                        </a:lnTo>
                        <a:lnTo>
                          <a:pt x="1751" y="155"/>
                        </a:lnTo>
                        <a:lnTo>
                          <a:pt x="1777" y="154"/>
                        </a:lnTo>
                        <a:lnTo>
                          <a:pt x="1802" y="154"/>
                        </a:lnTo>
                        <a:lnTo>
                          <a:pt x="1824" y="154"/>
                        </a:lnTo>
                        <a:lnTo>
                          <a:pt x="1844" y="156"/>
                        </a:lnTo>
                        <a:lnTo>
                          <a:pt x="1863" y="158"/>
                        </a:lnTo>
                        <a:lnTo>
                          <a:pt x="1879" y="163"/>
                        </a:lnTo>
                        <a:lnTo>
                          <a:pt x="1895" y="167"/>
                        </a:lnTo>
                        <a:lnTo>
                          <a:pt x="1910" y="173"/>
                        </a:lnTo>
                        <a:lnTo>
                          <a:pt x="1922" y="179"/>
                        </a:lnTo>
                        <a:lnTo>
                          <a:pt x="1934" y="187"/>
                        </a:lnTo>
                        <a:lnTo>
                          <a:pt x="1944" y="197"/>
                        </a:lnTo>
                        <a:lnTo>
                          <a:pt x="1953" y="208"/>
                        </a:lnTo>
                        <a:lnTo>
                          <a:pt x="1961" y="219"/>
                        </a:lnTo>
                        <a:lnTo>
                          <a:pt x="1969" y="233"/>
                        </a:lnTo>
                        <a:lnTo>
                          <a:pt x="1974" y="248"/>
                        </a:lnTo>
                        <a:lnTo>
                          <a:pt x="1980" y="264"/>
                        </a:lnTo>
                        <a:lnTo>
                          <a:pt x="1984" y="282"/>
                        </a:lnTo>
                        <a:lnTo>
                          <a:pt x="1987" y="302"/>
                        </a:lnTo>
                        <a:lnTo>
                          <a:pt x="1991" y="323"/>
                        </a:lnTo>
                        <a:lnTo>
                          <a:pt x="1993" y="345"/>
                        </a:lnTo>
                        <a:lnTo>
                          <a:pt x="1994" y="370"/>
                        </a:lnTo>
                        <a:lnTo>
                          <a:pt x="1995" y="395"/>
                        </a:lnTo>
                        <a:lnTo>
                          <a:pt x="1997" y="453"/>
                        </a:lnTo>
                        <a:lnTo>
                          <a:pt x="1997" y="519"/>
                        </a:lnTo>
                        <a:lnTo>
                          <a:pt x="1997" y="557"/>
                        </a:lnTo>
                        <a:lnTo>
                          <a:pt x="1999" y="598"/>
                        </a:lnTo>
                        <a:lnTo>
                          <a:pt x="2001" y="640"/>
                        </a:lnTo>
                        <a:lnTo>
                          <a:pt x="2004" y="686"/>
                        </a:lnTo>
                        <a:lnTo>
                          <a:pt x="2011" y="780"/>
                        </a:lnTo>
                        <a:lnTo>
                          <a:pt x="2020" y="882"/>
                        </a:lnTo>
                        <a:lnTo>
                          <a:pt x="2030" y="987"/>
                        </a:lnTo>
                        <a:lnTo>
                          <a:pt x="2039" y="1095"/>
                        </a:lnTo>
                        <a:lnTo>
                          <a:pt x="2046" y="1206"/>
                        </a:lnTo>
                        <a:lnTo>
                          <a:pt x="2053" y="1318"/>
                        </a:lnTo>
                        <a:lnTo>
                          <a:pt x="2054" y="1373"/>
                        </a:lnTo>
                        <a:lnTo>
                          <a:pt x="2056" y="1429"/>
                        </a:lnTo>
                        <a:lnTo>
                          <a:pt x="2056" y="1485"/>
                        </a:lnTo>
                        <a:lnTo>
                          <a:pt x="2055" y="1538"/>
                        </a:lnTo>
                        <a:lnTo>
                          <a:pt x="2053" y="1592"/>
                        </a:lnTo>
                        <a:lnTo>
                          <a:pt x="2050" y="1644"/>
                        </a:lnTo>
                        <a:lnTo>
                          <a:pt x="2045" y="1695"/>
                        </a:lnTo>
                        <a:lnTo>
                          <a:pt x="2039" y="1745"/>
                        </a:lnTo>
                        <a:lnTo>
                          <a:pt x="2031" y="1794"/>
                        </a:lnTo>
                        <a:lnTo>
                          <a:pt x="2022" y="1841"/>
                        </a:lnTo>
                        <a:lnTo>
                          <a:pt x="2010" y="1885"/>
                        </a:lnTo>
                        <a:lnTo>
                          <a:pt x="1996" y="1929"/>
                        </a:lnTo>
                        <a:lnTo>
                          <a:pt x="1982" y="1970"/>
                        </a:lnTo>
                        <a:lnTo>
                          <a:pt x="1964" y="2008"/>
                        </a:lnTo>
                        <a:lnTo>
                          <a:pt x="1944" y="2044"/>
                        </a:lnTo>
                        <a:lnTo>
                          <a:pt x="1922" y="2078"/>
                        </a:lnTo>
                        <a:lnTo>
                          <a:pt x="1872" y="2141"/>
                        </a:lnTo>
                        <a:lnTo>
                          <a:pt x="1819" y="2194"/>
                        </a:lnTo>
                        <a:lnTo>
                          <a:pt x="1766" y="2237"/>
                        </a:lnTo>
                        <a:lnTo>
                          <a:pt x="1711" y="2270"/>
                        </a:lnTo>
                        <a:lnTo>
                          <a:pt x="1655" y="2296"/>
                        </a:lnTo>
                        <a:lnTo>
                          <a:pt x="1598" y="2313"/>
                        </a:lnTo>
                        <a:lnTo>
                          <a:pt x="1540" y="2323"/>
                        </a:lnTo>
                        <a:lnTo>
                          <a:pt x="1482" y="2325"/>
                        </a:lnTo>
                        <a:lnTo>
                          <a:pt x="1423" y="2319"/>
                        </a:lnTo>
                        <a:lnTo>
                          <a:pt x="1364" y="2308"/>
                        </a:lnTo>
                        <a:lnTo>
                          <a:pt x="1304" y="2292"/>
                        </a:lnTo>
                        <a:lnTo>
                          <a:pt x="1245" y="2268"/>
                        </a:lnTo>
                        <a:lnTo>
                          <a:pt x="1186" y="2241"/>
                        </a:lnTo>
                        <a:lnTo>
                          <a:pt x="1127" y="2209"/>
                        </a:lnTo>
                        <a:lnTo>
                          <a:pt x="1068" y="2174"/>
                        </a:lnTo>
                        <a:lnTo>
                          <a:pt x="1010" y="2133"/>
                        </a:lnTo>
                        <a:lnTo>
                          <a:pt x="953" y="2091"/>
                        </a:lnTo>
                        <a:lnTo>
                          <a:pt x="897" y="2046"/>
                        </a:lnTo>
                        <a:lnTo>
                          <a:pt x="842" y="1999"/>
                        </a:lnTo>
                        <a:lnTo>
                          <a:pt x="788" y="1950"/>
                        </a:lnTo>
                        <a:lnTo>
                          <a:pt x="735" y="1900"/>
                        </a:lnTo>
                        <a:lnTo>
                          <a:pt x="685" y="1849"/>
                        </a:lnTo>
                        <a:lnTo>
                          <a:pt x="636" y="1797"/>
                        </a:lnTo>
                        <a:lnTo>
                          <a:pt x="588" y="1746"/>
                        </a:lnTo>
                        <a:lnTo>
                          <a:pt x="543" y="1696"/>
                        </a:lnTo>
                        <a:lnTo>
                          <a:pt x="500" y="1647"/>
                        </a:lnTo>
                        <a:lnTo>
                          <a:pt x="459" y="1599"/>
                        </a:lnTo>
                        <a:lnTo>
                          <a:pt x="421" y="1554"/>
                        </a:lnTo>
                        <a:lnTo>
                          <a:pt x="354" y="1471"/>
                        </a:lnTo>
                        <a:lnTo>
                          <a:pt x="297" y="1402"/>
                        </a:lnTo>
                        <a:lnTo>
                          <a:pt x="277" y="1376"/>
                        </a:lnTo>
                        <a:lnTo>
                          <a:pt x="256" y="1346"/>
                        </a:lnTo>
                        <a:lnTo>
                          <a:pt x="234" y="1311"/>
                        </a:lnTo>
                        <a:lnTo>
                          <a:pt x="213" y="1273"/>
                        </a:lnTo>
                        <a:lnTo>
                          <a:pt x="192" y="1233"/>
                        </a:lnTo>
                        <a:lnTo>
                          <a:pt x="171" y="1190"/>
                        </a:lnTo>
                        <a:lnTo>
                          <a:pt x="150" y="1143"/>
                        </a:lnTo>
                        <a:lnTo>
                          <a:pt x="130" y="1095"/>
                        </a:lnTo>
                        <a:lnTo>
                          <a:pt x="111" y="1045"/>
                        </a:lnTo>
                        <a:lnTo>
                          <a:pt x="92" y="994"/>
                        </a:lnTo>
                        <a:lnTo>
                          <a:pt x="75" y="941"/>
                        </a:lnTo>
                        <a:lnTo>
                          <a:pt x="60" y="886"/>
                        </a:lnTo>
                        <a:lnTo>
                          <a:pt x="45" y="830"/>
                        </a:lnTo>
                        <a:lnTo>
                          <a:pt x="32" y="775"/>
                        </a:lnTo>
                        <a:lnTo>
                          <a:pt x="21" y="719"/>
                        </a:lnTo>
                        <a:lnTo>
                          <a:pt x="13" y="663"/>
                        </a:lnTo>
                        <a:lnTo>
                          <a:pt x="6" y="608"/>
                        </a:lnTo>
                        <a:lnTo>
                          <a:pt x="2" y="552"/>
                        </a:lnTo>
                        <a:lnTo>
                          <a:pt x="0" y="499"/>
                        </a:lnTo>
                        <a:lnTo>
                          <a:pt x="2" y="445"/>
                        </a:lnTo>
                        <a:lnTo>
                          <a:pt x="5" y="394"/>
                        </a:lnTo>
                        <a:lnTo>
                          <a:pt x="13" y="344"/>
                        </a:lnTo>
                        <a:lnTo>
                          <a:pt x="23" y="296"/>
                        </a:lnTo>
                        <a:lnTo>
                          <a:pt x="37" y="249"/>
                        </a:lnTo>
                        <a:lnTo>
                          <a:pt x="55" y="207"/>
                        </a:lnTo>
                        <a:lnTo>
                          <a:pt x="76" y="166"/>
                        </a:lnTo>
                        <a:lnTo>
                          <a:pt x="102" y="129"/>
                        </a:lnTo>
                        <a:lnTo>
                          <a:pt x="132" y="96"/>
                        </a:lnTo>
                        <a:lnTo>
                          <a:pt x="167" y="66"/>
                        </a:lnTo>
                        <a:lnTo>
                          <a:pt x="206" y="39"/>
                        </a:lnTo>
                        <a:lnTo>
                          <a:pt x="249" y="17"/>
                        </a:lnTo>
                        <a:lnTo>
                          <a:pt x="297" y="0"/>
                        </a:lnTo>
                        <a:close/>
                      </a:path>
                    </a:pathLst>
                  </a:custGeom>
                  <a:solidFill>
                    <a:srgbClr val="311F74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49" name="Freeform 198"/>
                  <p:cNvSpPr>
                    <a:spLocks/>
                  </p:cNvSpPr>
                  <p:nvPr/>
                </p:nvSpPr>
                <p:spPr bwMode="auto">
                  <a:xfrm>
                    <a:off x="3193" y="3511"/>
                    <a:ext cx="257" cy="72"/>
                  </a:xfrm>
                  <a:custGeom>
                    <a:avLst/>
                    <a:gdLst>
                      <a:gd name="T0" fmla="*/ 0 w 1797"/>
                      <a:gd name="T1" fmla="*/ 0 h 519"/>
                      <a:gd name="T2" fmla="*/ 0 w 1797"/>
                      <a:gd name="T3" fmla="*/ 0 h 519"/>
                      <a:gd name="T4" fmla="*/ 0 w 1797"/>
                      <a:gd name="T5" fmla="*/ 0 h 519"/>
                      <a:gd name="T6" fmla="*/ 0 w 1797"/>
                      <a:gd name="T7" fmla="*/ 0 h 519"/>
                      <a:gd name="T8" fmla="*/ 0 w 1797"/>
                      <a:gd name="T9" fmla="*/ 0 h 519"/>
                      <a:gd name="T10" fmla="*/ 0 w 1797"/>
                      <a:gd name="T11" fmla="*/ 0 h 519"/>
                      <a:gd name="T12" fmla="*/ 0 w 1797"/>
                      <a:gd name="T13" fmla="*/ 0 h 519"/>
                      <a:gd name="T14" fmla="*/ 0 w 1797"/>
                      <a:gd name="T15" fmla="*/ 0 h 519"/>
                      <a:gd name="T16" fmla="*/ 0 w 1797"/>
                      <a:gd name="T17" fmla="*/ 0 h 519"/>
                      <a:gd name="T18" fmla="*/ 0 w 1797"/>
                      <a:gd name="T19" fmla="*/ 0 h 519"/>
                      <a:gd name="T20" fmla="*/ 0 w 1797"/>
                      <a:gd name="T21" fmla="*/ 0 h 519"/>
                      <a:gd name="T22" fmla="*/ 0 w 1797"/>
                      <a:gd name="T23" fmla="*/ 0 h 519"/>
                      <a:gd name="T24" fmla="*/ 0 w 1797"/>
                      <a:gd name="T25" fmla="*/ 0 h 519"/>
                      <a:gd name="T26" fmla="*/ 0 w 1797"/>
                      <a:gd name="T27" fmla="*/ 0 h 519"/>
                      <a:gd name="T28" fmla="*/ 0 w 1797"/>
                      <a:gd name="T29" fmla="*/ 0 h 519"/>
                      <a:gd name="T30" fmla="*/ 0 w 1797"/>
                      <a:gd name="T31" fmla="*/ 0 h 519"/>
                      <a:gd name="T32" fmla="*/ 0 w 1797"/>
                      <a:gd name="T33" fmla="*/ 0 h 519"/>
                      <a:gd name="T34" fmla="*/ 0 w 1797"/>
                      <a:gd name="T35" fmla="*/ 0 h 519"/>
                      <a:gd name="T36" fmla="*/ 0 w 1797"/>
                      <a:gd name="T37" fmla="*/ 0 h 519"/>
                      <a:gd name="T38" fmla="*/ 0 w 1797"/>
                      <a:gd name="T39" fmla="*/ 0 h 519"/>
                      <a:gd name="T40" fmla="*/ 0 w 1797"/>
                      <a:gd name="T41" fmla="*/ 0 h 519"/>
                      <a:gd name="T42" fmla="*/ 0 w 1797"/>
                      <a:gd name="T43" fmla="*/ 0 h 519"/>
                      <a:gd name="T44" fmla="*/ 0 w 1797"/>
                      <a:gd name="T45" fmla="*/ 0 h 519"/>
                      <a:gd name="T46" fmla="*/ 0 w 1797"/>
                      <a:gd name="T47" fmla="*/ 0 h 519"/>
                      <a:gd name="T48" fmla="*/ 0 w 1797"/>
                      <a:gd name="T49" fmla="*/ 0 h 519"/>
                      <a:gd name="T50" fmla="*/ 0 w 1797"/>
                      <a:gd name="T51" fmla="*/ 0 h 519"/>
                      <a:gd name="T52" fmla="*/ 0 w 1797"/>
                      <a:gd name="T53" fmla="*/ 0 h 519"/>
                      <a:gd name="T54" fmla="*/ 0 w 1797"/>
                      <a:gd name="T55" fmla="*/ 0 h 519"/>
                      <a:gd name="T56" fmla="*/ 0 w 1797"/>
                      <a:gd name="T57" fmla="*/ 0 h 519"/>
                      <a:gd name="T58" fmla="*/ 0 w 1797"/>
                      <a:gd name="T59" fmla="*/ 0 h 519"/>
                      <a:gd name="T60" fmla="*/ 0 w 1797"/>
                      <a:gd name="T61" fmla="*/ 0 h 519"/>
                      <a:gd name="T62" fmla="*/ 0 w 1797"/>
                      <a:gd name="T63" fmla="*/ 0 h 519"/>
                      <a:gd name="T64" fmla="*/ 0 w 1797"/>
                      <a:gd name="T65" fmla="*/ 0 h 519"/>
                      <a:gd name="T66" fmla="*/ 0 w 1797"/>
                      <a:gd name="T67" fmla="*/ 0 h 519"/>
                      <a:gd name="T68" fmla="*/ 0 w 1797"/>
                      <a:gd name="T69" fmla="*/ 0 h 519"/>
                      <a:gd name="T70" fmla="*/ 0 w 1797"/>
                      <a:gd name="T71" fmla="*/ 0 h 519"/>
                      <a:gd name="T72" fmla="*/ 0 w 1797"/>
                      <a:gd name="T73" fmla="*/ 0 h 519"/>
                      <a:gd name="T74" fmla="*/ 0 w 1797"/>
                      <a:gd name="T75" fmla="*/ 0 h 519"/>
                      <a:gd name="T76" fmla="*/ 0 w 1797"/>
                      <a:gd name="T77" fmla="*/ 0 h 519"/>
                      <a:gd name="T78" fmla="*/ 0 w 1797"/>
                      <a:gd name="T79" fmla="*/ 0 h 519"/>
                      <a:gd name="T80" fmla="*/ 0 w 1797"/>
                      <a:gd name="T81" fmla="*/ 0 h 519"/>
                      <a:gd name="T82" fmla="*/ 0 w 1797"/>
                      <a:gd name="T83" fmla="*/ 0 h 519"/>
                      <a:gd name="T84" fmla="*/ 0 w 1797"/>
                      <a:gd name="T85" fmla="*/ 0 h 519"/>
                      <a:gd name="T86" fmla="*/ 0 w 1797"/>
                      <a:gd name="T87" fmla="*/ 0 h 519"/>
                      <a:gd name="T88" fmla="*/ 0 w 1797"/>
                      <a:gd name="T89" fmla="*/ 0 h 519"/>
                      <a:gd name="T90" fmla="*/ 0 w 1797"/>
                      <a:gd name="T91" fmla="*/ 0 h 519"/>
                      <a:gd name="T92" fmla="*/ 0 w 1797"/>
                      <a:gd name="T93" fmla="*/ 0 h 519"/>
                      <a:gd name="T94" fmla="*/ 0 w 1797"/>
                      <a:gd name="T95" fmla="*/ 0 h 519"/>
                      <a:gd name="T96" fmla="*/ 0 w 1797"/>
                      <a:gd name="T97" fmla="*/ 0 h 519"/>
                      <a:gd name="T98" fmla="*/ 0 w 1797"/>
                      <a:gd name="T99" fmla="*/ 0 h 519"/>
                      <a:gd name="T100" fmla="*/ 0 w 1797"/>
                      <a:gd name="T101" fmla="*/ 0 h 519"/>
                      <a:gd name="T102" fmla="*/ 0 w 1797"/>
                      <a:gd name="T103" fmla="*/ 0 h 519"/>
                      <a:gd name="T104" fmla="*/ 0 w 1797"/>
                      <a:gd name="T105" fmla="*/ 0 h 519"/>
                      <a:gd name="T106" fmla="*/ 0 w 1797"/>
                      <a:gd name="T107" fmla="*/ 0 h 519"/>
                      <a:gd name="T108" fmla="*/ 0 w 1797"/>
                      <a:gd name="T109" fmla="*/ 0 h 519"/>
                      <a:gd name="T110" fmla="*/ 0 w 1797"/>
                      <a:gd name="T111" fmla="*/ 0 h 519"/>
                      <a:gd name="T112" fmla="*/ 0 w 1797"/>
                      <a:gd name="T113" fmla="*/ 0 h 519"/>
                      <a:gd name="T114" fmla="*/ 0 w 1797"/>
                      <a:gd name="T115" fmla="*/ 0 h 519"/>
                      <a:gd name="T116" fmla="*/ 0 w 1797"/>
                      <a:gd name="T117" fmla="*/ 0 h 519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w 1797"/>
                      <a:gd name="T178" fmla="*/ 0 h 519"/>
                      <a:gd name="T179" fmla="*/ 1797 w 1797"/>
                      <a:gd name="T180" fmla="*/ 519 h 519"/>
                    </a:gdLst>
                    <a:ahLst/>
                    <a:cxnLst>
                      <a:cxn ang="T118">
                        <a:pos x="T0" y="T1"/>
                      </a:cxn>
                      <a:cxn ang="T119">
                        <a:pos x="T2" y="T3"/>
                      </a:cxn>
                      <a:cxn ang="T120">
                        <a:pos x="T4" y="T5"/>
                      </a:cxn>
                      <a:cxn ang="T121">
                        <a:pos x="T6" y="T7"/>
                      </a:cxn>
                      <a:cxn ang="T122">
                        <a:pos x="T8" y="T9"/>
                      </a:cxn>
                      <a:cxn ang="T123">
                        <a:pos x="T10" y="T11"/>
                      </a:cxn>
                      <a:cxn ang="T124">
                        <a:pos x="T12" y="T13"/>
                      </a:cxn>
                      <a:cxn ang="T125">
                        <a:pos x="T14" y="T15"/>
                      </a:cxn>
                      <a:cxn ang="T126">
                        <a:pos x="T16" y="T17"/>
                      </a:cxn>
                      <a:cxn ang="T127">
                        <a:pos x="T18" y="T19"/>
                      </a:cxn>
                      <a:cxn ang="T128">
                        <a:pos x="T20" y="T21"/>
                      </a:cxn>
                      <a:cxn ang="T129">
                        <a:pos x="T22" y="T23"/>
                      </a:cxn>
                      <a:cxn ang="T130">
                        <a:pos x="T24" y="T25"/>
                      </a:cxn>
                      <a:cxn ang="T131">
                        <a:pos x="T26" y="T27"/>
                      </a:cxn>
                      <a:cxn ang="T132">
                        <a:pos x="T28" y="T29"/>
                      </a:cxn>
                      <a:cxn ang="T133">
                        <a:pos x="T30" y="T31"/>
                      </a:cxn>
                      <a:cxn ang="T134">
                        <a:pos x="T32" y="T33"/>
                      </a:cxn>
                      <a:cxn ang="T135">
                        <a:pos x="T34" y="T35"/>
                      </a:cxn>
                      <a:cxn ang="T136">
                        <a:pos x="T36" y="T37"/>
                      </a:cxn>
                      <a:cxn ang="T137">
                        <a:pos x="T38" y="T39"/>
                      </a:cxn>
                      <a:cxn ang="T138">
                        <a:pos x="T40" y="T41"/>
                      </a:cxn>
                      <a:cxn ang="T139">
                        <a:pos x="T42" y="T43"/>
                      </a:cxn>
                      <a:cxn ang="T140">
                        <a:pos x="T44" y="T45"/>
                      </a:cxn>
                      <a:cxn ang="T141">
                        <a:pos x="T46" y="T47"/>
                      </a:cxn>
                      <a:cxn ang="T142">
                        <a:pos x="T48" y="T49"/>
                      </a:cxn>
                      <a:cxn ang="T143">
                        <a:pos x="T50" y="T51"/>
                      </a:cxn>
                      <a:cxn ang="T144">
                        <a:pos x="T52" y="T53"/>
                      </a:cxn>
                      <a:cxn ang="T145">
                        <a:pos x="T54" y="T55"/>
                      </a:cxn>
                      <a:cxn ang="T146">
                        <a:pos x="T56" y="T57"/>
                      </a:cxn>
                      <a:cxn ang="T147">
                        <a:pos x="T58" y="T59"/>
                      </a:cxn>
                      <a:cxn ang="T148">
                        <a:pos x="T60" y="T61"/>
                      </a:cxn>
                      <a:cxn ang="T149">
                        <a:pos x="T62" y="T63"/>
                      </a:cxn>
                      <a:cxn ang="T150">
                        <a:pos x="T64" y="T65"/>
                      </a:cxn>
                      <a:cxn ang="T151">
                        <a:pos x="T66" y="T67"/>
                      </a:cxn>
                      <a:cxn ang="T152">
                        <a:pos x="T68" y="T69"/>
                      </a:cxn>
                      <a:cxn ang="T153">
                        <a:pos x="T70" y="T71"/>
                      </a:cxn>
                      <a:cxn ang="T154">
                        <a:pos x="T72" y="T73"/>
                      </a:cxn>
                      <a:cxn ang="T155">
                        <a:pos x="T74" y="T75"/>
                      </a:cxn>
                      <a:cxn ang="T156">
                        <a:pos x="T76" y="T77"/>
                      </a:cxn>
                      <a:cxn ang="T157">
                        <a:pos x="T78" y="T79"/>
                      </a:cxn>
                      <a:cxn ang="T158">
                        <a:pos x="T80" y="T81"/>
                      </a:cxn>
                      <a:cxn ang="T159">
                        <a:pos x="T82" y="T83"/>
                      </a:cxn>
                      <a:cxn ang="T160">
                        <a:pos x="T84" y="T85"/>
                      </a:cxn>
                      <a:cxn ang="T161">
                        <a:pos x="T86" y="T87"/>
                      </a:cxn>
                      <a:cxn ang="T162">
                        <a:pos x="T88" y="T89"/>
                      </a:cxn>
                      <a:cxn ang="T163">
                        <a:pos x="T90" y="T91"/>
                      </a:cxn>
                      <a:cxn ang="T164">
                        <a:pos x="T92" y="T93"/>
                      </a:cxn>
                      <a:cxn ang="T165">
                        <a:pos x="T94" y="T95"/>
                      </a:cxn>
                      <a:cxn ang="T166">
                        <a:pos x="T96" y="T97"/>
                      </a:cxn>
                      <a:cxn ang="T167">
                        <a:pos x="T98" y="T99"/>
                      </a:cxn>
                      <a:cxn ang="T168">
                        <a:pos x="T100" y="T101"/>
                      </a:cxn>
                      <a:cxn ang="T169">
                        <a:pos x="T102" y="T103"/>
                      </a:cxn>
                      <a:cxn ang="T170">
                        <a:pos x="T104" y="T105"/>
                      </a:cxn>
                      <a:cxn ang="T171">
                        <a:pos x="T106" y="T107"/>
                      </a:cxn>
                      <a:cxn ang="T172">
                        <a:pos x="T108" y="T109"/>
                      </a:cxn>
                      <a:cxn ang="T173">
                        <a:pos x="T110" y="T111"/>
                      </a:cxn>
                      <a:cxn ang="T174">
                        <a:pos x="T112" y="T113"/>
                      </a:cxn>
                      <a:cxn ang="T175">
                        <a:pos x="T114" y="T115"/>
                      </a:cxn>
                      <a:cxn ang="T176">
                        <a:pos x="T116" y="T117"/>
                      </a:cxn>
                    </a:cxnLst>
                    <a:rect l="T177" t="T178" r="T179" b="T180"/>
                    <a:pathLst>
                      <a:path w="1797" h="519">
                        <a:moveTo>
                          <a:pt x="1355" y="176"/>
                        </a:moveTo>
                        <a:lnTo>
                          <a:pt x="1316" y="180"/>
                        </a:lnTo>
                        <a:lnTo>
                          <a:pt x="1274" y="182"/>
                        </a:lnTo>
                        <a:lnTo>
                          <a:pt x="1230" y="183"/>
                        </a:lnTo>
                        <a:lnTo>
                          <a:pt x="1185" y="183"/>
                        </a:lnTo>
                        <a:lnTo>
                          <a:pt x="1137" y="182"/>
                        </a:lnTo>
                        <a:lnTo>
                          <a:pt x="1089" y="179"/>
                        </a:lnTo>
                        <a:lnTo>
                          <a:pt x="1039" y="176"/>
                        </a:lnTo>
                        <a:lnTo>
                          <a:pt x="988" y="171"/>
                        </a:lnTo>
                        <a:lnTo>
                          <a:pt x="935" y="166"/>
                        </a:lnTo>
                        <a:lnTo>
                          <a:pt x="884" y="159"/>
                        </a:lnTo>
                        <a:lnTo>
                          <a:pt x="831" y="151"/>
                        </a:lnTo>
                        <a:lnTo>
                          <a:pt x="778" y="143"/>
                        </a:lnTo>
                        <a:lnTo>
                          <a:pt x="675" y="127"/>
                        </a:lnTo>
                        <a:lnTo>
                          <a:pt x="574" y="108"/>
                        </a:lnTo>
                        <a:lnTo>
                          <a:pt x="478" y="89"/>
                        </a:lnTo>
                        <a:lnTo>
                          <a:pt x="388" y="70"/>
                        </a:lnTo>
                        <a:lnTo>
                          <a:pt x="307" y="52"/>
                        </a:lnTo>
                        <a:lnTo>
                          <a:pt x="236" y="35"/>
                        </a:lnTo>
                        <a:lnTo>
                          <a:pt x="177" y="21"/>
                        </a:lnTo>
                        <a:lnTo>
                          <a:pt x="134" y="10"/>
                        </a:lnTo>
                        <a:lnTo>
                          <a:pt x="106" y="3"/>
                        </a:lnTo>
                        <a:lnTo>
                          <a:pt x="96" y="0"/>
                        </a:lnTo>
                        <a:lnTo>
                          <a:pt x="75" y="6"/>
                        </a:lnTo>
                        <a:lnTo>
                          <a:pt x="57" y="13"/>
                        </a:lnTo>
                        <a:lnTo>
                          <a:pt x="42" y="20"/>
                        </a:lnTo>
                        <a:lnTo>
                          <a:pt x="29" y="26"/>
                        </a:lnTo>
                        <a:lnTo>
                          <a:pt x="19" y="33"/>
                        </a:lnTo>
                        <a:lnTo>
                          <a:pt x="12" y="39"/>
                        </a:lnTo>
                        <a:lnTo>
                          <a:pt x="6" y="45"/>
                        </a:lnTo>
                        <a:lnTo>
                          <a:pt x="2" y="51"/>
                        </a:lnTo>
                        <a:lnTo>
                          <a:pt x="0" y="58"/>
                        </a:lnTo>
                        <a:lnTo>
                          <a:pt x="0" y="63"/>
                        </a:lnTo>
                        <a:lnTo>
                          <a:pt x="2" y="69"/>
                        </a:lnTo>
                        <a:lnTo>
                          <a:pt x="4" y="74"/>
                        </a:lnTo>
                        <a:lnTo>
                          <a:pt x="8" y="80"/>
                        </a:lnTo>
                        <a:lnTo>
                          <a:pt x="13" y="84"/>
                        </a:lnTo>
                        <a:lnTo>
                          <a:pt x="18" y="89"/>
                        </a:lnTo>
                        <a:lnTo>
                          <a:pt x="25" y="94"/>
                        </a:lnTo>
                        <a:lnTo>
                          <a:pt x="39" y="102"/>
                        </a:lnTo>
                        <a:lnTo>
                          <a:pt x="55" y="110"/>
                        </a:lnTo>
                        <a:lnTo>
                          <a:pt x="70" y="115"/>
                        </a:lnTo>
                        <a:lnTo>
                          <a:pt x="84" y="121"/>
                        </a:lnTo>
                        <a:lnTo>
                          <a:pt x="101" y="127"/>
                        </a:lnTo>
                        <a:lnTo>
                          <a:pt x="96" y="125"/>
                        </a:lnTo>
                        <a:lnTo>
                          <a:pt x="106" y="128"/>
                        </a:lnTo>
                        <a:lnTo>
                          <a:pt x="134" y="136"/>
                        </a:lnTo>
                        <a:lnTo>
                          <a:pt x="177" y="147"/>
                        </a:lnTo>
                        <a:lnTo>
                          <a:pt x="236" y="160"/>
                        </a:lnTo>
                        <a:lnTo>
                          <a:pt x="307" y="177"/>
                        </a:lnTo>
                        <a:lnTo>
                          <a:pt x="388" y="194"/>
                        </a:lnTo>
                        <a:lnTo>
                          <a:pt x="478" y="215"/>
                        </a:lnTo>
                        <a:lnTo>
                          <a:pt x="574" y="233"/>
                        </a:lnTo>
                        <a:lnTo>
                          <a:pt x="675" y="251"/>
                        </a:lnTo>
                        <a:lnTo>
                          <a:pt x="778" y="269"/>
                        </a:lnTo>
                        <a:lnTo>
                          <a:pt x="831" y="277"/>
                        </a:lnTo>
                        <a:lnTo>
                          <a:pt x="884" y="284"/>
                        </a:lnTo>
                        <a:lnTo>
                          <a:pt x="935" y="290"/>
                        </a:lnTo>
                        <a:lnTo>
                          <a:pt x="988" y="296"/>
                        </a:lnTo>
                        <a:lnTo>
                          <a:pt x="1039" y="300"/>
                        </a:lnTo>
                        <a:lnTo>
                          <a:pt x="1089" y="305"/>
                        </a:lnTo>
                        <a:lnTo>
                          <a:pt x="1137" y="307"/>
                        </a:lnTo>
                        <a:lnTo>
                          <a:pt x="1185" y="308"/>
                        </a:lnTo>
                        <a:lnTo>
                          <a:pt x="1230" y="309"/>
                        </a:lnTo>
                        <a:lnTo>
                          <a:pt x="1274" y="308"/>
                        </a:lnTo>
                        <a:lnTo>
                          <a:pt x="1316" y="305"/>
                        </a:lnTo>
                        <a:lnTo>
                          <a:pt x="1355" y="300"/>
                        </a:lnTo>
                        <a:lnTo>
                          <a:pt x="1393" y="296"/>
                        </a:lnTo>
                        <a:lnTo>
                          <a:pt x="1430" y="294"/>
                        </a:lnTo>
                        <a:lnTo>
                          <a:pt x="1463" y="294"/>
                        </a:lnTo>
                        <a:lnTo>
                          <a:pt x="1494" y="294"/>
                        </a:lnTo>
                        <a:lnTo>
                          <a:pt x="1524" y="297"/>
                        </a:lnTo>
                        <a:lnTo>
                          <a:pt x="1551" y="300"/>
                        </a:lnTo>
                        <a:lnTo>
                          <a:pt x="1577" y="305"/>
                        </a:lnTo>
                        <a:lnTo>
                          <a:pt x="1601" y="311"/>
                        </a:lnTo>
                        <a:lnTo>
                          <a:pt x="1622" y="318"/>
                        </a:lnTo>
                        <a:lnTo>
                          <a:pt x="1643" y="327"/>
                        </a:lnTo>
                        <a:lnTo>
                          <a:pt x="1661" y="336"/>
                        </a:lnTo>
                        <a:lnTo>
                          <a:pt x="1679" y="346"/>
                        </a:lnTo>
                        <a:lnTo>
                          <a:pt x="1694" y="356"/>
                        </a:lnTo>
                        <a:lnTo>
                          <a:pt x="1708" y="366"/>
                        </a:lnTo>
                        <a:lnTo>
                          <a:pt x="1721" y="378"/>
                        </a:lnTo>
                        <a:lnTo>
                          <a:pt x="1732" y="389"/>
                        </a:lnTo>
                        <a:lnTo>
                          <a:pt x="1743" y="400"/>
                        </a:lnTo>
                        <a:lnTo>
                          <a:pt x="1752" y="413"/>
                        </a:lnTo>
                        <a:lnTo>
                          <a:pt x="1760" y="424"/>
                        </a:lnTo>
                        <a:lnTo>
                          <a:pt x="1767" y="435"/>
                        </a:lnTo>
                        <a:lnTo>
                          <a:pt x="1778" y="457"/>
                        </a:lnTo>
                        <a:lnTo>
                          <a:pt x="1787" y="477"/>
                        </a:lnTo>
                        <a:lnTo>
                          <a:pt x="1795" y="507"/>
                        </a:lnTo>
                        <a:lnTo>
                          <a:pt x="1797" y="519"/>
                        </a:lnTo>
                        <a:lnTo>
                          <a:pt x="1797" y="454"/>
                        </a:lnTo>
                        <a:lnTo>
                          <a:pt x="1795" y="396"/>
                        </a:lnTo>
                        <a:lnTo>
                          <a:pt x="1794" y="370"/>
                        </a:lnTo>
                        <a:lnTo>
                          <a:pt x="1792" y="346"/>
                        </a:lnTo>
                        <a:lnTo>
                          <a:pt x="1790" y="324"/>
                        </a:lnTo>
                        <a:lnTo>
                          <a:pt x="1787" y="302"/>
                        </a:lnTo>
                        <a:lnTo>
                          <a:pt x="1784" y="282"/>
                        </a:lnTo>
                        <a:lnTo>
                          <a:pt x="1779" y="265"/>
                        </a:lnTo>
                        <a:lnTo>
                          <a:pt x="1774" y="249"/>
                        </a:lnTo>
                        <a:lnTo>
                          <a:pt x="1768" y="233"/>
                        </a:lnTo>
                        <a:lnTo>
                          <a:pt x="1760" y="220"/>
                        </a:lnTo>
                        <a:lnTo>
                          <a:pt x="1752" y="208"/>
                        </a:lnTo>
                        <a:lnTo>
                          <a:pt x="1743" y="198"/>
                        </a:lnTo>
                        <a:lnTo>
                          <a:pt x="1733" y="188"/>
                        </a:lnTo>
                        <a:lnTo>
                          <a:pt x="1721" y="180"/>
                        </a:lnTo>
                        <a:lnTo>
                          <a:pt x="1709" y="173"/>
                        </a:lnTo>
                        <a:lnTo>
                          <a:pt x="1694" y="168"/>
                        </a:lnTo>
                        <a:lnTo>
                          <a:pt x="1679" y="162"/>
                        </a:lnTo>
                        <a:lnTo>
                          <a:pt x="1662" y="159"/>
                        </a:lnTo>
                        <a:lnTo>
                          <a:pt x="1643" y="157"/>
                        </a:lnTo>
                        <a:lnTo>
                          <a:pt x="1623" y="154"/>
                        </a:lnTo>
                        <a:lnTo>
                          <a:pt x="1601" y="153"/>
                        </a:lnTo>
                        <a:lnTo>
                          <a:pt x="1577" y="154"/>
                        </a:lnTo>
                        <a:lnTo>
                          <a:pt x="1551" y="154"/>
                        </a:lnTo>
                        <a:lnTo>
                          <a:pt x="1524" y="157"/>
                        </a:lnTo>
                        <a:lnTo>
                          <a:pt x="1494" y="159"/>
                        </a:lnTo>
                        <a:lnTo>
                          <a:pt x="1430" y="166"/>
                        </a:lnTo>
                        <a:lnTo>
                          <a:pt x="1355" y="176"/>
                        </a:lnTo>
                        <a:close/>
                      </a:path>
                    </a:pathLst>
                  </a:custGeom>
                  <a:solidFill>
                    <a:srgbClr val="3D4189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50" name="Freeform 199"/>
                  <p:cNvSpPr>
                    <a:spLocks/>
                  </p:cNvSpPr>
                  <p:nvPr/>
                </p:nvSpPr>
                <p:spPr bwMode="auto">
                  <a:xfrm>
                    <a:off x="3167" y="3609"/>
                    <a:ext cx="292" cy="225"/>
                  </a:xfrm>
                  <a:custGeom>
                    <a:avLst/>
                    <a:gdLst>
                      <a:gd name="T0" fmla="*/ 0 w 2030"/>
                      <a:gd name="T1" fmla="*/ 0 h 1579"/>
                      <a:gd name="T2" fmla="*/ 0 w 2030"/>
                      <a:gd name="T3" fmla="*/ 0 h 1579"/>
                      <a:gd name="T4" fmla="*/ 0 w 2030"/>
                      <a:gd name="T5" fmla="*/ 0 h 1579"/>
                      <a:gd name="T6" fmla="*/ 0 w 2030"/>
                      <a:gd name="T7" fmla="*/ 0 h 1579"/>
                      <a:gd name="T8" fmla="*/ 0 w 2030"/>
                      <a:gd name="T9" fmla="*/ 0 h 1579"/>
                      <a:gd name="T10" fmla="*/ 0 w 2030"/>
                      <a:gd name="T11" fmla="*/ 0 h 1579"/>
                      <a:gd name="T12" fmla="*/ 0 w 2030"/>
                      <a:gd name="T13" fmla="*/ 0 h 1579"/>
                      <a:gd name="T14" fmla="*/ 0 w 2030"/>
                      <a:gd name="T15" fmla="*/ 0 h 1579"/>
                      <a:gd name="T16" fmla="*/ 0 w 2030"/>
                      <a:gd name="T17" fmla="*/ 0 h 1579"/>
                      <a:gd name="T18" fmla="*/ 0 w 2030"/>
                      <a:gd name="T19" fmla="*/ 0 h 1579"/>
                      <a:gd name="T20" fmla="*/ 0 w 2030"/>
                      <a:gd name="T21" fmla="*/ 0 h 1579"/>
                      <a:gd name="T22" fmla="*/ 0 w 2030"/>
                      <a:gd name="T23" fmla="*/ 0 h 1579"/>
                      <a:gd name="T24" fmla="*/ 0 w 2030"/>
                      <a:gd name="T25" fmla="*/ 0 h 1579"/>
                      <a:gd name="T26" fmla="*/ 0 w 2030"/>
                      <a:gd name="T27" fmla="*/ 0 h 1579"/>
                      <a:gd name="T28" fmla="*/ 0 w 2030"/>
                      <a:gd name="T29" fmla="*/ 0 h 1579"/>
                      <a:gd name="T30" fmla="*/ 0 w 2030"/>
                      <a:gd name="T31" fmla="*/ 0 h 1579"/>
                      <a:gd name="T32" fmla="*/ 0 w 2030"/>
                      <a:gd name="T33" fmla="*/ 0 h 1579"/>
                      <a:gd name="T34" fmla="*/ 0 w 2030"/>
                      <a:gd name="T35" fmla="*/ 0 h 1579"/>
                      <a:gd name="T36" fmla="*/ 0 w 2030"/>
                      <a:gd name="T37" fmla="*/ 0 h 1579"/>
                      <a:gd name="T38" fmla="*/ 0 w 2030"/>
                      <a:gd name="T39" fmla="*/ 0 h 1579"/>
                      <a:gd name="T40" fmla="*/ 0 w 2030"/>
                      <a:gd name="T41" fmla="*/ 0 h 1579"/>
                      <a:gd name="T42" fmla="*/ 0 w 2030"/>
                      <a:gd name="T43" fmla="*/ 0 h 1579"/>
                      <a:gd name="T44" fmla="*/ 0 w 2030"/>
                      <a:gd name="T45" fmla="*/ 0 h 1579"/>
                      <a:gd name="T46" fmla="*/ 0 w 2030"/>
                      <a:gd name="T47" fmla="*/ 0 h 1579"/>
                      <a:gd name="T48" fmla="*/ 0 w 2030"/>
                      <a:gd name="T49" fmla="*/ 0 h 1579"/>
                      <a:gd name="T50" fmla="*/ 0 w 2030"/>
                      <a:gd name="T51" fmla="*/ 0 h 1579"/>
                      <a:gd name="T52" fmla="*/ 0 w 2030"/>
                      <a:gd name="T53" fmla="*/ 0 h 1579"/>
                      <a:gd name="T54" fmla="*/ 0 w 2030"/>
                      <a:gd name="T55" fmla="*/ 0 h 1579"/>
                      <a:gd name="T56" fmla="*/ 0 w 2030"/>
                      <a:gd name="T57" fmla="*/ 0 h 1579"/>
                      <a:gd name="T58" fmla="*/ 0 w 2030"/>
                      <a:gd name="T59" fmla="*/ 0 h 1579"/>
                      <a:gd name="T60" fmla="*/ 0 w 2030"/>
                      <a:gd name="T61" fmla="*/ 0 h 1579"/>
                      <a:gd name="T62" fmla="*/ 0 w 2030"/>
                      <a:gd name="T63" fmla="*/ 0 h 1579"/>
                      <a:gd name="T64" fmla="*/ 0 w 2030"/>
                      <a:gd name="T65" fmla="*/ 0 h 1579"/>
                      <a:gd name="T66" fmla="*/ 0 w 2030"/>
                      <a:gd name="T67" fmla="*/ 0 h 1579"/>
                      <a:gd name="T68" fmla="*/ 0 w 2030"/>
                      <a:gd name="T69" fmla="*/ 0 h 1579"/>
                      <a:gd name="T70" fmla="*/ 0 w 2030"/>
                      <a:gd name="T71" fmla="*/ 0 h 1579"/>
                      <a:gd name="T72" fmla="*/ 0 w 2030"/>
                      <a:gd name="T73" fmla="*/ 0 h 1579"/>
                      <a:gd name="T74" fmla="*/ 0 w 2030"/>
                      <a:gd name="T75" fmla="*/ 0 h 1579"/>
                      <a:gd name="T76" fmla="*/ 0 w 2030"/>
                      <a:gd name="T77" fmla="*/ 0 h 1579"/>
                      <a:gd name="T78" fmla="*/ 0 w 2030"/>
                      <a:gd name="T79" fmla="*/ 0 h 1579"/>
                      <a:gd name="T80" fmla="*/ 0 w 2030"/>
                      <a:gd name="T81" fmla="*/ 0 h 1579"/>
                      <a:gd name="T82" fmla="*/ 0 w 2030"/>
                      <a:gd name="T83" fmla="*/ 0 h 1579"/>
                      <a:gd name="T84" fmla="*/ 0 w 2030"/>
                      <a:gd name="T85" fmla="*/ 0 h 1579"/>
                      <a:gd name="T86" fmla="*/ 0 w 2030"/>
                      <a:gd name="T87" fmla="*/ 0 h 1579"/>
                      <a:gd name="T88" fmla="*/ 0 w 2030"/>
                      <a:gd name="T89" fmla="*/ 0 h 1579"/>
                      <a:gd name="T90" fmla="*/ 0 w 2030"/>
                      <a:gd name="T91" fmla="*/ 0 h 1579"/>
                      <a:gd name="T92" fmla="*/ 0 w 2030"/>
                      <a:gd name="T93" fmla="*/ 0 h 1579"/>
                      <a:gd name="T94" fmla="*/ 0 w 2030"/>
                      <a:gd name="T95" fmla="*/ 0 h 1579"/>
                      <a:gd name="T96" fmla="*/ 0 w 2030"/>
                      <a:gd name="T97" fmla="*/ 0 h 1579"/>
                      <a:gd name="T98" fmla="*/ 0 w 2030"/>
                      <a:gd name="T99" fmla="*/ 0 h 1579"/>
                      <a:gd name="T100" fmla="*/ 0 w 2030"/>
                      <a:gd name="T101" fmla="*/ 0 h 1579"/>
                      <a:gd name="T102" fmla="*/ 0 w 2030"/>
                      <a:gd name="T103" fmla="*/ 0 h 1579"/>
                      <a:gd name="T104" fmla="*/ 0 w 2030"/>
                      <a:gd name="T105" fmla="*/ 0 h 1579"/>
                      <a:gd name="T106" fmla="*/ 0 w 2030"/>
                      <a:gd name="T107" fmla="*/ 0 h 1579"/>
                      <a:gd name="T108" fmla="*/ 0 w 2030"/>
                      <a:gd name="T109" fmla="*/ 0 h 1579"/>
                      <a:gd name="T110" fmla="*/ 0 w 2030"/>
                      <a:gd name="T111" fmla="*/ 0 h 1579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w 2030"/>
                      <a:gd name="T169" fmla="*/ 0 h 1579"/>
                      <a:gd name="T170" fmla="*/ 2030 w 2030"/>
                      <a:gd name="T171" fmla="*/ 1579 h 1579"/>
                    </a:gdLst>
                    <a:ahLst/>
                    <a:cxnLst>
                      <a:cxn ang="T112">
                        <a:pos x="T0" y="T1"/>
                      </a:cxn>
                      <a:cxn ang="T113">
                        <a:pos x="T2" y="T3"/>
                      </a:cxn>
                      <a:cxn ang="T114">
                        <a:pos x="T4" y="T5"/>
                      </a:cxn>
                      <a:cxn ang="T115">
                        <a:pos x="T6" y="T7"/>
                      </a:cxn>
                      <a:cxn ang="T116">
                        <a:pos x="T8" y="T9"/>
                      </a:cxn>
                      <a:cxn ang="T117">
                        <a:pos x="T10" y="T11"/>
                      </a:cxn>
                      <a:cxn ang="T118">
                        <a:pos x="T12" y="T13"/>
                      </a:cxn>
                      <a:cxn ang="T119">
                        <a:pos x="T14" y="T15"/>
                      </a:cxn>
                      <a:cxn ang="T120">
                        <a:pos x="T16" y="T17"/>
                      </a:cxn>
                      <a:cxn ang="T121">
                        <a:pos x="T18" y="T19"/>
                      </a:cxn>
                      <a:cxn ang="T122">
                        <a:pos x="T20" y="T21"/>
                      </a:cxn>
                      <a:cxn ang="T123">
                        <a:pos x="T22" y="T23"/>
                      </a:cxn>
                      <a:cxn ang="T124">
                        <a:pos x="T24" y="T25"/>
                      </a:cxn>
                      <a:cxn ang="T125">
                        <a:pos x="T26" y="T27"/>
                      </a:cxn>
                      <a:cxn ang="T126">
                        <a:pos x="T28" y="T29"/>
                      </a:cxn>
                      <a:cxn ang="T127">
                        <a:pos x="T30" y="T31"/>
                      </a:cxn>
                      <a:cxn ang="T128">
                        <a:pos x="T32" y="T33"/>
                      </a:cxn>
                      <a:cxn ang="T129">
                        <a:pos x="T34" y="T35"/>
                      </a:cxn>
                      <a:cxn ang="T130">
                        <a:pos x="T36" y="T37"/>
                      </a:cxn>
                      <a:cxn ang="T131">
                        <a:pos x="T38" y="T39"/>
                      </a:cxn>
                      <a:cxn ang="T132">
                        <a:pos x="T40" y="T41"/>
                      </a:cxn>
                      <a:cxn ang="T133">
                        <a:pos x="T42" y="T43"/>
                      </a:cxn>
                      <a:cxn ang="T134">
                        <a:pos x="T44" y="T45"/>
                      </a:cxn>
                      <a:cxn ang="T135">
                        <a:pos x="T46" y="T47"/>
                      </a:cxn>
                      <a:cxn ang="T136">
                        <a:pos x="T48" y="T49"/>
                      </a:cxn>
                      <a:cxn ang="T137">
                        <a:pos x="T50" y="T51"/>
                      </a:cxn>
                      <a:cxn ang="T138">
                        <a:pos x="T52" y="T53"/>
                      </a:cxn>
                      <a:cxn ang="T139">
                        <a:pos x="T54" y="T55"/>
                      </a:cxn>
                      <a:cxn ang="T140">
                        <a:pos x="T56" y="T57"/>
                      </a:cxn>
                      <a:cxn ang="T141">
                        <a:pos x="T58" y="T59"/>
                      </a:cxn>
                      <a:cxn ang="T142">
                        <a:pos x="T60" y="T61"/>
                      </a:cxn>
                      <a:cxn ang="T143">
                        <a:pos x="T62" y="T63"/>
                      </a:cxn>
                      <a:cxn ang="T144">
                        <a:pos x="T64" y="T65"/>
                      </a:cxn>
                      <a:cxn ang="T145">
                        <a:pos x="T66" y="T67"/>
                      </a:cxn>
                      <a:cxn ang="T146">
                        <a:pos x="T68" y="T69"/>
                      </a:cxn>
                      <a:cxn ang="T147">
                        <a:pos x="T70" y="T71"/>
                      </a:cxn>
                      <a:cxn ang="T148">
                        <a:pos x="T72" y="T73"/>
                      </a:cxn>
                      <a:cxn ang="T149">
                        <a:pos x="T74" y="T75"/>
                      </a:cxn>
                      <a:cxn ang="T150">
                        <a:pos x="T76" y="T77"/>
                      </a:cxn>
                      <a:cxn ang="T151">
                        <a:pos x="T78" y="T79"/>
                      </a:cxn>
                      <a:cxn ang="T152">
                        <a:pos x="T80" y="T81"/>
                      </a:cxn>
                      <a:cxn ang="T153">
                        <a:pos x="T82" y="T83"/>
                      </a:cxn>
                      <a:cxn ang="T154">
                        <a:pos x="T84" y="T85"/>
                      </a:cxn>
                      <a:cxn ang="T155">
                        <a:pos x="T86" y="T87"/>
                      </a:cxn>
                      <a:cxn ang="T156">
                        <a:pos x="T88" y="T89"/>
                      </a:cxn>
                      <a:cxn ang="T157">
                        <a:pos x="T90" y="T91"/>
                      </a:cxn>
                      <a:cxn ang="T158">
                        <a:pos x="T92" y="T93"/>
                      </a:cxn>
                      <a:cxn ang="T159">
                        <a:pos x="T94" y="T95"/>
                      </a:cxn>
                      <a:cxn ang="T160">
                        <a:pos x="T96" y="T97"/>
                      </a:cxn>
                      <a:cxn ang="T161">
                        <a:pos x="T98" y="T99"/>
                      </a:cxn>
                      <a:cxn ang="T162">
                        <a:pos x="T100" y="T101"/>
                      </a:cxn>
                      <a:cxn ang="T163">
                        <a:pos x="T102" y="T103"/>
                      </a:cxn>
                      <a:cxn ang="T164">
                        <a:pos x="T104" y="T105"/>
                      </a:cxn>
                      <a:cxn ang="T165">
                        <a:pos x="T106" y="T107"/>
                      </a:cxn>
                      <a:cxn ang="T166">
                        <a:pos x="T108" y="T109"/>
                      </a:cxn>
                      <a:cxn ang="T167">
                        <a:pos x="T110" y="T111"/>
                      </a:cxn>
                    </a:cxnLst>
                    <a:rect l="T168" t="T169" r="T170" b="T171"/>
                    <a:pathLst>
                      <a:path w="2030" h="1579">
                        <a:moveTo>
                          <a:pt x="916" y="671"/>
                        </a:moveTo>
                        <a:lnTo>
                          <a:pt x="959" y="695"/>
                        </a:lnTo>
                        <a:lnTo>
                          <a:pt x="1000" y="717"/>
                        </a:lnTo>
                        <a:lnTo>
                          <a:pt x="1040" y="737"/>
                        </a:lnTo>
                        <a:lnTo>
                          <a:pt x="1080" y="756"/>
                        </a:lnTo>
                        <a:lnTo>
                          <a:pt x="1120" y="774"/>
                        </a:lnTo>
                        <a:lnTo>
                          <a:pt x="1159" y="789"/>
                        </a:lnTo>
                        <a:lnTo>
                          <a:pt x="1197" y="804"/>
                        </a:lnTo>
                        <a:lnTo>
                          <a:pt x="1236" y="816"/>
                        </a:lnTo>
                        <a:lnTo>
                          <a:pt x="1272" y="827"/>
                        </a:lnTo>
                        <a:lnTo>
                          <a:pt x="1310" y="837"/>
                        </a:lnTo>
                        <a:lnTo>
                          <a:pt x="1347" y="846"/>
                        </a:lnTo>
                        <a:lnTo>
                          <a:pt x="1383" y="853"/>
                        </a:lnTo>
                        <a:lnTo>
                          <a:pt x="1419" y="858"/>
                        </a:lnTo>
                        <a:lnTo>
                          <a:pt x="1454" y="863"/>
                        </a:lnTo>
                        <a:lnTo>
                          <a:pt x="1490" y="865"/>
                        </a:lnTo>
                        <a:lnTo>
                          <a:pt x="1524" y="866"/>
                        </a:lnTo>
                        <a:lnTo>
                          <a:pt x="1559" y="866"/>
                        </a:lnTo>
                        <a:lnTo>
                          <a:pt x="1592" y="865"/>
                        </a:lnTo>
                        <a:lnTo>
                          <a:pt x="1625" y="862"/>
                        </a:lnTo>
                        <a:lnTo>
                          <a:pt x="1659" y="858"/>
                        </a:lnTo>
                        <a:lnTo>
                          <a:pt x="1691" y="853"/>
                        </a:lnTo>
                        <a:lnTo>
                          <a:pt x="1723" y="846"/>
                        </a:lnTo>
                        <a:lnTo>
                          <a:pt x="1756" y="838"/>
                        </a:lnTo>
                        <a:lnTo>
                          <a:pt x="1788" y="828"/>
                        </a:lnTo>
                        <a:lnTo>
                          <a:pt x="1819" y="818"/>
                        </a:lnTo>
                        <a:lnTo>
                          <a:pt x="1850" y="806"/>
                        </a:lnTo>
                        <a:lnTo>
                          <a:pt x="1880" y="794"/>
                        </a:lnTo>
                        <a:lnTo>
                          <a:pt x="1911" y="779"/>
                        </a:lnTo>
                        <a:lnTo>
                          <a:pt x="1941" y="764"/>
                        </a:lnTo>
                        <a:lnTo>
                          <a:pt x="1971" y="747"/>
                        </a:lnTo>
                        <a:lnTo>
                          <a:pt x="2000" y="729"/>
                        </a:lnTo>
                        <a:lnTo>
                          <a:pt x="2030" y="710"/>
                        </a:lnTo>
                        <a:lnTo>
                          <a:pt x="2029" y="756"/>
                        </a:lnTo>
                        <a:lnTo>
                          <a:pt x="2029" y="801"/>
                        </a:lnTo>
                        <a:lnTo>
                          <a:pt x="2027" y="847"/>
                        </a:lnTo>
                        <a:lnTo>
                          <a:pt x="2025" y="892"/>
                        </a:lnTo>
                        <a:lnTo>
                          <a:pt x="2020" y="935"/>
                        </a:lnTo>
                        <a:lnTo>
                          <a:pt x="2016" y="977"/>
                        </a:lnTo>
                        <a:lnTo>
                          <a:pt x="2010" y="1020"/>
                        </a:lnTo>
                        <a:lnTo>
                          <a:pt x="2003" y="1060"/>
                        </a:lnTo>
                        <a:lnTo>
                          <a:pt x="1995" y="1100"/>
                        </a:lnTo>
                        <a:lnTo>
                          <a:pt x="1985" y="1138"/>
                        </a:lnTo>
                        <a:lnTo>
                          <a:pt x="1974" y="1174"/>
                        </a:lnTo>
                        <a:lnTo>
                          <a:pt x="1961" y="1210"/>
                        </a:lnTo>
                        <a:lnTo>
                          <a:pt x="1948" y="1243"/>
                        </a:lnTo>
                        <a:lnTo>
                          <a:pt x="1932" y="1274"/>
                        </a:lnTo>
                        <a:lnTo>
                          <a:pt x="1924" y="1290"/>
                        </a:lnTo>
                        <a:lnTo>
                          <a:pt x="1915" y="1304"/>
                        </a:lnTo>
                        <a:lnTo>
                          <a:pt x="1906" y="1319"/>
                        </a:lnTo>
                        <a:lnTo>
                          <a:pt x="1896" y="1333"/>
                        </a:lnTo>
                        <a:lnTo>
                          <a:pt x="1846" y="1396"/>
                        </a:lnTo>
                        <a:lnTo>
                          <a:pt x="1793" y="1449"/>
                        </a:lnTo>
                        <a:lnTo>
                          <a:pt x="1740" y="1491"/>
                        </a:lnTo>
                        <a:lnTo>
                          <a:pt x="1685" y="1526"/>
                        </a:lnTo>
                        <a:lnTo>
                          <a:pt x="1629" y="1551"/>
                        </a:lnTo>
                        <a:lnTo>
                          <a:pt x="1572" y="1568"/>
                        </a:lnTo>
                        <a:lnTo>
                          <a:pt x="1514" y="1577"/>
                        </a:lnTo>
                        <a:lnTo>
                          <a:pt x="1456" y="1579"/>
                        </a:lnTo>
                        <a:lnTo>
                          <a:pt x="1397" y="1575"/>
                        </a:lnTo>
                        <a:lnTo>
                          <a:pt x="1338" y="1564"/>
                        </a:lnTo>
                        <a:lnTo>
                          <a:pt x="1278" y="1546"/>
                        </a:lnTo>
                        <a:lnTo>
                          <a:pt x="1219" y="1524"/>
                        </a:lnTo>
                        <a:lnTo>
                          <a:pt x="1160" y="1496"/>
                        </a:lnTo>
                        <a:lnTo>
                          <a:pt x="1101" y="1464"/>
                        </a:lnTo>
                        <a:lnTo>
                          <a:pt x="1042" y="1428"/>
                        </a:lnTo>
                        <a:lnTo>
                          <a:pt x="984" y="1389"/>
                        </a:lnTo>
                        <a:lnTo>
                          <a:pt x="927" y="1346"/>
                        </a:lnTo>
                        <a:lnTo>
                          <a:pt x="871" y="1301"/>
                        </a:lnTo>
                        <a:lnTo>
                          <a:pt x="816" y="1253"/>
                        </a:lnTo>
                        <a:lnTo>
                          <a:pt x="762" y="1204"/>
                        </a:lnTo>
                        <a:lnTo>
                          <a:pt x="709" y="1154"/>
                        </a:lnTo>
                        <a:lnTo>
                          <a:pt x="659" y="1103"/>
                        </a:lnTo>
                        <a:lnTo>
                          <a:pt x="610" y="1052"/>
                        </a:lnTo>
                        <a:lnTo>
                          <a:pt x="562" y="1001"/>
                        </a:lnTo>
                        <a:lnTo>
                          <a:pt x="517" y="951"/>
                        </a:lnTo>
                        <a:lnTo>
                          <a:pt x="474" y="902"/>
                        </a:lnTo>
                        <a:lnTo>
                          <a:pt x="433" y="854"/>
                        </a:lnTo>
                        <a:lnTo>
                          <a:pt x="395" y="809"/>
                        </a:lnTo>
                        <a:lnTo>
                          <a:pt x="328" y="726"/>
                        </a:lnTo>
                        <a:lnTo>
                          <a:pt x="271" y="657"/>
                        </a:lnTo>
                        <a:lnTo>
                          <a:pt x="253" y="633"/>
                        </a:lnTo>
                        <a:lnTo>
                          <a:pt x="234" y="606"/>
                        </a:lnTo>
                        <a:lnTo>
                          <a:pt x="214" y="576"/>
                        </a:lnTo>
                        <a:lnTo>
                          <a:pt x="195" y="542"/>
                        </a:lnTo>
                        <a:lnTo>
                          <a:pt x="176" y="507"/>
                        </a:lnTo>
                        <a:lnTo>
                          <a:pt x="156" y="469"/>
                        </a:lnTo>
                        <a:lnTo>
                          <a:pt x="137" y="429"/>
                        </a:lnTo>
                        <a:lnTo>
                          <a:pt x="118" y="385"/>
                        </a:lnTo>
                        <a:lnTo>
                          <a:pt x="100" y="342"/>
                        </a:lnTo>
                        <a:lnTo>
                          <a:pt x="84" y="296"/>
                        </a:lnTo>
                        <a:lnTo>
                          <a:pt x="67" y="248"/>
                        </a:lnTo>
                        <a:lnTo>
                          <a:pt x="52" y="200"/>
                        </a:lnTo>
                        <a:lnTo>
                          <a:pt x="36" y="152"/>
                        </a:lnTo>
                        <a:lnTo>
                          <a:pt x="23" y="101"/>
                        </a:lnTo>
                        <a:lnTo>
                          <a:pt x="10" y="50"/>
                        </a:lnTo>
                        <a:lnTo>
                          <a:pt x="0" y="0"/>
                        </a:lnTo>
                        <a:lnTo>
                          <a:pt x="53" y="47"/>
                        </a:lnTo>
                        <a:lnTo>
                          <a:pt x="105" y="93"/>
                        </a:lnTo>
                        <a:lnTo>
                          <a:pt x="158" y="138"/>
                        </a:lnTo>
                        <a:lnTo>
                          <a:pt x="212" y="183"/>
                        </a:lnTo>
                        <a:lnTo>
                          <a:pt x="266" y="227"/>
                        </a:lnTo>
                        <a:lnTo>
                          <a:pt x="322" y="271"/>
                        </a:lnTo>
                        <a:lnTo>
                          <a:pt x="378" y="313"/>
                        </a:lnTo>
                        <a:lnTo>
                          <a:pt x="434" y="355"/>
                        </a:lnTo>
                        <a:lnTo>
                          <a:pt x="492" y="396"/>
                        </a:lnTo>
                        <a:lnTo>
                          <a:pt x="550" y="438"/>
                        </a:lnTo>
                        <a:lnTo>
                          <a:pt x="609" y="479"/>
                        </a:lnTo>
                        <a:lnTo>
                          <a:pt x="669" y="518"/>
                        </a:lnTo>
                        <a:lnTo>
                          <a:pt x="729" y="557"/>
                        </a:lnTo>
                        <a:lnTo>
                          <a:pt x="792" y="596"/>
                        </a:lnTo>
                        <a:lnTo>
                          <a:pt x="854" y="633"/>
                        </a:lnTo>
                        <a:lnTo>
                          <a:pt x="916" y="671"/>
                        </a:lnTo>
                        <a:close/>
                      </a:path>
                    </a:pathLst>
                  </a:custGeom>
                  <a:solidFill>
                    <a:srgbClr val="312276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51" name="Freeform 200"/>
                  <p:cNvSpPr>
                    <a:spLocks/>
                  </p:cNvSpPr>
                  <p:nvPr/>
                </p:nvSpPr>
                <p:spPr bwMode="auto">
                  <a:xfrm>
                    <a:off x="3173" y="3841"/>
                    <a:ext cx="562" cy="216"/>
                  </a:xfrm>
                  <a:custGeom>
                    <a:avLst/>
                    <a:gdLst>
                      <a:gd name="T0" fmla="*/ 0 w 3934"/>
                      <a:gd name="T1" fmla="*/ 0 h 1507"/>
                      <a:gd name="T2" fmla="*/ 0 w 3934"/>
                      <a:gd name="T3" fmla="*/ 0 h 1507"/>
                      <a:gd name="T4" fmla="*/ 0 w 3934"/>
                      <a:gd name="T5" fmla="*/ 0 h 1507"/>
                      <a:gd name="T6" fmla="*/ 0 w 3934"/>
                      <a:gd name="T7" fmla="*/ 0 h 1507"/>
                      <a:gd name="T8" fmla="*/ 0 w 3934"/>
                      <a:gd name="T9" fmla="*/ 0 h 1507"/>
                      <a:gd name="T10" fmla="*/ 0 w 3934"/>
                      <a:gd name="T11" fmla="*/ 0 h 1507"/>
                      <a:gd name="T12" fmla="*/ 0 w 3934"/>
                      <a:gd name="T13" fmla="*/ 0 h 1507"/>
                      <a:gd name="T14" fmla="*/ 0 w 3934"/>
                      <a:gd name="T15" fmla="*/ 0 h 1507"/>
                      <a:gd name="T16" fmla="*/ 0 w 3934"/>
                      <a:gd name="T17" fmla="*/ 0 h 1507"/>
                      <a:gd name="T18" fmla="*/ 0 w 3934"/>
                      <a:gd name="T19" fmla="*/ 0 h 1507"/>
                      <a:gd name="T20" fmla="*/ 0 w 3934"/>
                      <a:gd name="T21" fmla="*/ 0 h 1507"/>
                      <a:gd name="T22" fmla="*/ 0 w 3934"/>
                      <a:gd name="T23" fmla="*/ 0 h 1507"/>
                      <a:gd name="T24" fmla="*/ 0 w 3934"/>
                      <a:gd name="T25" fmla="*/ 0 h 1507"/>
                      <a:gd name="T26" fmla="*/ 0 w 3934"/>
                      <a:gd name="T27" fmla="*/ 0 h 1507"/>
                      <a:gd name="T28" fmla="*/ 0 w 3934"/>
                      <a:gd name="T29" fmla="*/ 0 h 1507"/>
                      <a:gd name="T30" fmla="*/ 0 w 3934"/>
                      <a:gd name="T31" fmla="*/ 0 h 1507"/>
                      <a:gd name="T32" fmla="*/ 0 w 3934"/>
                      <a:gd name="T33" fmla="*/ 0 h 1507"/>
                      <a:gd name="T34" fmla="*/ 0 w 3934"/>
                      <a:gd name="T35" fmla="*/ 0 h 1507"/>
                      <a:gd name="T36" fmla="*/ 0 w 3934"/>
                      <a:gd name="T37" fmla="*/ 0 h 1507"/>
                      <a:gd name="T38" fmla="*/ 0 w 3934"/>
                      <a:gd name="T39" fmla="*/ 0 h 1507"/>
                      <a:gd name="T40" fmla="*/ 0 w 3934"/>
                      <a:gd name="T41" fmla="*/ 0 h 1507"/>
                      <a:gd name="T42" fmla="*/ 0 w 3934"/>
                      <a:gd name="T43" fmla="*/ 0 h 1507"/>
                      <a:gd name="T44" fmla="*/ 0 w 3934"/>
                      <a:gd name="T45" fmla="*/ 0 h 1507"/>
                      <a:gd name="T46" fmla="*/ 0 w 3934"/>
                      <a:gd name="T47" fmla="*/ 0 h 1507"/>
                      <a:gd name="T48" fmla="*/ 0 w 3934"/>
                      <a:gd name="T49" fmla="*/ 0 h 1507"/>
                      <a:gd name="T50" fmla="*/ 0 w 3934"/>
                      <a:gd name="T51" fmla="*/ 0 h 1507"/>
                      <a:gd name="T52" fmla="*/ 0 w 3934"/>
                      <a:gd name="T53" fmla="*/ 0 h 1507"/>
                      <a:gd name="T54" fmla="*/ 0 w 3934"/>
                      <a:gd name="T55" fmla="*/ 0 h 1507"/>
                      <a:gd name="T56" fmla="*/ 0 w 3934"/>
                      <a:gd name="T57" fmla="*/ 0 h 1507"/>
                      <a:gd name="T58" fmla="*/ 0 w 3934"/>
                      <a:gd name="T59" fmla="*/ 0 h 1507"/>
                      <a:gd name="T60" fmla="*/ 0 w 3934"/>
                      <a:gd name="T61" fmla="*/ 0 h 1507"/>
                      <a:gd name="T62" fmla="*/ 0 w 3934"/>
                      <a:gd name="T63" fmla="*/ 0 h 1507"/>
                      <a:gd name="T64" fmla="*/ 0 w 3934"/>
                      <a:gd name="T65" fmla="*/ 0 h 1507"/>
                      <a:gd name="T66" fmla="*/ 0 w 3934"/>
                      <a:gd name="T67" fmla="*/ 0 h 1507"/>
                      <a:gd name="T68" fmla="*/ 0 w 3934"/>
                      <a:gd name="T69" fmla="*/ 0 h 1507"/>
                      <a:gd name="T70" fmla="*/ 0 w 3934"/>
                      <a:gd name="T71" fmla="*/ 0 h 1507"/>
                      <a:gd name="T72" fmla="*/ 0 w 3934"/>
                      <a:gd name="T73" fmla="*/ 0 h 1507"/>
                      <a:gd name="T74" fmla="*/ 0 w 3934"/>
                      <a:gd name="T75" fmla="*/ 0 h 1507"/>
                      <a:gd name="T76" fmla="*/ 0 w 3934"/>
                      <a:gd name="T77" fmla="*/ 0 h 1507"/>
                      <a:gd name="T78" fmla="*/ 0 w 3934"/>
                      <a:gd name="T79" fmla="*/ 0 h 1507"/>
                      <a:gd name="T80" fmla="*/ 0 w 3934"/>
                      <a:gd name="T81" fmla="*/ 0 h 1507"/>
                      <a:gd name="T82" fmla="*/ 0 w 3934"/>
                      <a:gd name="T83" fmla="*/ 0 h 1507"/>
                      <a:gd name="T84" fmla="*/ 0 w 3934"/>
                      <a:gd name="T85" fmla="*/ 0 h 1507"/>
                      <a:gd name="T86" fmla="*/ 0 w 3934"/>
                      <a:gd name="T87" fmla="*/ 0 h 1507"/>
                      <a:gd name="T88" fmla="*/ 0 w 3934"/>
                      <a:gd name="T89" fmla="*/ 0 h 1507"/>
                      <a:gd name="T90" fmla="*/ 0 w 3934"/>
                      <a:gd name="T91" fmla="*/ 0 h 1507"/>
                      <a:gd name="T92" fmla="*/ 0 w 3934"/>
                      <a:gd name="T93" fmla="*/ 0 h 1507"/>
                      <a:gd name="T94" fmla="*/ 0 w 3934"/>
                      <a:gd name="T95" fmla="*/ 0 h 1507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w 3934"/>
                      <a:gd name="T145" fmla="*/ 0 h 1507"/>
                      <a:gd name="T146" fmla="*/ 3934 w 3934"/>
                      <a:gd name="T147" fmla="*/ 1507 h 1507"/>
                    </a:gdLst>
                    <a:ahLst/>
                    <a:cxnLst>
                      <a:cxn ang="T96">
                        <a:pos x="T0" y="T1"/>
                      </a:cxn>
                      <a:cxn ang="T97">
                        <a:pos x="T2" y="T3"/>
                      </a:cxn>
                      <a:cxn ang="T98">
                        <a:pos x="T4" y="T5"/>
                      </a:cxn>
                      <a:cxn ang="T99">
                        <a:pos x="T6" y="T7"/>
                      </a:cxn>
                      <a:cxn ang="T100">
                        <a:pos x="T8" y="T9"/>
                      </a:cxn>
                      <a:cxn ang="T101">
                        <a:pos x="T10" y="T11"/>
                      </a:cxn>
                      <a:cxn ang="T102">
                        <a:pos x="T12" y="T13"/>
                      </a:cxn>
                      <a:cxn ang="T103">
                        <a:pos x="T14" y="T15"/>
                      </a:cxn>
                      <a:cxn ang="T104">
                        <a:pos x="T16" y="T17"/>
                      </a:cxn>
                      <a:cxn ang="T105">
                        <a:pos x="T18" y="T19"/>
                      </a:cxn>
                      <a:cxn ang="T106">
                        <a:pos x="T20" y="T21"/>
                      </a:cxn>
                      <a:cxn ang="T107">
                        <a:pos x="T22" y="T23"/>
                      </a:cxn>
                      <a:cxn ang="T108">
                        <a:pos x="T24" y="T25"/>
                      </a:cxn>
                      <a:cxn ang="T109">
                        <a:pos x="T26" y="T27"/>
                      </a:cxn>
                      <a:cxn ang="T110">
                        <a:pos x="T28" y="T29"/>
                      </a:cxn>
                      <a:cxn ang="T111">
                        <a:pos x="T30" y="T31"/>
                      </a:cxn>
                      <a:cxn ang="T112">
                        <a:pos x="T32" y="T33"/>
                      </a:cxn>
                      <a:cxn ang="T113">
                        <a:pos x="T34" y="T35"/>
                      </a:cxn>
                      <a:cxn ang="T114">
                        <a:pos x="T36" y="T37"/>
                      </a:cxn>
                      <a:cxn ang="T115">
                        <a:pos x="T38" y="T39"/>
                      </a:cxn>
                      <a:cxn ang="T116">
                        <a:pos x="T40" y="T41"/>
                      </a:cxn>
                      <a:cxn ang="T117">
                        <a:pos x="T42" y="T43"/>
                      </a:cxn>
                      <a:cxn ang="T118">
                        <a:pos x="T44" y="T45"/>
                      </a:cxn>
                      <a:cxn ang="T119">
                        <a:pos x="T46" y="T47"/>
                      </a:cxn>
                      <a:cxn ang="T120">
                        <a:pos x="T48" y="T49"/>
                      </a:cxn>
                      <a:cxn ang="T121">
                        <a:pos x="T50" y="T51"/>
                      </a:cxn>
                      <a:cxn ang="T122">
                        <a:pos x="T52" y="T53"/>
                      </a:cxn>
                      <a:cxn ang="T123">
                        <a:pos x="T54" y="T55"/>
                      </a:cxn>
                      <a:cxn ang="T124">
                        <a:pos x="T56" y="T57"/>
                      </a:cxn>
                      <a:cxn ang="T125">
                        <a:pos x="T58" y="T59"/>
                      </a:cxn>
                      <a:cxn ang="T126">
                        <a:pos x="T60" y="T61"/>
                      </a:cxn>
                      <a:cxn ang="T127">
                        <a:pos x="T62" y="T63"/>
                      </a:cxn>
                      <a:cxn ang="T128">
                        <a:pos x="T64" y="T65"/>
                      </a:cxn>
                      <a:cxn ang="T129">
                        <a:pos x="T66" y="T67"/>
                      </a:cxn>
                      <a:cxn ang="T130">
                        <a:pos x="T68" y="T69"/>
                      </a:cxn>
                      <a:cxn ang="T131">
                        <a:pos x="T70" y="T71"/>
                      </a:cxn>
                      <a:cxn ang="T132">
                        <a:pos x="T72" y="T73"/>
                      </a:cxn>
                      <a:cxn ang="T133">
                        <a:pos x="T74" y="T75"/>
                      </a:cxn>
                      <a:cxn ang="T134">
                        <a:pos x="T76" y="T77"/>
                      </a:cxn>
                      <a:cxn ang="T135">
                        <a:pos x="T78" y="T79"/>
                      </a:cxn>
                      <a:cxn ang="T136">
                        <a:pos x="T80" y="T81"/>
                      </a:cxn>
                      <a:cxn ang="T137">
                        <a:pos x="T82" y="T83"/>
                      </a:cxn>
                      <a:cxn ang="T138">
                        <a:pos x="T84" y="T85"/>
                      </a:cxn>
                      <a:cxn ang="T139">
                        <a:pos x="T86" y="T87"/>
                      </a:cxn>
                      <a:cxn ang="T140">
                        <a:pos x="T88" y="T89"/>
                      </a:cxn>
                      <a:cxn ang="T141">
                        <a:pos x="T90" y="T91"/>
                      </a:cxn>
                      <a:cxn ang="T142">
                        <a:pos x="T92" y="T93"/>
                      </a:cxn>
                      <a:cxn ang="T143">
                        <a:pos x="T94" y="T95"/>
                      </a:cxn>
                    </a:cxnLst>
                    <a:rect l="T144" t="T145" r="T146" b="T147"/>
                    <a:pathLst>
                      <a:path w="3934" h="1507">
                        <a:moveTo>
                          <a:pt x="3766" y="0"/>
                        </a:moveTo>
                        <a:lnTo>
                          <a:pt x="3783" y="139"/>
                        </a:lnTo>
                        <a:lnTo>
                          <a:pt x="3781" y="269"/>
                        </a:lnTo>
                        <a:lnTo>
                          <a:pt x="3761" y="390"/>
                        </a:lnTo>
                        <a:lnTo>
                          <a:pt x="3725" y="500"/>
                        </a:lnTo>
                        <a:lnTo>
                          <a:pt x="3674" y="601"/>
                        </a:lnTo>
                        <a:lnTo>
                          <a:pt x="3608" y="693"/>
                        </a:lnTo>
                        <a:lnTo>
                          <a:pt x="3529" y="778"/>
                        </a:lnTo>
                        <a:lnTo>
                          <a:pt x="3438" y="852"/>
                        </a:lnTo>
                        <a:lnTo>
                          <a:pt x="3335" y="920"/>
                        </a:lnTo>
                        <a:lnTo>
                          <a:pt x="3221" y="979"/>
                        </a:lnTo>
                        <a:lnTo>
                          <a:pt x="3098" y="1032"/>
                        </a:lnTo>
                        <a:lnTo>
                          <a:pt x="2966" y="1076"/>
                        </a:lnTo>
                        <a:lnTo>
                          <a:pt x="2827" y="1113"/>
                        </a:lnTo>
                        <a:lnTo>
                          <a:pt x="2680" y="1144"/>
                        </a:lnTo>
                        <a:lnTo>
                          <a:pt x="2529" y="1168"/>
                        </a:lnTo>
                        <a:lnTo>
                          <a:pt x="2372" y="1186"/>
                        </a:lnTo>
                        <a:lnTo>
                          <a:pt x="2210" y="1199"/>
                        </a:lnTo>
                        <a:lnTo>
                          <a:pt x="2048" y="1205"/>
                        </a:lnTo>
                        <a:lnTo>
                          <a:pt x="1882" y="1206"/>
                        </a:lnTo>
                        <a:lnTo>
                          <a:pt x="1716" y="1203"/>
                        </a:lnTo>
                        <a:lnTo>
                          <a:pt x="1549" y="1194"/>
                        </a:lnTo>
                        <a:lnTo>
                          <a:pt x="1385" y="1181"/>
                        </a:lnTo>
                        <a:lnTo>
                          <a:pt x="1221" y="1163"/>
                        </a:lnTo>
                        <a:lnTo>
                          <a:pt x="1061" y="1142"/>
                        </a:lnTo>
                        <a:lnTo>
                          <a:pt x="905" y="1116"/>
                        </a:lnTo>
                        <a:lnTo>
                          <a:pt x="754" y="1087"/>
                        </a:lnTo>
                        <a:lnTo>
                          <a:pt x="608" y="1055"/>
                        </a:lnTo>
                        <a:lnTo>
                          <a:pt x="469" y="1020"/>
                        </a:lnTo>
                        <a:lnTo>
                          <a:pt x="337" y="983"/>
                        </a:lnTo>
                        <a:lnTo>
                          <a:pt x="215" y="943"/>
                        </a:lnTo>
                        <a:lnTo>
                          <a:pt x="102" y="901"/>
                        </a:lnTo>
                        <a:lnTo>
                          <a:pt x="0" y="857"/>
                        </a:lnTo>
                        <a:lnTo>
                          <a:pt x="12" y="878"/>
                        </a:lnTo>
                        <a:lnTo>
                          <a:pt x="26" y="898"/>
                        </a:lnTo>
                        <a:lnTo>
                          <a:pt x="39" y="918"/>
                        </a:lnTo>
                        <a:lnTo>
                          <a:pt x="52" y="937"/>
                        </a:lnTo>
                        <a:lnTo>
                          <a:pt x="67" y="955"/>
                        </a:lnTo>
                        <a:lnTo>
                          <a:pt x="80" y="973"/>
                        </a:lnTo>
                        <a:lnTo>
                          <a:pt x="95" y="989"/>
                        </a:lnTo>
                        <a:lnTo>
                          <a:pt x="109" y="1006"/>
                        </a:lnTo>
                        <a:lnTo>
                          <a:pt x="139" y="1036"/>
                        </a:lnTo>
                        <a:lnTo>
                          <a:pt x="169" y="1064"/>
                        </a:lnTo>
                        <a:lnTo>
                          <a:pt x="199" y="1089"/>
                        </a:lnTo>
                        <a:lnTo>
                          <a:pt x="229" y="1113"/>
                        </a:lnTo>
                        <a:lnTo>
                          <a:pt x="260" y="1134"/>
                        </a:lnTo>
                        <a:lnTo>
                          <a:pt x="291" y="1153"/>
                        </a:lnTo>
                        <a:lnTo>
                          <a:pt x="321" y="1170"/>
                        </a:lnTo>
                        <a:lnTo>
                          <a:pt x="351" y="1184"/>
                        </a:lnTo>
                        <a:lnTo>
                          <a:pt x="380" y="1197"/>
                        </a:lnTo>
                        <a:lnTo>
                          <a:pt x="407" y="1209"/>
                        </a:lnTo>
                        <a:lnTo>
                          <a:pt x="434" y="1219"/>
                        </a:lnTo>
                        <a:lnTo>
                          <a:pt x="461" y="1226"/>
                        </a:lnTo>
                        <a:lnTo>
                          <a:pt x="494" y="1236"/>
                        </a:lnTo>
                        <a:lnTo>
                          <a:pt x="529" y="1247"/>
                        </a:lnTo>
                        <a:lnTo>
                          <a:pt x="565" y="1261"/>
                        </a:lnTo>
                        <a:lnTo>
                          <a:pt x="604" y="1274"/>
                        </a:lnTo>
                        <a:lnTo>
                          <a:pt x="685" y="1305"/>
                        </a:lnTo>
                        <a:lnTo>
                          <a:pt x="769" y="1337"/>
                        </a:lnTo>
                        <a:lnTo>
                          <a:pt x="813" y="1352"/>
                        </a:lnTo>
                        <a:lnTo>
                          <a:pt x="857" y="1368"/>
                        </a:lnTo>
                        <a:lnTo>
                          <a:pt x="902" y="1382"/>
                        </a:lnTo>
                        <a:lnTo>
                          <a:pt x="947" y="1396"/>
                        </a:lnTo>
                        <a:lnTo>
                          <a:pt x="992" y="1408"/>
                        </a:lnTo>
                        <a:lnTo>
                          <a:pt x="1038" y="1418"/>
                        </a:lnTo>
                        <a:lnTo>
                          <a:pt x="1084" y="1427"/>
                        </a:lnTo>
                        <a:lnTo>
                          <a:pt x="1130" y="1432"/>
                        </a:lnTo>
                        <a:lnTo>
                          <a:pt x="1209" y="1442"/>
                        </a:lnTo>
                        <a:lnTo>
                          <a:pt x="1293" y="1452"/>
                        </a:lnTo>
                        <a:lnTo>
                          <a:pt x="1383" y="1463"/>
                        </a:lnTo>
                        <a:lnTo>
                          <a:pt x="1475" y="1475"/>
                        </a:lnTo>
                        <a:lnTo>
                          <a:pt x="1568" y="1486"/>
                        </a:lnTo>
                        <a:lnTo>
                          <a:pt x="1660" y="1495"/>
                        </a:lnTo>
                        <a:lnTo>
                          <a:pt x="1705" y="1499"/>
                        </a:lnTo>
                        <a:lnTo>
                          <a:pt x="1750" y="1502"/>
                        </a:lnTo>
                        <a:lnTo>
                          <a:pt x="1792" y="1505"/>
                        </a:lnTo>
                        <a:lnTo>
                          <a:pt x="1834" y="1507"/>
                        </a:lnTo>
                        <a:lnTo>
                          <a:pt x="1878" y="1507"/>
                        </a:lnTo>
                        <a:lnTo>
                          <a:pt x="1921" y="1506"/>
                        </a:lnTo>
                        <a:lnTo>
                          <a:pt x="1964" y="1503"/>
                        </a:lnTo>
                        <a:lnTo>
                          <a:pt x="2008" y="1500"/>
                        </a:lnTo>
                        <a:lnTo>
                          <a:pt x="2051" y="1495"/>
                        </a:lnTo>
                        <a:lnTo>
                          <a:pt x="2095" y="1489"/>
                        </a:lnTo>
                        <a:lnTo>
                          <a:pt x="2138" y="1482"/>
                        </a:lnTo>
                        <a:lnTo>
                          <a:pt x="2182" y="1476"/>
                        </a:lnTo>
                        <a:lnTo>
                          <a:pt x="2268" y="1461"/>
                        </a:lnTo>
                        <a:lnTo>
                          <a:pt x="2353" y="1449"/>
                        </a:lnTo>
                        <a:lnTo>
                          <a:pt x="2396" y="1443"/>
                        </a:lnTo>
                        <a:lnTo>
                          <a:pt x="2438" y="1438"/>
                        </a:lnTo>
                        <a:lnTo>
                          <a:pt x="2480" y="1434"/>
                        </a:lnTo>
                        <a:lnTo>
                          <a:pt x="2521" y="1432"/>
                        </a:lnTo>
                        <a:lnTo>
                          <a:pt x="2559" y="1430"/>
                        </a:lnTo>
                        <a:lnTo>
                          <a:pt x="2599" y="1427"/>
                        </a:lnTo>
                        <a:lnTo>
                          <a:pt x="2642" y="1421"/>
                        </a:lnTo>
                        <a:lnTo>
                          <a:pt x="2688" y="1414"/>
                        </a:lnTo>
                        <a:lnTo>
                          <a:pt x="2736" y="1406"/>
                        </a:lnTo>
                        <a:lnTo>
                          <a:pt x="2785" y="1397"/>
                        </a:lnTo>
                        <a:lnTo>
                          <a:pt x="2835" y="1387"/>
                        </a:lnTo>
                        <a:lnTo>
                          <a:pt x="2885" y="1375"/>
                        </a:lnTo>
                        <a:lnTo>
                          <a:pt x="2984" y="1354"/>
                        </a:lnTo>
                        <a:lnTo>
                          <a:pt x="3076" y="1332"/>
                        </a:lnTo>
                        <a:lnTo>
                          <a:pt x="3159" y="1311"/>
                        </a:lnTo>
                        <a:lnTo>
                          <a:pt x="3226" y="1294"/>
                        </a:lnTo>
                        <a:lnTo>
                          <a:pt x="3270" y="1282"/>
                        </a:lnTo>
                        <a:lnTo>
                          <a:pt x="3318" y="1268"/>
                        </a:lnTo>
                        <a:lnTo>
                          <a:pt x="3369" y="1251"/>
                        </a:lnTo>
                        <a:lnTo>
                          <a:pt x="3420" y="1232"/>
                        </a:lnTo>
                        <a:lnTo>
                          <a:pt x="3474" y="1211"/>
                        </a:lnTo>
                        <a:lnTo>
                          <a:pt x="3527" y="1189"/>
                        </a:lnTo>
                        <a:lnTo>
                          <a:pt x="3581" y="1163"/>
                        </a:lnTo>
                        <a:lnTo>
                          <a:pt x="3633" y="1136"/>
                        </a:lnTo>
                        <a:lnTo>
                          <a:pt x="3658" y="1122"/>
                        </a:lnTo>
                        <a:lnTo>
                          <a:pt x="3683" y="1107"/>
                        </a:lnTo>
                        <a:lnTo>
                          <a:pt x="3707" y="1093"/>
                        </a:lnTo>
                        <a:lnTo>
                          <a:pt x="3731" y="1077"/>
                        </a:lnTo>
                        <a:lnTo>
                          <a:pt x="3754" y="1062"/>
                        </a:lnTo>
                        <a:lnTo>
                          <a:pt x="3776" y="1045"/>
                        </a:lnTo>
                        <a:lnTo>
                          <a:pt x="3798" y="1028"/>
                        </a:lnTo>
                        <a:lnTo>
                          <a:pt x="3818" y="1010"/>
                        </a:lnTo>
                        <a:lnTo>
                          <a:pt x="3837" y="994"/>
                        </a:lnTo>
                        <a:lnTo>
                          <a:pt x="3854" y="976"/>
                        </a:lnTo>
                        <a:lnTo>
                          <a:pt x="3870" y="957"/>
                        </a:lnTo>
                        <a:lnTo>
                          <a:pt x="3886" y="938"/>
                        </a:lnTo>
                        <a:lnTo>
                          <a:pt x="3899" y="919"/>
                        </a:lnTo>
                        <a:lnTo>
                          <a:pt x="3911" y="900"/>
                        </a:lnTo>
                        <a:lnTo>
                          <a:pt x="3921" y="880"/>
                        </a:lnTo>
                        <a:lnTo>
                          <a:pt x="3930" y="860"/>
                        </a:lnTo>
                        <a:lnTo>
                          <a:pt x="3931" y="852"/>
                        </a:lnTo>
                        <a:lnTo>
                          <a:pt x="3933" y="845"/>
                        </a:lnTo>
                        <a:lnTo>
                          <a:pt x="3934" y="835"/>
                        </a:lnTo>
                        <a:lnTo>
                          <a:pt x="3934" y="822"/>
                        </a:lnTo>
                        <a:lnTo>
                          <a:pt x="3934" y="795"/>
                        </a:lnTo>
                        <a:lnTo>
                          <a:pt x="3931" y="761"/>
                        </a:lnTo>
                        <a:lnTo>
                          <a:pt x="3927" y="722"/>
                        </a:lnTo>
                        <a:lnTo>
                          <a:pt x="3921" y="679"/>
                        </a:lnTo>
                        <a:lnTo>
                          <a:pt x="3912" y="629"/>
                        </a:lnTo>
                        <a:lnTo>
                          <a:pt x="3903" y="575"/>
                        </a:lnTo>
                        <a:lnTo>
                          <a:pt x="3891" y="516"/>
                        </a:lnTo>
                        <a:lnTo>
                          <a:pt x="3878" y="454"/>
                        </a:lnTo>
                        <a:lnTo>
                          <a:pt x="3863" y="387"/>
                        </a:lnTo>
                        <a:lnTo>
                          <a:pt x="3847" y="316"/>
                        </a:lnTo>
                        <a:lnTo>
                          <a:pt x="3829" y="241"/>
                        </a:lnTo>
                        <a:lnTo>
                          <a:pt x="3810" y="164"/>
                        </a:lnTo>
                        <a:lnTo>
                          <a:pt x="3789" y="83"/>
                        </a:lnTo>
                        <a:lnTo>
                          <a:pt x="3766" y="0"/>
                        </a:lnTo>
                        <a:close/>
                      </a:path>
                    </a:pathLst>
                  </a:custGeom>
                  <a:solidFill>
                    <a:srgbClr val="312276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52" name="Freeform 201"/>
                  <p:cNvSpPr>
                    <a:spLocks/>
                  </p:cNvSpPr>
                  <p:nvPr/>
                </p:nvSpPr>
                <p:spPr bwMode="auto">
                  <a:xfrm>
                    <a:off x="3433" y="3505"/>
                    <a:ext cx="329" cy="332"/>
                  </a:xfrm>
                  <a:custGeom>
                    <a:avLst/>
                    <a:gdLst>
                      <a:gd name="T0" fmla="*/ 0 w 2305"/>
                      <a:gd name="T1" fmla="*/ 0 h 2325"/>
                      <a:gd name="T2" fmla="*/ 0 w 2305"/>
                      <a:gd name="T3" fmla="*/ 0 h 2325"/>
                      <a:gd name="T4" fmla="*/ 0 w 2305"/>
                      <a:gd name="T5" fmla="*/ 0 h 2325"/>
                      <a:gd name="T6" fmla="*/ 0 w 2305"/>
                      <a:gd name="T7" fmla="*/ 0 h 2325"/>
                      <a:gd name="T8" fmla="*/ 0 w 2305"/>
                      <a:gd name="T9" fmla="*/ 0 h 2325"/>
                      <a:gd name="T10" fmla="*/ 0 w 2305"/>
                      <a:gd name="T11" fmla="*/ 0 h 2325"/>
                      <a:gd name="T12" fmla="*/ 0 w 2305"/>
                      <a:gd name="T13" fmla="*/ 0 h 2325"/>
                      <a:gd name="T14" fmla="*/ 0 w 2305"/>
                      <a:gd name="T15" fmla="*/ 0 h 2325"/>
                      <a:gd name="T16" fmla="*/ 0 w 2305"/>
                      <a:gd name="T17" fmla="*/ 0 h 2325"/>
                      <a:gd name="T18" fmla="*/ 0 w 2305"/>
                      <a:gd name="T19" fmla="*/ 0 h 2325"/>
                      <a:gd name="T20" fmla="*/ 0 w 2305"/>
                      <a:gd name="T21" fmla="*/ 0 h 2325"/>
                      <a:gd name="T22" fmla="*/ 0 w 2305"/>
                      <a:gd name="T23" fmla="*/ 0 h 2325"/>
                      <a:gd name="T24" fmla="*/ 0 w 2305"/>
                      <a:gd name="T25" fmla="*/ 0 h 2325"/>
                      <a:gd name="T26" fmla="*/ 0 w 2305"/>
                      <a:gd name="T27" fmla="*/ 0 h 2325"/>
                      <a:gd name="T28" fmla="*/ 0 w 2305"/>
                      <a:gd name="T29" fmla="*/ 0 h 2325"/>
                      <a:gd name="T30" fmla="*/ 0 w 2305"/>
                      <a:gd name="T31" fmla="*/ 0 h 2325"/>
                      <a:gd name="T32" fmla="*/ 0 w 2305"/>
                      <a:gd name="T33" fmla="*/ 0 h 2325"/>
                      <a:gd name="T34" fmla="*/ 0 w 2305"/>
                      <a:gd name="T35" fmla="*/ 0 h 2325"/>
                      <a:gd name="T36" fmla="*/ 0 w 2305"/>
                      <a:gd name="T37" fmla="*/ 0 h 2325"/>
                      <a:gd name="T38" fmla="*/ 0 w 2305"/>
                      <a:gd name="T39" fmla="*/ 0 h 2325"/>
                      <a:gd name="T40" fmla="*/ 0 w 2305"/>
                      <a:gd name="T41" fmla="*/ 0 h 2325"/>
                      <a:gd name="T42" fmla="*/ 0 w 2305"/>
                      <a:gd name="T43" fmla="*/ 0 h 2325"/>
                      <a:gd name="T44" fmla="*/ 0 w 2305"/>
                      <a:gd name="T45" fmla="*/ 0 h 2325"/>
                      <a:gd name="T46" fmla="*/ 0 w 2305"/>
                      <a:gd name="T47" fmla="*/ 0 h 2325"/>
                      <a:gd name="T48" fmla="*/ 0 w 2305"/>
                      <a:gd name="T49" fmla="*/ 0 h 2325"/>
                      <a:gd name="T50" fmla="*/ 0 w 2305"/>
                      <a:gd name="T51" fmla="*/ 0 h 2325"/>
                      <a:gd name="T52" fmla="*/ 0 w 2305"/>
                      <a:gd name="T53" fmla="*/ 0 h 2325"/>
                      <a:gd name="T54" fmla="*/ 0 w 2305"/>
                      <a:gd name="T55" fmla="*/ 0 h 2325"/>
                      <a:gd name="T56" fmla="*/ 0 w 2305"/>
                      <a:gd name="T57" fmla="*/ 0 h 2325"/>
                      <a:gd name="T58" fmla="*/ 0 w 2305"/>
                      <a:gd name="T59" fmla="*/ 0 h 2325"/>
                      <a:gd name="T60" fmla="*/ 0 w 2305"/>
                      <a:gd name="T61" fmla="*/ 0 h 2325"/>
                      <a:gd name="T62" fmla="*/ 0 w 2305"/>
                      <a:gd name="T63" fmla="*/ 0 h 2325"/>
                      <a:gd name="T64" fmla="*/ 0 w 2305"/>
                      <a:gd name="T65" fmla="*/ 0 h 2325"/>
                      <a:gd name="T66" fmla="*/ 0 w 2305"/>
                      <a:gd name="T67" fmla="*/ 0 h 2325"/>
                      <a:gd name="T68" fmla="*/ 0 w 2305"/>
                      <a:gd name="T69" fmla="*/ 0 h 2325"/>
                      <a:gd name="T70" fmla="*/ 0 w 2305"/>
                      <a:gd name="T71" fmla="*/ 0 h 2325"/>
                      <a:gd name="T72" fmla="*/ 0 w 2305"/>
                      <a:gd name="T73" fmla="*/ 0 h 2325"/>
                      <a:gd name="T74" fmla="*/ 0 w 2305"/>
                      <a:gd name="T75" fmla="*/ 0 h 2325"/>
                      <a:gd name="T76" fmla="*/ 0 w 2305"/>
                      <a:gd name="T77" fmla="*/ 0 h 2325"/>
                      <a:gd name="T78" fmla="*/ 0 w 2305"/>
                      <a:gd name="T79" fmla="*/ 0 h 2325"/>
                      <a:gd name="T80" fmla="*/ 0 w 2305"/>
                      <a:gd name="T81" fmla="*/ 0 h 2325"/>
                      <a:gd name="T82" fmla="*/ 0 w 2305"/>
                      <a:gd name="T83" fmla="*/ 0 h 2325"/>
                      <a:gd name="T84" fmla="*/ 0 w 2305"/>
                      <a:gd name="T85" fmla="*/ 0 h 2325"/>
                      <a:gd name="T86" fmla="*/ 0 w 2305"/>
                      <a:gd name="T87" fmla="*/ 0 h 2325"/>
                      <a:gd name="T88" fmla="*/ 0 w 2305"/>
                      <a:gd name="T89" fmla="*/ 0 h 2325"/>
                      <a:gd name="T90" fmla="*/ 0 w 2305"/>
                      <a:gd name="T91" fmla="*/ 0 h 2325"/>
                      <a:gd name="T92" fmla="*/ 0 w 2305"/>
                      <a:gd name="T93" fmla="*/ 0 h 2325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w 2305"/>
                      <a:gd name="T142" fmla="*/ 0 h 2325"/>
                      <a:gd name="T143" fmla="*/ 2305 w 2305"/>
                      <a:gd name="T144" fmla="*/ 2325 h 2325"/>
                    </a:gdLst>
                    <a:ahLst/>
                    <a:cxnLst>
                      <a:cxn ang="T94">
                        <a:pos x="T0" y="T1"/>
                      </a:cxn>
                      <a:cxn ang="T95">
                        <a:pos x="T2" y="T3"/>
                      </a:cxn>
                      <a:cxn ang="T96">
                        <a:pos x="T4" y="T5"/>
                      </a:cxn>
                      <a:cxn ang="T97">
                        <a:pos x="T6" y="T7"/>
                      </a:cxn>
                      <a:cxn ang="T98">
                        <a:pos x="T8" y="T9"/>
                      </a:cxn>
                      <a:cxn ang="T99">
                        <a:pos x="T10" y="T11"/>
                      </a:cxn>
                      <a:cxn ang="T100">
                        <a:pos x="T12" y="T13"/>
                      </a:cxn>
                      <a:cxn ang="T101">
                        <a:pos x="T14" y="T15"/>
                      </a:cxn>
                      <a:cxn ang="T102">
                        <a:pos x="T16" y="T17"/>
                      </a:cxn>
                      <a:cxn ang="T103">
                        <a:pos x="T18" y="T19"/>
                      </a:cxn>
                      <a:cxn ang="T104">
                        <a:pos x="T20" y="T21"/>
                      </a:cxn>
                      <a:cxn ang="T105">
                        <a:pos x="T22" y="T23"/>
                      </a:cxn>
                      <a:cxn ang="T106">
                        <a:pos x="T24" y="T25"/>
                      </a:cxn>
                      <a:cxn ang="T107">
                        <a:pos x="T26" y="T27"/>
                      </a:cxn>
                      <a:cxn ang="T108">
                        <a:pos x="T28" y="T29"/>
                      </a:cxn>
                      <a:cxn ang="T109">
                        <a:pos x="T30" y="T31"/>
                      </a:cxn>
                      <a:cxn ang="T110">
                        <a:pos x="T32" y="T33"/>
                      </a:cxn>
                      <a:cxn ang="T111">
                        <a:pos x="T34" y="T35"/>
                      </a:cxn>
                      <a:cxn ang="T112">
                        <a:pos x="T36" y="T37"/>
                      </a:cxn>
                      <a:cxn ang="T113">
                        <a:pos x="T38" y="T39"/>
                      </a:cxn>
                      <a:cxn ang="T114">
                        <a:pos x="T40" y="T41"/>
                      </a:cxn>
                      <a:cxn ang="T115">
                        <a:pos x="T42" y="T43"/>
                      </a:cxn>
                      <a:cxn ang="T116">
                        <a:pos x="T44" y="T45"/>
                      </a:cxn>
                      <a:cxn ang="T117">
                        <a:pos x="T46" y="T47"/>
                      </a:cxn>
                      <a:cxn ang="T118">
                        <a:pos x="T48" y="T49"/>
                      </a:cxn>
                      <a:cxn ang="T119">
                        <a:pos x="T50" y="T51"/>
                      </a:cxn>
                      <a:cxn ang="T120">
                        <a:pos x="T52" y="T53"/>
                      </a:cxn>
                      <a:cxn ang="T121">
                        <a:pos x="T54" y="T55"/>
                      </a:cxn>
                      <a:cxn ang="T122">
                        <a:pos x="T56" y="T57"/>
                      </a:cxn>
                      <a:cxn ang="T123">
                        <a:pos x="T58" y="T59"/>
                      </a:cxn>
                      <a:cxn ang="T124">
                        <a:pos x="T60" y="T61"/>
                      </a:cxn>
                      <a:cxn ang="T125">
                        <a:pos x="T62" y="T63"/>
                      </a:cxn>
                      <a:cxn ang="T126">
                        <a:pos x="T64" y="T65"/>
                      </a:cxn>
                      <a:cxn ang="T127">
                        <a:pos x="T66" y="T67"/>
                      </a:cxn>
                      <a:cxn ang="T128">
                        <a:pos x="T68" y="T69"/>
                      </a:cxn>
                      <a:cxn ang="T129">
                        <a:pos x="T70" y="T71"/>
                      </a:cxn>
                      <a:cxn ang="T130">
                        <a:pos x="T72" y="T73"/>
                      </a:cxn>
                      <a:cxn ang="T131">
                        <a:pos x="T74" y="T75"/>
                      </a:cxn>
                      <a:cxn ang="T132">
                        <a:pos x="T76" y="T77"/>
                      </a:cxn>
                      <a:cxn ang="T133">
                        <a:pos x="T78" y="T79"/>
                      </a:cxn>
                      <a:cxn ang="T134">
                        <a:pos x="T80" y="T81"/>
                      </a:cxn>
                      <a:cxn ang="T135">
                        <a:pos x="T82" y="T83"/>
                      </a:cxn>
                      <a:cxn ang="T136">
                        <a:pos x="T84" y="T85"/>
                      </a:cxn>
                      <a:cxn ang="T137">
                        <a:pos x="T86" y="T87"/>
                      </a:cxn>
                      <a:cxn ang="T138">
                        <a:pos x="T88" y="T89"/>
                      </a:cxn>
                      <a:cxn ang="T139">
                        <a:pos x="T90" y="T91"/>
                      </a:cxn>
                      <a:cxn ang="T140">
                        <a:pos x="T92" y="T93"/>
                      </a:cxn>
                    </a:cxnLst>
                    <a:rect l="T141" t="T142" r="T143" b="T144"/>
                    <a:pathLst>
                      <a:path w="2305" h="2325">
                        <a:moveTo>
                          <a:pt x="1972" y="0"/>
                        </a:moveTo>
                        <a:lnTo>
                          <a:pt x="1961" y="3"/>
                        </a:lnTo>
                        <a:lnTo>
                          <a:pt x="1931" y="10"/>
                        </a:lnTo>
                        <a:lnTo>
                          <a:pt x="1881" y="20"/>
                        </a:lnTo>
                        <a:lnTo>
                          <a:pt x="1816" y="35"/>
                        </a:lnTo>
                        <a:lnTo>
                          <a:pt x="1736" y="52"/>
                        </a:lnTo>
                        <a:lnTo>
                          <a:pt x="1646" y="69"/>
                        </a:lnTo>
                        <a:lnTo>
                          <a:pt x="1545" y="89"/>
                        </a:lnTo>
                        <a:lnTo>
                          <a:pt x="1437" y="108"/>
                        </a:lnTo>
                        <a:lnTo>
                          <a:pt x="1324" y="126"/>
                        </a:lnTo>
                        <a:lnTo>
                          <a:pt x="1208" y="144"/>
                        </a:lnTo>
                        <a:lnTo>
                          <a:pt x="1149" y="152"/>
                        </a:lnTo>
                        <a:lnTo>
                          <a:pt x="1090" y="158"/>
                        </a:lnTo>
                        <a:lnTo>
                          <a:pt x="1032" y="165"/>
                        </a:lnTo>
                        <a:lnTo>
                          <a:pt x="974" y="171"/>
                        </a:lnTo>
                        <a:lnTo>
                          <a:pt x="916" y="175"/>
                        </a:lnTo>
                        <a:lnTo>
                          <a:pt x="860" y="180"/>
                        </a:lnTo>
                        <a:lnTo>
                          <a:pt x="806" y="182"/>
                        </a:lnTo>
                        <a:lnTo>
                          <a:pt x="752" y="183"/>
                        </a:lnTo>
                        <a:lnTo>
                          <a:pt x="701" y="184"/>
                        </a:lnTo>
                        <a:lnTo>
                          <a:pt x="652" y="182"/>
                        </a:lnTo>
                        <a:lnTo>
                          <a:pt x="605" y="180"/>
                        </a:lnTo>
                        <a:lnTo>
                          <a:pt x="562" y="175"/>
                        </a:lnTo>
                        <a:lnTo>
                          <a:pt x="479" y="166"/>
                        </a:lnTo>
                        <a:lnTo>
                          <a:pt x="405" y="160"/>
                        </a:lnTo>
                        <a:lnTo>
                          <a:pt x="373" y="156"/>
                        </a:lnTo>
                        <a:lnTo>
                          <a:pt x="342" y="155"/>
                        </a:lnTo>
                        <a:lnTo>
                          <a:pt x="313" y="154"/>
                        </a:lnTo>
                        <a:lnTo>
                          <a:pt x="286" y="154"/>
                        </a:lnTo>
                        <a:lnTo>
                          <a:pt x="262" y="155"/>
                        </a:lnTo>
                        <a:lnTo>
                          <a:pt x="238" y="156"/>
                        </a:lnTo>
                        <a:lnTo>
                          <a:pt x="218" y="158"/>
                        </a:lnTo>
                        <a:lnTo>
                          <a:pt x="198" y="163"/>
                        </a:lnTo>
                        <a:lnTo>
                          <a:pt x="181" y="167"/>
                        </a:lnTo>
                        <a:lnTo>
                          <a:pt x="165" y="173"/>
                        </a:lnTo>
                        <a:lnTo>
                          <a:pt x="150" y="180"/>
                        </a:lnTo>
                        <a:lnTo>
                          <a:pt x="138" y="188"/>
                        </a:lnTo>
                        <a:lnTo>
                          <a:pt x="126" y="197"/>
                        </a:lnTo>
                        <a:lnTo>
                          <a:pt x="116" y="208"/>
                        </a:lnTo>
                        <a:lnTo>
                          <a:pt x="107" y="221"/>
                        </a:lnTo>
                        <a:lnTo>
                          <a:pt x="99" y="234"/>
                        </a:lnTo>
                        <a:lnTo>
                          <a:pt x="92" y="249"/>
                        </a:lnTo>
                        <a:lnTo>
                          <a:pt x="87" y="265"/>
                        </a:lnTo>
                        <a:lnTo>
                          <a:pt x="81" y="283"/>
                        </a:lnTo>
                        <a:lnTo>
                          <a:pt x="78" y="302"/>
                        </a:lnTo>
                        <a:lnTo>
                          <a:pt x="75" y="323"/>
                        </a:lnTo>
                        <a:lnTo>
                          <a:pt x="71" y="345"/>
                        </a:lnTo>
                        <a:lnTo>
                          <a:pt x="69" y="370"/>
                        </a:lnTo>
                        <a:lnTo>
                          <a:pt x="68" y="397"/>
                        </a:lnTo>
                        <a:lnTo>
                          <a:pt x="67" y="453"/>
                        </a:lnTo>
                        <a:lnTo>
                          <a:pt x="67" y="519"/>
                        </a:lnTo>
                        <a:lnTo>
                          <a:pt x="66" y="558"/>
                        </a:lnTo>
                        <a:lnTo>
                          <a:pt x="65" y="598"/>
                        </a:lnTo>
                        <a:lnTo>
                          <a:pt x="62" y="641"/>
                        </a:lnTo>
                        <a:lnTo>
                          <a:pt x="59" y="686"/>
                        </a:lnTo>
                        <a:lnTo>
                          <a:pt x="51" y="780"/>
                        </a:lnTo>
                        <a:lnTo>
                          <a:pt x="41" y="882"/>
                        </a:lnTo>
                        <a:lnTo>
                          <a:pt x="30" y="987"/>
                        </a:lnTo>
                        <a:lnTo>
                          <a:pt x="20" y="1097"/>
                        </a:lnTo>
                        <a:lnTo>
                          <a:pt x="16" y="1151"/>
                        </a:lnTo>
                        <a:lnTo>
                          <a:pt x="11" y="1207"/>
                        </a:lnTo>
                        <a:lnTo>
                          <a:pt x="8" y="1262"/>
                        </a:lnTo>
                        <a:lnTo>
                          <a:pt x="4" y="1319"/>
                        </a:lnTo>
                        <a:lnTo>
                          <a:pt x="2" y="1375"/>
                        </a:lnTo>
                        <a:lnTo>
                          <a:pt x="1" y="1429"/>
                        </a:lnTo>
                        <a:lnTo>
                          <a:pt x="0" y="1485"/>
                        </a:lnTo>
                        <a:lnTo>
                          <a:pt x="1" y="1538"/>
                        </a:lnTo>
                        <a:lnTo>
                          <a:pt x="3" y="1592"/>
                        </a:lnTo>
                        <a:lnTo>
                          <a:pt x="8" y="1644"/>
                        </a:lnTo>
                        <a:lnTo>
                          <a:pt x="12" y="1696"/>
                        </a:lnTo>
                        <a:lnTo>
                          <a:pt x="20" y="1745"/>
                        </a:lnTo>
                        <a:lnTo>
                          <a:pt x="29" y="1794"/>
                        </a:lnTo>
                        <a:lnTo>
                          <a:pt x="39" y="1841"/>
                        </a:lnTo>
                        <a:lnTo>
                          <a:pt x="52" y="1887"/>
                        </a:lnTo>
                        <a:lnTo>
                          <a:pt x="67" y="1929"/>
                        </a:lnTo>
                        <a:lnTo>
                          <a:pt x="85" y="1970"/>
                        </a:lnTo>
                        <a:lnTo>
                          <a:pt x="104" y="2009"/>
                        </a:lnTo>
                        <a:lnTo>
                          <a:pt x="126" y="2045"/>
                        </a:lnTo>
                        <a:lnTo>
                          <a:pt x="151" y="2078"/>
                        </a:lnTo>
                        <a:lnTo>
                          <a:pt x="207" y="2141"/>
                        </a:lnTo>
                        <a:lnTo>
                          <a:pt x="266" y="2194"/>
                        </a:lnTo>
                        <a:lnTo>
                          <a:pt x="326" y="2237"/>
                        </a:lnTo>
                        <a:lnTo>
                          <a:pt x="387" y="2272"/>
                        </a:lnTo>
                        <a:lnTo>
                          <a:pt x="450" y="2296"/>
                        </a:lnTo>
                        <a:lnTo>
                          <a:pt x="514" y="2314"/>
                        </a:lnTo>
                        <a:lnTo>
                          <a:pt x="579" y="2323"/>
                        </a:lnTo>
                        <a:lnTo>
                          <a:pt x="644" y="2325"/>
                        </a:lnTo>
                        <a:lnTo>
                          <a:pt x="710" y="2320"/>
                        </a:lnTo>
                        <a:lnTo>
                          <a:pt x="777" y="2308"/>
                        </a:lnTo>
                        <a:lnTo>
                          <a:pt x="844" y="2292"/>
                        </a:lnTo>
                        <a:lnTo>
                          <a:pt x="909" y="2269"/>
                        </a:lnTo>
                        <a:lnTo>
                          <a:pt x="976" y="2242"/>
                        </a:lnTo>
                        <a:lnTo>
                          <a:pt x="1043" y="2209"/>
                        </a:lnTo>
                        <a:lnTo>
                          <a:pt x="1107" y="2174"/>
                        </a:lnTo>
                        <a:lnTo>
                          <a:pt x="1173" y="2134"/>
                        </a:lnTo>
                        <a:lnTo>
                          <a:pt x="1237" y="2091"/>
                        </a:lnTo>
                        <a:lnTo>
                          <a:pt x="1300" y="2046"/>
                        </a:lnTo>
                        <a:lnTo>
                          <a:pt x="1361" y="1999"/>
                        </a:lnTo>
                        <a:lnTo>
                          <a:pt x="1422" y="1950"/>
                        </a:lnTo>
                        <a:lnTo>
                          <a:pt x="1480" y="1900"/>
                        </a:lnTo>
                        <a:lnTo>
                          <a:pt x="1538" y="1849"/>
                        </a:lnTo>
                        <a:lnTo>
                          <a:pt x="1593" y="1798"/>
                        </a:lnTo>
                        <a:lnTo>
                          <a:pt x="1646" y="1746"/>
                        </a:lnTo>
                        <a:lnTo>
                          <a:pt x="1696" y="1696"/>
                        </a:lnTo>
                        <a:lnTo>
                          <a:pt x="1745" y="1647"/>
                        </a:lnTo>
                        <a:lnTo>
                          <a:pt x="1791" y="1600"/>
                        </a:lnTo>
                        <a:lnTo>
                          <a:pt x="1833" y="1554"/>
                        </a:lnTo>
                        <a:lnTo>
                          <a:pt x="1910" y="1472"/>
                        </a:lnTo>
                        <a:lnTo>
                          <a:pt x="1972" y="1403"/>
                        </a:lnTo>
                        <a:lnTo>
                          <a:pt x="1996" y="1376"/>
                        </a:lnTo>
                        <a:lnTo>
                          <a:pt x="2019" y="1346"/>
                        </a:lnTo>
                        <a:lnTo>
                          <a:pt x="2042" y="1311"/>
                        </a:lnTo>
                        <a:lnTo>
                          <a:pt x="2067" y="1273"/>
                        </a:lnTo>
                        <a:lnTo>
                          <a:pt x="2090" y="1233"/>
                        </a:lnTo>
                        <a:lnTo>
                          <a:pt x="2115" y="1190"/>
                        </a:lnTo>
                        <a:lnTo>
                          <a:pt x="2137" y="1144"/>
                        </a:lnTo>
                        <a:lnTo>
                          <a:pt x="2160" y="1095"/>
                        </a:lnTo>
                        <a:lnTo>
                          <a:pt x="2181" y="1045"/>
                        </a:lnTo>
                        <a:lnTo>
                          <a:pt x="2203" y="994"/>
                        </a:lnTo>
                        <a:lnTo>
                          <a:pt x="2222" y="941"/>
                        </a:lnTo>
                        <a:lnTo>
                          <a:pt x="2239" y="886"/>
                        </a:lnTo>
                        <a:lnTo>
                          <a:pt x="2255" y="832"/>
                        </a:lnTo>
                        <a:lnTo>
                          <a:pt x="2269" y="776"/>
                        </a:lnTo>
                        <a:lnTo>
                          <a:pt x="2282" y="719"/>
                        </a:lnTo>
                        <a:lnTo>
                          <a:pt x="2292" y="664"/>
                        </a:lnTo>
                        <a:lnTo>
                          <a:pt x="2299" y="608"/>
                        </a:lnTo>
                        <a:lnTo>
                          <a:pt x="2304" y="553"/>
                        </a:lnTo>
                        <a:lnTo>
                          <a:pt x="2305" y="499"/>
                        </a:lnTo>
                        <a:lnTo>
                          <a:pt x="2304" y="446"/>
                        </a:lnTo>
                        <a:lnTo>
                          <a:pt x="2299" y="394"/>
                        </a:lnTo>
                        <a:lnTo>
                          <a:pt x="2292" y="344"/>
                        </a:lnTo>
                        <a:lnTo>
                          <a:pt x="2279" y="296"/>
                        </a:lnTo>
                        <a:lnTo>
                          <a:pt x="2264" y="251"/>
                        </a:lnTo>
                        <a:lnTo>
                          <a:pt x="2244" y="207"/>
                        </a:lnTo>
                        <a:lnTo>
                          <a:pt x="2219" y="167"/>
                        </a:lnTo>
                        <a:lnTo>
                          <a:pt x="2192" y="129"/>
                        </a:lnTo>
                        <a:lnTo>
                          <a:pt x="2158" y="96"/>
                        </a:lnTo>
                        <a:lnTo>
                          <a:pt x="2119" y="66"/>
                        </a:lnTo>
                        <a:lnTo>
                          <a:pt x="2076" y="39"/>
                        </a:lnTo>
                        <a:lnTo>
                          <a:pt x="2027" y="17"/>
                        </a:lnTo>
                        <a:lnTo>
                          <a:pt x="1972" y="0"/>
                        </a:lnTo>
                        <a:close/>
                      </a:path>
                    </a:pathLst>
                  </a:custGeom>
                  <a:solidFill>
                    <a:srgbClr val="311F74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53" name="Freeform 202"/>
                  <p:cNvSpPr>
                    <a:spLocks/>
                  </p:cNvSpPr>
                  <p:nvPr/>
                </p:nvSpPr>
                <p:spPr bwMode="auto">
                  <a:xfrm>
                    <a:off x="3443" y="3593"/>
                    <a:ext cx="1" cy="10"/>
                  </a:xfrm>
                  <a:custGeom>
                    <a:avLst/>
                    <a:gdLst>
                      <a:gd name="T0" fmla="*/ 0 w 1"/>
                      <a:gd name="T1" fmla="*/ 0 h 39"/>
                      <a:gd name="T2" fmla="*/ 0 w 1"/>
                      <a:gd name="T3" fmla="*/ 0 h 39"/>
                      <a:gd name="T4" fmla="*/ 0 w 1"/>
                      <a:gd name="T5" fmla="*/ 0 h 39"/>
                      <a:gd name="T6" fmla="*/ 0 w 1"/>
                      <a:gd name="T7" fmla="*/ 0 h 39"/>
                      <a:gd name="T8" fmla="*/ 0 w 1"/>
                      <a:gd name="T9" fmla="*/ 0 h 39"/>
                      <a:gd name="T10" fmla="*/ 0 w 1"/>
                      <a:gd name="T11" fmla="*/ 0 h 39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"/>
                      <a:gd name="T19" fmla="*/ 0 h 39"/>
                      <a:gd name="T20" fmla="*/ 1 w 1"/>
                      <a:gd name="T21" fmla="*/ 39 h 39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" h="39">
                        <a:moveTo>
                          <a:pt x="0" y="39"/>
                        </a:moveTo>
                        <a:lnTo>
                          <a:pt x="0" y="0"/>
                        </a:lnTo>
                        <a:lnTo>
                          <a:pt x="0" y="10"/>
                        </a:lnTo>
                        <a:lnTo>
                          <a:pt x="0" y="19"/>
                        </a:lnTo>
                        <a:lnTo>
                          <a:pt x="0" y="29"/>
                        </a:lnTo>
                        <a:lnTo>
                          <a:pt x="0" y="39"/>
                        </a:lnTo>
                        <a:close/>
                      </a:path>
                    </a:pathLst>
                  </a:custGeom>
                  <a:solidFill>
                    <a:srgbClr val="3D4189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54" name="Freeform 203"/>
                  <p:cNvSpPr>
                    <a:spLocks/>
                  </p:cNvSpPr>
                  <p:nvPr/>
                </p:nvSpPr>
                <p:spPr bwMode="auto">
                  <a:xfrm>
                    <a:off x="3443" y="3511"/>
                    <a:ext cx="288" cy="72"/>
                  </a:xfrm>
                  <a:custGeom>
                    <a:avLst/>
                    <a:gdLst>
                      <a:gd name="T0" fmla="*/ 0 w 2014"/>
                      <a:gd name="T1" fmla="*/ 0 h 520"/>
                      <a:gd name="T2" fmla="*/ 0 w 2014"/>
                      <a:gd name="T3" fmla="*/ 0 h 520"/>
                      <a:gd name="T4" fmla="*/ 0 w 2014"/>
                      <a:gd name="T5" fmla="*/ 0 h 520"/>
                      <a:gd name="T6" fmla="*/ 0 w 2014"/>
                      <a:gd name="T7" fmla="*/ 0 h 520"/>
                      <a:gd name="T8" fmla="*/ 0 w 2014"/>
                      <a:gd name="T9" fmla="*/ 0 h 520"/>
                      <a:gd name="T10" fmla="*/ 0 w 2014"/>
                      <a:gd name="T11" fmla="*/ 0 h 520"/>
                      <a:gd name="T12" fmla="*/ 0 w 2014"/>
                      <a:gd name="T13" fmla="*/ 0 h 520"/>
                      <a:gd name="T14" fmla="*/ 0 w 2014"/>
                      <a:gd name="T15" fmla="*/ 0 h 520"/>
                      <a:gd name="T16" fmla="*/ 0 w 2014"/>
                      <a:gd name="T17" fmla="*/ 0 h 520"/>
                      <a:gd name="T18" fmla="*/ 0 w 2014"/>
                      <a:gd name="T19" fmla="*/ 0 h 520"/>
                      <a:gd name="T20" fmla="*/ 0 w 2014"/>
                      <a:gd name="T21" fmla="*/ 0 h 520"/>
                      <a:gd name="T22" fmla="*/ 0 w 2014"/>
                      <a:gd name="T23" fmla="*/ 0 h 520"/>
                      <a:gd name="T24" fmla="*/ 0 w 2014"/>
                      <a:gd name="T25" fmla="*/ 0 h 520"/>
                      <a:gd name="T26" fmla="*/ 0 w 2014"/>
                      <a:gd name="T27" fmla="*/ 0 h 520"/>
                      <a:gd name="T28" fmla="*/ 0 w 2014"/>
                      <a:gd name="T29" fmla="*/ 0 h 520"/>
                      <a:gd name="T30" fmla="*/ 0 w 2014"/>
                      <a:gd name="T31" fmla="*/ 0 h 520"/>
                      <a:gd name="T32" fmla="*/ 0 w 2014"/>
                      <a:gd name="T33" fmla="*/ 0 h 520"/>
                      <a:gd name="T34" fmla="*/ 0 w 2014"/>
                      <a:gd name="T35" fmla="*/ 0 h 520"/>
                      <a:gd name="T36" fmla="*/ 0 w 2014"/>
                      <a:gd name="T37" fmla="*/ 0 h 520"/>
                      <a:gd name="T38" fmla="*/ 0 w 2014"/>
                      <a:gd name="T39" fmla="*/ 0 h 520"/>
                      <a:gd name="T40" fmla="*/ 0 w 2014"/>
                      <a:gd name="T41" fmla="*/ 0 h 520"/>
                      <a:gd name="T42" fmla="*/ 0 w 2014"/>
                      <a:gd name="T43" fmla="*/ 0 h 520"/>
                      <a:gd name="T44" fmla="*/ 0 w 2014"/>
                      <a:gd name="T45" fmla="*/ 0 h 520"/>
                      <a:gd name="T46" fmla="*/ 0 w 2014"/>
                      <a:gd name="T47" fmla="*/ 0 h 520"/>
                      <a:gd name="T48" fmla="*/ 0 w 2014"/>
                      <a:gd name="T49" fmla="*/ 0 h 520"/>
                      <a:gd name="T50" fmla="*/ 0 w 2014"/>
                      <a:gd name="T51" fmla="*/ 0 h 520"/>
                      <a:gd name="T52" fmla="*/ 0 w 2014"/>
                      <a:gd name="T53" fmla="*/ 0 h 520"/>
                      <a:gd name="T54" fmla="*/ 0 w 2014"/>
                      <a:gd name="T55" fmla="*/ 0 h 520"/>
                      <a:gd name="T56" fmla="*/ 0 w 2014"/>
                      <a:gd name="T57" fmla="*/ 0 h 520"/>
                      <a:gd name="T58" fmla="*/ 0 w 2014"/>
                      <a:gd name="T59" fmla="*/ 0 h 520"/>
                      <a:gd name="T60" fmla="*/ 0 w 2014"/>
                      <a:gd name="T61" fmla="*/ 0 h 520"/>
                      <a:gd name="T62" fmla="*/ 0 w 2014"/>
                      <a:gd name="T63" fmla="*/ 0 h 520"/>
                      <a:gd name="T64" fmla="*/ 0 w 2014"/>
                      <a:gd name="T65" fmla="*/ 0 h 520"/>
                      <a:gd name="T66" fmla="*/ 0 w 2014"/>
                      <a:gd name="T67" fmla="*/ 0 h 520"/>
                      <a:gd name="T68" fmla="*/ 0 w 2014"/>
                      <a:gd name="T69" fmla="*/ 0 h 520"/>
                      <a:gd name="T70" fmla="*/ 0 w 2014"/>
                      <a:gd name="T71" fmla="*/ 0 h 520"/>
                      <a:gd name="T72" fmla="*/ 0 w 2014"/>
                      <a:gd name="T73" fmla="*/ 0 h 520"/>
                      <a:gd name="T74" fmla="*/ 0 w 2014"/>
                      <a:gd name="T75" fmla="*/ 0 h 520"/>
                      <a:gd name="T76" fmla="*/ 0 w 2014"/>
                      <a:gd name="T77" fmla="*/ 0 h 520"/>
                      <a:gd name="T78" fmla="*/ 0 w 2014"/>
                      <a:gd name="T79" fmla="*/ 0 h 520"/>
                      <a:gd name="T80" fmla="*/ 0 w 2014"/>
                      <a:gd name="T81" fmla="*/ 0 h 520"/>
                      <a:gd name="T82" fmla="*/ 0 w 2014"/>
                      <a:gd name="T83" fmla="*/ 0 h 520"/>
                      <a:gd name="T84" fmla="*/ 0 w 2014"/>
                      <a:gd name="T85" fmla="*/ 0 h 520"/>
                      <a:gd name="T86" fmla="*/ 0 w 2014"/>
                      <a:gd name="T87" fmla="*/ 0 h 520"/>
                      <a:gd name="T88" fmla="*/ 0 w 2014"/>
                      <a:gd name="T89" fmla="*/ 0 h 520"/>
                      <a:gd name="T90" fmla="*/ 0 w 2014"/>
                      <a:gd name="T91" fmla="*/ 0 h 520"/>
                      <a:gd name="T92" fmla="*/ 0 w 2014"/>
                      <a:gd name="T93" fmla="*/ 0 h 520"/>
                      <a:gd name="T94" fmla="*/ 0 w 2014"/>
                      <a:gd name="T95" fmla="*/ 0 h 520"/>
                      <a:gd name="T96" fmla="*/ 0 w 2014"/>
                      <a:gd name="T97" fmla="*/ 0 h 520"/>
                      <a:gd name="T98" fmla="*/ 0 w 2014"/>
                      <a:gd name="T99" fmla="*/ 0 h 520"/>
                      <a:gd name="T100" fmla="*/ 0 w 2014"/>
                      <a:gd name="T101" fmla="*/ 0 h 520"/>
                      <a:gd name="T102" fmla="*/ 0 w 2014"/>
                      <a:gd name="T103" fmla="*/ 0 h 520"/>
                      <a:gd name="T104" fmla="*/ 0 w 2014"/>
                      <a:gd name="T105" fmla="*/ 0 h 520"/>
                      <a:gd name="T106" fmla="*/ 0 w 2014"/>
                      <a:gd name="T107" fmla="*/ 0 h 520"/>
                      <a:gd name="T108" fmla="*/ 0 w 2014"/>
                      <a:gd name="T109" fmla="*/ 0 h 520"/>
                      <a:gd name="T110" fmla="*/ 0 w 2014"/>
                      <a:gd name="T111" fmla="*/ 0 h 520"/>
                      <a:gd name="T112" fmla="*/ 0 w 2014"/>
                      <a:gd name="T113" fmla="*/ 0 h 520"/>
                      <a:gd name="T114" fmla="*/ 0 w 2014"/>
                      <a:gd name="T115" fmla="*/ 0 h 520"/>
                      <a:gd name="T116" fmla="*/ 0 w 2014"/>
                      <a:gd name="T117" fmla="*/ 0 h 520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w 2014"/>
                      <a:gd name="T178" fmla="*/ 0 h 520"/>
                      <a:gd name="T179" fmla="*/ 2014 w 2014"/>
                      <a:gd name="T180" fmla="*/ 520 h 520"/>
                    </a:gdLst>
                    <a:ahLst/>
                    <a:cxnLst>
                      <a:cxn ang="T118">
                        <a:pos x="T0" y="T1"/>
                      </a:cxn>
                      <a:cxn ang="T119">
                        <a:pos x="T2" y="T3"/>
                      </a:cxn>
                      <a:cxn ang="T120">
                        <a:pos x="T4" y="T5"/>
                      </a:cxn>
                      <a:cxn ang="T121">
                        <a:pos x="T6" y="T7"/>
                      </a:cxn>
                      <a:cxn ang="T122">
                        <a:pos x="T8" y="T9"/>
                      </a:cxn>
                      <a:cxn ang="T123">
                        <a:pos x="T10" y="T11"/>
                      </a:cxn>
                      <a:cxn ang="T124">
                        <a:pos x="T12" y="T13"/>
                      </a:cxn>
                      <a:cxn ang="T125">
                        <a:pos x="T14" y="T15"/>
                      </a:cxn>
                      <a:cxn ang="T126">
                        <a:pos x="T16" y="T17"/>
                      </a:cxn>
                      <a:cxn ang="T127">
                        <a:pos x="T18" y="T19"/>
                      </a:cxn>
                      <a:cxn ang="T128">
                        <a:pos x="T20" y="T21"/>
                      </a:cxn>
                      <a:cxn ang="T129">
                        <a:pos x="T22" y="T23"/>
                      </a:cxn>
                      <a:cxn ang="T130">
                        <a:pos x="T24" y="T25"/>
                      </a:cxn>
                      <a:cxn ang="T131">
                        <a:pos x="T26" y="T27"/>
                      </a:cxn>
                      <a:cxn ang="T132">
                        <a:pos x="T28" y="T29"/>
                      </a:cxn>
                      <a:cxn ang="T133">
                        <a:pos x="T30" y="T31"/>
                      </a:cxn>
                      <a:cxn ang="T134">
                        <a:pos x="T32" y="T33"/>
                      </a:cxn>
                      <a:cxn ang="T135">
                        <a:pos x="T34" y="T35"/>
                      </a:cxn>
                      <a:cxn ang="T136">
                        <a:pos x="T36" y="T37"/>
                      </a:cxn>
                      <a:cxn ang="T137">
                        <a:pos x="T38" y="T39"/>
                      </a:cxn>
                      <a:cxn ang="T138">
                        <a:pos x="T40" y="T41"/>
                      </a:cxn>
                      <a:cxn ang="T139">
                        <a:pos x="T42" y="T43"/>
                      </a:cxn>
                      <a:cxn ang="T140">
                        <a:pos x="T44" y="T45"/>
                      </a:cxn>
                      <a:cxn ang="T141">
                        <a:pos x="T46" y="T47"/>
                      </a:cxn>
                      <a:cxn ang="T142">
                        <a:pos x="T48" y="T49"/>
                      </a:cxn>
                      <a:cxn ang="T143">
                        <a:pos x="T50" y="T51"/>
                      </a:cxn>
                      <a:cxn ang="T144">
                        <a:pos x="T52" y="T53"/>
                      </a:cxn>
                      <a:cxn ang="T145">
                        <a:pos x="T54" y="T55"/>
                      </a:cxn>
                      <a:cxn ang="T146">
                        <a:pos x="T56" y="T57"/>
                      </a:cxn>
                      <a:cxn ang="T147">
                        <a:pos x="T58" y="T59"/>
                      </a:cxn>
                      <a:cxn ang="T148">
                        <a:pos x="T60" y="T61"/>
                      </a:cxn>
                      <a:cxn ang="T149">
                        <a:pos x="T62" y="T63"/>
                      </a:cxn>
                      <a:cxn ang="T150">
                        <a:pos x="T64" y="T65"/>
                      </a:cxn>
                      <a:cxn ang="T151">
                        <a:pos x="T66" y="T67"/>
                      </a:cxn>
                      <a:cxn ang="T152">
                        <a:pos x="T68" y="T69"/>
                      </a:cxn>
                      <a:cxn ang="T153">
                        <a:pos x="T70" y="T71"/>
                      </a:cxn>
                      <a:cxn ang="T154">
                        <a:pos x="T72" y="T73"/>
                      </a:cxn>
                      <a:cxn ang="T155">
                        <a:pos x="T74" y="T75"/>
                      </a:cxn>
                      <a:cxn ang="T156">
                        <a:pos x="T76" y="T77"/>
                      </a:cxn>
                      <a:cxn ang="T157">
                        <a:pos x="T78" y="T79"/>
                      </a:cxn>
                      <a:cxn ang="T158">
                        <a:pos x="T80" y="T81"/>
                      </a:cxn>
                      <a:cxn ang="T159">
                        <a:pos x="T82" y="T83"/>
                      </a:cxn>
                      <a:cxn ang="T160">
                        <a:pos x="T84" y="T85"/>
                      </a:cxn>
                      <a:cxn ang="T161">
                        <a:pos x="T86" y="T87"/>
                      </a:cxn>
                      <a:cxn ang="T162">
                        <a:pos x="T88" y="T89"/>
                      </a:cxn>
                      <a:cxn ang="T163">
                        <a:pos x="T90" y="T91"/>
                      </a:cxn>
                      <a:cxn ang="T164">
                        <a:pos x="T92" y="T93"/>
                      </a:cxn>
                      <a:cxn ang="T165">
                        <a:pos x="T94" y="T95"/>
                      </a:cxn>
                      <a:cxn ang="T166">
                        <a:pos x="T96" y="T97"/>
                      </a:cxn>
                      <a:cxn ang="T167">
                        <a:pos x="T98" y="T99"/>
                      </a:cxn>
                      <a:cxn ang="T168">
                        <a:pos x="T100" y="T101"/>
                      </a:cxn>
                      <a:cxn ang="T169">
                        <a:pos x="T102" y="T103"/>
                      </a:cxn>
                      <a:cxn ang="T170">
                        <a:pos x="T104" y="T105"/>
                      </a:cxn>
                      <a:cxn ang="T171">
                        <a:pos x="T106" y="T107"/>
                      </a:cxn>
                      <a:cxn ang="T172">
                        <a:pos x="T108" y="T109"/>
                      </a:cxn>
                      <a:cxn ang="T173">
                        <a:pos x="T110" y="T111"/>
                      </a:cxn>
                      <a:cxn ang="T174">
                        <a:pos x="T112" y="T113"/>
                      </a:cxn>
                      <a:cxn ang="T175">
                        <a:pos x="T114" y="T115"/>
                      </a:cxn>
                      <a:cxn ang="T176">
                        <a:pos x="T116" y="T117"/>
                      </a:cxn>
                    </a:cxnLst>
                    <a:rect l="T177" t="T178" r="T179" b="T180"/>
                    <a:pathLst>
                      <a:path w="2014" h="520">
                        <a:moveTo>
                          <a:pt x="1906" y="0"/>
                        </a:moveTo>
                        <a:lnTo>
                          <a:pt x="1895" y="3"/>
                        </a:lnTo>
                        <a:lnTo>
                          <a:pt x="1864" y="10"/>
                        </a:lnTo>
                        <a:lnTo>
                          <a:pt x="1815" y="21"/>
                        </a:lnTo>
                        <a:lnTo>
                          <a:pt x="1749" y="36"/>
                        </a:lnTo>
                        <a:lnTo>
                          <a:pt x="1670" y="52"/>
                        </a:lnTo>
                        <a:lnTo>
                          <a:pt x="1579" y="70"/>
                        </a:lnTo>
                        <a:lnTo>
                          <a:pt x="1479" y="89"/>
                        </a:lnTo>
                        <a:lnTo>
                          <a:pt x="1371" y="108"/>
                        </a:lnTo>
                        <a:lnTo>
                          <a:pt x="1257" y="127"/>
                        </a:lnTo>
                        <a:lnTo>
                          <a:pt x="1141" y="145"/>
                        </a:lnTo>
                        <a:lnTo>
                          <a:pt x="1082" y="152"/>
                        </a:lnTo>
                        <a:lnTo>
                          <a:pt x="1023" y="159"/>
                        </a:lnTo>
                        <a:lnTo>
                          <a:pt x="964" y="166"/>
                        </a:lnTo>
                        <a:lnTo>
                          <a:pt x="906" y="171"/>
                        </a:lnTo>
                        <a:lnTo>
                          <a:pt x="850" y="176"/>
                        </a:lnTo>
                        <a:lnTo>
                          <a:pt x="794" y="180"/>
                        </a:lnTo>
                        <a:lnTo>
                          <a:pt x="738" y="182"/>
                        </a:lnTo>
                        <a:lnTo>
                          <a:pt x="686" y="184"/>
                        </a:lnTo>
                        <a:lnTo>
                          <a:pt x="635" y="184"/>
                        </a:lnTo>
                        <a:lnTo>
                          <a:pt x="586" y="182"/>
                        </a:lnTo>
                        <a:lnTo>
                          <a:pt x="539" y="180"/>
                        </a:lnTo>
                        <a:lnTo>
                          <a:pt x="495" y="176"/>
                        </a:lnTo>
                        <a:lnTo>
                          <a:pt x="412" y="167"/>
                        </a:lnTo>
                        <a:lnTo>
                          <a:pt x="339" y="159"/>
                        </a:lnTo>
                        <a:lnTo>
                          <a:pt x="305" y="157"/>
                        </a:lnTo>
                        <a:lnTo>
                          <a:pt x="275" y="156"/>
                        </a:lnTo>
                        <a:lnTo>
                          <a:pt x="246" y="155"/>
                        </a:lnTo>
                        <a:lnTo>
                          <a:pt x="220" y="155"/>
                        </a:lnTo>
                        <a:lnTo>
                          <a:pt x="195" y="155"/>
                        </a:lnTo>
                        <a:lnTo>
                          <a:pt x="172" y="157"/>
                        </a:lnTo>
                        <a:lnTo>
                          <a:pt x="151" y="159"/>
                        </a:lnTo>
                        <a:lnTo>
                          <a:pt x="132" y="162"/>
                        </a:lnTo>
                        <a:lnTo>
                          <a:pt x="114" y="168"/>
                        </a:lnTo>
                        <a:lnTo>
                          <a:pt x="98" y="174"/>
                        </a:lnTo>
                        <a:lnTo>
                          <a:pt x="84" y="180"/>
                        </a:lnTo>
                        <a:lnTo>
                          <a:pt x="71" y="188"/>
                        </a:lnTo>
                        <a:lnTo>
                          <a:pt x="59" y="198"/>
                        </a:lnTo>
                        <a:lnTo>
                          <a:pt x="49" y="208"/>
                        </a:lnTo>
                        <a:lnTo>
                          <a:pt x="41" y="220"/>
                        </a:lnTo>
                        <a:lnTo>
                          <a:pt x="33" y="234"/>
                        </a:lnTo>
                        <a:lnTo>
                          <a:pt x="25" y="249"/>
                        </a:lnTo>
                        <a:lnTo>
                          <a:pt x="19" y="265"/>
                        </a:lnTo>
                        <a:lnTo>
                          <a:pt x="15" y="283"/>
                        </a:lnTo>
                        <a:lnTo>
                          <a:pt x="10" y="303"/>
                        </a:lnTo>
                        <a:lnTo>
                          <a:pt x="7" y="324"/>
                        </a:lnTo>
                        <a:lnTo>
                          <a:pt x="5" y="346"/>
                        </a:lnTo>
                        <a:lnTo>
                          <a:pt x="3" y="371"/>
                        </a:lnTo>
                        <a:lnTo>
                          <a:pt x="2" y="396"/>
                        </a:lnTo>
                        <a:lnTo>
                          <a:pt x="0" y="454"/>
                        </a:lnTo>
                        <a:lnTo>
                          <a:pt x="0" y="520"/>
                        </a:lnTo>
                        <a:lnTo>
                          <a:pt x="3" y="507"/>
                        </a:lnTo>
                        <a:lnTo>
                          <a:pt x="14" y="477"/>
                        </a:lnTo>
                        <a:lnTo>
                          <a:pt x="24" y="458"/>
                        </a:lnTo>
                        <a:lnTo>
                          <a:pt x="37" y="436"/>
                        </a:lnTo>
                        <a:lnTo>
                          <a:pt x="46" y="425"/>
                        </a:lnTo>
                        <a:lnTo>
                          <a:pt x="55" y="413"/>
                        </a:lnTo>
                        <a:lnTo>
                          <a:pt x="66" y="402"/>
                        </a:lnTo>
                        <a:lnTo>
                          <a:pt x="78" y="391"/>
                        </a:lnTo>
                        <a:lnTo>
                          <a:pt x="92" y="378"/>
                        </a:lnTo>
                        <a:lnTo>
                          <a:pt x="106" y="367"/>
                        </a:lnTo>
                        <a:lnTo>
                          <a:pt x="122" y="357"/>
                        </a:lnTo>
                        <a:lnTo>
                          <a:pt x="140" y="347"/>
                        </a:lnTo>
                        <a:lnTo>
                          <a:pt x="159" y="337"/>
                        </a:lnTo>
                        <a:lnTo>
                          <a:pt x="180" y="328"/>
                        </a:lnTo>
                        <a:lnTo>
                          <a:pt x="202" y="319"/>
                        </a:lnTo>
                        <a:lnTo>
                          <a:pt x="226" y="313"/>
                        </a:lnTo>
                        <a:lnTo>
                          <a:pt x="253" y="306"/>
                        </a:lnTo>
                        <a:lnTo>
                          <a:pt x="281" y="302"/>
                        </a:lnTo>
                        <a:lnTo>
                          <a:pt x="312" y="297"/>
                        </a:lnTo>
                        <a:lnTo>
                          <a:pt x="344" y="295"/>
                        </a:lnTo>
                        <a:lnTo>
                          <a:pt x="378" y="294"/>
                        </a:lnTo>
                        <a:lnTo>
                          <a:pt x="415" y="295"/>
                        </a:lnTo>
                        <a:lnTo>
                          <a:pt x="453" y="297"/>
                        </a:lnTo>
                        <a:lnTo>
                          <a:pt x="495" y="302"/>
                        </a:lnTo>
                        <a:lnTo>
                          <a:pt x="539" y="305"/>
                        </a:lnTo>
                        <a:lnTo>
                          <a:pt x="586" y="308"/>
                        </a:lnTo>
                        <a:lnTo>
                          <a:pt x="635" y="309"/>
                        </a:lnTo>
                        <a:lnTo>
                          <a:pt x="686" y="309"/>
                        </a:lnTo>
                        <a:lnTo>
                          <a:pt x="738" y="307"/>
                        </a:lnTo>
                        <a:lnTo>
                          <a:pt x="794" y="305"/>
                        </a:lnTo>
                        <a:lnTo>
                          <a:pt x="850" y="302"/>
                        </a:lnTo>
                        <a:lnTo>
                          <a:pt x="906" y="296"/>
                        </a:lnTo>
                        <a:lnTo>
                          <a:pt x="964" y="290"/>
                        </a:lnTo>
                        <a:lnTo>
                          <a:pt x="1023" y="285"/>
                        </a:lnTo>
                        <a:lnTo>
                          <a:pt x="1082" y="277"/>
                        </a:lnTo>
                        <a:lnTo>
                          <a:pt x="1141" y="269"/>
                        </a:lnTo>
                        <a:lnTo>
                          <a:pt x="1257" y="253"/>
                        </a:lnTo>
                        <a:lnTo>
                          <a:pt x="1371" y="234"/>
                        </a:lnTo>
                        <a:lnTo>
                          <a:pt x="1479" y="215"/>
                        </a:lnTo>
                        <a:lnTo>
                          <a:pt x="1579" y="196"/>
                        </a:lnTo>
                        <a:lnTo>
                          <a:pt x="1670" y="177"/>
                        </a:lnTo>
                        <a:lnTo>
                          <a:pt x="1749" y="160"/>
                        </a:lnTo>
                        <a:lnTo>
                          <a:pt x="1815" y="147"/>
                        </a:lnTo>
                        <a:lnTo>
                          <a:pt x="1864" y="136"/>
                        </a:lnTo>
                        <a:lnTo>
                          <a:pt x="1895" y="128"/>
                        </a:lnTo>
                        <a:lnTo>
                          <a:pt x="1906" y="126"/>
                        </a:lnTo>
                        <a:lnTo>
                          <a:pt x="1901" y="127"/>
                        </a:lnTo>
                        <a:lnTo>
                          <a:pt x="1920" y="121"/>
                        </a:lnTo>
                        <a:lnTo>
                          <a:pt x="1936" y="117"/>
                        </a:lnTo>
                        <a:lnTo>
                          <a:pt x="1953" y="110"/>
                        </a:lnTo>
                        <a:lnTo>
                          <a:pt x="1969" y="102"/>
                        </a:lnTo>
                        <a:lnTo>
                          <a:pt x="1986" y="95"/>
                        </a:lnTo>
                        <a:lnTo>
                          <a:pt x="1994" y="90"/>
                        </a:lnTo>
                        <a:lnTo>
                          <a:pt x="1999" y="85"/>
                        </a:lnTo>
                        <a:lnTo>
                          <a:pt x="2005" y="80"/>
                        </a:lnTo>
                        <a:lnTo>
                          <a:pt x="2009" y="75"/>
                        </a:lnTo>
                        <a:lnTo>
                          <a:pt x="2013" y="69"/>
                        </a:lnTo>
                        <a:lnTo>
                          <a:pt x="2014" y="63"/>
                        </a:lnTo>
                        <a:lnTo>
                          <a:pt x="2014" y="58"/>
                        </a:lnTo>
                        <a:lnTo>
                          <a:pt x="2012" y="51"/>
                        </a:lnTo>
                        <a:lnTo>
                          <a:pt x="2007" y="46"/>
                        </a:lnTo>
                        <a:lnTo>
                          <a:pt x="2002" y="40"/>
                        </a:lnTo>
                        <a:lnTo>
                          <a:pt x="1993" y="33"/>
                        </a:lnTo>
                        <a:lnTo>
                          <a:pt x="1980" y="27"/>
                        </a:lnTo>
                        <a:lnTo>
                          <a:pt x="1967" y="20"/>
                        </a:lnTo>
                        <a:lnTo>
                          <a:pt x="1949" y="13"/>
                        </a:lnTo>
                        <a:lnTo>
                          <a:pt x="1929" y="7"/>
                        </a:lnTo>
                        <a:lnTo>
                          <a:pt x="1906" y="0"/>
                        </a:lnTo>
                        <a:close/>
                      </a:path>
                    </a:pathLst>
                  </a:custGeom>
                  <a:solidFill>
                    <a:srgbClr val="3D4189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55" name="Freeform 204"/>
                  <p:cNvSpPr>
                    <a:spLocks/>
                  </p:cNvSpPr>
                  <p:nvPr/>
                </p:nvSpPr>
                <p:spPr bwMode="auto">
                  <a:xfrm>
                    <a:off x="3433" y="3608"/>
                    <a:ext cx="324" cy="225"/>
                  </a:xfrm>
                  <a:custGeom>
                    <a:avLst/>
                    <a:gdLst>
                      <a:gd name="T0" fmla="*/ 0 w 2275"/>
                      <a:gd name="T1" fmla="*/ 0 h 1580"/>
                      <a:gd name="T2" fmla="*/ 0 w 2275"/>
                      <a:gd name="T3" fmla="*/ 0 h 1580"/>
                      <a:gd name="T4" fmla="*/ 0 w 2275"/>
                      <a:gd name="T5" fmla="*/ 0 h 1580"/>
                      <a:gd name="T6" fmla="*/ 0 w 2275"/>
                      <a:gd name="T7" fmla="*/ 0 h 1580"/>
                      <a:gd name="T8" fmla="*/ 0 w 2275"/>
                      <a:gd name="T9" fmla="*/ 0 h 1580"/>
                      <a:gd name="T10" fmla="*/ 0 w 2275"/>
                      <a:gd name="T11" fmla="*/ 0 h 1580"/>
                      <a:gd name="T12" fmla="*/ 0 w 2275"/>
                      <a:gd name="T13" fmla="*/ 0 h 1580"/>
                      <a:gd name="T14" fmla="*/ 0 w 2275"/>
                      <a:gd name="T15" fmla="*/ 0 h 1580"/>
                      <a:gd name="T16" fmla="*/ 0 w 2275"/>
                      <a:gd name="T17" fmla="*/ 0 h 1580"/>
                      <a:gd name="T18" fmla="*/ 0 w 2275"/>
                      <a:gd name="T19" fmla="*/ 0 h 1580"/>
                      <a:gd name="T20" fmla="*/ 0 w 2275"/>
                      <a:gd name="T21" fmla="*/ 0 h 1580"/>
                      <a:gd name="T22" fmla="*/ 0 w 2275"/>
                      <a:gd name="T23" fmla="*/ 0 h 1580"/>
                      <a:gd name="T24" fmla="*/ 0 w 2275"/>
                      <a:gd name="T25" fmla="*/ 0 h 1580"/>
                      <a:gd name="T26" fmla="*/ 0 w 2275"/>
                      <a:gd name="T27" fmla="*/ 0 h 1580"/>
                      <a:gd name="T28" fmla="*/ 0 w 2275"/>
                      <a:gd name="T29" fmla="*/ 0 h 1580"/>
                      <a:gd name="T30" fmla="*/ 0 w 2275"/>
                      <a:gd name="T31" fmla="*/ 0 h 1580"/>
                      <a:gd name="T32" fmla="*/ 0 w 2275"/>
                      <a:gd name="T33" fmla="*/ 0 h 1580"/>
                      <a:gd name="T34" fmla="*/ 0 w 2275"/>
                      <a:gd name="T35" fmla="*/ 0 h 1580"/>
                      <a:gd name="T36" fmla="*/ 0 w 2275"/>
                      <a:gd name="T37" fmla="*/ 0 h 1580"/>
                      <a:gd name="T38" fmla="*/ 0 w 2275"/>
                      <a:gd name="T39" fmla="*/ 0 h 1580"/>
                      <a:gd name="T40" fmla="*/ 0 w 2275"/>
                      <a:gd name="T41" fmla="*/ 0 h 1580"/>
                      <a:gd name="T42" fmla="*/ 0 w 2275"/>
                      <a:gd name="T43" fmla="*/ 0 h 1580"/>
                      <a:gd name="T44" fmla="*/ 0 w 2275"/>
                      <a:gd name="T45" fmla="*/ 0 h 1580"/>
                      <a:gd name="T46" fmla="*/ 0 w 2275"/>
                      <a:gd name="T47" fmla="*/ 0 h 1580"/>
                      <a:gd name="T48" fmla="*/ 0 w 2275"/>
                      <a:gd name="T49" fmla="*/ 0 h 1580"/>
                      <a:gd name="T50" fmla="*/ 0 w 2275"/>
                      <a:gd name="T51" fmla="*/ 0 h 1580"/>
                      <a:gd name="T52" fmla="*/ 0 w 2275"/>
                      <a:gd name="T53" fmla="*/ 0 h 1580"/>
                      <a:gd name="T54" fmla="*/ 0 w 2275"/>
                      <a:gd name="T55" fmla="*/ 0 h 1580"/>
                      <a:gd name="T56" fmla="*/ 0 w 2275"/>
                      <a:gd name="T57" fmla="*/ 0 h 1580"/>
                      <a:gd name="T58" fmla="*/ 0 w 2275"/>
                      <a:gd name="T59" fmla="*/ 0 h 1580"/>
                      <a:gd name="T60" fmla="*/ 0 w 2275"/>
                      <a:gd name="T61" fmla="*/ 0 h 1580"/>
                      <a:gd name="T62" fmla="*/ 0 w 2275"/>
                      <a:gd name="T63" fmla="*/ 0 h 1580"/>
                      <a:gd name="T64" fmla="*/ 0 w 2275"/>
                      <a:gd name="T65" fmla="*/ 0 h 1580"/>
                      <a:gd name="T66" fmla="*/ 0 w 2275"/>
                      <a:gd name="T67" fmla="*/ 0 h 1580"/>
                      <a:gd name="T68" fmla="*/ 0 w 2275"/>
                      <a:gd name="T69" fmla="*/ 0 h 1580"/>
                      <a:gd name="T70" fmla="*/ 0 w 2275"/>
                      <a:gd name="T71" fmla="*/ 0 h 1580"/>
                      <a:gd name="T72" fmla="*/ 0 w 2275"/>
                      <a:gd name="T73" fmla="*/ 0 h 1580"/>
                      <a:gd name="T74" fmla="*/ 0 w 2275"/>
                      <a:gd name="T75" fmla="*/ 0 h 1580"/>
                      <a:gd name="T76" fmla="*/ 0 w 2275"/>
                      <a:gd name="T77" fmla="*/ 0 h 1580"/>
                      <a:gd name="T78" fmla="*/ 0 w 2275"/>
                      <a:gd name="T79" fmla="*/ 0 h 1580"/>
                      <a:gd name="T80" fmla="*/ 0 w 2275"/>
                      <a:gd name="T81" fmla="*/ 0 h 1580"/>
                      <a:gd name="T82" fmla="*/ 0 w 2275"/>
                      <a:gd name="T83" fmla="*/ 0 h 1580"/>
                      <a:gd name="T84" fmla="*/ 0 w 2275"/>
                      <a:gd name="T85" fmla="*/ 0 h 1580"/>
                      <a:gd name="T86" fmla="*/ 0 w 2275"/>
                      <a:gd name="T87" fmla="*/ 0 h 1580"/>
                      <a:gd name="T88" fmla="*/ 0 w 2275"/>
                      <a:gd name="T89" fmla="*/ 0 h 1580"/>
                      <a:gd name="T90" fmla="*/ 0 w 2275"/>
                      <a:gd name="T91" fmla="*/ 0 h 1580"/>
                      <a:gd name="T92" fmla="*/ 0 w 2275"/>
                      <a:gd name="T93" fmla="*/ 0 h 1580"/>
                      <a:gd name="T94" fmla="*/ 0 w 2275"/>
                      <a:gd name="T95" fmla="*/ 0 h 1580"/>
                      <a:gd name="T96" fmla="*/ 0 w 2275"/>
                      <a:gd name="T97" fmla="*/ 0 h 1580"/>
                      <a:gd name="T98" fmla="*/ 0 w 2275"/>
                      <a:gd name="T99" fmla="*/ 0 h 1580"/>
                      <a:gd name="T100" fmla="*/ 0 w 2275"/>
                      <a:gd name="T101" fmla="*/ 0 h 1580"/>
                      <a:gd name="T102" fmla="*/ 0 w 2275"/>
                      <a:gd name="T103" fmla="*/ 0 h 1580"/>
                      <a:gd name="T104" fmla="*/ 0 w 2275"/>
                      <a:gd name="T105" fmla="*/ 0 h 1580"/>
                      <a:gd name="T106" fmla="*/ 0 w 2275"/>
                      <a:gd name="T107" fmla="*/ 0 h 1580"/>
                      <a:gd name="T108" fmla="*/ 0 w 2275"/>
                      <a:gd name="T109" fmla="*/ 0 h 1580"/>
                      <a:gd name="T110" fmla="*/ 0 w 2275"/>
                      <a:gd name="T111" fmla="*/ 0 h 1580"/>
                      <a:gd name="T112" fmla="*/ 0 w 2275"/>
                      <a:gd name="T113" fmla="*/ 0 h 1580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w 2275"/>
                      <a:gd name="T172" fmla="*/ 0 h 1580"/>
                      <a:gd name="T173" fmla="*/ 2275 w 2275"/>
                      <a:gd name="T174" fmla="*/ 1580 h 1580"/>
                    </a:gdLst>
                    <a:ahLst/>
                    <a:cxnLst>
                      <a:cxn ang="T114">
                        <a:pos x="T0" y="T1"/>
                      </a:cxn>
                      <a:cxn ang="T115">
                        <a:pos x="T2" y="T3"/>
                      </a:cxn>
                      <a:cxn ang="T116">
                        <a:pos x="T4" y="T5"/>
                      </a:cxn>
                      <a:cxn ang="T117">
                        <a:pos x="T6" y="T7"/>
                      </a:cxn>
                      <a:cxn ang="T118">
                        <a:pos x="T8" y="T9"/>
                      </a:cxn>
                      <a:cxn ang="T119">
                        <a:pos x="T10" y="T11"/>
                      </a:cxn>
                      <a:cxn ang="T120">
                        <a:pos x="T12" y="T13"/>
                      </a:cxn>
                      <a:cxn ang="T121">
                        <a:pos x="T14" y="T15"/>
                      </a:cxn>
                      <a:cxn ang="T122">
                        <a:pos x="T16" y="T17"/>
                      </a:cxn>
                      <a:cxn ang="T123">
                        <a:pos x="T18" y="T19"/>
                      </a:cxn>
                      <a:cxn ang="T124">
                        <a:pos x="T20" y="T21"/>
                      </a:cxn>
                      <a:cxn ang="T125">
                        <a:pos x="T22" y="T23"/>
                      </a:cxn>
                      <a:cxn ang="T126">
                        <a:pos x="T24" y="T25"/>
                      </a:cxn>
                      <a:cxn ang="T127">
                        <a:pos x="T26" y="T27"/>
                      </a:cxn>
                      <a:cxn ang="T128">
                        <a:pos x="T28" y="T29"/>
                      </a:cxn>
                      <a:cxn ang="T129">
                        <a:pos x="T30" y="T31"/>
                      </a:cxn>
                      <a:cxn ang="T130">
                        <a:pos x="T32" y="T33"/>
                      </a:cxn>
                      <a:cxn ang="T131">
                        <a:pos x="T34" y="T35"/>
                      </a:cxn>
                      <a:cxn ang="T132">
                        <a:pos x="T36" y="T37"/>
                      </a:cxn>
                      <a:cxn ang="T133">
                        <a:pos x="T38" y="T39"/>
                      </a:cxn>
                      <a:cxn ang="T134">
                        <a:pos x="T40" y="T41"/>
                      </a:cxn>
                      <a:cxn ang="T135">
                        <a:pos x="T42" y="T43"/>
                      </a:cxn>
                      <a:cxn ang="T136">
                        <a:pos x="T44" y="T45"/>
                      </a:cxn>
                      <a:cxn ang="T137">
                        <a:pos x="T46" y="T47"/>
                      </a:cxn>
                      <a:cxn ang="T138">
                        <a:pos x="T48" y="T49"/>
                      </a:cxn>
                      <a:cxn ang="T139">
                        <a:pos x="T50" y="T51"/>
                      </a:cxn>
                      <a:cxn ang="T140">
                        <a:pos x="T52" y="T53"/>
                      </a:cxn>
                      <a:cxn ang="T141">
                        <a:pos x="T54" y="T55"/>
                      </a:cxn>
                      <a:cxn ang="T142">
                        <a:pos x="T56" y="T57"/>
                      </a:cxn>
                      <a:cxn ang="T143">
                        <a:pos x="T58" y="T59"/>
                      </a:cxn>
                      <a:cxn ang="T144">
                        <a:pos x="T60" y="T61"/>
                      </a:cxn>
                      <a:cxn ang="T145">
                        <a:pos x="T62" y="T63"/>
                      </a:cxn>
                      <a:cxn ang="T146">
                        <a:pos x="T64" y="T65"/>
                      </a:cxn>
                      <a:cxn ang="T147">
                        <a:pos x="T66" y="T67"/>
                      </a:cxn>
                      <a:cxn ang="T148">
                        <a:pos x="T68" y="T69"/>
                      </a:cxn>
                      <a:cxn ang="T149">
                        <a:pos x="T70" y="T71"/>
                      </a:cxn>
                      <a:cxn ang="T150">
                        <a:pos x="T72" y="T73"/>
                      </a:cxn>
                      <a:cxn ang="T151">
                        <a:pos x="T74" y="T75"/>
                      </a:cxn>
                      <a:cxn ang="T152">
                        <a:pos x="T76" y="T77"/>
                      </a:cxn>
                      <a:cxn ang="T153">
                        <a:pos x="T78" y="T79"/>
                      </a:cxn>
                      <a:cxn ang="T154">
                        <a:pos x="T80" y="T81"/>
                      </a:cxn>
                      <a:cxn ang="T155">
                        <a:pos x="T82" y="T83"/>
                      </a:cxn>
                      <a:cxn ang="T156">
                        <a:pos x="T84" y="T85"/>
                      </a:cxn>
                      <a:cxn ang="T157">
                        <a:pos x="T86" y="T87"/>
                      </a:cxn>
                      <a:cxn ang="T158">
                        <a:pos x="T88" y="T89"/>
                      </a:cxn>
                      <a:cxn ang="T159">
                        <a:pos x="T90" y="T91"/>
                      </a:cxn>
                      <a:cxn ang="T160">
                        <a:pos x="T92" y="T93"/>
                      </a:cxn>
                      <a:cxn ang="T161">
                        <a:pos x="T94" y="T95"/>
                      </a:cxn>
                      <a:cxn ang="T162">
                        <a:pos x="T96" y="T97"/>
                      </a:cxn>
                      <a:cxn ang="T163">
                        <a:pos x="T98" y="T99"/>
                      </a:cxn>
                      <a:cxn ang="T164">
                        <a:pos x="T100" y="T101"/>
                      </a:cxn>
                      <a:cxn ang="T165">
                        <a:pos x="T102" y="T103"/>
                      </a:cxn>
                      <a:cxn ang="T166">
                        <a:pos x="T104" y="T105"/>
                      </a:cxn>
                      <a:cxn ang="T167">
                        <a:pos x="T106" y="T107"/>
                      </a:cxn>
                      <a:cxn ang="T168">
                        <a:pos x="T108" y="T109"/>
                      </a:cxn>
                      <a:cxn ang="T169">
                        <a:pos x="T110" y="T111"/>
                      </a:cxn>
                      <a:cxn ang="T170">
                        <a:pos x="T112" y="T113"/>
                      </a:cxn>
                    </a:cxnLst>
                    <a:rect l="T171" t="T172" r="T173" b="T174"/>
                    <a:pathLst>
                      <a:path w="2275" h="1580">
                        <a:moveTo>
                          <a:pt x="1248" y="671"/>
                        </a:moveTo>
                        <a:lnTo>
                          <a:pt x="1201" y="695"/>
                        </a:lnTo>
                        <a:lnTo>
                          <a:pt x="1155" y="717"/>
                        </a:lnTo>
                        <a:lnTo>
                          <a:pt x="1110" y="737"/>
                        </a:lnTo>
                        <a:lnTo>
                          <a:pt x="1065" y="756"/>
                        </a:lnTo>
                        <a:lnTo>
                          <a:pt x="1021" y="774"/>
                        </a:lnTo>
                        <a:lnTo>
                          <a:pt x="976" y="789"/>
                        </a:lnTo>
                        <a:lnTo>
                          <a:pt x="934" y="804"/>
                        </a:lnTo>
                        <a:lnTo>
                          <a:pt x="891" y="816"/>
                        </a:lnTo>
                        <a:lnTo>
                          <a:pt x="848" y="827"/>
                        </a:lnTo>
                        <a:lnTo>
                          <a:pt x="807" y="837"/>
                        </a:lnTo>
                        <a:lnTo>
                          <a:pt x="766" y="846"/>
                        </a:lnTo>
                        <a:lnTo>
                          <a:pt x="725" y="853"/>
                        </a:lnTo>
                        <a:lnTo>
                          <a:pt x="685" y="858"/>
                        </a:lnTo>
                        <a:lnTo>
                          <a:pt x="645" y="863"/>
                        </a:lnTo>
                        <a:lnTo>
                          <a:pt x="606" y="865"/>
                        </a:lnTo>
                        <a:lnTo>
                          <a:pt x="567" y="866"/>
                        </a:lnTo>
                        <a:lnTo>
                          <a:pt x="529" y="866"/>
                        </a:lnTo>
                        <a:lnTo>
                          <a:pt x="491" y="865"/>
                        </a:lnTo>
                        <a:lnTo>
                          <a:pt x="453" y="863"/>
                        </a:lnTo>
                        <a:lnTo>
                          <a:pt x="416" y="858"/>
                        </a:lnTo>
                        <a:lnTo>
                          <a:pt x="380" y="853"/>
                        </a:lnTo>
                        <a:lnTo>
                          <a:pt x="343" y="846"/>
                        </a:lnTo>
                        <a:lnTo>
                          <a:pt x="307" y="838"/>
                        </a:lnTo>
                        <a:lnTo>
                          <a:pt x="272" y="828"/>
                        </a:lnTo>
                        <a:lnTo>
                          <a:pt x="236" y="818"/>
                        </a:lnTo>
                        <a:lnTo>
                          <a:pt x="202" y="806"/>
                        </a:lnTo>
                        <a:lnTo>
                          <a:pt x="167" y="794"/>
                        </a:lnTo>
                        <a:lnTo>
                          <a:pt x="133" y="779"/>
                        </a:lnTo>
                        <a:lnTo>
                          <a:pt x="99" y="764"/>
                        </a:lnTo>
                        <a:lnTo>
                          <a:pt x="66" y="747"/>
                        </a:lnTo>
                        <a:lnTo>
                          <a:pt x="32" y="729"/>
                        </a:lnTo>
                        <a:lnTo>
                          <a:pt x="0" y="710"/>
                        </a:lnTo>
                        <a:lnTo>
                          <a:pt x="0" y="756"/>
                        </a:lnTo>
                        <a:lnTo>
                          <a:pt x="1" y="803"/>
                        </a:lnTo>
                        <a:lnTo>
                          <a:pt x="3" y="847"/>
                        </a:lnTo>
                        <a:lnTo>
                          <a:pt x="6" y="892"/>
                        </a:lnTo>
                        <a:lnTo>
                          <a:pt x="10" y="935"/>
                        </a:lnTo>
                        <a:lnTo>
                          <a:pt x="16" y="977"/>
                        </a:lnTo>
                        <a:lnTo>
                          <a:pt x="22" y="1020"/>
                        </a:lnTo>
                        <a:lnTo>
                          <a:pt x="30" y="1060"/>
                        </a:lnTo>
                        <a:lnTo>
                          <a:pt x="39" y="1100"/>
                        </a:lnTo>
                        <a:lnTo>
                          <a:pt x="50" y="1138"/>
                        </a:lnTo>
                        <a:lnTo>
                          <a:pt x="62" y="1174"/>
                        </a:lnTo>
                        <a:lnTo>
                          <a:pt x="76" y="1210"/>
                        </a:lnTo>
                        <a:lnTo>
                          <a:pt x="84" y="1227"/>
                        </a:lnTo>
                        <a:lnTo>
                          <a:pt x="93" y="1243"/>
                        </a:lnTo>
                        <a:lnTo>
                          <a:pt x="100" y="1260"/>
                        </a:lnTo>
                        <a:lnTo>
                          <a:pt x="109" y="1276"/>
                        </a:lnTo>
                        <a:lnTo>
                          <a:pt x="119" y="1290"/>
                        </a:lnTo>
                        <a:lnTo>
                          <a:pt x="129" y="1306"/>
                        </a:lnTo>
                        <a:lnTo>
                          <a:pt x="139" y="1319"/>
                        </a:lnTo>
                        <a:lnTo>
                          <a:pt x="150" y="1334"/>
                        </a:lnTo>
                        <a:lnTo>
                          <a:pt x="206" y="1397"/>
                        </a:lnTo>
                        <a:lnTo>
                          <a:pt x="265" y="1449"/>
                        </a:lnTo>
                        <a:lnTo>
                          <a:pt x="325" y="1493"/>
                        </a:lnTo>
                        <a:lnTo>
                          <a:pt x="386" y="1526"/>
                        </a:lnTo>
                        <a:lnTo>
                          <a:pt x="449" y="1552"/>
                        </a:lnTo>
                        <a:lnTo>
                          <a:pt x="513" y="1568"/>
                        </a:lnTo>
                        <a:lnTo>
                          <a:pt x="578" y="1578"/>
                        </a:lnTo>
                        <a:lnTo>
                          <a:pt x="643" y="1580"/>
                        </a:lnTo>
                        <a:lnTo>
                          <a:pt x="709" y="1575"/>
                        </a:lnTo>
                        <a:lnTo>
                          <a:pt x="776" y="1564"/>
                        </a:lnTo>
                        <a:lnTo>
                          <a:pt x="843" y="1546"/>
                        </a:lnTo>
                        <a:lnTo>
                          <a:pt x="908" y="1524"/>
                        </a:lnTo>
                        <a:lnTo>
                          <a:pt x="975" y="1497"/>
                        </a:lnTo>
                        <a:lnTo>
                          <a:pt x="1042" y="1465"/>
                        </a:lnTo>
                        <a:lnTo>
                          <a:pt x="1106" y="1428"/>
                        </a:lnTo>
                        <a:lnTo>
                          <a:pt x="1172" y="1389"/>
                        </a:lnTo>
                        <a:lnTo>
                          <a:pt x="1236" y="1347"/>
                        </a:lnTo>
                        <a:lnTo>
                          <a:pt x="1299" y="1301"/>
                        </a:lnTo>
                        <a:lnTo>
                          <a:pt x="1360" y="1253"/>
                        </a:lnTo>
                        <a:lnTo>
                          <a:pt x="1421" y="1204"/>
                        </a:lnTo>
                        <a:lnTo>
                          <a:pt x="1479" y="1154"/>
                        </a:lnTo>
                        <a:lnTo>
                          <a:pt x="1537" y="1104"/>
                        </a:lnTo>
                        <a:lnTo>
                          <a:pt x="1592" y="1053"/>
                        </a:lnTo>
                        <a:lnTo>
                          <a:pt x="1645" y="1002"/>
                        </a:lnTo>
                        <a:lnTo>
                          <a:pt x="1695" y="951"/>
                        </a:lnTo>
                        <a:lnTo>
                          <a:pt x="1744" y="902"/>
                        </a:lnTo>
                        <a:lnTo>
                          <a:pt x="1790" y="855"/>
                        </a:lnTo>
                        <a:lnTo>
                          <a:pt x="1832" y="809"/>
                        </a:lnTo>
                        <a:lnTo>
                          <a:pt x="1909" y="726"/>
                        </a:lnTo>
                        <a:lnTo>
                          <a:pt x="1971" y="657"/>
                        </a:lnTo>
                        <a:lnTo>
                          <a:pt x="1992" y="634"/>
                        </a:lnTo>
                        <a:lnTo>
                          <a:pt x="2014" y="606"/>
                        </a:lnTo>
                        <a:lnTo>
                          <a:pt x="2035" y="576"/>
                        </a:lnTo>
                        <a:lnTo>
                          <a:pt x="2057" y="542"/>
                        </a:lnTo>
                        <a:lnTo>
                          <a:pt x="2079" y="507"/>
                        </a:lnTo>
                        <a:lnTo>
                          <a:pt x="2100" y="469"/>
                        </a:lnTo>
                        <a:lnTo>
                          <a:pt x="2122" y="429"/>
                        </a:lnTo>
                        <a:lnTo>
                          <a:pt x="2143" y="387"/>
                        </a:lnTo>
                        <a:lnTo>
                          <a:pt x="2163" y="342"/>
                        </a:lnTo>
                        <a:lnTo>
                          <a:pt x="2183" y="296"/>
                        </a:lnTo>
                        <a:lnTo>
                          <a:pt x="2201" y="249"/>
                        </a:lnTo>
                        <a:lnTo>
                          <a:pt x="2218" y="201"/>
                        </a:lnTo>
                        <a:lnTo>
                          <a:pt x="2235" y="152"/>
                        </a:lnTo>
                        <a:lnTo>
                          <a:pt x="2250" y="102"/>
                        </a:lnTo>
                        <a:lnTo>
                          <a:pt x="2263" y="52"/>
                        </a:lnTo>
                        <a:lnTo>
                          <a:pt x="2275" y="0"/>
                        </a:lnTo>
                        <a:lnTo>
                          <a:pt x="2217" y="47"/>
                        </a:lnTo>
                        <a:lnTo>
                          <a:pt x="2158" y="93"/>
                        </a:lnTo>
                        <a:lnTo>
                          <a:pt x="2098" y="138"/>
                        </a:lnTo>
                        <a:lnTo>
                          <a:pt x="2038" y="183"/>
                        </a:lnTo>
                        <a:lnTo>
                          <a:pt x="1976" y="227"/>
                        </a:lnTo>
                        <a:lnTo>
                          <a:pt x="1914" y="271"/>
                        </a:lnTo>
                        <a:lnTo>
                          <a:pt x="1852" y="313"/>
                        </a:lnTo>
                        <a:lnTo>
                          <a:pt x="1788" y="355"/>
                        </a:lnTo>
                        <a:lnTo>
                          <a:pt x="1724" y="398"/>
                        </a:lnTo>
                        <a:lnTo>
                          <a:pt x="1658" y="438"/>
                        </a:lnTo>
                        <a:lnTo>
                          <a:pt x="1593" y="479"/>
                        </a:lnTo>
                        <a:lnTo>
                          <a:pt x="1525" y="518"/>
                        </a:lnTo>
                        <a:lnTo>
                          <a:pt x="1457" y="558"/>
                        </a:lnTo>
                        <a:lnTo>
                          <a:pt x="1388" y="596"/>
                        </a:lnTo>
                        <a:lnTo>
                          <a:pt x="1319" y="634"/>
                        </a:lnTo>
                        <a:lnTo>
                          <a:pt x="1248" y="671"/>
                        </a:lnTo>
                        <a:close/>
                      </a:path>
                    </a:pathLst>
                  </a:custGeom>
                  <a:solidFill>
                    <a:srgbClr val="312276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</p:grpSp>
          </p:grpSp>
          <p:grpSp>
            <p:nvGrpSpPr>
              <p:cNvPr id="206" name="Group 205"/>
              <p:cNvGrpSpPr>
                <a:grpSpLocks/>
              </p:cNvGrpSpPr>
              <p:nvPr/>
            </p:nvGrpSpPr>
            <p:grpSpPr bwMode="auto">
              <a:xfrm>
                <a:off x="6871409" y="1441628"/>
                <a:ext cx="350466" cy="221970"/>
                <a:chOff x="2759" y="2304"/>
                <a:chExt cx="1393" cy="766"/>
              </a:xfrm>
            </p:grpSpPr>
            <p:sp>
              <p:nvSpPr>
                <p:cNvPr id="207" name="Freeform 206"/>
                <p:cNvSpPr>
                  <a:spLocks/>
                </p:cNvSpPr>
                <p:nvPr/>
              </p:nvSpPr>
              <p:spPr bwMode="auto">
                <a:xfrm>
                  <a:off x="3640" y="2608"/>
                  <a:ext cx="508" cy="319"/>
                </a:xfrm>
                <a:custGeom>
                  <a:avLst/>
                  <a:gdLst>
                    <a:gd name="T0" fmla="*/ 0 w 3583"/>
                    <a:gd name="T1" fmla="*/ 0 h 2227"/>
                    <a:gd name="T2" fmla="*/ 0 w 3583"/>
                    <a:gd name="T3" fmla="*/ 0 h 2227"/>
                    <a:gd name="T4" fmla="*/ 0 w 3583"/>
                    <a:gd name="T5" fmla="*/ 0 h 2227"/>
                    <a:gd name="T6" fmla="*/ 0 w 3583"/>
                    <a:gd name="T7" fmla="*/ 0 h 2227"/>
                    <a:gd name="T8" fmla="*/ 0 w 3583"/>
                    <a:gd name="T9" fmla="*/ 0 h 2227"/>
                    <a:gd name="T10" fmla="*/ 0 w 3583"/>
                    <a:gd name="T11" fmla="*/ 0 h 2227"/>
                    <a:gd name="T12" fmla="*/ 0 w 3583"/>
                    <a:gd name="T13" fmla="*/ 0 h 2227"/>
                    <a:gd name="T14" fmla="*/ 0 w 3583"/>
                    <a:gd name="T15" fmla="*/ 0 h 2227"/>
                    <a:gd name="T16" fmla="*/ 0 w 3583"/>
                    <a:gd name="T17" fmla="*/ 0 h 2227"/>
                    <a:gd name="T18" fmla="*/ 0 w 3583"/>
                    <a:gd name="T19" fmla="*/ 0 h 2227"/>
                    <a:gd name="T20" fmla="*/ 0 w 3583"/>
                    <a:gd name="T21" fmla="*/ 0 h 2227"/>
                    <a:gd name="T22" fmla="*/ 0 w 3583"/>
                    <a:gd name="T23" fmla="*/ 0 h 2227"/>
                    <a:gd name="T24" fmla="*/ 0 w 3583"/>
                    <a:gd name="T25" fmla="*/ 0 h 2227"/>
                    <a:gd name="T26" fmla="*/ 0 w 3583"/>
                    <a:gd name="T27" fmla="*/ 0 h 2227"/>
                    <a:gd name="T28" fmla="*/ 0 w 3583"/>
                    <a:gd name="T29" fmla="*/ 0 h 2227"/>
                    <a:gd name="T30" fmla="*/ 0 w 3583"/>
                    <a:gd name="T31" fmla="*/ 0 h 2227"/>
                    <a:gd name="T32" fmla="*/ 0 w 3583"/>
                    <a:gd name="T33" fmla="*/ 0 h 2227"/>
                    <a:gd name="T34" fmla="*/ 0 w 3583"/>
                    <a:gd name="T35" fmla="*/ 0 h 2227"/>
                    <a:gd name="T36" fmla="*/ 0 w 3583"/>
                    <a:gd name="T37" fmla="*/ 0 h 2227"/>
                    <a:gd name="T38" fmla="*/ 0 w 3583"/>
                    <a:gd name="T39" fmla="*/ 0 h 2227"/>
                    <a:gd name="T40" fmla="*/ 0 w 3583"/>
                    <a:gd name="T41" fmla="*/ 0 h 2227"/>
                    <a:gd name="T42" fmla="*/ 0 w 3583"/>
                    <a:gd name="T43" fmla="*/ 0 h 2227"/>
                    <a:gd name="T44" fmla="*/ 0 w 3583"/>
                    <a:gd name="T45" fmla="*/ 0 h 2227"/>
                    <a:gd name="T46" fmla="*/ 0 w 3583"/>
                    <a:gd name="T47" fmla="*/ 0 h 2227"/>
                    <a:gd name="T48" fmla="*/ 0 w 3583"/>
                    <a:gd name="T49" fmla="*/ 0 h 2227"/>
                    <a:gd name="T50" fmla="*/ 0 w 3583"/>
                    <a:gd name="T51" fmla="*/ 0 h 2227"/>
                    <a:gd name="T52" fmla="*/ 0 w 3583"/>
                    <a:gd name="T53" fmla="*/ 0 h 2227"/>
                    <a:gd name="T54" fmla="*/ 0 w 3583"/>
                    <a:gd name="T55" fmla="*/ 0 h 2227"/>
                    <a:gd name="T56" fmla="*/ 0 w 3583"/>
                    <a:gd name="T57" fmla="*/ 0 h 2227"/>
                    <a:gd name="T58" fmla="*/ 0 w 3583"/>
                    <a:gd name="T59" fmla="*/ 0 h 2227"/>
                    <a:gd name="T60" fmla="*/ 0 w 3583"/>
                    <a:gd name="T61" fmla="*/ 0 h 2227"/>
                    <a:gd name="T62" fmla="*/ 0 w 3583"/>
                    <a:gd name="T63" fmla="*/ 0 h 2227"/>
                    <a:gd name="T64" fmla="*/ 0 w 3583"/>
                    <a:gd name="T65" fmla="*/ 0 h 2227"/>
                    <a:gd name="T66" fmla="*/ 0 w 3583"/>
                    <a:gd name="T67" fmla="*/ 0 h 2227"/>
                    <a:gd name="T68" fmla="*/ 0 w 3583"/>
                    <a:gd name="T69" fmla="*/ 0 h 2227"/>
                    <a:gd name="T70" fmla="*/ 0 w 3583"/>
                    <a:gd name="T71" fmla="*/ 0 h 2227"/>
                    <a:gd name="T72" fmla="*/ 0 w 3583"/>
                    <a:gd name="T73" fmla="*/ 0 h 2227"/>
                    <a:gd name="T74" fmla="*/ 0 w 3583"/>
                    <a:gd name="T75" fmla="*/ 0 h 2227"/>
                    <a:gd name="T76" fmla="*/ 0 w 3583"/>
                    <a:gd name="T77" fmla="*/ 0 h 2227"/>
                    <a:gd name="T78" fmla="*/ 0 w 3583"/>
                    <a:gd name="T79" fmla="*/ 0 h 2227"/>
                    <a:gd name="T80" fmla="*/ 0 w 3583"/>
                    <a:gd name="T81" fmla="*/ 0 h 2227"/>
                    <a:gd name="T82" fmla="*/ 0 w 3583"/>
                    <a:gd name="T83" fmla="*/ 0 h 2227"/>
                    <a:gd name="T84" fmla="*/ 0 w 3583"/>
                    <a:gd name="T85" fmla="*/ 0 h 2227"/>
                    <a:gd name="T86" fmla="*/ 0 w 3583"/>
                    <a:gd name="T87" fmla="*/ 0 h 2227"/>
                    <a:gd name="T88" fmla="*/ 0 w 3583"/>
                    <a:gd name="T89" fmla="*/ 0 h 2227"/>
                    <a:gd name="T90" fmla="*/ 0 w 3583"/>
                    <a:gd name="T91" fmla="*/ 0 h 2227"/>
                    <a:gd name="T92" fmla="*/ 0 w 3583"/>
                    <a:gd name="T93" fmla="*/ 0 h 2227"/>
                    <a:gd name="T94" fmla="*/ 0 w 3583"/>
                    <a:gd name="T95" fmla="*/ 0 h 2227"/>
                    <a:gd name="T96" fmla="*/ 0 w 3583"/>
                    <a:gd name="T97" fmla="*/ 0 h 2227"/>
                    <a:gd name="T98" fmla="*/ 0 w 3583"/>
                    <a:gd name="T99" fmla="*/ 0 h 2227"/>
                    <a:gd name="T100" fmla="*/ 0 w 3583"/>
                    <a:gd name="T101" fmla="*/ 0 h 2227"/>
                    <a:gd name="T102" fmla="*/ 0 w 3583"/>
                    <a:gd name="T103" fmla="*/ 0 h 2227"/>
                    <a:gd name="T104" fmla="*/ 0 w 3583"/>
                    <a:gd name="T105" fmla="*/ 0 h 2227"/>
                    <a:gd name="T106" fmla="*/ 0 w 3583"/>
                    <a:gd name="T107" fmla="*/ 0 h 2227"/>
                    <a:gd name="T108" fmla="*/ 0 w 3583"/>
                    <a:gd name="T109" fmla="*/ 0 h 2227"/>
                    <a:gd name="T110" fmla="*/ 0 w 3583"/>
                    <a:gd name="T111" fmla="*/ 0 h 2227"/>
                    <a:gd name="T112" fmla="*/ 0 w 3583"/>
                    <a:gd name="T113" fmla="*/ 0 h 2227"/>
                    <a:gd name="T114" fmla="*/ 0 w 3583"/>
                    <a:gd name="T115" fmla="*/ 0 h 2227"/>
                    <a:gd name="T116" fmla="*/ 0 w 3583"/>
                    <a:gd name="T117" fmla="*/ 0 h 2227"/>
                    <a:gd name="T118" fmla="*/ 0 w 3583"/>
                    <a:gd name="T119" fmla="*/ 0 h 2227"/>
                    <a:gd name="T120" fmla="*/ 0 w 3583"/>
                    <a:gd name="T121" fmla="*/ 0 h 2227"/>
                    <a:gd name="T122" fmla="*/ 0 w 3583"/>
                    <a:gd name="T123" fmla="*/ 0 h 2227"/>
                    <a:gd name="T124" fmla="*/ 0 w 3583"/>
                    <a:gd name="T125" fmla="*/ 0 h 2227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3583"/>
                    <a:gd name="T190" fmla="*/ 0 h 2227"/>
                    <a:gd name="T191" fmla="*/ 3583 w 3583"/>
                    <a:gd name="T192" fmla="*/ 2227 h 2227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3583" h="2227">
                      <a:moveTo>
                        <a:pt x="3554" y="1071"/>
                      </a:moveTo>
                      <a:lnTo>
                        <a:pt x="3545" y="1035"/>
                      </a:lnTo>
                      <a:lnTo>
                        <a:pt x="3533" y="998"/>
                      </a:lnTo>
                      <a:lnTo>
                        <a:pt x="3521" y="962"/>
                      </a:lnTo>
                      <a:lnTo>
                        <a:pt x="3506" y="925"/>
                      </a:lnTo>
                      <a:lnTo>
                        <a:pt x="3491" y="887"/>
                      </a:lnTo>
                      <a:lnTo>
                        <a:pt x="3473" y="849"/>
                      </a:lnTo>
                      <a:lnTo>
                        <a:pt x="3455" y="810"/>
                      </a:lnTo>
                      <a:lnTo>
                        <a:pt x="3435" y="771"/>
                      </a:lnTo>
                      <a:lnTo>
                        <a:pt x="3414" y="733"/>
                      </a:lnTo>
                      <a:lnTo>
                        <a:pt x="3392" y="694"/>
                      </a:lnTo>
                      <a:lnTo>
                        <a:pt x="3368" y="657"/>
                      </a:lnTo>
                      <a:lnTo>
                        <a:pt x="3344" y="619"/>
                      </a:lnTo>
                      <a:lnTo>
                        <a:pt x="3318" y="581"/>
                      </a:lnTo>
                      <a:lnTo>
                        <a:pt x="3291" y="544"/>
                      </a:lnTo>
                      <a:lnTo>
                        <a:pt x="3264" y="508"/>
                      </a:lnTo>
                      <a:lnTo>
                        <a:pt x="3236" y="472"/>
                      </a:lnTo>
                      <a:lnTo>
                        <a:pt x="3206" y="437"/>
                      </a:lnTo>
                      <a:lnTo>
                        <a:pt x="3176" y="404"/>
                      </a:lnTo>
                      <a:lnTo>
                        <a:pt x="3144" y="372"/>
                      </a:lnTo>
                      <a:lnTo>
                        <a:pt x="3113" y="340"/>
                      </a:lnTo>
                      <a:lnTo>
                        <a:pt x="3081" y="309"/>
                      </a:lnTo>
                      <a:lnTo>
                        <a:pt x="3049" y="282"/>
                      </a:lnTo>
                      <a:lnTo>
                        <a:pt x="3014" y="254"/>
                      </a:lnTo>
                      <a:lnTo>
                        <a:pt x="2981" y="228"/>
                      </a:lnTo>
                      <a:lnTo>
                        <a:pt x="2946" y="205"/>
                      </a:lnTo>
                      <a:lnTo>
                        <a:pt x="2912" y="183"/>
                      </a:lnTo>
                      <a:lnTo>
                        <a:pt x="2876" y="163"/>
                      </a:lnTo>
                      <a:lnTo>
                        <a:pt x="2841" y="145"/>
                      </a:lnTo>
                      <a:lnTo>
                        <a:pt x="2805" y="128"/>
                      </a:lnTo>
                      <a:lnTo>
                        <a:pt x="2769" y="115"/>
                      </a:lnTo>
                      <a:lnTo>
                        <a:pt x="2734" y="104"/>
                      </a:lnTo>
                      <a:lnTo>
                        <a:pt x="2697" y="95"/>
                      </a:lnTo>
                      <a:lnTo>
                        <a:pt x="2615" y="79"/>
                      </a:lnTo>
                      <a:lnTo>
                        <a:pt x="2531" y="66"/>
                      </a:lnTo>
                      <a:lnTo>
                        <a:pt x="2446" y="52"/>
                      </a:lnTo>
                      <a:lnTo>
                        <a:pt x="2359" y="41"/>
                      </a:lnTo>
                      <a:lnTo>
                        <a:pt x="2270" y="32"/>
                      </a:lnTo>
                      <a:lnTo>
                        <a:pt x="2180" y="23"/>
                      </a:lnTo>
                      <a:lnTo>
                        <a:pt x="2089" y="17"/>
                      </a:lnTo>
                      <a:lnTo>
                        <a:pt x="1998" y="11"/>
                      </a:lnTo>
                      <a:lnTo>
                        <a:pt x="1906" y="7"/>
                      </a:lnTo>
                      <a:lnTo>
                        <a:pt x="1814" y="3"/>
                      </a:lnTo>
                      <a:lnTo>
                        <a:pt x="1722" y="1"/>
                      </a:lnTo>
                      <a:lnTo>
                        <a:pt x="1631" y="0"/>
                      </a:lnTo>
                      <a:lnTo>
                        <a:pt x="1541" y="0"/>
                      </a:lnTo>
                      <a:lnTo>
                        <a:pt x="1450" y="1"/>
                      </a:lnTo>
                      <a:lnTo>
                        <a:pt x="1361" y="3"/>
                      </a:lnTo>
                      <a:lnTo>
                        <a:pt x="1274" y="6"/>
                      </a:lnTo>
                      <a:lnTo>
                        <a:pt x="1188" y="9"/>
                      </a:lnTo>
                      <a:lnTo>
                        <a:pt x="1103" y="13"/>
                      </a:lnTo>
                      <a:lnTo>
                        <a:pt x="1021" y="18"/>
                      </a:lnTo>
                      <a:lnTo>
                        <a:pt x="941" y="23"/>
                      </a:lnTo>
                      <a:lnTo>
                        <a:pt x="864" y="30"/>
                      </a:lnTo>
                      <a:lnTo>
                        <a:pt x="789" y="37"/>
                      </a:lnTo>
                      <a:lnTo>
                        <a:pt x="717" y="43"/>
                      </a:lnTo>
                      <a:lnTo>
                        <a:pt x="649" y="51"/>
                      </a:lnTo>
                      <a:lnTo>
                        <a:pt x="583" y="59"/>
                      </a:lnTo>
                      <a:lnTo>
                        <a:pt x="522" y="67"/>
                      </a:lnTo>
                      <a:lnTo>
                        <a:pt x="464" y="76"/>
                      </a:lnTo>
                      <a:lnTo>
                        <a:pt x="411" y="85"/>
                      </a:lnTo>
                      <a:lnTo>
                        <a:pt x="362" y="94"/>
                      </a:lnTo>
                      <a:lnTo>
                        <a:pt x="319" y="102"/>
                      </a:lnTo>
                      <a:lnTo>
                        <a:pt x="279" y="111"/>
                      </a:lnTo>
                      <a:lnTo>
                        <a:pt x="245" y="120"/>
                      </a:lnTo>
                      <a:lnTo>
                        <a:pt x="214" y="130"/>
                      </a:lnTo>
                      <a:lnTo>
                        <a:pt x="186" y="141"/>
                      </a:lnTo>
                      <a:lnTo>
                        <a:pt x="161" y="155"/>
                      </a:lnTo>
                      <a:lnTo>
                        <a:pt x="137" y="169"/>
                      </a:lnTo>
                      <a:lnTo>
                        <a:pt x="116" y="186"/>
                      </a:lnTo>
                      <a:lnTo>
                        <a:pt x="96" y="203"/>
                      </a:lnTo>
                      <a:lnTo>
                        <a:pt x="79" y="222"/>
                      </a:lnTo>
                      <a:lnTo>
                        <a:pt x="64" y="242"/>
                      </a:lnTo>
                      <a:lnTo>
                        <a:pt x="50" y="264"/>
                      </a:lnTo>
                      <a:lnTo>
                        <a:pt x="38" y="286"/>
                      </a:lnTo>
                      <a:lnTo>
                        <a:pt x="28" y="309"/>
                      </a:lnTo>
                      <a:lnTo>
                        <a:pt x="19" y="335"/>
                      </a:lnTo>
                      <a:lnTo>
                        <a:pt x="12" y="361"/>
                      </a:lnTo>
                      <a:lnTo>
                        <a:pt x="8" y="387"/>
                      </a:lnTo>
                      <a:lnTo>
                        <a:pt x="4" y="414"/>
                      </a:lnTo>
                      <a:lnTo>
                        <a:pt x="1" y="443"/>
                      </a:lnTo>
                      <a:lnTo>
                        <a:pt x="0" y="472"/>
                      </a:lnTo>
                      <a:lnTo>
                        <a:pt x="1" y="502"/>
                      </a:lnTo>
                      <a:lnTo>
                        <a:pt x="2" y="532"/>
                      </a:lnTo>
                      <a:lnTo>
                        <a:pt x="6" y="563"/>
                      </a:lnTo>
                      <a:lnTo>
                        <a:pt x="9" y="594"/>
                      </a:lnTo>
                      <a:lnTo>
                        <a:pt x="15" y="627"/>
                      </a:lnTo>
                      <a:lnTo>
                        <a:pt x="20" y="659"/>
                      </a:lnTo>
                      <a:lnTo>
                        <a:pt x="27" y="691"/>
                      </a:lnTo>
                      <a:lnTo>
                        <a:pt x="35" y="723"/>
                      </a:lnTo>
                      <a:lnTo>
                        <a:pt x="44" y="757"/>
                      </a:lnTo>
                      <a:lnTo>
                        <a:pt x="53" y="789"/>
                      </a:lnTo>
                      <a:lnTo>
                        <a:pt x="63" y="822"/>
                      </a:lnTo>
                      <a:lnTo>
                        <a:pt x="84" y="889"/>
                      </a:lnTo>
                      <a:lnTo>
                        <a:pt x="107" y="955"/>
                      </a:lnTo>
                      <a:lnTo>
                        <a:pt x="119" y="987"/>
                      </a:lnTo>
                      <a:lnTo>
                        <a:pt x="133" y="1021"/>
                      </a:lnTo>
                      <a:lnTo>
                        <a:pt x="148" y="1053"/>
                      </a:lnTo>
                      <a:lnTo>
                        <a:pt x="164" y="1085"/>
                      </a:lnTo>
                      <a:lnTo>
                        <a:pt x="179" y="1117"/>
                      </a:lnTo>
                      <a:lnTo>
                        <a:pt x="197" y="1149"/>
                      </a:lnTo>
                      <a:lnTo>
                        <a:pt x="215" y="1179"/>
                      </a:lnTo>
                      <a:lnTo>
                        <a:pt x="234" y="1210"/>
                      </a:lnTo>
                      <a:lnTo>
                        <a:pt x="254" y="1240"/>
                      </a:lnTo>
                      <a:lnTo>
                        <a:pt x="274" y="1269"/>
                      </a:lnTo>
                      <a:lnTo>
                        <a:pt x="295" y="1299"/>
                      </a:lnTo>
                      <a:lnTo>
                        <a:pt x="316" y="1327"/>
                      </a:lnTo>
                      <a:lnTo>
                        <a:pt x="340" y="1356"/>
                      </a:lnTo>
                      <a:lnTo>
                        <a:pt x="362" y="1383"/>
                      </a:lnTo>
                      <a:lnTo>
                        <a:pt x="386" y="1410"/>
                      </a:lnTo>
                      <a:lnTo>
                        <a:pt x="411" y="1437"/>
                      </a:lnTo>
                      <a:lnTo>
                        <a:pt x="435" y="1463"/>
                      </a:lnTo>
                      <a:lnTo>
                        <a:pt x="461" y="1489"/>
                      </a:lnTo>
                      <a:lnTo>
                        <a:pt x="487" y="1515"/>
                      </a:lnTo>
                      <a:lnTo>
                        <a:pt x="513" y="1539"/>
                      </a:lnTo>
                      <a:lnTo>
                        <a:pt x="540" y="1564"/>
                      </a:lnTo>
                      <a:lnTo>
                        <a:pt x="568" y="1587"/>
                      </a:lnTo>
                      <a:lnTo>
                        <a:pt x="596" y="1609"/>
                      </a:lnTo>
                      <a:lnTo>
                        <a:pt x="625" y="1632"/>
                      </a:lnTo>
                      <a:lnTo>
                        <a:pt x="652" y="1654"/>
                      </a:lnTo>
                      <a:lnTo>
                        <a:pt x="683" y="1675"/>
                      </a:lnTo>
                      <a:lnTo>
                        <a:pt x="711" y="1696"/>
                      </a:lnTo>
                      <a:lnTo>
                        <a:pt x="742" y="1715"/>
                      </a:lnTo>
                      <a:lnTo>
                        <a:pt x="772" y="1735"/>
                      </a:lnTo>
                      <a:lnTo>
                        <a:pt x="802" y="1753"/>
                      </a:lnTo>
                      <a:lnTo>
                        <a:pt x="832" y="1772"/>
                      </a:lnTo>
                      <a:lnTo>
                        <a:pt x="863" y="1788"/>
                      </a:lnTo>
                      <a:lnTo>
                        <a:pt x="917" y="1818"/>
                      </a:lnTo>
                      <a:lnTo>
                        <a:pt x="974" y="1847"/>
                      </a:lnTo>
                      <a:lnTo>
                        <a:pt x="1034" y="1876"/>
                      </a:lnTo>
                      <a:lnTo>
                        <a:pt x="1097" y="1905"/>
                      </a:lnTo>
                      <a:lnTo>
                        <a:pt x="1160" y="1934"/>
                      </a:lnTo>
                      <a:lnTo>
                        <a:pt x="1226" y="1962"/>
                      </a:lnTo>
                      <a:lnTo>
                        <a:pt x="1294" y="1989"/>
                      </a:lnTo>
                      <a:lnTo>
                        <a:pt x="1364" y="2015"/>
                      </a:lnTo>
                      <a:lnTo>
                        <a:pt x="1434" y="2040"/>
                      </a:lnTo>
                      <a:lnTo>
                        <a:pt x="1506" y="2064"/>
                      </a:lnTo>
                      <a:lnTo>
                        <a:pt x="1580" y="2088"/>
                      </a:lnTo>
                      <a:lnTo>
                        <a:pt x="1654" y="2110"/>
                      </a:lnTo>
                      <a:lnTo>
                        <a:pt x="1729" y="2130"/>
                      </a:lnTo>
                      <a:lnTo>
                        <a:pt x="1804" y="2149"/>
                      </a:lnTo>
                      <a:lnTo>
                        <a:pt x="1880" y="2166"/>
                      </a:lnTo>
                      <a:lnTo>
                        <a:pt x="1956" y="2181"/>
                      </a:lnTo>
                      <a:lnTo>
                        <a:pt x="2033" y="2195"/>
                      </a:lnTo>
                      <a:lnTo>
                        <a:pt x="2108" y="2206"/>
                      </a:lnTo>
                      <a:lnTo>
                        <a:pt x="2184" y="2215"/>
                      </a:lnTo>
                      <a:lnTo>
                        <a:pt x="2260" y="2221"/>
                      </a:lnTo>
                      <a:lnTo>
                        <a:pt x="2334" y="2225"/>
                      </a:lnTo>
                      <a:lnTo>
                        <a:pt x="2409" y="2227"/>
                      </a:lnTo>
                      <a:lnTo>
                        <a:pt x="2482" y="2226"/>
                      </a:lnTo>
                      <a:lnTo>
                        <a:pt x="2553" y="2221"/>
                      </a:lnTo>
                      <a:lnTo>
                        <a:pt x="2625" y="2215"/>
                      </a:lnTo>
                      <a:lnTo>
                        <a:pt x="2694" y="2205"/>
                      </a:lnTo>
                      <a:lnTo>
                        <a:pt x="2762" y="2191"/>
                      </a:lnTo>
                      <a:lnTo>
                        <a:pt x="2827" y="2175"/>
                      </a:lnTo>
                      <a:lnTo>
                        <a:pt x="2892" y="2155"/>
                      </a:lnTo>
                      <a:lnTo>
                        <a:pt x="2954" y="2131"/>
                      </a:lnTo>
                      <a:lnTo>
                        <a:pt x="3013" y="2103"/>
                      </a:lnTo>
                      <a:lnTo>
                        <a:pt x="3071" y="2072"/>
                      </a:lnTo>
                      <a:lnTo>
                        <a:pt x="3104" y="2051"/>
                      </a:lnTo>
                      <a:lnTo>
                        <a:pt x="3138" y="2030"/>
                      </a:lnTo>
                      <a:lnTo>
                        <a:pt x="3170" y="2007"/>
                      </a:lnTo>
                      <a:lnTo>
                        <a:pt x="3202" y="1984"/>
                      </a:lnTo>
                      <a:lnTo>
                        <a:pt x="3232" y="1960"/>
                      </a:lnTo>
                      <a:lnTo>
                        <a:pt x="3262" y="1935"/>
                      </a:lnTo>
                      <a:lnTo>
                        <a:pt x="3290" y="1911"/>
                      </a:lnTo>
                      <a:lnTo>
                        <a:pt x="3318" y="1885"/>
                      </a:lnTo>
                      <a:lnTo>
                        <a:pt x="3344" y="1859"/>
                      </a:lnTo>
                      <a:lnTo>
                        <a:pt x="3369" y="1832"/>
                      </a:lnTo>
                      <a:lnTo>
                        <a:pt x="3393" y="1804"/>
                      </a:lnTo>
                      <a:lnTo>
                        <a:pt x="3416" y="1775"/>
                      </a:lnTo>
                      <a:lnTo>
                        <a:pt x="3437" y="1746"/>
                      </a:lnTo>
                      <a:lnTo>
                        <a:pt x="3457" y="1716"/>
                      </a:lnTo>
                      <a:lnTo>
                        <a:pt x="3476" y="1686"/>
                      </a:lnTo>
                      <a:lnTo>
                        <a:pt x="3493" y="1655"/>
                      </a:lnTo>
                      <a:lnTo>
                        <a:pt x="3510" y="1623"/>
                      </a:lnTo>
                      <a:lnTo>
                        <a:pt x="3523" y="1590"/>
                      </a:lnTo>
                      <a:lnTo>
                        <a:pt x="3536" y="1557"/>
                      </a:lnTo>
                      <a:lnTo>
                        <a:pt x="3548" y="1524"/>
                      </a:lnTo>
                      <a:lnTo>
                        <a:pt x="3557" y="1489"/>
                      </a:lnTo>
                      <a:lnTo>
                        <a:pt x="3566" y="1455"/>
                      </a:lnTo>
                      <a:lnTo>
                        <a:pt x="3573" y="1419"/>
                      </a:lnTo>
                      <a:lnTo>
                        <a:pt x="3577" y="1382"/>
                      </a:lnTo>
                      <a:lnTo>
                        <a:pt x="3581" y="1346"/>
                      </a:lnTo>
                      <a:lnTo>
                        <a:pt x="3583" y="1308"/>
                      </a:lnTo>
                      <a:lnTo>
                        <a:pt x="3583" y="1270"/>
                      </a:lnTo>
                      <a:lnTo>
                        <a:pt x="3581" y="1231"/>
                      </a:lnTo>
                      <a:lnTo>
                        <a:pt x="3577" y="1192"/>
                      </a:lnTo>
                      <a:lnTo>
                        <a:pt x="3572" y="1152"/>
                      </a:lnTo>
                      <a:lnTo>
                        <a:pt x="3564" y="1112"/>
                      </a:lnTo>
                      <a:lnTo>
                        <a:pt x="3554" y="1071"/>
                      </a:lnTo>
                      <a:close/>
                    </a:path>
                  </a:pathLst>
                </a:custGeom>
                <a:solidFill>
                  <a:srgbClr val="242D54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208" name="Freeform 207"/>
                <p:cNvSpPr>
                  <a:spLocks/>
                </p:cNvSpPr>
                <p:nvPr/>
              </p:nvSpPr>
              <p:spPr bwMode="auto">
                <a:xfrm>
                  <a:off x="3638" y="2652"/>
                  <a:ext cx="508" cy="269"/>
                </a:xfrm>
                <a:custGeom>
                  <a:avLst/>
                  <a:gdLst>
                    <a:gd name="T0" fmla="*/ 0 w 3582"/>
                    <a:gd name="T1" fmla="*/ 0 h 1884"/>
                    <a:gd name="T2" fmla="*/ 0 w 3582"/>
                    <a:gd name="T3" fmla="*/ 0 h 1884"/>
                    <a:gd name="T4" fmla="*/ 0 w 3582"/>
                    <a:gd name="T5" fmla="*/ 0 h 1884"/>
                    <a:gd name="T6" fmla="*/ 0 w 3582"/>
                    <a:gd name="T7" fmla="*/ 0 h 1884"/>
                    <a:gd name="T8" fmla="*/ 0 w 3582"/>
                    <a:gd name="T9" fmla="*/ 0 h 1884"/>
                    <a:gd name="T10" fmla="*/ 0 w 3582"/>
                    <a:gd name="T11" fmla="*/ 0 h 1884"/>
                    <a:gd name="T12" fmla="*/ 0 w 3582"/>
                    <a:gd name="T13" fmla="*/ 0 h 1884"/>
                    <a:gd name="T14" fmla="*/ 0 w 3582"/>
                    <a:gd name="T15" fmla="*/ 0 h 1884"/>
                    <a:gd name="T16" fmla="*/ 0 w 3582"/>
                    <a:gd name="T17" fmla="*/ 0 h 1884"/>
                    <a:gd name="T18" fmla="*/ 0 w 3582"/>
                    <a:gd name="T19" fmla="*/ 0 h 1884"/>
                    <a:gd name="T20" fmla="*/ 0 w 3582"/>
                    <a:gd name="T21" fmla="*/ 0 h 1884"/>
                    <a:gd name="T22" fmla="*/ 0 w 3582"/>
                    <a:gd name="T23" fmla="*/ 0 h 1884"/>
                    <a:gd name="T24" fmla="*/ 0 w 3582"/>
                    <a:gd name="T25" fmla="*/ 0 h 1884"/>
                    <a:gd name="T26" fmla="*/ 0 w 3582"/>
                    <a:gd name="T27" fmla="*/ 0 h 1884"/>
                    <a:gd name="T28" fmla="*/ 0 w 3582"/>
                    <a:gd name="T29" fmla="*/ 0 h 1884"/>
                    <a:gd name="T30" fmla="*/ 0 w 3582"/>
                    <a:gd name="T31" fmla="*/ 0 h 1884"/>
                    <a:gd name="T32" fmla="*/ 0 w 3582"/>
                    <a:gd name="T33" fmla="*/ 0 h 1884"/>
                    <a:gd name="T34" fmla="*/ 0 w 3582"/>
                    <a:gd name="T35" fmla="*/ 0 h 1884"/>
                    <a:gd name="T36" fmla="*/ 0 w 3582"/>
                    <a:gd name="T37" fmla="*/ 0 h 1884"/>
                    <a:gd name="T38" fmla="*/ 0 w 3582"/>
                    <a:gd name="T39" fmla="*/ 0 h 1884"/>
                    <a:gd name="T40" fmla="*/ 0 w 3582"/>
                    <a:gd name="T41" fmla="*/ 0 h 1884"/>
                    <a:gd name="T42" fmla="*/ 0 w 3582"/>
                    <a:gd name="T43" fmla="*/ 0 h 1884"/>
                    <a:gd name="T44" fmla="*/ 0 w 3582"/>
                    <a:gd name="T45" fmla="*/ 0 h 1884"/>
                    <a:gd name="T46" fmla="*/ 0 w 3582"/>
                    <a:gd name="T47" fmla="*/ 0 h 1884"/>
                    <a:gd name="T48" fmla="*/ 0 w 3582"/>
                    <a:gd name="T49" fmla="*/ 0 h 1884"/>
                    <a:gd name="T50" fmla="*/ 0 w 3582"/>
                    <a:gd name="T51" fmla="*/ 0 h 1884"/>
                    <a:gd name="T52" fmla="*/ 0 w 3582"/>
                    <a:gd name="T53" fmla="*/ 0 h 1884"/>
                    <a:gd name="T54" fmla="*/ 0 w 3582"/>
                    <a:gd name="T55" fmla="*/ 0 h 1884"/>
                    <a:gd name="T56" fmla="*/ 0 w 3582"/>
                    <a:gd name="T57" fmla="*/ 0 h 1884"/>
                    <a:gd name="T58" fmla="*/ 0 w 3582"/>
                    <a:gd name="T59" fmla="*/ 0 h 1884"/>
                    <a:gd name="T60" fmla="*/ 0 w 3582"/>
                    <a:gd name="T61" fmla="*/ 0 h 1884"/>
                    <a:gd name="T62" fmla="*/ 0 w 3582"/>
                    <a:gd name="T63" fmla="*/ 0 h 1884"/>
                    <a:gd name="T64" fmla="*/ 0 w 3582"/>
                    <a:gd name="T65" fmla="*/ 0 h 1884"/>
                    <a:gd name="T66" fmla="*/ 0 w 3582"/>
                    <a:gd name="T67" fmla="*/ 0 h 1884"/>
                    <a:gd name="T68" fmla="*/ 0 w 3582"/>
                    <a:gd name="T69" fmla="*/ 0 h 1884"/>
                    <a:gd name="T70" fmla="*/ 0 w 3582"/>
                    <a:gd name="T71" fmla="*/ 0 h 1884"/>
                    <a:gd name="T72" fmla="*/ 0 w 3582"/>
                    <a:gd name="T73" fmla="*/ 0 h 1884"/>
                    <a:gd name="T74" fmla="*/ 0 w 3582"/>
                    <a:gd name="T75" fmla="*/ 0 h 1884"/>
                    <a:gd name="T76" fmla="*/ 0 w 3582"/>
                    <a:gd name="T77" fmla="*/ 0 h 1884"/>
                    <a:gd name="T78" fmla="*/ 0 w 3582"/>
                    <a:gd name="T79" fmla="*/ 0 h 1884"/>
                    <a:gd name="T80" fmla="*/ 0 w 3582"/>
                    <a:gd name="T81" fmla="*/ 0 h 1884"/>
                    <a:gd name="T82" fmla="*/ 0 w 3582"/>
                    <a:gd name="T83" fmla="*/ 0 h 1884"/>
                    <a:gd name="T84" fmla="*/ 0 w 3582"/>
                    <a:gd name="T85" fmla="*/ 0 h 1884"/>
                    <a:gd name="T86" fmla="*/ 0 w 3582"/>
                    <a:gd name="T87" fmla="*/ 0 h 1884"/>
                    <a:gd name="T88" fmla="*/ 0 w 3582"/>
                    <a:gd name="T89" fmla="*/ 0 h 1884"/>
                    <a:gd name="T90" fmla="*/ 0 w 3582"/>
                    <a:gd name="T91" fmla="*/ 0 h 1884"/>
                    <a:gd name="T92" fmla="*/ 0 w 3582"/>
                    <a:gd name="T93" fmla="*/ 0 h 1884"/>
                    <a:gd name="T94" fmla="*/ 0 w 3582"/>
                    <a:gd name="T95" fmla="*/ 0 h 1884"/>
                    <a:gd name="T96" fmla="*/ 0 w 3582"/>
                    <a:gd name="T97" fmla="*/ 0 h 1884"/>
                    <a:gd name="T98" fmla="*/ 0 w 3582"/>
                    <a:gd name="T99" fmla="*/ 0 h 1884"/>
                    <a:gd name="T100" fmla="*/ 0 w 3582"/>
                    <a:gd name="T101" fmla="*/ 0 h 1884"/>
                    <a:gd name="T102" fmla="*/ 0 w 3582"/>
                    <a:gd name="T103" fmla="*/ 0 h 1884"/>
                    <a:gd name="T104" fmla="*/ 0 w 3582"/>
                    <a:gd name="T105" fmla="*/ 0 h 1884"/>
                    <a:gd name="T106" fmla="*/ 0 w 3582"/>
                    <a:gd name="T107" fmla="*/ 0 h 1884"/>
                    <a:gd name="T108" fmla="*/ 0 w 3582"/>
                    <a:gd name="T109" fmla="*/ 0 h 1884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3582"/>
                    <a:gd name="T166" fmla="*/ 0 h 1884"/>
                    <a:gd name="T167" fmla="*/ 3582 w 3582"/>
                    <a:gd name="T168" fmla="*/ 1884 h 1884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3582" h="1884">
                      <a:moveTo>
                        <a:pt x="3553" y="728"/>
                      </a:moveTo>
                      <a:lnTo>
                        <a:pt x="3550" y="715"/>
                      </a:lnTo>
                      <a:lnTo>
                        <a:pt x="3547" y="702"/>
                      </a:lnTo>
                      <a:lnTo>
                        <a:pt x="3542" y="689"/>
                      </a:lnTo>
                      <a:lnTo>
                        <a:pt x="3539" y="677"/>
                      </a:lnTo>
                      <a:lnTo>
                        <a:pt x="3533" y="701"/>
                      </a:lnTo>
                      <a:lnTo>
                        <a:pt x="3527" y="725"/>
                      </a:lnTo>
                      <a:lnTo>
                        <a:pt x="3520" y="749"/>
                      </a:lnTo>
                      <a:lnTo>
                        <a:pt x="3512" y="773"/>
                      </a:lnTo>
                      <a:lnTo>
                        <a:pt x="3504" y="796"/>
                      </a:lnTo>
                      <a:lnTo>
                        <a:pt x="3495" y="819"/>
                      </a:lnTo>
                      <a:lnTo>
                        <a:pt x="3485" y="842"/>
                      </a:lnTo>
                      <a:lnTo>
                        <a:pt x="3475" y="864"/>
                      </a:lnTo>
                      <a:lnTo>
                        <a:pt x="3463" y="886"/>
                      </a:lnTo>
                      <a:lnTo>
                        <a:pt x="3452" y="908"/>
                      </a:lnTo>
                      <a:lnTo>
                        <a:pt x="3439" y="929"/>
                      </a:lnTo>
                      <a:lnTo>
                        <a:pt x="3426" y="951"/>
                      </a:lnTo>
                      <a:lnTo>
                        <a:pt x="3412" y="972"/>
                      </a:lnTo>
                      <a:lnTo>
                        <a:pt x="3398" y="992"/>
                      </a:lnTo>
                      <a:lnTo>
                        <a:pt x="3382" y="1012"/>
                      </a:lnTo>
                      <a:lnTo>
                        <a:pt x="3366" y="1032"/>
                      </a:lnTo>
                      <a:lnTo>
                        <a:pt x="3351" y="1052"/>
                      </a:lnTo>
                      <a:lnTo>
                        <a:pt x="3333" y="1071"/>
                      </a:lnTo>
                      <a:lnTo>
                        <a:pt x="3316" y="1090"/>
                      </a:lnTo>
                      <a:lnTo>
                        <a:pt x="3297" y="1108"/>
                      </a:lnTo>
                      <a:lnTo>
                        <a:pt x="3280" y="1126"/>
                      </a:lnTo>
                      <a:lnTo>
                        <a:pt x="3260" y="1144"/>
                      </a:lnTo>
                      <a:lnTo>
                        <a:pt x="3241" y="1162"/>
                      </a:lnTo>
                      <a:lnTo>
                        <a:pt x="3221" y="1179"/>
                      </a:lnTo>
                      <a:lnTo>
                        <a:pt x="3199" y="1195"/>
                      </a:lnTo>
                      <a:lnTo>
                        <a:pt x="3178" y="1212"/>
                      </a:lnTo>
                      <a:lnTo>
                        <a:pt x="3156" y="1229"/>
                      </a:lnTo>
                      <a:lnTo>
                        <a:pt x="3134" y="1244"/>
                      </a:lnTo>
                      <a:lnTo>
                        <a:pt x="3088" y="1276"/>
                      </a:lnTo>
                      <a:lnTo>
                        <a:pt x="3041" y="1304"/>
                      </a:lnTo>
                      <a:lnTo>
                        <a:pt x="2984" y="1336"/>
                      </a:lnTo>
                      <a:lnTo>
                        <a:pt x="2925" y="1363"/>
                      </a:lnTo>
                      <a:lnTo>
                        <a:pt x="2862" y="1387"/>
                      </a:lnTo>
                      <a:lnTo>
                        <a:pt x="2799" y="1407"/>
                      </a:lnTo>
                      <a:lnTo>
                        <a:pt x="2732" y="1424"/>
                      </a:lnTo>
                      <a:lnTo>
                        <a:pt x="2664" y="1437"/>
                      </a:lnTo>
                      <a:lnTo>
                        <a:pt x="2595" y="1447"/>
                      </a:lnTo>
                      <a:lnTo>
                        <a:pt x="2525" y="1455"/>
                      </a:lnTo>
                      <a:lnTo>
                        <a:pt x="2453" y="1458"/>
                      </a:lnTo>
                      <a:lnTo>
                        <a:pt x="2379" y="1459"/>
                      </a:lnTo>
                      <a:lnTo>
                        <a:pt x="2305" y="1458"/>
                      </a:lnTo>
                      <a:lnTo>
                        <a:pt x="2230" y="1454"/>
                      </a:lnTo>
                      <a:lnTo>
                        <a:pt x="2154" y="1447"/>
                      </a:lnTo>
                      <a:lnTo>
                        <a:pt x="2079" y="1438"/>
                      </a:lnTo>
                      <a:lnTo>
                        <a:pt x="2003" y="1427"/>
                      </a:lnTo>
                      <a:lnTo>
                        <a:pt x="1926" y="1414"/>
                      </a:lnTo>
                      <a:lnTo>
                        <a:pt x="1850" y="1398"/>
                      </a:lnTo>
                      <a:lnTo>
                        <a:pt x="1775" y="1381"/>
                      </a:lnTo>
                      <a:lnTo>
                        <a:pt x="1699" y="1362"/>
                      </a:lnTo>
                      <a:lnTo>
                        <a:pt x="1625" y="1342"/>
                      </a:lnTo>
                      <a:lnTo>
                        <a:pt x="1550" y="1320"/>
                      </a:lnTo>
                      <a:lnTo>
                        <a:pt x="1477" y="1298"/>
                      </a:lnTo>
                      <a:lnTo>
                        <a:pt x="1404" y="1273"/>
                      </a:lnTo>
                      <a:lnTo>
                        <a:pt x="1334" y="1248"/>
                      </a:lnTo>
                      <a:lnTo>
                        <a:pt x="1264" y="1221"/>
                      </a:lnTo>
                      <a:lnTo>
                        <a:pt x="1197" y="1194"/>
                      </a:lnTo>
                      <a:lnTo>
                        <a:pt x="1130" y="1166"/>
                      </a:lnTo>
                      <a:lnTo>
                        <a:pt x="1067" y="1139"/>
                      </a:lnTo>
                      <a:lnTo>
                        <a:pt x="1005" y="1110"/>
                      </a:lnTo>
                      <a:lnTo>
                        <a:pt x="944" y="1080"/>
                      </a:lnTo>
                      <a:lnTo>
                        <a:pt x="888" y="1051"/>
                      </a:lnTo>
                      <a:lnTo>
                        <a:pt x="833" y="1022"/>
                      </a:lnTo>
                      <a:lnTo>
                        <a:pt x="802" y="1004"/>
                      </a:lnTo>
                      <a:lnTo>
                        <a:pt x="772" y="986"/>
                      </a:lnTo>
                      <a:lnTo>
                        <a:pt x="742" y="967"/>
                      </a:lnTo>
                      <a:lnTo>
                        <a:pt x="712" y="948"/>
                      </a:lnTo>
                      <a:lnTo>
                        <a:pt x="682" y="928"/>
                      </a:lnTo>
                      <a:lnTo>
                        <a:pt x="653" y="907"/>
                      </a:lnTo>
                      <a:lnTo>
                        <a:pt x="624" y="886"/>
                      </a:lnTo>
                      <a:lnTo>
                        <a:pt x="595" y="865"/>
                      </a:lnTo>
                      <a:lnTo>
                        <a:pt x="566" y="843"/>
                      </a:lnTo>
                      <a:lnTo>
                        <a:pt x="538" y="819"/>
                      </a:lnTo>
                      <a:lnTo>
                        <a:pt x="512" y="796"/>
                      </a:lnTo>
                      <a:lnTo>
                        <a:pt x="484" y="771"/>
                      </a:lnTo>
                      <a:lnTo>
                        <a:pt x="457" y="747"/>
                      </a:lnTo>
                      <a:lnTo>
                        <a:pt x="431" y="722"/>
                      </a:lnTo>
                      <a:lnTo>
                        <a:pt x="406" y="696"/>
                      </a:lnTo>
                      <a:lnTo>
                        <a:pt x="381" y="670"/>
                      </a:lnTo>
                      <a:lnTo>
                        <a:pt x="357" y="643"/>
                      </a:lnTo>
                      <a:lnTo>
                        <a:pt x="333" y="616"/>
                      </a:lnTo>
                      <a:lnTo>
                        <a:pt x="310" y="588"/>
                      </a:lnTo>
                      <a:lnTo>
                        <a:pt x="288" y="560"/>
                      </a:lnTo>
                      <a:lnTo>
                        <a:pt x="266" y="531"/>
                      </a:lnTo>
                      <a:lnTo>
                        <a:pt x="244" y="502"/>
                      </a:lnTo>
                      <a:lnTo>
                        <a:pt x="224" y="472"/>
                      </a:lnTo>
                      <a:lnTo>
                        <a:pt x="204" y="442"/>
                      </a:lnTo>
                      <a:lnTo>
                        <a:pt x="185" y="412"/>
                      </a:lnTo>
                      <a:lnTo>
                        <a:pt x="168" y="381"/>
                      </a:lnTo>
                      <a:lnTo>
                        <a:pt x="150" y="350"/>
                      </a:lnTo>
                      <a:lnTo>
                        <a:pt x="134" y="317"/>
                      </a:lnTo>
                      <a:lnTo>
                        <a:pt x="119" y="286"/>
                      </a:lnTo>
                      <a:lnTo>
                        <a:pt x="104" y="253"/>
                      </a:lnTo>
                      <a:lnTo>
                        <a:pt x="90" y="221"/>
                      </a:lnTo>
                      <a:lnTo>
                        <a:pt x="77" y="187"/>
                      </a:lnTo>
                      <a:lnTo>
                        <a:pt x="69" y="164"/>
                      </a:lnTo>
                      <a:lnTo>
                        <a:pt x="61" y="140"/>
                      </a:lnTo>
                      <a:lnTo>
                        <a:pt x="53" y="117"/>
                      </a:lnTo>
                      <a:lnTo>
                        <a:pt x="45" y="94"/>
                      </a:lnTo>
                      <a:lnTo>
                        <a:pt x="37" y="70"/>
                      </a:lnTo>
                      <a:lnTo>
                        <a:pt x="31" y="47"/>
                      </a:lnTo>
                      <a:lnTo>
                        <a:pt x="23" y="24"/>
                      </a:lnTo>
                      <a:lnTo>
                        <a:pt x="17" y="0"/>
                      </a:lnTo>
                      <a:lnTo>
                        <a:pt x="13" y="16"/>
                      </a:lnTo>
                      <a:lnTo>
                        <a:pt x="10" y="33"/>
                      </a:lnTo>
                      <a:lnTo>
                        <a:pt x="6" y="49"/>
                      </a:lnTo>
                      <a:lnTo>
                        <a:pt x="4" y="66"/>
                      </a:lnTo>
                      <a:lnTo>
                        <a:pt x="1" y="100"/>
                      </a:lnTo>
                      <a:lnTo>
                        <a:pt x="0" y="136"/>
                      </a:lnTo>
                      <a:lnTo>
                        <a:pt x="1" y="173"/>
                      </a:lnTo>
                      <a:lnTo>
                        <a:pt x="4" y="211"/>
                      </a:lnTo>
                      <a:lnTo>
                        <a:pt x="8" y="250"/>
                      </a:lnTo>
                      <a:lnTo>
                        <a:pt x="14" y="288"/>
                      </a:lnTo>
                      <a:lnTo>
                        <a:pt x="22" y="329"/>
                      </a:lnTo>
                      <a:lnTo>
                        <a:pt x="31" y="369"/>
                      </a:lnTo>
                      <a:lnTo>
                        <a:pt x="41" y="409"/>
                      </a:lnTo>
                      <a:lnTo>
                        <a:pt x="52" y="450"/>
                      </a:lnTo>
                      <a:lnTo>
                        <a:pt x="64" y="491"/>
                      </a:lnTo>
                      <a:lnTo>
                        <a:pt x="77" y="531"/>
                      </a:lnTo>
                      <a:lnTo>
                        <a:pt x="91" y="572"/>
                      </a:lnTo>
                      <a:lnTo>
                        <a:pt x="105" y="612"/>
                      </a:lnTo>
                      <a:lnTo>
                        <a:pt x="119" y="646"/>
                      </a:lnTo>
                      <a:lnTo>
                        <a:pt x="132" y="678"/>
                      </a:lnTo>
                      <a:lnTo>
                        <a:pt x="146" y="710"/>
                      </a:lnTo>
                      <a:lnTo>
                        <a:pt x="162" y="742"/>
                      </a:lnTo>
                      <a:lnTo>
                        <a:pt x="179" y="775"/>
                      </a:lnTo>
                      <a:lnTo>
                        <a:pt x="195" y="806"/>
                      </a:lnTo>
                      <a:lnTo>
                        <a:pt x="214" y="837"/>
                      </a:lnTo>
                      <a:lnTo>
                        <a:pt x="233" y="867"/>
                      </a:lnTo>
                      <a:lnTo>
                        <a:pt x="252" y="897"/>
                      </a:lnTo>
                      <a:lnTo>
                        <a:pt x="272" y="927"/>
                      </a:lnTo>
                      <a:lnTo>
                        <a:pt x="293" y="956"/>
                      </a:lnTo>
                      <a:lnTo>
                        <a:pt x="316" y="985"/>
                      </a:lnTo>
                      <a:lnTo>
                        <a:pt x="338" y="1013"/>
                      </a:lnTo>
                      <a:lnTo>
                        <a:pt x="361" y="1041"/>
                      </a:lnTo>
                      <a:lnTo>
                        <a:pt x="385" y="1069"/>
                      </a:lnTo>
                      <a:lnTo>
                        <a:pt x="409" y="1095"/>
                      </a:lnTo>
                      <a:lnTo>
                        <a:pt x="435" y="1121"/>
                      </a:lnTo>
                      <a:lnTo>
                        <a:pt x="460" y="1146"/>
                      </a:lnTo>
                      <a:lnTo>
                        <a:pt x="486" y="1172"/>
                      </a:lnTo>
                      <a:lnTo>
                        <a:pt x="513" y="1197"/>
                      </a:lnTo>
                      <a:lnTo>
                        <a:pt x="539" y="1221"/>
                      </a:lnTo>
                      <a:lnTo>
                        <a:pt x="567" y="1244"/>
                      </a:lnTo>
                      <a:lnTo>
                        <a:pt x="595" y="1268"/>
                      </a:lnTo>
                      <a:lnTo>
                        <a:pt x="623" y="1290"/>
                      </a:lnTo>
                      <a:lnTo>
                        <a:pt x="652" y="1311"/>
                      </a:lnTo>
                      <a:lnTo>
                        <a:pt x="681" y="1332"/>
                      </a:lnTo>
                      <a:lnTo>
                        <a:pt x="711" y="1353"/>
                      </a:lnTo>
                      <a:lnTo>
                        <a:pt x="740" y="1373"/>
                      </a:lnTo>
                      <a:lnTo>
                        <a:pt x="770" y="1392"/>
                      </a:lnTo>
                      <a:lnTo>
                        <a:pt x="800" y="1411"/>
                      </a:lnTo>
                      <a:lnTo>
                        <a:pt x="831" y="1429"/>
                      </a:lnTo>
                      <a:lnTo>
                        <a:pt x="861" y="1446"/>
                      </a:lnTo>
                      <a:lnTo>
                        <a:pt x="916" y="1476"/>
                      </a:lnTo>
                      <a:lnTo>
                        <a:pt x="973" y="1505"/>
                      </a:lnTo>
                      <a:lnTo>
                        <a:pt x="1032" y="1535"/>
                      </a:lnTo>
                      <a:lnTo>
                        <a:pt x="1095" y="1563"/>
                      </a:lnTo>
                      <a:lnTo>
                        <a:pt x="1159" y="1592"/>
                      </a:lnTo>
                      <a:lnTo>
                        <a:pt x="1225" y="1619"/>
                      </a:lnTo>
                      <a:lnTo>
                        <a:pt x="1293" y="1646"/>
                      </a:lnTo>
                      <a:lnTo>
                        <a:pt x="1362" y="1673"/>
                      </a:lnTo>
                      <a:lnTo>
                        <a:pt x="1433" y="1698"/>
                      </a:lnTo>
                      <a:lnTo>
                        <a:pt x="1505" y="1723"/>
                      </a:lnTo>
                      <a:lnTo>
                        <a:pt x="1579" y="1745"/>
                      </a:lnTo>
                      <a:lnTo>
                        <a:pt x="1652" y="1767"/>
                      </a:lnTo>
                      <a:lnTo>
                        <a:pt x="1727" y="1787"/>
                      </a:lnTo>
                      <a:lnTo>
                        <a:pt x="1803" y="1806"/>
                      </a:lnTo>
                      <a:lnTo>
                        <a:pt x="1878" y="1823"/>
                      </a:lnTo>
                      <a:lnTo>
                        <a:pt x="1955" y="1839"/>
                      </a:lnTo>
                      <a:lnTo>
                        <a:pt x="2031" y="1852"/>
                      </a:lnTo>
                      <a:lnTo>
                        <a:pt x="2108" y="1863"/>
                      </a:lnTo>
                      <a:lnTo>
                        <a:pt x="2183" y="1872"/>
                      </a:lnTo>
                      <a:lnTo>
                        <a:pt x="2259" y="1879"/>
                      </a:lnTo>
                      <a:lnTo>
                        <a:pt x="2334" y="1883"/>
                      </a:lnTo>
                      <a:lnTo>
                        <a:pt x="2408" y="1884"/>
                      </a:lnTo>
                      <a:lnTo>
                        <a:pt x="2480" y="1883"/>
                      </a:lnTo>
                      <a:lnTo>
                        <a:pt x="2553" y="1879"/>
                      </a:lnTo>
                      <a:lnTo>
                        <a:pt x="2624" y="1872"/>
                      </a:lnTo>
                      <a:lnTo>
                        <a:pt x="2693" y="1862"/>
                      </a:lnTo>
                      <a:lnTo>
                        <a:pt x="2761" y="1849"/>
                      </a:lnTo>
                      <a:lnTo>
                        <a:pt x="2827" y="1832"/>
                      </a:lnTo>
                      <a:lnTo>
                        <a:pt x="2891" y="1812"/>
                      </a:lnTo>
                      <a:lnTo>
                        <a:pt x="2952" y="1789"/>
                      </a:lnTo>
                      <a:lnTo>
                        <a:pt x="3012" y="1761"/>
                      </a:lnTo>
                      <a:lnTo>
                        <a:pt x="3069" y="1730"/>
                      </a:lnTo>
                      <a:lnTo>
                        <a:pt x="3104" y="1708"/>
                      </a:lnTo>
                      <a:lnTo>
                        <a:pt x="3137" y="1687"/>
                      </a:lnTo>
                      <a:lnTo>
                        <a:pt x="3169" y="1665"/>
                      </a:lnTo>
                      <a:lnTo>
                        <a:pt x="3201" y="1642"/>
                      </a:lnTo>
                      <a:lnTo>
                        <a:pt x="3232" y="1618"/>
                      </a:lnTo>
                      <a:lnTo>
                        <a:pt x="3261" y="1594"/>
                      </a:lnTo>
                      <a:lnTo>
                        <a:pt x="3290" y="1568"/>
                      </a:lnTo>
                      <a:lnTo>
                        <a:pt x="3316" y="1543"/>
                      </a:lnTo>
                      <a:lnTo>
                        <a:pt x="3343" y="1516"/>
                      </a:lnTo>
                      <a:lnTo>
                        <a:pt x="3367" y="1489"/>
                      </a:lnTo>
                      <a:lnTo>
                        <a:pt x="3392" y="1461"/>
                      </a:lnTo>
                      <a:lnTo>
                        <a:pt x="3414" y="1432"/>
                      </a:lnTo>
                      <a:lnTo>
                        <a:pt x="3435" y="1404"/>
                      </a:lnTo>
                      <a:lnTo>
                        <a:pt x="3455" y="1373"/>
                      </a:lnTo>
                      <a:lnTo>
                        <a:pt x="3474" y="1343"/>
                      </a:lnTo>
                      <a:lnTo>
                        <a:pt x="3492" y="1312"/>
                      </a:lnTo>
                      <a:lnTo>
                        <a:pt x="3508" y="1280"/>
                      </a:lnTo>
                      <a:lnTo>
                        <a:pt x="3522" y="1248"/>
                      </a:lnTo>
                      <a:lnTo>
                        <a:pt x="3536" y="1215"/>
                      </a:lnTo>
                      <a:lnTo>
                        <a:pt x="3547" y="1181"/>
                      </a:lnTo>
                      <a:lnTo>
                        <a:pt x="3557" y="1148"/>
                      </a:lnTo>
                      <a:lnTo>
                        <a:pt x="3566" y="1112"/>
                      </a:lnTo>
                      <a:lnTo>
                        <a:pt x="3572" y="1076"/>
                      </a:lnTo>
                      <a:lnTo>
                        <a:pt x="3577" y="1041"/>
                      </a:lnTo>
                      <a:lnTo>
                        <a:pt x="3580" y="1003"/>
                      </a:lnTo>
                      <a:lnTo>
                        <a:pt x="3582" y="966"/>
                      </a:lnTo>
                      <a:lnTo>
                        <a:pt x="3581" y="928"/>
                      </a:lnTo>
                      <a:lnTo>
                        <a:pt x="3580" y="889"/>
                      </a:lnTo>
                      <a:lnTo>
                        <a:pt x="3576" y="849"/>
                      </a:lnTo>
                      <a:lnTo>
                        <a:pt x="3570" y="809"/>
                      </a:lnTo>
                      <a:lnTo>
                        <a:pt x="3562" y="769"/>
                      </a:lnTo>
                      <a:lnTo>
                        <a:pt x="3553" y="728"/>
                      </a:lnTo>
                      <a:close/>
                    </a:path>
                  </a:pathLst>
                </a:custGeom>
                <a:solidFill>
                  <a:srgbClr val="1B233E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209" name="Freeform 208"/>
                <p:cNvSpPr>
                  <a:spLocks/>
                </p:cNvSpPr>
                <p:nvPr/>
              </p:nvSpPr>
              <p:spPr bwMode="auto">
                <a:xfrm>
                  <a:off x="3634" y="2612"/>
                  <a:ext cx="508" cy="230"/>
                </a:xfrm>
                <a:custGeom>
                  <a:avLst/>
                  <a:gdLst>
                    <a:gd name="T0" fmla="*/ 0 w 3578"/>
                    <a:gd name="T1" fmla="*/ 0 h 1617"/>
                    <a:gd name="T2" fmla="*/ 0 w 3578"/>
                    <a:gd name="T3" fmla="*/ 0 h 1617"/>
                    <a:gd name="T4" fmla="*/ 0 w 3578"/>
                    <a:gd name="T5" fmla="*/ 0 h 1617"/>
                    <a:gd name="T6" fmla="*/ 0 w 3578"/>
                    <a:gd name="T7" fmla="*/ 0 h 1617"/>
                    <a:gd name="T8" fmla="*/ 0 w 3578"/>
                    <a:gd name="T9" fmla="*/ 0 h 1617"/>
                    <a:gd name="T10" fmla="*/ 0 w 3578"/>
                    <a:gd name="T11" fmla="*/ 0 h 1617"/>
                    <a:gd name="T12" fmla="*/ 0 w 3578"/>
                    <a:gd name="T13" fmla="*/ 0 h 1617"/>
                    <a:gd name="T14" fmla="*/ 0 w 3578"/>
                    <a:gd name="T15" fmla="*/ 0 h 1617"/>
                    <a:gd name="T16" fmla="*/ 0 w 3578"/>
                    <a:gd name="T17" fmla="*/ 0 h 1617"/>
                    <a:gd name="T18" fmla="*/ 0 w 3578"/>
                    <a:gd name="T19" fmla="*/ 0 h 1617"/>
                    <a:gd name="T20" fmla="*/ 0 w 3578"/>
                    <a:gd name="T21" fmla="*/ 0 h 1617"/>
                    <a:gd name="T22" fmla="*/ 0 w 3578"/>
                    <a:gd name="T23" fmla="*/ 0 h 1617"/>
                    <a:gd name="T24" fmla="*/ 0 w 3578"/>
                    <a:gd name="T25" fmla="*/ 0 h 1617"/>
                    <a:gd name="T26" fmla="*/ 0 w 3578"/>
                    <a:gd name="T27" fmla="*/ 0 h 1617"/>
                    <a:gd name="T28" fmla="*/ 0 w 3578"/>
                    <a:gd name="T29" fmla="*/ 0 h 1617"/>
                    <a:gd name="T30" fmla="*/ 0 w 3578"/>
                    <a:gd name="T31" fmla="*/ 0 h 1617"/>
                    <a:gd name="T32" fmla="*/ 0 w 3578"/>
                    <a:gd name="T33" fmla="*/ 0 h 1617"/>
                    <a:gd name="T34" fmla="*/ 0 w 3578"/>
                    <a:gd name="T35" fmla="*/ 0 h 1617"/>
                    <a:gd name="T36" fmla="*/ 0 w 3578"/>
                    <a:gd name="T37" fmla="*/ 0 h 1617"/>
                    <a:gd name="T38" fmla="*/ 0 w 3578"/>
                    <a:gd name="T39" fmla="*/ 0 h 1617"/>
                    <a:gd name="T40" fmla="*/ 0 w 3578"/>
                    <a:gd name="T41" fmla="*/ 0 h 1617"/>
                    <a:gd name="T42" fmla="*/ 0 w 3578"/>
                    <a:gd name="T43" fmla="*/ 0 h 1617"/>
                    <a:gd name="T44" fmla="*/ 0 w 3578"/>
                    <a:gd name="T45" fmla="*/ 0 h 1617"/>
                    <a:gd name="T46" fmla="*/ 0 w 3578"/>
                    <a:gd name="T47" fmla="*/ 0 h 1617"/>
                    <a:gd name="T48" fmla="*/ 0 w 3578"/>
                    <a:gd name="T49" fmla="*/ 0 h 1617"/>
                    <a:gd name="T50" fmla="*/ 0 w 3578"/>
                    <a:gd name="T51" fmla="*/ 0 h 1617"/>
                    <a:gd name="T52" fmla="*/ 0 w 3578"/>
                    <a:gd name="T53" fmla="*/ 0 h 1617"/>
                    <a:gd name="T54" fmla="*/ 0 w 3578"/>
                    <a:gd name="T55" fmla="*/ 0 h 1617"/>
                    <a:gd name="T56" fmla="*/ 0 w 3578"/>
                    <a:gd name="T57" fmla="*/ 0 h 1617"/>
                    <a:gd name="T58" fmla="*/ 0 w 3578"/>
                    <a:gd name="T59" fmla="*/ 0 h 1617"/>
                    <a:gd name="T60" fmla="*/ 0 w 3578"/>
                    <a:gd name="T61" fmla="*/ 0 h 1617"/>
                    <a:gd name="T62" fmla="*/ 0 w 3578"/>
                    <a:gd name="T63" fmla="*/ 0 h 1617"/>
                    <a:gd name="T64" fmla="*/ 0 w 3578"/>
                    <a:gd name="T65" fmla="*/ 0 h 1617"/>
                    <a:gd name="T66" fmla="*/ 0 w 3578"/>
                    <a:gd name="T67" fmla="*/ 0 h 1617"/>
                    <a:gd name="T68" fmla="*/ 0 w 3578"/>
                    <a:gd name="T69" fmla="*/ 0 h 1617"/>
                    <a:gd name="T70" fmla="*/ 0 w 3578"/>
                    <a:gd name="T71" fmla="*/ 0 h 1617"/>
                    <a:gd name="T72" fmla="*/ 0 w 3578"/>
                    <a:gd name="T73" fmla="*/ 0 h 1617"/>
                    <a:gd name="T74" fmla="*/ 0 w 3578"/>
                    <a:gd name="T75" fmla="*/ 0 h 1617"/>
                    <a:gd name="T76" fmla="*/ 0 w 3578"/>
                    <a:gd name="T77" fmla="*/ 0 h 1617"/>
                    <a:gd name="T78" fmla="*/ 0 w 3578"/>
                    <a:gd name="T79" fmla="*/ 0 h 1617"/>
                    <a:gd name="T80" fmla="*/ 0 w 3578"/>
                    <a:gd name="T81" fmla="*/ 0 h 1617"/>
                    <a:gd name="T82" fmla="*/ 0 w 3578"/>
                    <a:gd name="T83" fmla="*/ 0 h 1617"/>
                    <a:gd name="T84" fmla="*/ 0 w 3578"/>
                    <a:gd name="T85" fmla="*/ 0 h 1617"/>
                    <a:gd name="T86" fmla="*/ 0 w 3578"/>
                    <a:gd name="T87" fmla="*/ 0 h 1617"/>
                    <a:gd name="T88" fmla="*/ 0 w 3578"/>
                    <a:gd name="T89" fmla="*/ 0 h 1617"/>
                    <a:gd name="T90" fmla="*/ 0 w 3578"/>
                    <a:gd name="T91" fmla="*/ 0 h 1617"/>
                    <a:gd name="T92" fmla="*/ 0 w 3578"/>
                    <a:gd name="T93" fmla="*/ 0 h 1617"/>
                    <a:gd name="T94" fmla="*/ 0 w 3578"/>
                    <a:gd name="T95" fmla="*/ 0 h 1617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3578"/>
                    <a:gd name="T145" fmla="*/ 0 h 1617"/>
                    <a:gd name="T146" fmla="*/ 3578 w 3578"/>
                    <a:gd name="T147" fmla="*/ 1617 h 1617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3578" h="1617">
                      <a:moveTo>
                        <a:pt x="184" y="291"/>
                      </a:moveTo>
                      <a:lnTo>
                        <a:pt x="218" y="282"/>
                      </a:lnTo>
                      <a:lnTo>
                        <a:pt x="257" y="273"/>
                      </a:lnTo>
                      <a:lnTo>
                        <a:pt x="302" y="263"/>
                      </a:lnTo>
                      <a:lnTo>
                        <a:pt x="351" y="255"/>
                      </a:lnTo>
                      <a:lnTo>
                        <a:pt x="403" y="246"/>
                      </a:lnTo>
                      <a:lnTo>
                        <a:pt x="461" y="237"/>
                      </a:lnTo>
                      <a:lnTo>
                        <a:pt x="522" y="229"/>
                      </a:lnTo>
                      <a:lnTo>
                        <a:pt x="588" y="222"/>
                      </a:lnTo>
                      <a:lnTo>
                        <a:pt x="656" y="214"/>
                      </a:lnTo>
                      <a:lnTo>
                        <a:pt x="728" y="206"/>
                      </a:lnTo>
                      <a:lnTo>
                        <a:pt x="803" y="201"/>
                      </a:lnTo>
                      <a:lnTo>
                        <a:pt x="880" y="194"/>
                      </a:lnTo>
                      <a:lnTo>
                        <a:pt x="961" y="188"/>
                      </a:lnTo>
                      <a:lnTo>
                        <a:pt x="1043" y="184"/>
                      </a:lnTo>
                      <a:lnTo>
                        <a:pt x="1126" y="179"/>
                      </a:lnTo>
                      <a:lnTo>
                        <a:pt x="1213" y="176"/>
                      </a:lnTo>
                      <a:lnTo>
                        <a:pt x="1300" y="173"/>
                      </a:lnTo>
                      <a:lnTo>
                        <a:pt x="1389" y="172"/>
                      </a:lnTo>
                      <a:lnTo>
                        <a:pt x="1479" y="170"/>
                      </a:lnTo>
                      <a:lnTo>
                        <a:pt x="1571" y="170"/>
                      </a:lnTo>
                      <a:lnTo>
                        <a:pt x="1662" y="172"/>
                      </a:lnTo>
                      <a:lnTo>
                        <a:pt x="1753" y="174"/>
                      </a:lnTo>
                      <a:lnTo>
                        <a:pt x="1845" y="177"/>
                      </a:lnTo>
                      <a:lnTo>
                        <a:pt x="1937" y="182"/>
                      </a:lnTo>
                      <a:lnTo>
                        <a:pt x="2028" y="187"/>
                      </a:lnTo>
                      <a:lnTo>
                        <a:pt x="2118" y="194"/>
                      </a:lnTo>
                      <a:lnTo>
                        <a:pt x="2208" y="203"/>
                      </a:lnTo>
                      <a:lnTo>
                        <a:pt x="2297" y="212"/>
                      </a:lnTo>
                      <a:lnTo>
                        <a:pt x="2384" y="223"/>
                      </a:lnTo>
                      <a:lnTo>
                        <a:pt x="2470" y="235"/>
                      </a:lnTo>
                      <a:lnTo>
                        <a:pt x="2554" y="250"/>
                      </a:lnTo>
                      <a:lnTo>
                        <a:pt x="2636" y="265"/>
                      </a:lnTo>
                      <a:lnTo>
                        <a:pt x="2672" y="274"/>
                      </a:lnTo>
                      <a:lnTo>
                        <a:pt x="2708" y="285"/>
                      </a:lnTo>
                      <a:lnTo>
                        <a:pt x="2744" y="298"/>
                      </a:lnTo>
                      <a:lnTo>
                        <a:pt x="2780" y="314"/>
                      </a:lnTo>
                      <a:lnTo>
                        <a:pt x="2815" y="333"/>
                      </a:lnTo>
                      <a:lnTo>
                        <a:pt x="2850" y="353"/>
                      </a:lnTo>
                      <a:lnTo>
                        <a:pt x="2885" y="374"/>
                      </a:lnTo>
                      <a:lnTo>
                        <a:pt x="2919" y="399"/>
                      </a:lnTo>
                      <a:lnTo>
                        <a:pt x="2954" y="424"/>
                      </a:lnTo>
                      <a:lnTo>
                        <a:pt x="2987" y="451"/>
                      </a:lnTo>
                      <a:lnTo>
                        <a:pt x="3020" y="480"/>
                      </a:lnTo>
                      <a:lnTo>
                        <a:pt x="3052" y="510"/>
                      </a:lnTo>
                      <a:lnTo>
                        <a:pt x="3084" y="542"/>
                      </a:lnTo>
                      <a:lnTo>
                        <a:pt x="3114" y="574"/>
                      </a:lnTo>
                      <a:lnTo>
                        <a:pt x="3145" y="608"/>
                      </a:lnTo>
                      <a:lnTo>
                        <a:pt x="3174" y="642"/>
                      </a:lnTo>
                      <a:lnTo>
                        <a:pt x="3202" y="678"/>
                      </a:lnTo>
                      <a:lnTo>
                        <a:pt x="3230" y="715"/>
                      </a:lnTo>
                      <a:lnTo>
                        <a:pt x="3257" y="751"/>
                      </a:lnTo>
                      <a:lnTo>
                        <a:pt x="3282" y="789"/>
                      </a:lnTo>
                      <a:lnTo>
                        <a:pt x="3307" y="827"/>
                      </a:lnTo>
                      <a:lnTo>
                        <a:pt x="3330" y="865"/>
                      </a:lnTo>
                      <a:lnTo>
                        <a:pt x="3352" y="904"/>
                      </a:lnTo>
                      <a:lnTo>
                        <a:pt x="3374" y="942"/>
                      </a:lnTo>
                      <a:lnTo>
                        <a:pt x="3394" y="981"/>
                      </a:lnTo>
                      <a:lnTo>
                        <a:pt x="3413" y="1018"/>
                      </a:lnTo>
                      <a:lnTo>
                        <a:pt x="3429" y="1057"/>
                      </a:lnTo>
                      <a:lnTo>
                        <a:pt x="3445" y="1095"/>
                      </a:lnTo>
                      <a:lnTo>
                        <a:pt x="3459" y="1132"/>
                      </a:lnTo>
                      <a:lnTo>
                        <a:pt x="3473" y="1169"/>
                      </a:lnTo>
                      <a:lnTo>
                        <a:pt x="3484" y="1205"/>
                      </a:lnTo>
                      <a:lnTo>
                        <a:pt x="3494" y="1240"/>
                      </a:lnTo>
                      <a:lnTo>
                        <a:pt x="3499" y="1266"/>
                      </a:lnTo>
                      <a:lnTo>
                        <a:pt x="3505" y="1291"/>
                      </a:lnTo>
                      <a:lnTo>
                        <a:pt x="3509" y="1316"/>
                      </a:lnTo>
                      <a:lnTo>
                        <a:pt x="3513" y="1340"/>
                      </a:lnTo>
                      <a:lnTo>
                        <a:pt x="3516" y="1365"/>
                      </a:lnTo>
                      <a:lnTo>
                        <a:pt x="3518" y="1389"/>
                      </a:lnTo>
                      <a:lnTo>
                        <a:pt x="3520" y="1412"/>
                      </a:lnTo>
                      <a:lnTo>
                        <a:pt x="3522" y="1437"/>
                      </a:lnTo>
                      <a:lnTo>
                        <a:pt x="3522" y="1460"/>
                      </a:lnTo>
                      <a:lnTo>
                        <a:pt x="3522" y="1484"/>
                      </a:lnTo>
                      <a:lnTo>
                        <a:pt x="3520" y="1506"/>
                      </a:lnTo>
                      <a:lnTo>
                        <a:pt x="3519" y="1529"/>
                      </a:lnTo>
                      <a:lnTo>
                        <a:pt x="3517" y="1552"/>
                      </a:lnTo>
                      <a:lnTo>
                        <a:pt x="3514" y="1574"/>
                      </a:lnTo>
                      <a:lnTo>
                        <a:pt x="3510" y="1596"/>
                      </a:lnTo>
                      <a:lnTo>
                        <a:pt x="3506" y="1617"/>
                      </a:lnTo>
                      <a:lnTo>
                        <a:pt x="3519" y="1587"/>
                      </a:lnTo>
                      <a:lnTo>
                        <a:pt x="3532" y="1557"/>
                      </a:lnTo>
                      <a:lnTo>
                        <a:pt x="3542" y="1526"/>
                      </a:lnTo>
                      <a:lnTo>
                        <a:pt x="3552" y="1494"/>
                      </a:lnTo>
                      <a:lnTo>
                        <a:pt x="3559" y="1461"/>
                      </a:lnTo>
                      <a:lnTo>
                        <a:pt x="3566" y="1429"/>
                      </a:lnTo>
                      <a:lnTo>
                        <a:pt x="3572" y="1396"/>
                      </a:lnTo>
                      <a:lnTo>
                        <a:pt x="3575" y="1361"/>
                      </a:lnTo>
                      <a:lnTo>
                        <a:pt x="3577" y="1327"/>
                      </a:lnTo>
                      <a:lnTo>
                        <a:pt x="3578" y="1292"/>
                      </a:lnTo>
                      <a:lnTo>
                        <a:pt x="3577" y="1257"/>
                      </a:lnTo>
                      <a:lnTo>
                        <a:pt x="3575" y="1220"/>
                      </a:lnTo>
                      <a:lnTo>
                        <a:pt x="3572" y="1183"/>
                      </a:lnTo>
                      <a:lnTo>
                        <a:pt x="3566" y="1146"/>
                      </a:lnTo>
                      <a:lnTo>
                        <a:pt x="3558" y="1109"/>
                      </a:lnTo>
                      <a:lnTo>
                        <a:pt x="3549" y="1071"/>
                      </a:lnTo>
                      <a:lnTo>
                        <a:pt x="3541" y="1035"/>
                      </a:lnTo>
                      <a:lnTo>
                        <a:pt x="3529" y="1000"/>
                      </a:lnTo>
                      <a:lnTo>
                        <a:pt x="3516" y="963"/>
                      </a:lnTo>
                      <a:lnTo>
                        <a:pt x="3502" y="925"/>
                      </a:lnTo>
                      <a:lnTo>
                        <a:pt x="3486" y="887"/>
                      </a:lnTo>
                      <a:lnTo>
                        <a:pt x="3469" y="849"/>
                      </a:lnTo>
                      <a:lnTo>
                        <a:pt x="3450" y="810"/>
                      </a:lnTo>
                      <a:lnTo>
                        <a:pt x="3430" y="773"/>
                      </a:lnTo>
                      <a:lnTo>
                        <a:pt x="3409" y="734"/>
                      </a:lnTo>
                      <a:lnTo>
                        <a:pt x="3387" y="695"/>
                      </a:lnTo>
                      <a:lnTo>
                        <a:pt x="3364" y="657"/>
                      </a:lnTo>
                      <a:lnTo>
                        <a:pt x="3339" y="619"/>
                      </a:lnTo>
                      <a:lnTo>
                        <a:pt x="3313" y="581"/>
                      </a:lnTo>
                      <a:lnTo>
                        <a:pt x="3287" y="544"/>
                      </a:lnTo>
                      <a:lnTo>
                        <a:pt x="3259" y="509"/>
                      </a:lnTo>
                      <a:lnTo>
                        <a:pt x="3231" y="473"/>
                      </a:lnTo>
                      <a:lnTo>
                        <a:pt x="3201" y="438"/>
                      </a:lnTo>
                      <a:lnTo>
                        <a:pt x="3171" y="404"/>
                      </a:lnTo>
                      <a:lnTo>
                        <a:pt x="3141" y="372"/>
                      </a:lnTo>
                      <a:lnTo>
                        <a:pt x="3109" y="341"/>
                      </a:lnTo>
                      <a:lnTo>
                        <a:pt x="3076" y="311"/>
                      </a:lnTo>
                      <a:lnTo>
                        <a:pt x="3044" y="282"/>
                      </a:lnTo>
                      <a:lnTo>
                        <a:pt x="3011" y="254"/>
                      </a:lnTo>
                      <a:lnTo>
                        <a:pt x="2976" y="228"/>
                      </a:lnTo>
                      <a:lnTo>
                        <a:pt x="2942" y="205"/>
                      </a:lnTo>
                      <a:lnTo>
                        <a:pt x="2907" y="183"/>
                      </a:lnTo>
                      <a:lnTo>
                        <a:pt x="2872" y="163"/>
                      </a:lnTo>
                      <a:lnTo>
                        <a:pt x="2837" y="145"/>
                      </a:lnTo>
                      <a:lnTo>
                        <a:pt x="2800" y="128"/>
                      </a:lnTo>
                      <a:lnTo>
                        <a:pt x="2765" y="115"/>
                      </a:lnTo>
                      <a:lnTo>
                        <a:pt x="2729" y="104"/>
                      </a:lnTo>
                      <a:lnTo>
                        <a:pt x="2692" y="95"/>
                      </a:lnTo>
                      <a:lnTo>
                        <a:pt x="2611" y="79"/>
                      </a:lnTo>
                      <a:lnTo>
                        <a:pt x="2527" y="66"/>
                      </a:lnTo>
                      <a:lnTo>
                        <a:pt x="2441" y="53"/>
                      </a:lnTo>
                      <a:lnTo>
                        <a:pt x="2354" y="41"/>
                      </a:lnTo>
                      <a:lnTo>
                        <a:pt x="2265" y="33"/>
                      </a:lnTo>
                      <a:lnTo>
                        <a:pt x="2175" y="24"/>
                      </a:lnTo>
                      <a:lnTo>
                        <a:pt x="2085" y="17"/>
                      </a:lnTo>
                      <a:lnTo>
                        <a:pt x="1993" y="11"/>
                      </a:lnTo>
                      <a:lnTo>
                        <a:pt x="1902" y="7"/>
                      </a:lnTo>
                      <a:lnTo>
                        <a:pt x="1810" y="4"/>
                      </a:lnTo>
                      <a:lnTo>
                        <a:pt x="1719" y="1"/>
                      </a:lnTo>
                      <a:lnTo>
                        <a:pt x="1627" y="0"/>
                      </a:lnTo>
                      <a:lnTo>
                        <a:pt x="1536" y="0"/>
                      </a:lnTo>
                      <a:lnTo>
                        <a:pt x="1446" y="1"/>
                      </a:lnTo>
                      <a:lnTo>
                        <a:pt x="1357" y="4"/>
                      </a:lnTo>
                      <a:lnTo>
                        <a:pt x="1270" y="6"/>
                      </a:lnTo>
                      <a:lnTo>
                        <a:pt x="1183" y="9"/>
                      </a:lnTo>
                      <a:lnTo>
                        <a:pt x="1099" y="14"/>
                      </a:lnTo>
                      <a:lnTo>
                        <a:pt x="1017" y="18"/>
                      </a:lnTo>
                      <a:lnTo>
                        <a:pt x="937" y="24"/>
                      </a:lnTo>
                      <a:lnTo>
                        <a:pt x="859" y="30"/>
                      </a:lnTo>
                      <a:lnTo>
                        <a:pt x="785" y="37"/>
                      </a:lnTo>
                      <a:lnTo>
                        <a:pt x="712" y="44"/>
                      </a:lnTo>
                      <a:lnTo>
                        <a:pt x="644" y="51"/>
                      </a:lnTo>
                      <a:lnTo>
                        <a:pt x="579" y="59"/>
                      </a:lnTo>
                      <a:lnTo>
                        <a:pt x="518" y="67"/>
                      </a:lnTo>
                      <a:lnTo>
                        <a:pt x="460" y="76"/>
                      </a:lnTo>
                      <a:lnTo>
                        <a:pt x="406" y="85"/>
                      </a:lnTo>
                      <a:lnTo>
                        <a:pt x="358" y="94"/>
                      </a:lnTo>
                      <a:lnTo>
                        <a:pt x="314" y="103"/>
                      </a:lnTo>
                      <a:lnTo>
                        <a:pt x="274" y="112"/>
                      </a:lnTo>
                      <a:lnTo>
                        <a:pt x="240" y="120"/>
                      </a:lnTo>
                      <a:lnTo>
                        <a:pt x="212" y="129"/>
                      </a:lnTo>
                      <a:lnTo>
                        <a:pt x="185" y="140"/>
                      </a:lnTo>
                      <a:lnTo>
                        <a:pt x="160" y="153"/>
                      </a:lnTo>
                      <a:lnTo>
                        <a:pt x="138" y="166"/>
                      </a:lnTo>
                      <a:lnTo>
                        <a:pt x="118" y="181"/>
                      </a:lnTo>
                      <a:lnTo>
                        <a:pt x="99" y="197"/>
                      </a:lnTo>
                      <a:lnTo>
                        <a:pt x="81" y="214"/>
                      </a:lnTo>
                      <a:lnTo>
                        <a:pt x="67" y="233"/>
                      </a:lnTo>
                      <a:lnTo>
                        <a:pt x="52" y="252"/>
                      </a:lnTo>
                      <a:lnTo>
                        <a:pt x="41" y="273"/>
                      </a:lnTo>
                      <a:lnTo>
                        <a:pt x="30" y="294"/>
                      </a:lnTo>
                      <a:lnTo>
                        <a:pt x="21" y="317"/>
                      </a:lnTo>
                      <a:lnTo>
                        <a:pt x="15" y="341"/>
                      </a:lnTo>
                      <a:lnTo>
                        <a:pt x="8" y="365"/>
                      </a:lnTo>
                      <a:lnTo>
                        <a:pt x="3" y="390"/>
                      </a:lnTo>
                      <a:lnTo>
                        <a:pt x="0" y="416"/>
                      </a:lnTo>
                      <a:lnTo>
                        <a:pt x="8" y="405"/>
                      </a:lnTo>
                      <a:lnTo>
                        <a:pt x="16" y="395"/>
                      </a:lnTo>
                      <a:lnTo>
                        <a:pt x="25" y="385"/>
                      </a:lnTo>
                      <a:lnTo>
                        <a:pt x="33" y="375"/>
                      </a:lnTo>
                      <a:lnTo>
                        <a:pt x="42" y="366"/>
                      </a:lnTo>
                      <a:lnTo>
                        <a:pt x="52" y="357"/>
                      </a:lnTo>
                      <a:lnTo>
                        <a:pt x="64" y="349"/>
                      </a:lnTo>
                      <a:lnTo>
                        <a:pt x="75" y="341"/>
                      </a:lnTo>
                      <a:lnTo>
                        <a:pt x="86" y="333"/>
                      </a:lnTo>
                      <a:lnTo>
                        <a:pt x="98" y="326"/>
                      </a:lnTo>
                      <a:lnTo>
                        <a:pt x="111" y="319"/>
                      </a:lnTo>
                      <a:lnTo>
                        <a:pt x="125" y="312"/>
                      </a:lnTo>
                      <a:lnTo>
                        <a:pt x="138" y="306"/>
                      </a:lnTo>
                      <a:lnTo>
                        <a:pt x="153" y="301"/>
                      </a:lnTo>
                      <a:lnTo>
                        <a:pt x="168" y="295"/>
                      </a:lnTo>
                      <a:lnTo>
                        <a:pt x="184" y="291"/>
                      </a:lnTo>
                      <a:close/>
                    </a:path>
                  </a:pathLst>
                </a:custGeom>
                <a:solidFill>
                  <a:srgbClr val="1B457C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210" name="Freeform 209"/>
                <p:cNvSpPr>
                  <a:spLocks/>
                </p:cNvSpPr>
                <p:nvPr/>
              </p:nvSpPr>
              <p:spPr bwMode="auto">
                <a:xfrm>
                  <a:off x="3132" y="2304"/>
                  <a:ext cx="652" cy="558"/>
                </a:xfrm>
                <a:custGeom>
                  <a:avLst/>
                  <a:gdLst>
                    <a:gd name="T0" fmla="*/ 0 w 4574"/>
                    <a:gd name="T1" fmla="*/ 0 h 3909"/>
                    <a:gd name="T2" fmla="*/ 0 w 4574"/>
                    <a:gd name="T3" fmla="*/ 0 h 3909"/>
                    <a:gd name="T4" fmla="*/ 0 w 4574"/>
                    <a:gd name="T5" fmla="*/ 0 h 3909"/>
                    <a:gd name="T6" fmla="*/ 0 w 4574"/>
                    <a:gd name="T7" fmla="*/ 0 h 3909"/>
                    <a:gd name="T8" fmla="*/ 0 w 4574"/>
                    <a:gd name="T9" fmla="*/ 0 h 3909"/>
                    <a:gd name="T10" fmla="*/ 0 w 4574"/>
                    <a:gd name="T11" fmla="*/ 0 h 3909"/>
                    <a:gd name="T12" fmla="*/ 0 w 4574"/>
                    <a:gd name="T13" fmla="*/ 0 h 3909"/>
                    <a:gd name="T14" fmla="*/ 0 w 4574"/>
                    <a:gd name="T15" fmla="*/ 0 h 3909"/>
                    <a:gd name="T16" fmla="*/ 0 w 4574"/>
                    <a:gd name="T17" fmla="*/ 0 h 3909"/>
                    <a:gd name="T18" fmla="*/ 0 w 4574"/>
                    <a:gd name="T19" fmla="*/ 0 h 3909"/>
                    <a:gd name="T20" fmla="*/ 0 w 4574"/>
                    <a:gd name="T21" fmla="*/ 0 h 3909"/>
                    <a:gd name="T22" fmla="*/ 0 w 4574"/>
                    <a:gd name="T23" fmla="*/ 0 h 3909"/>
                    <a:gd name="T24" fmla="*/ 0 w 4574"/>
                    <a:gd name="T25" fmla="*/ 0 h 3909"/>
                    <a:gd name="T26" fmla="*/ 0 w 4574"/>
                    <a:gd name="T27" fmla="*/ 0 h 3909"/>
                    <a:gd name="T28" fmla="*/ 0 w 4574"/>
                    <a:gd name="T29" fmla="*/ 0 h 3909"/>
                    <a:gd name="T30" fmla="*/ 0 w 4574"/>
                    <a:gd name="T31" fmla="*/ 0 h 3909"/>
                    <a:gd name="T32" fmla="*/ 0 w 4574"/>
                    <a:gd name="T33" fmla="*/ 0 h 3909"/>
                    <a:gd name="T34" fmla="*/ 0 w 4574"/>
                    <a:gd name="T35" fmla="*/ 0 h 3909"/>
                    <a:gd name="T36" fmla="*/ 0 w 4574"/>
                    <a:gd name="T37" fmla="*/ 0 h 3909"/>
                    <a:gd name="T38" fmla="*/ 0 w 4574"/>
                    <a:gd name="T39" fmla="*/ 0 h 3909"/>
                    <a:gd name="T40" fmla="*/ 0 w 4574"/>
                    <a:gd name="T41" fmla="*/ 0 h 3909"/>
                    <a:gd name="T42" fmla="*/ 0 w 4574"/>
                    <a:gd name="T43" fmla="*/ 0 h 3909"/>
                    <a:gd name="T44" fmla="*/ 0 w 4574"/>
                    <a:gd name="T45" fmla="*/ 0 h 3909"/>
                    <a:gd name="T46" fmla="*/ 0 w 4574"/>
                    <a:gd name="T47" fmla="*/ 0 h 3909"/>
                    <a:gd name="T48" fmla="*/ 0 w 4574"/>
                    <a:gd name="T49" fmla="*/ 0 h 3909"/>
                    <a:gd name="T50" fmla="*/ 0 w 4574"/>
                    <a:gd name="T51" fmla="*/ 0 h 3909"/>
                    <a:gd name="T52" fmla="*/ 0 w 4574"/>
                    <a:gd name="T53" fmla="*/ 0 h 3909"/>
                    <a:gd name="T54" fmla="*/ 0 w 4574"/>
                    <a:gd name="T55" fmla="*/ 0 h 3909"/>
                    <a:gd name="T56" fmla="*/ 0 w 4574"/>
                    <a:gd name="T57" fmla="*/ 0 h 3909"/>
                    <a:gd name="T58" fmla="*/ 0 w 4574"/>
                    <a:gd name="T59" fmla="*/ 0 h 3909"/>
                    <a:gd name="T60" fmla="*/ 0 w 4574"/>
                    <a:gd name="T61" fmla="*/ 0 h 3909"/>
                    <a:gd name="T62" fmla="*/ 0 w 4574"/>
                    <a:gd name="T63" fmla="*/ 0 h 3909"/>
                    <a:gd name="T64" fmla="*/ 0 w 4574"/>
                    <a:gd name="T65" fmla="*/ 0 h 3909"/>
                    <a:gd name="T66" fmla="*/ 0 w 4574"/>
                    <a:gd name="T67" fmla="*/ 0 h 3909"/>
                    <a:gd name="T68" fmla="*/ 0 w 4574"/>
                    <a:gd name="T69" fmla="*/ 0 h 3909"/>
                    <a:gd name="T70" fmla="*/ 0 w 4574"/>
                    <a:gd name="T71" fmla="*/ 0 h 3909"/>
                    <a:gd name="T72" fmla="*/ 0 w 4574"/>
                    <a:gd name="T73" fmla="*/ 0 h 3909"/>
                    <a:gd name="T74" fmla="*/ 0 w 4574"/>
                    <a:gd name="T75" fmla="*/ 0 h 3909"/>
                    <a:gd name="T76" fmla="*/ 0 w 4574"/>
                    <a:gd name="T77" fmla="*/ 0 h 3909"/>
                    <a:gd name="T78" fmla="*/ 0 w 4574"/>
                    <a:gd name="T79" fmla="*/ 0 h 3909"/>
                    <a:gd name="T80" fmla="*/ 0 w 4574"/>
                    <a:gd name="T81" fmla="*/ 0 h 3909"/>
                    <a:gd name="T82" fmla="*/ 0 w 4574"/>
                    <a:gd name="T83" fmla="*/ 0 h 3909"/>
                    <a:gd name="T84" fmla="*/ 0 w 4574"/>
                    <a:gd name="T85" fmla="*/ 0 h 3909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4574"/>
                    <a:gd name="T130" fmla="*/ 0 h 3909"/>
                    <a:gd name="T131" fmla="*/ 4574 w 4574"/>
                    <a:gd name="T132" fmla="*/ 3909 h 3909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4574" h="3909">
                      <a:moveTo>
                        <a:pt x="4538" y="1754"/>
                      </a:moveTo>
                      <a:lnTo>
                        <a:pt x="4558" y="1950"/>
                      </a:lnTo>
                      <a:lnTo>
                        <a:pt x="4570" y="2133"/>
                      </a:lnTo>
                      <a:lnTo>
                        <a:pt x="4574" y="2305"/>
                      </a:lnTo>
                      <a:lnTo>
                        <a:pt x="4571" y="2465"/>
                      </a:lnTo>
                      <a:lnTo>
                        <a:pt x="4561" y="2614"/>
                      </a:lnTo>
                      <a:lnTo>
                        <a:pt x="4544" y="2753"/>
                      </a:lnTo>
                      <a:lnTo>
                        <a:pt x="4520" y="2881"/>
                      </a:lnTo>
                      <a:lnTo>
                        <a:pt x="4490" y="3000"/>
                      </a:lnTo>
                      <a:lnTo>
                        <a:pt x="4452" y="3109"/>
                      </a:lnTo>
                      <a:lnTo>
                        <a:pt x="4409" y="3209"/>
                      </a:lnTo>
                      <a:lnTo>
                        <a:pt x="4360" y="3301"/>
                      </a:lnTo>
                      <a:lnTo>
                        <a:pt x="4304" y="3383"/>
                      </a:lnTo>
                      <a:lnTo>
                        <a:pt x="4243" y="3459"/>
                      </a:lnTo>
                      <a:lnTo>
                        <a:pt x="4177" y="3525"/>
                      </a:lnTo>
                      <a:lnTo>
                        <a:pt x="4105" y="3587"/>
                      </a:lnTo>
                      <a:lnTo>
                        <a:pt x="4028" y="3640"/>
                      </a:lnTo>
                      <a:lnTo>
                        <a:pt x="3947" y="3687"/>
                      </a:lnTo>
                      <a:lnTo>
                        <a:pt x="3861" y="3729"/>
                      </a:lnTo>
                      <a:lnTo>
                        <a:pt x="3771" y="3765"/>
                      </a:lnTo>
                      <a:lnTo>
                        <a:pt x="3676" y="3796"/>
                      </a:lnTo>
                      <a:lnTo>
                        <a:pt x="3577" y="3821"/>
                      </a:lnTo>
                      <a:lnTo>
                        <a:pt x="3475" y="3844"/>
                      </a:lnTo>
                      <a:lnTo>
                        <a:pt x="3369" y="3862"/>
                      </a:lnTo>
                      <a:lnTo>
                        <a:pt x="3260" y="3876"/>
                      </a:lnTo>
                      <a:lnTo>
                        <a:pt x="3148" y="3887"/>
                      </a:lnTo>
                      <a:lnTo>
                        <a:pt x="3032" y="3895"/>
                      </a:lnTo>
                      <a:lnTo>
                        <a:pt x="2913" y="3902"/>
                      </a:lnTo>
                      <a:lnTo>
                        <a:pt x="2793" y="3905"/>
                      </a:lnTo>
                      <a:lnTo>
                        <a:pt x="2669" y="3907"/>
                      </a:lnTo>
                      <a:lnTo>
                        <a:pt x="2544" y="3908"/>
                      </a:lnTo>
                      <a:lnTo>
                        <a:pt x="2416" y="3909"/>
                      </a:lnTo>
                      <a:lnTo>
                        <a:pt x="2287" y="3909"/>
                      </a:lnTo>
                      <a:lnTo>
                        <a:pt x="2158" y="3909"/>
                      </a:lnTo>
                      <a:lnTo>
                        <a:pt x="2031" y="3909"/>
                      </a:lnTo>
                      <a:lnTo>
                        <a:pt x="1905" y="3908"/>
                      </a:lnTo>
                      <a:lnTo>
                        <a:pt x="1783" y="3906"/>
                      </a:lnTo>
                      <a:lnTo>
                        <a:pt x="1662" y="3903"/>
                      </a:lnTo>
                      <a:lnTo>
                        <a:pt x="1544" y="3897"/>
                      </a:lnTo>
                      <a:lnTo>
                        <a:pt x="1428" y="3889"/>
                      </a:lnTo>
                      <a:lnTo>
                        <a:pt x="1316" y="3879"/>
                      </a:lnTo>
                      <a:lnTo>
                        <a:pt x="1205" y="3866"/>
                      </a:lnTo>
                      <a:lnTo>
                        <a:pt x="1100" y="3849"/>
                      </a:lnTo>
                      <a:lnTo>
                        <a:pt x="997" y="3828"/>
                      </a:lnTo>
                      <a:lnTo>
                        <a:pt x="898" y="3803"/>
                      </a:lnTo>
                      <a:lnTo>
                        <a:pt x="804" y="3773"/>
                      </a:lnTo>
                      <a:lnTo>
                        <a:pt x="713" y="3737"/>
                      </a:lnTo>
                      <a:lnTo>
                        <a:pt x="627" y="3697"/>
                      </a:lnTo>
                      <a:lnTo>
                        <a:pt x="545" y="3650"/>
                      </a:lnTo>
                      <a:lnTo>
                        <a:pt x="469" y="3597"/>
                      </a:lnTo>
                      <a:lnTo>
                        <a:pt x="397" y="3537"/>
                      </a:lnTo>
                      <a:lnTo>
                        <a:pt x="331" y="3470"/>
                      </a:lnTo>
                      <a:lnTo>
                        <a:pt x="269" y="3394"/>
                      </a:lnTo>
                      <a:lnTo>
                        <a:pt x="215" y="3312"/>
                      </a:lnTo>
                      <a:lnTo>
                        <a:pt x="165" y="3221"/>
                      </a:lnTo>
                      <a:lnTo>
                        <a:pt x="121" y="3120"/>
                      </a:lnTo>
                      <a:lnTo>
                        <a:pt x="85" y="3011"/>
                      </a:lnTo>
                      <a:lnTo>
                        <a:pt x="53" y="2892"/>
                      </a:lnTo>
                      <a:lnTo>
                        <a:pt x="30" y="2763"/>
                      </a:lnTo>
                      <a:lnTo>
                        <a:pt x="12" y="2623"/>
                      </a:lnTo>
                      <a:lnTo>
                        <a:pt x="2" y="2473"/>
                      </a:lnTo>
                      <a:lnTo>
                        <a:pt x="0" y="2311"/>
                      </a:lnTo>
                      <a:lnTo>
                        <a:pt x="4" y="2138"/>
                      </a:lnTo>
                      <a:lnTo>
                        <a:pt x="18" y="1952"/>
                      </a:lnTo>
                      <a:lnTo>
                        <a:pt x="38" y="1754"/>
                      </a:lnTo>
                      <a:lnTo>
                        <a:pt x="51" y="1659"/>
                      </a:lnTo>
                      <a:lnTo>
                        <a:pt x="70" y="1568"/>
                      </a:lnTo>
                      <a:lnTo>
                        <a:pt x="95" y="1477"/>
                      </a:lnTo>
                      <a:lnTo>
                        <a:pt x="124" y="1388"/>
                      </a:lnTo>
                      <a:lnTo>
                        <a:pt x="156" y="1301"/>
                      </a:lnTo>
                      <a:lnTo>
                        <a:pt x="194" y="1216"/>
                      </a:lnTo>
                      <a:lnTo>
                        <a:pt x="236" y="1134"/>
                      </a:lnTo>
                      <a:lnTo>
                        <a:pt x="282" y="1053"/>
                      </a:lnTo>
                      <a:lnTo>
                        <a:pt x="332" y="975"/>
                      </a:lnTo>
                      <a:lnTo>
                        <a:pt x="386" y="899"/>
                      </a:lnTo>
                      <a:lnTo>
                        <a:pt x="444" y="826"/>
                      </a:lnTo>
                      <a:lnTo>
                        <a:pt x="505" y="755"/>
                      </a:lnTo>
                      <a:lnTo>
                        <a:pt x="571" y="687"/>
                      </a:lnTo>
                      <a:lnTo>
                        <a:pt x="639" y="621"/>
                      </a:lnTo>
                      <a:lnTo>
                        <a:pt x="711" y="558"/>
                      </a:lnTo>
                      <a:lnTo>
                        <a:pt x="786" y="497"/>
                      </a:lnTo>
                      <a:lnTo>
                        <a:pt x="864" y="441"/>
                      </a:lnTo>
                      <a:lnTo>
                        <a:pt x="944" y="387"/>
                      </a:lnTo>
                      <a:lnTo>
                        <a:pt x="1027" y="336"/>
                      </a:lnTo>
                      <a:lnTo>
                        <a:pt x="1113" y="288"/>
                      </a:lnTo>
                      <a:lnTo>
                        <a:pt x="1201" y="244"/>
                      </a:lnTo>
                      <a:lnTo>
                        <a:pt x="1291" y="204"/>
                      </a:lnTo>
                      <a:lnTo>
                        <a:pt x="1383" y="166"/>
                      </a:lnTo>
                      <a:lnTo>
                        <a:pt x="1478" y="132"/>
                      </a:lnTo>
                      <a:lnTo>
                        <a:pt x="1574" y="101"/>
                      </a:lnTo>
                      <a:lnTo>
                        <a:pt x="1672" y="76"/>
                      </a:lnTo>
                      <a:lnTo>
                        <a:pt x="1772" y="52"/>
                      </a:lnTo>
                      <a:lnTo>
                        <a:pt x="1872" y="33"/>
                      </a:lnTo>
                      <a:lnTo>
                        <a:pt x="1974" y="19"/>
                      </a:lnTo>
                      <a:lnTo>
                        <a:pt x="2078" y="9"/>
                      </a:lnTo>
                      <a:lnTo>
                        <a:pt x="2183" y="2"/>
                      </a:lnTo>
                      <a:lnTo>
                        <a:pt x="2287" y="0"/>
                      </a:lnTo>
                      <a:lnTo>
                        <a:pt x="2393" y="2"/>
                      </a:lnTo>
                      <a:lnTo>
                        <a:pt x="2498" y="9"/>
                      </a:lnTo>
                      <a:lnTo>
                        <a:pt x="2600" y="19"/>
                      </a:lnTo>
                      <a:lnTo>
                        <a:pt x="2702" y="33"/>
                      </a:lnTo>
                      <a:lnTo>
                        <a:pt x="2804" y="52"/>
                      </a:lnTo>
                      <a:lnTo>
                        <a:pt x="2903" y="76"/>
                      </a:lnTo>
                      <a:lnTo>
                        <a:pt x="3001" y="101"/>
                      </a:lnTo>
                      <a:lnTo>
                        <a:pt x="3097" y="132"/>
                      </a:lnTo>
                      <a:lnTo>
                        <a:pt x="3192" y="166"/>
                      </a:lnTo>
                      <a:lnTo>
                        <a:pt x="3284" y="204"/>
                      </a:lnTo>
                      <a:lnTo>
                        <a:pt x="3375" y="244"/>
                      </a:lnTo>
                      <a:lnTo>
                        <a:pt x="3463" y="288"/>
                      </a:lnTo>
                      <a:lnTo>
                        <a:pt x="3548" y="336"/>
                      </a:lnTo>
                      <a:lnTo>
                        <a:pt x="3632" y="387"/>
                      </a:lnTo>
                      <a:lnTo>
                        <a:pt x="3712" y="441"/>
                      </a:lnTo>
                      <a:lnTo>
                        <a:pt x="3790" y="497"/>
                      </a:lnTo>
                      <a:lnTo>
                        <a:pt x="3864" y="558"/>
                      </a:lnTo>
                      <a:lnTo>
                        <a:pt x="3936" y="621"/>
                      </a:lnTo>
                      <a:lnTo>
                        <a:pt x="4005" y="687"/>
                      </a:lnTo>
                      <a:lnTo>
                        <a:pt x="4069" y="755"/>
                      </a:lnTo>
                      <a:lnTo>
                        <a:pt x="4131" y="826"/>
                      </a:lnTo>
                      <a:lnTo>
                        <a:pt x="4189" y="899"/>
                      </a:lnTo>
                      <a:lnTo>
                        <a:pt x="4243" y="975"/>
                      </a:lnTo>
                      <a:lnTo>
                        <a:pt x="4293" y="1053"/>
                      </a:lnTo>
                      <a:lnTo>
                        <a:pt x="4340" y="1134"/>
                      </a:lnTo>
                      <a:lnTo>
                        <a:pt x="4382" y="1216"/>
                      </a:lnTo>
                      <a:lnTo>
                        <a:pt x="4419" y="1301"/>
                      </a:lnTo>
                      <a:lnTo>
                        <a:pt x="4452" y="1388"/>
                      </a:lnTo>
                      <a:lnTo>
                        <a:pt x="4481" y="1477"/>
                      </a:lnTo>
                      <a:lnTo>
                        <a:pt x="4504" y="1568"/>
                      </a:lnTo>
                      <a:lnTo>
                        <a:pt x="4523" y="1659"/>
                      </a:lnTo>
                      <a:lnTo>
                        <a:pt x="4538" y="1754"/>
                      </a:lnTo>
                      <a:close/>
                    </a:path>
                  </a:pathLst>
                </a:custGeom>
                <a:solidFill>
                  <a:srgbClr val="242D54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211" name="Freeform 210"/>
                <p:cNvSpPr>
                  <a:spLocks/>
                </p:cNvSpPr>
                <p:nvPr/>
              </p:nvSpPr>
              <p:spPr bwMode="auto">
                <a:xfrm>
                  <a:off x="3132" y="2460"/>
                  <a:ext cx="652" cy="406"/>
                </a:xfrm>
                <a:custGeom>
                  <a:avLst/>
                  <a:gdLst>
                    <a:gd name="T0" fmla="*/ 0 w 4574"/>
                    <a:gd name="T1" fmla="*/ 0 h 2849"/>
                    <a:gd name="T2" fmla="*/ 0 w 4574"/>
                    <a:gd name="T3" fmla="*/ 0 h 2849"/>
                    <a:gd name="T4" fmla="*/ 0 w 4574"/>
                    <a:gd name="T5" fmla="*/ 0 h 2849"/>
                    <a:gd name="T6" fmla="*/ 0 w 4574"/>
                    <a:gd name="T7" fmla="*/ 0 h 2849"/>
                    <a:gd name="T8" fmla="*/ 0 w 4574"/>
                    <a:gd name="T9" fmla="*/ 0 h 2849"/>
                    <a:gd name="T10" fmla="*/ 0 w 4574"/>
                    <a:gd name="T11" fmla="*/ 0 h 2849"/>
                    <a:gd name="T12" fmla="*/ 0 w 4574"/>
                    <a:gd name="T13" fmla="*/ 0 h 2849"/>
                    <a:gd name="T14" fmla="*/ 0 w 4574"/>
                    <a:gd name="T15" fmla="*/ 0 h 2849"/>
                    <a:gd name="T16" fmla="*/ 0 w 4574"/>
                    <a:gd name="T17" fmla="*/ 0 h 2849"/>
                    <a:gd name="T18" fmla="*/ 0 w 4574"/>
                    <a:gd name="T19" fmla="*/ 0 h 2849"/>
                    <a:gd name="T20" fmla="*/ 0 w 4574"/>
                    <a:gd name="T21" fmla="*/ 0 h 2849"/>
                    <a:gd name="T22" fmla="*/ 0 w 4574"/>
                    <a:gd name="T23" fmla="*/ 0 h 2849"/>
                    <a:gd name="T24" fmla="*/ 0 w 4574"/>
                    <a:gd name="T25" fmla="*/ 0 h 2849"/>
                    <a:gd name="T26" fmla="*/ 0 w 4574"/>
                    <a:gd name="T27" fmla="*/ 0 h 2849"/>
                    <a:gd name="T28" fmla="*/ 0 w 4574"/>
                    <a:gd name="T29" fmla="*/ 0 h 2849"/>
                    <a:gd name="T30" fmla="*/ 0 w 4574"/>
                    <a:gd name="T31" fmla="*/ 0 h 2849"/>
                    <a:gd name="T32" fmla="*/ 0 w 4574"/>
                    <a:gd name="T33" fmla="*/ 0 h 2849"/>
                    <a:gd name="T34" fmla="*/ 0 w 4574"/>
                    <a:gd name="T35" fmla="*/ 0 h 2849"/>
                    <a:gd name="T36" fmla="*/ 0 w 4574"/>
                    <a:gd name="T37" fmla="*/ 0 h 2849"/>
                    <a:gd name="T38" fmla="*/ 0 w 4574"/>
                    <a:gd name="T39" fmla="*/ 0 h 2849"/>
                    <a:gd name="T40" fmla="*/ 0 w 4574"/>
                    <a:gd name="T41" fmla="*/ 0 h 2849"/>
                    <a:gd name="T42" fmla="*/ 0 w 4574"/>
                    <a:gd name="T43" fmla="*/ 0 h 2849"/>
                    <a:gd name="T44" fmla="*/ 0 w 4574"/>
                    <a:gd name="T45" fmla="*/ 0 h 2849"/>
                    <a:gd name="T46" fmla="*/ 0 w 4574"/>
                    <a:gd name="T47" fmla="*/ 0 h 2849"/>
                    <a:gd name="T48" fmla="*/ 0 w 4574"/>
                    <a:gd name="T49" fmla="*/ 0 h 2849"/>
                    <a:gd name="T50" fmla="*/ 0 w 4574"/>
                    <a:gd name="T51" fmla="*/ 0 h 2849"/>
                    <a:gd name="T52" fmla="*/ 0 w 4574"/>
                    <a:gd name="T53" fmla="*/ 0 h 2849"/>
                    <a:gd name="T54" fmla="*/ 0 w 4574"/>
                    <a:gd name="T55" fmla="*/ 0 h 2849"/>
                    <a:gd name="T56" fmla="*/ 0 w 4574"/>
                    <a:gd name="T57" fmla="*/ 0 h 2849"/>
                    <a:gd name="T58" fmla="*/ 0 w 4574"/>
                    <a:gd name="T59" fmla="*/ 0 h 2849"/>
                    <a:gd name="T60" fmla="*/ 0 w 4574"/>
                    <a:gd name="T61" fmla="*/ 0 h 2849"/>
                    <a:gd name="T62" fmla="*/ 0 w 4574"/>
                    <a:gd name="T63" fmla="*/ 0 h 2849"/>
                    <a:gd name="T64" fmla="*/ 0 w 4574"/>
                    <a:gd name="T65" fmla="*/ 0 h 2849"/>
                    <a:gd name="T66" fmla="*/ 0 w 4574"/>
                    <a:gd name="T67" fmla="*/ 0 h 2849"/>
                    <a:gd name="T68" fmla="*/ 0 w 4574"/>
                    <a:gd name="T69" fmla="*/ 0 h 2849"/>
                    <a:gd name="T70" fmla="*/ 0 w 4574"/>
                    <a:gd name="T71" fmla="*/ 0 h 2849"/>
                    <a:gd name="T72" fmla="*/ 0 w 4574"/>
                    <a:gd name="T73" fmla="*/ 0 h 2849"/>
                    <a:gd name="T74" fmla="*/ 0 w 4574"/>
                    <a:gd name="T75" fmla="*/ 0 h 2849"/>
                    <a:gd name="T76" fmla="*/ 0 w 4574"/>
                    <a:gd name="T77" fmla="*/ 0 h 2849"/>
                    <a:gd name="T78" fmla="*/ 0 w 4574"/>
                    <a:gd name="T79" fmla="*/ 0 h 2849"/>
                    <a:gd name="T80" fmla="*/ 0 w 4574"/>
                    <a:gd name="T81" fmla="*/ 0 h 2849"/>
                    <a:gd name="T82" fmla="*/ 0 w 4574"/>
                    <a:gd name="T83" fmla="*/ 0 h 2849"/>
                    <a:gd name="T84" fmla="*/ 0 w 4574"/>
                    <a:gd name="T85" fmla="*/ 0 h 2849"/>
                    <a:gd name="T86" fmla="*/ 0 w 4574"/>
                    <a:gd name="T87" fmla="*/ 0 h 2849"/>
                    <a:gd name="T88" fmla="*/ 0 w 4574"/>
                    <a:gd name="T89" fmla="*/ 0 h 2849"/>
                    <a:gd name="T90" fmla="*/ 0 w 4574"/>
                    <a:gd name="T91" fmla="*/ 0 h 2849"/>
                    <a:gd name="T92" fmla="*/ 0 w 4574"/>
                    <a:gd name="T93" fmla="*/ 0 h 2849"/>
                    <a:gd name="T94" fmla="*/ 0 w 4574"/>
                    <a:gd name="T95" fmla="*/ 0 h 2849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4574"/>
                    <a:gd name="T145" fmla="*/ 0 h 2849"/>
                    <a:gd name="T146" fmla="*/ 4574 w 4574"/>
                    <a:gd name="T147" fmla="*/ 2849 h 2849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4574" h="2849">
                      <a:moveTo>
                        <a:pt x="4538" y="693"/>
                      </a:moveTo>
                      <a:lnTo>
                        <a:pt x="4531" y="646"/>
                      </a:lnTo>
                      <a:lnTo>
                        <a:pt x="4523" y="601"/>
                      </a:lnTo>
                      <a:lnTo>
                        <a:pt x="4515" y="554"/>
                      </a:lnTo>
                      <a:lnTo>
                        <a:pt x="4505" y="509"/>
                      </a:lnTo>
                      <a:lnTo>
                        <a:pt x="4494" y="464"/>
                      </a:lnTo>
                      <a:lnTo>
                        <a:pt x="4482" y="419"/>
                      </a:lnTo>
                      <a:lnTo>
                        <a:pt x="4468" y="375"/>
                      </a:lnTo>
                      <a:lnTo>
                        <a:pt x="4453" y="331"/>
                      </a:lnTo>
                      <a:lnTo>
                        <a:pt x="4438" y="288"/>
                      </a:lnTo>
                      <a:lnTo>
                        <a:pt x="4421" y="246"/>
                      </a:lnTo>
                      <a:lnTo>
                        <a:pt x="4403" y="203"/>
                      </a:lnTo>
                      <a:lnTo>
                        <a:pt x="4384" y="161"/>
                      </a:lnTo>
                      <a:lnTo>
                        <a:pt x="4364" y="120"/>
                      </a:lnTo>
                      <a:lnTo>
                        <a:pt x="4343" y="80"/>
                      </a:lnTo>
                      <a:lnTo>
                        <a:pt x="4321" y="40"/>
                      </a:lnTo>
                      <a:lnTo>
                        <a:pt x="4297" y="0"/>
                      </a:lnTo>
                      <a:lnTo>
                        <a:pt x="4274" y="32"/>
                      </a:lnTo>
                      <a:lnTo>
                        <a:pt x="4251" y="64"/>
                      </a:lnTo>
                      <a:lnTo>
                        <a:pt x="4226" y="95"/>
                      </a:lnTo>
                      <a:lnTo>
                        <a:pt x="4200" y="125"/>
                      </a:lnTo>
                      <a:lnTo>
                        <a:pt x="4175" y="155"/>
                      </a:lnTo>
                      <a:lnTo>
                        <a:pt x="4148" y="184"/>
                      </a:lnTo>
                      <a:lnTo>
                        <a:pt x="4121" y="212"/>
                      </a:lnTo>
                      <a:lnTo>
                        <a:pt x="4094" y="239"/>
                      </a:lnTo>
                      <a:lnTo>
                        <a:pt x="4054" y="273"/>
                      </a:lnTo>
                      <a:lnTo>
                        <a:pt x="4012" y="307"/>
                      </a:lnTo>
                      <a:lnTo>
                        <a:pt x="3970" y="339"/>
                      </a:lnTo>
                      <a:lnTo>
                        <a:pt x="3926" y="370"/>
                      </a:lnTo>
                      <a:lnTo>
                        <a:pt x="3880" y="400"/>
                      </a:lnTo>
                      <a:lnTo>
                        <a:pt x="3833" y="429"/>
                      </a:lnTo>
                      <a:lnTo>
                        <a:pt x="3784" y="457"/>
                      </a:lnTo>
                      <a:lnTo>
                        <a:pt x="3735" y="484"/>
                      </a:lnTo>
                      <a:lnTo>
                        <a:pt x="3684" y="509"/>
                      </a:lnTo>
                      <a:lnTo>
                        <a:pt x="3633" y="534"/>
                      </a:lnTo>
                      <a:lnTo>
                        <a:pt x="3581" y="557"/>
                      </a:lnTo>
                      <a:lnTo>
                        <a:pt x="3527" y="579"/>
                      </a:lnTo>
                      <a:lnTo>
                        <a:pt x="3474" y="602"/>
                      </a:lnTo>
                      <a:lnTo>
                        <a:pt x="3419" y="623"/>
                      </a:lnTo>
                      <a:lnTo>
                        <a:pt x="3363" y="643"/>
                      </a:lnTo>
                      <a:lnTo>
                        <a:pt x="3309" y="662"/>
                      </a:lnTo>
                      <a:lnTo>
                        <a:pt x="3252" y="680"/>
                      </a:lnTo>
                      <a:lnTo>
                        <a:pt x="3197" y="697"/>
                      </a:lnTo>
                      <a:lnTo>
                        <a:pt x="3141" y="715"/>
                      </a:lnTo>
                      <a:lnTo>
                        <a:pt x="3084" y="731"/>
                      </a:lnTo>
                      <a:lnTo>
                        <a:pt x="2972" y="762"/>
                      </a:lnTo>
                      <a:lnTo>
                        <a:pt x="2860" y="790"/>
                      </a:lnTo>
                      <a:lnTo>
                        <a:pt x="2750" y="815"/>
                      </a:lnTo>
                      <a:lnTo>
                        <a:pt x="2643" y="840"/>
                      </a:lnTo>
                      <a:lnTo>
                        <a:pt x="2539" y="863"/>
                      </a:lnTo>
                      <a:lnTo>
                        <a:pt x="2439" y="884"/>
                      </a:lnTo>
                      <a:lnTo>
                        <a:pt x="2368" y="899"/>
                      </a:lnTo>
                      <a:lnTo>
                        <a:pt x="2297" y="910"/>
                      </a:lnTo>
                      <a:lnTo>
                        <a:pt x="2226" y="921"/>
                      </a:lnTo>
                      <a:lnTo>
                        <a:pt x="2154" y="929"/>
                      </a:lnTo>
                      <a:lnTo>
                        <a:pt x="2081" y="936"/>
                      </a:lnTo>
                      <a:lnTo>
                        <a:pt x="2009" y="941"/>
                      </a:lnTo>
                      <a:lnTo>
                        <a:pt x="1935" y="944"/>
                      </a:lnTo>
                      <a:lnTo>
                        <a:pt x="1862" y="948"/>
                      </a:lnTo>
                      <a:lnTo>
                        <a:pt x="1787" y="948"/>
                      </a:lnTo>
                      <a:lnTo>
                        <a:pt x="1713" y="948"/>
                      </a:lnTo>
                      <a:lnTo>
                        <a:pt x="1638" y="947"/>
                      </a:lnTo>
                      <a:lnTo>
                        <a:pt x="1563" y="944"/>
                      </a:lnTo>
                      <a:lnTo>
                        <a:pt x="1488" y="940"/>
                      </a:lnTo>
                      <a:lnTo>
                        <a:pt x="1412" y="936"/>
                      </a:lnTo>
                      <a:lnTo>
                        <a:pt x="1337" y="930"/>
                      </a:lnTo>
                      <a:lnTo>
                        <a:pt x="1261" y="924"/>
                      </a:lnTo>
                      <a:lnTo>
                        <a:pt x="1185" y="917"/>
                      </a:lnTo>
                      <a:lnTo>
                        <a:pt x="1111" y="910"/>
                      </a:lnTo>
                      <a:lnTo>
                        <a:pt x="1035" y="901"/>
                      </a:lnTo>
                      <a:lnTo>
                        <a:pt x="959" y="892"/>
                      </a:lnTo>
                      <a:lnTo>
                        <a:pt x="809" y="873"/>
                      </a:lnTo>
                      <a:lnTo>
                        <a:pt x="660" y="853"/>
                      </a:lnTo>
                      <a:lnTo>
                        <a:pt x="512" y="833"/>
                      </a:lnTo>
                      <a:lnTo>
                        <a:pt x="366" y="812"/>
                      </a:lnTo>
                      <a:lnTo>
                        <a:pt x="221" y="792"/>
                      </a:lnTo>
                      <a:lnTo>
                        <a:pt x="80" y="773"/>
                      </a:lnTo>
                      <a:lnTo>
                        <a:pt x="68" y="771"/>
                      </a:lnTo>
                      <a:lnTo>
                        <a:pt x="55" y="770"/>
                      </a:lnTo>
                      <a:lnTo>
                        <a:pt x="42" y="769"/>
                      </a:lnTo>
                      <a:lnTo>
                        <a:pt x="30" y="766"/>
                      </a:lnTo>
                      <a:lnTo>
                        <a:pt x="12" y="958"/>
                      </a:lnTo>
                      <a:lnTo>
                        <a:pt x="2" y="1137"/>
                      </a:lnTo>
                      <a:lnTo>
                        <a:pt x="0" y="1305"/>
                      </a:lnTo>
                      <a:lnTo>
                        <a:pt x="6" y="1461"/>
                      </a:lnTo>
                      <a:lnTo>
                        <a:pt x="18" y="1607"/>
                      </a:lnTo>
                      <a:lnTo>
                        <a:pt x="37" y="1741"/>
                      </a:lnTo>
                      <a:lnTo>
                        <a:pt x="62" y="1866"/>
                      </a:lnTo>
                      <a:lnTo>
                        <a:pt x="95" y="1981"/>
                      </a:lnTo>
                      <a:lnTo>
                        <a:pt x="132" y="2086"/>
                      </a:lnTo>
                      <a:lnTo>
                        <a:pt x="177" y="2183"/>
                      </a:lnTo>
                      <a:lnTo>
                        <a:pt x="227" y="2271"/>
                      </a:lnTo>
                      <a:lnTo>
                        <a:pt x="284" y="2351"/>
                      </a:lnTo>
                      <a:lnTo>
                        <a:pt x="345" y="2423"/>
                      </a:lnTo>
                      <a:lnTo>
                        <a:pt x="412" y="2489"/>
                      </a:lnTo>
                      <a:lnTo>
                        <a:pt x="483" y="2547"/>
                      </a:lnTo>
                      <a:lnTo>
                        <a:pt x="560" y="2598"/>
                      </a:lnTo>
                      <a:lnTo>
                        <a:pt x="641" y="2643"/>
                      </a:lnTo>
                      <a:lnTo>
                        <a:pt x="728" y="2683"/>
                      </a:lnTo>
                      <a:lnTo>
                        <a:pt x="818" y="2716"/>
                      </a:lnTo>
                      <a:lnTo>
                        <a:pt x="912" y="2745"/>
                      </a:lnTo>
                      <a:lnTo>
                        <a:pt x="1009" y="2770"/>
                      </a:lnTo>
                      <a:lnTo>
                        <a:pt x="1112" y="2791"/>
                      </a:lnTo>
                      <a:lnTo>
                        <a:pt x="1217" y="2806"/>
                      </a:lnTo>
                      <a:lnTo>
                        <a:pt x="1326" y="2820"/>
                      </a:lnTo>
                      <a:lnTo>
                        <a:pt x="1437" y="2830"/>
                      </a:lnTo>
                      <a:lnTo>
                        <a:pt x="1552" y="2837"/>
                      </a:lnTo>
                      <a:lnTo>
                        <a:pt x="1668" y="2842"/>
                      </a:lnTo>
                      <a:lnTo>
                        <a:pt x="1789" y="2845"/>
                      </a:lnTo>
                      <a:lnTo>
                        <a:pt x="1910" y="2847"/>
                      </a:lnTo>
                      <a:lnTo>
                        <a:pt x="2035" y="2849"/>
                      </a:lnTo>
                      <a:lnTo>
                        <a:pt x="2160" y="2849"/>
                      </a:lnTo>
                      <a:lnTo>
                        <a:pt x="2287" y="2849"/>
                      </a:lnTo>
                      <a:lnTo>
                        <a:pt x="2416" y="2849"/>
                      </a:lnTo>
                      <a:lnTo>
                        <a:pt x="2544" y="2849"/>
                      </a:lnTo>
                      <a:lnTo>
                        <a:pt x="2669" y="2846"/>
                      </a:lnTo>
                      <a:lnTo>
                        <a:pt x="2793" y="2844"/>
                      </a:lnTo>
                      <a:lnTo>
                        <a:pt x="2913" y="2841"/>
                      </a:lnTo>
                      <a:lnTo>
                        <a:pt x="3032" y="2834"/>
                      </a:lnTo>
                      <a:lnTo>
                        <a:pt x="3148" y="2826"/>
                      </a:lnTo>
                      <a:lnTo>
                        <a:pt x="3260" y="2815"/>
                      </a:lnTo>
                      <a:lnTo>
                        <a:pt x="3369" y="2801"/>
                      </a:lnTo>
                      <a:lnTo>
                        <a:pt x="3475" y="2783"/>
                      </a:lnTo>
                      <a:lnTo>
                        <a:pt x="3577" y="2761"/>
                      </a:lnTo>
                      <a:lnTo>
                        <a:pt x="3676" y="2735"/>
                      </a:lnTo>
                      <a:lnTo>
                        <a:pt x="3771" y="2704"/>
                      </a:lnTo>
                      <a:lnTo>
                        <a:pt x="3861" y="2668"/>
                      </a:lnTo>
                      <a:lnTo>
                        <a:pt x="3947" y="2627"/>
                      </a:lnTo>
                      <a:lnTo>
                        <a:pt x="4028" y="2579"/>
                      </a:lnTo>
                      <a:lnTo>
                        <a:pt x="4105" y="2526"/>
                      </a:lnTo>
                      <a:lnTo>
                        <a:pt x="4177" y="2465"/>
                      </a:lnTo>
                      <a:lnTo>
                        <a:pt x="4243" y="2398"/>
                      </a:lnTo>
                      <a:lnTo>
                        <a:pt x="4304" y="2322"/>
                      </a:lnTo>
                      <a:lnTo>
                        <a:pt x="4360" y="2240"/>
                      </a:lnTo>
                      <a:lnTo>
                        <a:pt x="4409" y="2149"/>
                      </a:lnTo>
                      <a:lnTo>
                        <a:pt x="4452" y="2048"/>
                      </a:lnTo>
                      <a:lnTo>
                        <a:pt x="4490" y="1939"/>
                      </a:lnTo>
                      <a:lnTo>
                        <a:pt x="4520" y="1820"/>
                      </a:lnTo>
                      <a:lnTo>
                        <a:pt x="4544" y="1692"/>
                      </a:lnTo>
                      <a:lnTo>
                        <a:pt x="4561" y="1554"/>
                      </a:lnTo>
                      <a:lnTo>
                        <a:pt x="4571" y="1404"/>
                      </a:lnTo>
                      <a:lnTo>
                        <a:pt x="4574" y="1244"/>
                      </a:lnTo>
                      <a:lnTo>
                        <a:pt x="4570" y="1072"/>
                      </a:lnTo>
                      <a:lnTo>
                        <a:pt x="4558" y="889"/>
                      </a:lnTo>
                      <a:lnTo>
                        <a:pt x="4538" y="693"/>
                      </a:lnTo>
                      <a:close/>
                    </a:path>
                  </a:pathLst>
                </a:custGeom>
                <a:solidFill>
                  <a:srgbClr val="1B233E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212" name="Freeform 211"/>
                <p:cNvSpPr>
                  <a:spLocks/>
                </p:cNvSpPr>
                <p:nvPr/>
              </p:nvSpPr>
              <p:spPr bwMode="auto">
                <a:xfrm>
                  <a:off x="2759" y="2608"/>
                  <a:ext cx="511" cy="319"/>
                </a:xfrm>
                <a:custGeom>
                  <a:avLst/>
                  <a:gdLst>
                    <a:gd name="T0" fmla="*/ 0 w 3582"/>
                    <a:gd name="T1" fmla="*/ 0 h 2227"/>
                    <a:gd name="T2" fmla="*/ 0 w 3582"/>
                    <a:gd name="T3" fmla="*/ 0 h 2227"/>
                    <a:gd name="T4" fmla="*/ 0 w 3582"/>
                    <a:gd name="T5" fmla="*/ 0 h 2227"/>
                    <a:gd name="T6" fmla="*/ 0 w 3582"/>
                    <a:gd name="T7" fmla="*/ 0 h 2227"/>
                    <a:gd name="T8" fmla="*/ 0 w 3582"/>
                    <a:gd name="T9" fmla="*/ 0 h 2227"/>
                    <a:gd name="T10" fmla="*/ 0 w 3582"/>
                    <a:gd name="T11" fmla="*/ 0 h 2227"/>
                    <a:gd name="T12" fmla="*/ 0 w 3582"/>
                    <a:gd name="T13" fmla="*/ 0 h 2227"/>
                    <a:gd name="T14" fmla="*/ 0 w 3582"/>
                    <a:gd name="T15" fmla="*/ 0 h 2227"/>
                    <a:gd name="T16" fmla="*/ 0 w 3582"/>
                    <a:gd name="T17" fmla="*/ 0 h 2227"/>
                    <a:gd name="T18" fmla="*/ 0 w 3582"/>
                    <a:gd name="T19" fmla="*/ 0 h 2227"/>
                    <a:gd name="T20" fmla="*/ 0 w 3582"/>
                    <a:gd name="T21" fmla="*/ 0 h 2227"/>
                    <a:gd name="T22" fmla="*/ 0 w 3582"/>
                    <a:gd name="T23" fmla="*/ 0 h 2227"/>
                    <a:gd name="T24" fmla="*/ 0 w 3582"/>
                    <a:gd name="T25" fmla="*/ 0 h 2227"/>
                    <a:gd name="T26" fmla="*/ 0 w 3582"/>
                    <a:gd name="T27" fmla="*/ 0 h 2227"/>
                    <a:gd name="T28" fmla="*/ 0 w 3582"/>
                    <a:gd name="T29" fmla="*/ 0 h 2227"/>
                    <a:gd name="T30" fmla="*/ 0 w 3582"/>
                    <a:gd name="T31" fmla="*/ 0 h 2227"/>
                    <a:gd name="T32" fmla="*/ 0 w 3582"/>
                    <a:gd name="T33" fmla="*/ 0 h 2227"/>
                    <a:gd name="T34" fmla="*/ 0 w 3582"/>
                    <a:gd name="T35" fmla="*/ 0 h 2227"/>
                    <a:gd name="T36" fmla="*/ 0 w 3582"/>
                    <a:gd name="T37" fmla="*/ 0 h 2227"/>
                    <a:gd name="T38" fmla="*/ 0 w 3582"/>
                    <a:gd name="T39" fmla="*/ 0 h 2227"/>
                    <a:gd name="T40" fmla="*/ 0 w 3582"/>
                    <a:gd name="T41" fmla="*/ 0 h 2227"/>
                    <a:gd name="T42" fmla="*/ 0 w 3582"/>
                    <a:gd name="T43" fmla="*/ 0 h 2227"/>
                    <a:gd name="T44" fmla="*/ 0 w 3582"/>
                    <a:gd name="T45" fmla="*/ 0 h 2227"/>
                    <a:gd name="T46" fmla="*/ 0 w 3582"/>
                    <a:gd name="T47" fmla="*/ 0 h 2227"/>
                    <a:gd name="T48" fmla="*/ 0 w 3582"/>
                    <a:gd name="T49" fmla="*/ 0 h 2227"/>
                    <a:gd name="T50" fmla="*/ 0 w 3582"/>
                    <a:gd name="T51" fmla="*/ 0 h 2227"/>
                    <a:gd name="T52" fmla="*/ 0 w 3582"/>
                    <a:gd name="T53" fmla="*/ 0 h 2227"/>
                    <a:gd name="T54" fmla="*/ 0 w 3582"/>
                    <a:gd name="T55" fmla="*/ 0 h 2227"/>
                    <a:gd name="T56" fmla="*/ 0 w 3582"/>
                    <a:gd name="T57" fmla="*/ 0 h 2227"/>
                    <a:gd name="T58" fmla="*/ 0 w 3582"/>
                    <a:gd name="T59" fmla="*/ 0 h 2227"/>
                    <a:gd name="T60" fmla="*/ 0 w 3582"/>
                    <a:gd name="T61" fmla="*/ 0 h 2227"/>
                    <a:gd name="T62" fmla="*/ 0 w 3582"/>
                    <a:gd name="T63" fmla="*/ 0 h 2227"/>
                    <a:gd name="T64" fmla="*/ 0 w 3582"/>
                    <a:gd name="T65" fmla="*/ 0 h 2227"/>
                    <a:gd name="T66" fmla="*/ 0 w 3582"/>
                    <a:gd name="T67" fmla="*/ 0 h 2227"/>
                    <a:gd name="T68" fmla="*/ 0 w 3582"/>
                    <a:gd name="T69" fmla="*/ 0 h 2227"/>
                    <a:gd name="T70" fmla="*/ 0 w 3582"/>
                    <a:gd name="T71" fmla="*/ 0 h 2227"/>
                    <a:gd name="T72" fmla="*/ 0 w 3582"/>
                    <a:gd name="T73" fmla="*/ 0 h 2227"/>
                    <a:gd name="T74" fmla="*/ 0 w 3582"/>
                    <a:gd name="T75" fmla="*/ 0 h 2227"/>
                    <a:gd name="T76" fmla="*/ 0 w 3582"/>
                    <a:gd name="T77" fmla="*/ 0 h 2227"/>
                    <a:gd name="T78" fmla="*/ 0 w 3582"/>
                    <a:gd name="T79" fmla="*/ 0 h 2227"/>
                    <a:gd name="T80" fmla="*/ 0 w 3582"/>
                    <a:gd name="T81" fmla="*/ 0 h 2227"/>
                    <a:gd name="T82" fmla="*/ 0 w 3582"/>
                    <a:gd name="T83" fmla="*/ 0 h 2227"/>
                    <a:gd name="T84" fmla="*/ 0 w 3582"/>
                    <a:gd name="T85" fmla="*/ 0 h 2227"/>
                    <a:gd name="T86" fmla="*/ 0 w 3582"/>
                    <a:gd name="T87" fmla="*/ 0 h 2227"/>
                    <a:gd name="T88" fmla="*/ 0 w 3582"/>
                    <a:gd name="T89" fmla="*/ 0 h 2227"/>
                    <a:gd name="T90" fmla="*/ 0 w 3582"/>
                    <a:gd name="T91" fmla="*/ 0 h 2227"/>
                    <a:gd name="T92" fmla="*/ 0 w 3582"/>
                    <a:gd name="T93" fmla="*/ 0 h 2227"/>
                    <a:gd name="T94" fmla="*/ 0 w 3582"/>
                    <a:gd name="T95" fmla="*/ 0 h 2227"/>
                    <a:gd name="T96" fmla="*/ 0 w 3582"/>
                    <a:gd name="T97" fmla="*/ 0 h 2227"/>
                    <a:gd name="T98" fmla="*/ 0 w 3582"/>
                    <a:gd name="T99" fmla="*/ 0 h 2227"/>
                    <a:gd name="T100" fmla="*/ 0 w 3582"/>
                    <a:gd name="T101" fmla="*/ 0 h 2227"/>
                    <a:gd name="T102" fmla="*/ 0 w 3582"/>
                    <a:gd name="T103" fmla="*/ 0 h 2227"/>
                    <a:gd name="T104" fmla="*/ 0 w 3582"/>
                    <a:gd name="T105" fmla="*/ 0 h 2227"/>
                    <a:gd name="T106" fmla="*/ 0 w 3582"/>
                    <a:gd name="T107" fmla="*/ 0 h 2227"/>
                    <a:gd name="T108" fmla="*/ 0 w 3582"/>
                    <a:gd name="T109" fmla="*/ 0 h 2227"/>
                    <a:gd name="T110" fmla="*/ 0 w 3582"/>
                    <a:gd name="T111" fmla="*/ 0 h 2227"/>
                    <a:gd name="T112" fmla="*/ 0 w 3582"/>
                    <a:gd name="T113" fmla="*/ 0 h 2227"/>
                    <a:gd name="T114" fmla="*/ 0 w 3582"/>
                    <a:gd name="T115" fmla="*/ 0 h 2227"/>
                    <a:gd name="T116" fmla="*/ 0 w 3582"/>
                    <a:gd name="T117" fmla="*/ 0 h 2227"/>
                    <a:gd name="T118" fmla="*/ 0 w 3582"/>
                    <a:gd name="T119" fmla="*/ 0 h 2227"/>
                    <a:gd name="T120" fmla="*/ 0 w 3582"/>
                    <a:gd name="T121" fmla="*/ 0 h 2227"/>
                    <a:gd name="T122" fmla="*/ 0 w 3582"/>
                    <a:gd name="T123" fmla="*/ 0 h 2227"/>
                    <a:gd name="T124" fmla="*/ 0 w 3582"/>
                    <a:gd name="T125" fmla="*/ 0 h 2227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3582"/>
                    <a:gd name="T190" fmla="*/ 0 h 2227"/>
                    <a:gd name="T191" fmla="*/ 3582 w 3582"/>
                    <a:gd name="T192" fmla="*/ 2227 h 2227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3582" h="2227">
                      <a:moveTo>
                        <a:pt x="29" y="1071"/>
                      </a:moveTo>
                      <a:lnTo>
                        <a:pt x="38" y="1035"/>
                      </a:lnTo>
                      <a:lnTo>
                        <a:pt x="49" y="998"/>
                      </a:lnTo>
                      <a:lnTo>
                        <a:pt x="63" y="962"/>
                      </a:lnTo>
                      <a:lnTo>
                        <a:pt x="77" y="925"/>
                      </a:lnTo>
                      <a:lnTo>
                        <a:pt x="93" y="887"/>
                      </a:lnTo>
                      <a:lnTo>
                        <a:pt x="109" y="849"/>
                      </a:lnTo>
                      <a:lnTo>
                        <a:pt x="128" y="810"/>
                      </a:lnTo>
                      <a:lnTo>
                        <a:pt x="148" y="771"/>
                      </a:lnTo>
                      <a:lnTo>
                        <a:pt x="169" y="733"/>
                      </a:lnTo>
                      <a:lnTo>
                        <a:pt x="192" y="694"/>
                      </a:lnTo>
                      <a:lnTo>
                        <a:pt x="215" y="657"/>
                      </a:lnTo>
                      <a:lnTo>
                        <a:pt x="240" y="619"/>
                      </a:lnTo>
                      <a:lnTo>
                        <a:pt x="265" y="581"/>
                      </a:lnTo>
                      <a:lnTo>
                        <a:pt x="292" y="544"/>
                      </a:lnTo>
                      <a:lnTo>
                        <a:pt x="320" y="508"/>
                      </a:lnTo>
                      <a:lnTo>
                        <a:pt x="347" y="472"/>
                      </a:lnTo>
                      <a:lnTo>
                        <a:pt x="378" y="437"/>
                      </a:lnTo>
                      <a:lnTo>
                        <a:pt x="408" y="404"/>
                      </a:lnTo>
                      <a:lnTo>
                        <a:pt x="438" y="372"/>
                      </a:lnTo>
                      <a:lnTo>
                        <a:pt x="470" y="340"/>
                      </a:lnTo>
                      <a:lnTo>
                        <a:pt x="502" y="309"/>
                      </a:lnTo>
                      <a:lnTo>
                        <a:pt x="534" y="282"/>
                      </a:lnTo>
                      <a:lnTo>
                        <a:pt x="568" y="254"/>
                      </a:lnTo>
                      <a:lnTo>
                        <a:pt x="602" y="228"/>
                      </a:lnTo>
                      <a:lnTo>
                        <a:pt x="637" y="205"/>
                      </a:lnTo>
                      <a:lnTo>
                        <a:pt x="671" y="183"/>
                      </a:lnTo>
                      <a:lnTo>
                        <a:pt x="707" y="163"/>
                      </a:lnTo>
                      <a:lnTo>
                        <a:pt x="743" y="145"/>
                      </a:lnTo>
                      <a:lnTo>
                        <a:pt x="778" y="128"/>
                      </a:lnTo>
                      <a:lnTo>
                        <a:pt x="814" y="115"/>
                      </a:lnTo>
                      <a:lnTo>
                        <a:pt x="849" y="104"/>
                      </a:lnTo>
                      <a:lnTo>
                        <a:pt x="886" y="95"/>
                      </a:lnTo>
                      <a:lnTo>
                        <a:pt x="967" y="79"/>
                      </a:lnTo>
                      <a:lnTo>
                        <a:pt x="1052" y="66"/>
                      </a:lnTo>
                      <a:lnTo>
                        <a:pt x="1138" y="52"/>
                      </a:lnTo>
                      <a:lnTo>
                        <a:pt x="1225" y="41"/>
                      </a:lnTo>
                      <a:lnTo>
                        <a:pt x="1314" y="32"/>
                      </a:lnTo>
                      <a:lnTo>
                        <a:pt x="1404" y="23"/>
                      </a:lnTo>
                      <a:lnTo>
                        <a:pt x="1494" y="17"/>
                      </a:lnTo>
                      <a:lnTo>
                        <a:pt x="1585" y="11"/>
                      </a:lnTo>
                      <a:lnTo>
                        <a:pt x="1676" y="7"/>
                      </a:lnTo>
                      <a:lnTo>
                        <a:pt x="1769" y="3"/>
                      </a:lnTo>
                      <a:lnTo>
                        <a:pt x="1860" y="1"/>
                      </a:lnTo>
                      <a:lnTo>
                        <a:pt x="1951" y="0"/>
                      </a:lnTo>
                      <a:lnTo>
                        <a:pt x="2043" y="0"/>
                      </a:lnTo>
                      <a:lnTo>
                        <a:pt x="2133" y="1"/>
                      </a:lnTo>
                      <a:lnTo>
                        <a:pt x="2222" y="3"/>
                      </a:lnTo>
                      <a:lnTo>
                        <a:pt x="2309" y="6"/>
                      </a:lnTo>
                      <a:lnTo>
                        <a:pt x="2395" y="9"/>
                      </a:lnTo>
                      <a:lnTo>
                        <a:pt x="2480" y="13"/>
                      </a:lnTo>
                      <a:lnTo>
                        <a:pt x="2561" y="18"/>
                      </a:lnTo>
                      <a:lnTo>
                        <a:pt x="2641" y="23"/>
                      </a:lnTo>
                      <a:lnTo>
                        <a:pt x="2719" y="30"/>
                      </a:lnTo>
                      <a:lnTo>
                        <a:pt x="2794" y="37"/>
                      </a:lnTo>
                      <a:lnTo>
                        <a:pt x="2866" y="43"/>
                      </a:lnTo>
                      <a:lnTo>
                        <a:pt x="2934" y="51"/>
                      </a:lnTo>
                      <a:lnTo>
                        <a:pt x="3000" y="59"/>
                      </a:lnTo>
                      <a:lnTo>
                        <a:pt x="3061" y="67"/>
                      </a:lnTo>
                      <a:lnTo>
                        <a:pt x="3119" y="76"/>
                      </a:lnTo>
                      <a:lnTo>
                        <a:pt x="3172" y="85"/>
                      </a:lnTo>
                      <a:lnTo>
                        <a:pt x="3220" y="94"/>
                      </a:lnTo>
                      <a:lnTo>
                        <a:pt x="3265" y="102"/>
                      </a:lnTo>
                      <a:lnTo>
                        <a:pt x="3304" y="111"/>
                      </a:lnTo>
                      <a:lnTo>
                        <a:pt x="3338" y="120"/>
                      </a:lnTo>
                      <a:lnTo>
                        <a:pt x="3368" y="130"/>
                      </a:lnTo>
                      <a:lnTo>
                        <a:pt x="3397" y="141"/>
                      </a:lnTo>
                      <a:lnTo>
                        <a:pt x="3423" y="155"/>
                      </a:lnTo>
                      <a:lnTo>
                        <a:pt x="3446" y="169"/>
                      </a:lnTo>
                      <a:lnTo>
                        <a:pt x="3467" y="186"/>
                      </a:lnTo>
                      <a:lnTo>
                        <a:pt x="3487" y="203"/>
                      </a:lnTo>
                      <a:lnTo>
                        <a:pt x="3504" y="222"/>
                      </a:lnTo>
                      <a:lnTo>
                        <a:pt x="3520" y="242"/>
                      </a:lnTo>
                      <a:lnTo>
                        <a:pt x="3533" y="264"/>
                      </a:lnTo>
                      <a:lnTo>
                        <a:pt x="3545" y="286"/>
                      </a:lnTo>
                      <a:lnTo>
                        <a:pt x="3555" y="309"/>
                      </a:lnTo>
                      <a:lnTo>
                        <a:pt x="3563" y="335"/>
                      </a:lnTo>
                      <a:lnTo>
                        <a:pt x="3570" y="361"/>
                      </a:lnTo>
                      <a:lnTo>
                        <a:pt x="3575" y="387"/>
                      </a:lnTo>
                      <a:lnTo>
                        <a:pt x="3579" y="414"/>
                      </a:lnTo>
                      <a:lnTo>
                        <a:pt x="3582" y="443"/>
                      </a:lnTo>
                      <a:lnTo>
                        <a:pt x="3582" y="472"/>
                      </a:lnTo>
                      <a:lnTo>
                        <a:pt x="3582" y="502"/>
                      </a:lnTo>
                      <a:lnTo>
                        <a:pt x="3581" y="532"/>
                      </a:lnTo>
                      <a:lnTo>
                        <a:pt x="3577" y="563"/>
                      </a:lnTo>
                      <a:lnTo>
                        <a:pt x="3574" y="594"/>
                      </a:lnTo>
                      <a:lnTo>
                        <a:pt x="3569" y="627"/>
                      </a:lnTo>
                      <a:lnTo>
                        <a:pt x="3563" y="659"/>
                      </a:lnTo>
                      <a:lnTo>
                        <a:pt x="3556" y="691"/>
                      </a:lnTo>
                      <a:lnTo>
                        <a:pt x="3548" y="723"/>
                      </a:lnTo>
                      <a:lnTo>
                        <a:pt x="3540" y="757"/>
                      </a:lnTo>
                      <a:lnTo>
                        <a:pt x="3531" y="789"/>
                      </a:lnTo>
                      <a:lnTo>
                        <a:pt x="3521" y="822"/>
                      </a:lnTo>
                      <a:lnTo>
                        <a:pt x="3500" y="889"/>
                      </a:lnTo>
                      <a:lnTo>
                        <a:pt x="3476" y="955"/>
                      </a:lnTo>
                      <a:lnTo>
                        <a:pt x="3464" y="987"/>
                      </a:lnTo>
                      <a:lnTo>
                        <a:pt x="3449" y="1021"/>
                      </a:lnTo>
                      <a:lnTo>
                        <a:pt x="3435" y="1053"/>
                      </a:lnTo>
                      <a:lnTo>
                        <a:pt x="3419" y="1085"/>
                      </a:lnTo>
                      <a:lnTo>
                        <a:pt x="3404" y="1117"/>
                      </a:lnTo>
                      <a:lnTo>
                        <a:pt x="3386" y="1149"/>
                      </a:lnTo>
                      <a:lnTo>
                        <a:pt x="3368" y="1179"/>
                      </a:lnTo>
                      <a:lnTo>
                        <a:pt x="3349" y="1210"/>
                      </a:lnTo>
                      <a:lnTo>
                        <a:pt x="3329" y="1240"/>
                      </a:lnTo>
                      <a:lnTo>
                        <a:pt x="3309" y="1269"/>
                      </a:lnTo>
                      <a:lnTo>
                        <a:pt x="3288" y="1299"/>
                      </a:lnTo>
                      <a:lnTo>
                        <a:pt x="3266" y="1327"/>
                      </a:lnTo>
                      <a:lnTo>
                        <a:pt x="3244" y="1356"/>
                      </a:lnTo>
                      <a:lnTo>
                        <a:pt x="3220" y="1383"/>
                      </a:lnTo>
                      <a:lnTo>
                        <a:pt x="3197" y="1410"/>
                      </a:lnTo>
                      <a:lnTo>
                        <a:pt x="3172" y="1437"/>
                      </a:lnTo>
                      <a:lnTo>
                        <a:pt x="3148" y="1463"/>
                      </a:lnTo>
                      <a:lnTo>
                        <a:pt x="3122" y="1489"/>
                      </a:lnTo>
                      <a:lnTo>
                        <a:pt x="3095" y="1515"/>
                      </a:lnTo>
                      <a:lnTo>
                        <a:pt x="3070" y="1539"/>
                      </a:lnTo>
                      <a:lnTo>
                        <a:pt x="3042" y="1564"/>
                      </a:lnTo>
                      <a:lnTo>
                        <a:pt x="3015" y="1587"/>
                      </a:lnTo>
                      <a:lnTo>
                        <a:pt x="2988" y="1609"/>
                      </a:lnTo>
                      <a:lnTo>
                        <a:pt x="2959" y="1632"/>
                      </a:lnTo>
                      <a:lnTo>
                        <a:pt x="2930" y="1654"/>
                      </a:lnTo>
                      <a:lnTo>
                        <a:pt x="2901" y="1675"/>
                      </a:lnTo>
                      <a:lnTo>
                        <a:pt x="2872" y="1696"/>
                      </a:lnTo>
                      <a:lnTo>
                        <a:pt x="2842" y="1715"/>
                      </a:lnTo>
                      <a:lnTo>
                        <a:pt x="2812" y="1735"/>
                      </a:lnTo>
                      <a:lnTo>
                        <a:pt x="2782" y="1753"/>
                      </a:lnTo>
                      <a:lnTo>
                        <a:pt x="2752" y="1772"/>
                      </a:lnTo>
                      <a:lnTo>
                        <a:pt x="2720" y="1788"/>
                      </a:lnTo>
                      <a:lnTo>
                        <a:pt x="2666" y="1818"/>
                      </a:lnTo>
                      <a:lnTo>
                        <a:pt x="2609" y="1847"/>
                      </a:lnTo>
                      <a:lnTo>
                        <a:pt x="2549" y="1876"/>
                      </a:lnTo>
                      <a:lnTo>
                        <a:pt x="2487" y="1905"/>
                      </a:lnTo>
                      <a:lnTo>
                        <a:pt x="2423" y="1934"/>
                      </a:lnTo>
                      <a:lnTo>
                        <a:pt x="2356" y="1962"/>
                      </a:lnTo>
                      <a:lnTo>
                        <a:pt x="2289" y="1989"/>
                      </a:lnTo>
                      <a:lnTo>
                        <a:pt x="2220" y="2015"/>
                      </a:lnTo>
                      <a:lnTo>
                        <a:pt x="2148" y="2040"/>
                      </a:lnTo>
                      <a:lnTo>
                        <a:pt x="2077" y="2064"/>
                      </a:lnTo>
                      <a:lnTo>
                        <a:pt x="2004" y="2088"/>
                      </a:lnTo>
                      <a:lnTo>
                        <a:pt x="1929" y="2110"/>
                      </a:lnTo>
                      <a:lnTo>
                        <a:pt x="1854" y="2130"/>
                      </a:lnTo>
                      <a:lnTo>
                        <a:pt x="1779" y="2149"/>
                      </a:lnTo>
                      <a:lnTo>
                        <a:pt x="1703" y="2166"/>
                      </a:lnTo>
                      <a:lnTo>
                        <a:pt x="1627" y="2181"/>
                      </a:lnTo>
                      <a:lnTo>
                        <a:pt x="1551" y="2195"/>
                      </a:lnTo>
                      <a:lnTo>
                        <a:pt x="1475" y="2206"/>
                      </a:lnTo>
                      <a:lnTo>
                        <a:pt x="1398" y="2215"/>
                      </a:lnTo>
                      <a:lnTo>
                        <a:pt x="1324" y="2221"/>
                      </a:lnTo>
                      <a:lnTo>
                        <a:pt x="1248" y="2225"/>
                      </a:lnTo>
                      <a:lnTo>
                        <a:pt x="1174" y="2227"/>
                      </a:lnTo>
                      <a:lnTo>
                        <a:pt x="1101" y="2226"/>
                      </a:lnTo>
                      <a:lnTo>
                        <a:pt x="1029" y="2221"/>
                      </a:lnTo>
                      <a:lnTo>
                        <a:pt x="959" y="2215"/>
                      </a:lnTo>
                      <a:lnTo>
                        <a:pt x="888" y="2205"/>
                      </a:lnTo>
                      <a:lnTo>
                        <a:pt x="822" y="2191"/>
                      </a:lnTo>
                      <a:lnTo>
                        <a:pt x="755" y="2175"/>
                      </a:lnTo>
                      <a:lnTo>
                        <a:pt x="691" y="2155"/>
                      </a:lnTo>
                      <a:lnTo>
                        <a:pt x="629" y="2131"/>
                      </a:lnTo>
                      <a:lnTo>
                        <a:pt x="570" y="2103"/>
                      </a:lnTo>
                      <a:lnTo>
                        <a:pt x="512" y="2072"/>
                      </a:lnTo>
                      <a:lnTo>
                        <a:pt x="479" y="2051"/>
                      </a:lnTo>
                      <a:lnTo>
                        <a:pt x="445" y="2030"/>
                      </a:lnTo>
                      <a:lnTo>
                        <a:pt x="412" y="2007"/>
                      </a:lnTo>
                      <a:lnTo>
                        <a:pt x="381" y="1984"/>
                      </a:lnTo>
                      <a:lnTo>
                        <a:pt x="351" y="1960"/>
                      </a:lnTo>
                      <a:lnTo>
                        <a:pt x="321" y="1935"/>
                      </a:lnTo>
                      <a:lnTo>
                        <a:pt x="293" y="1911"/>
                      </a:lnTo>
                      <a:lnTo>
                        <a:pt x="265" y="1885"/>
                      </a:lnTo>
                      <a:lnTo>
                        <a:pt x="240" y="1859"/>
                      </a:lnTo>
                      <a:lnTo>
                        <a:pt x="214" y="1832"/>
                      </a:lnTo>
                      <a:lnTo>
                        <a:pt x="191" y="1804"/>
                      </a:lnTo>
                      <a:lnTo>
                        <a:pt x="167" y="1775"/>
                      </a:lnTo>
                      <a:lnTo>
                        <a:pt x="146" y="1746"/>
                      </a:lnTo>
                      <a:lnTo>
                        <a:pt x="126" y="1716"/>
                      </a:lnTo>
                      <a:lnTo>
                        <a:pt x="107" y="1686"/>
                      </a:lnTo>
                      <a:lnTo>
                        <a:pt x="90" y="1655"/>
                      </a:lnTo>
                      <a:lnTo>
                        <a:pt x="74" y="1623"/>
                      </a:lnTo>
                      <a:lnTo>
                        <a:pt x="59" y="1590"/>
                      </a:lnTo>
                      <a:lnTo>
                        <a:pt x="47" y="1557"/>
                      </a:lnTo>
                      <a:lnTo>
                        <a:pt x="35" y="1524"/>
                      </a:lnTo>
                      <a:lnTo>
                        <a:pt x="25" y="1489"/>
                      </a:lnTo>
                      <a:lnTo>
                        <a:pt x="17" y="1455"/>
                      </a:lnTo>
                      <a:lnTo>
                        <a:pt x="10" y="1419"/>
                      </a:lnTo>
                      <a:lnTo>
                        <a:pt x="5" y="1382"/>
                      </a:lnTo>
                      <a:lnTo>
                        <a:pt x="1" y="1346"/>
                      </a:lnTo>
                      <a:lnTo>
                        <a:pt x="0" y="1308"/>
                      </a:lnTo>
                      <a:lnTo>
                        <a:pt x="0" y="1270"/>
                      </a:lnTo>
                      <a:lnTo>
                        <a:pt x="2" y="1231"/>
                      </a:lnTo>
                      <a:lnTo>
                        <a:pt x="6" y="1192"/>
                      </a:lnTo>
                      <a:lnTo>
                        <a:pt x="11" y="1152"/>
                      </a:lnTo>
                      <a:lnTo>
                        <a:pt x="19" y="1112"/>
                      </a:lnTo>
                      <a:lnTo>
                        <a:pt x="29" y="1071"/>
                      </a:lnTo>
                      <a:close/>
                    </a:path>
                  </a:pathLst>
                </a:custGeom>
                <a:solidFill>
                  <a:srgbClr val="242D54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213" name="Freeform 212"/>
                <p:cNvSpPr>
                  <a:spLocks/>
                </p:cNvSpPr>
                <p:nvPr/>
              </p:nvSpPr>
              <p:spPr bwMode="auto">
                <a:xfrm>
                  <a:off x="2763" y="2652"/>
                  <a:ext cx="509" cy="269"/>
                </a:xfrm>
                <a:custGeom>
                  <a:avLst/>
                  <a:gdLst>
                    <a:gd name="T0" fmla="*/ 0 w 3582"/>
                    <a:gd name="T1" fmla="*/ 0 h 1884"/>
                    <a:gd name="T2" fmla="*/ 0 w 3582"/>
                    <a:gd name="T3" fmla="*/ 0 h 1884"/>
                    <a:gd name="T4" fmla="*/ 0 w 3582"/>
                    <a:gd name="T5" fmla="*/ 0 h 1884"/>
                    <a:gd name="T6" fmla="*/ 0 w 3582"/>
                    <a:gd name="T7" fmla="*/ 0 h 1884"/>
                    <a:gd name="T8" fmla="*/ 0 w 3582"/>
                    <a:gd name="T9" fmla="*/ 0 h 1884"/>
                    <a:gd name="T10" fmla="*/ 0 w 3582"/>
                    <a:gd name="T11" fmla="*/ 0 h 1884"/>
                    <a:gd name="T12" fmla="*/ 0 w 3582"/>
                    <a:gd name="T13" fmla="*/ 0 h 1884"/>
                    <a:gd name="T14" fmla="*/ 0 w 3582"/>
                    <a:gd name="T15" fmla="*/ 0 h 1884"/>
                    <a:gd name="T16" fmla="*/ 0 w 3582"/>
                    <a:gd name="T17" fmla="*/ 0 h 1884"/>
                    <a:gd name="T18" fmla="*/ 0 w 3582"/>
                    <a:gd name="T19" fmla="*/ 0 h 1884"/>
                    <a:gd name="T20" fmla="*/ 0 w 3582"/>
                    <a:gd name="T21" fmla="*/ 0 h 1884"/>
                    <a:gd name="T22" fmla="*/ 0 w 3582"/>
                    <a:gd name="T23" fmla="*/ 0 h 1884"/>
                    <a:gd name="T24" fmla="*/ 0 w 3582"/>
                    <a:gd name="T25" fmla="*/ 0 h 1884"/>
                    <a:gd name="T26" fmla="*/ 0 w 3582"/>
                    <a:gd name="T27" fmla="*/ 0 h 1884"/>
                    <a:gd name="T28" fmla="*/ 0 w 3582"/>
                    <a:gd name="T29" fmla="*/ 0 h 1884"/>
                    <a:gd name="T30" fmla="*/ 0 w 3582"/>
                    <a:gd name="T31" fmla="*/ 0 h 1884"/>
                    <a:gd name="T32" fmla="*/ 0 w 3582"/>
                    <a:gd name="T33" fmla="*/ 0 h 1884"/>
                    <a:gd name="T34" fmla="*/ 0 w 3582"/>
                    <a:gd name="T35" fmla="*/ 0 h 1884"/>
                    <a:gd name="T36" fmla="*/ 0 w 3582"/>
                    <a:gd name="T37" fmla="*/ 0 h 1884"/>
                    <a:gd name="T38" fmla="*/ 0 w 3582"/>
                    <a:gd name="T39" fmla="*/ 0 h 1884"/>
                    <a:gd name="T40" fmla="*/ 0 w 3582"/>
                    <a:gd name="T41" fmla="*/ 0 h 1884"/>
                    <a:gd name="T42" fmla="*/ 0 w 3582"/>
                    <a:gd name="T43" fmla="*/ 0 h 1884"/>
                    <a:gd name="T44" fmla="*/ 0 w 3582"/>
                    <a:gd name="T45" fmla="*/ 0 h 1884"/>
                    <a:gd name="T46" fmla="*/ 0 w 3582"/>
                    <a:gd name="T47" fmla="*/ 0 h 1884"/>
                    <a:gd name="T48" fmla="*/ 0 w 3582"/>
                    <a:gd name="T49" fmla="*/ 0 h 1884"/>
                    <a:gd name="T50" fmla="*/ 0 w 3582"/>
                    <a:gd name="T51" fmla="*/ 0 h 1884"/>
                    <a:gd name="T52" fmla="*/ 0 w 3582"/>
                    <a:gd name="T53" fmla="*/ 0 h 1884"/>
                    <a:gd name="T54" fmla="*/ 0 w 3582"/>
                    <a:gd name="T55" fmla="*/ 0 h 1884"/>
                    <a:gd name="T56" fmla="*/ 0 w 3582"/>
                    <a:gd name="T57" fmla="*/ 0 h 1884"/>
                    <a:gd name="T58" fmla="*/ 0 w 3582"/>
                    <a:gd name="T59" fmla="*/ 0 h 1884"/>
                    <a:gd name="T60" fmla="*/ 0 w 3582"/>
                    <a:gd name="T61" fmla="*/ 0 h 1884"/>
                    <a:gd name="T62" fmla="*/ 0 w 3582"/>
                    <a:gd name="T63" fmla="*/ 0 h 1884"/>
                    <a:gd name="T64" fmla="*/ 0 w 3582"/>
                    <a:gd name="T65" fmla="*/ 0 h 1884"/>
                    <a:gd name="T66" fmla="*/ 0 w 3582"/>
                    <a:gd name="T67" fmla="*/ 0 h 1884"/>
                    <a:gd name="T68" fmla="*/ 0 w 3582"/>
                    <a:gd name="T69" fmla="*/ 0 h 1884"/>
                    <a:gd name="T70" fmla="*/ 0 w 3582"/>
                    <a:gd name="T71" fmla="*/ 0 h 1884"/>
                    <a:gd name="T72" fmla="*/ 0 w 3582"/>
                    <a:gd name="T73" fmla="*/ 0 h 1884"/>
                    <a:gd name="T74" fmla="*/ 0 w 3582"/>
                    <a:gd name="T75" fmla="*/ 0 h 1884"/>
                    <a:gd name="T76" fmla="*/ 0 w 3582"/>
                    <a:gd name="T77" fmla="*/ 0 h 1884"/>
                    <a:gd name="T78" fmla="*/ 0 w 3582"/>
                    <a:gd name="T79" fmla="*/ 0 h 1884"/>
                    <a:gd name="T80" fmla="*/ 0 w 3582"/>
                    <a:gd name="T81" fmla="*/ 0 h 1884"/>
                    <a:gd name="T82" fmla="*/ 0 w 3582"/>
                    <a:gd name="T83" fmla="*/ 0 h 1884"/>
                    <a:gd name="T84" fmla="*/ 0 w 3582"/>
                    <a:gd name="T85" fmla="*/ 0 h 1884"/>
                    <a:gd name="T86" fmla="*/ 0 w 3582"/>
                    <a:gd name="T87" fmla="*/ 0 h 1884"/>
                    <a:gd name="T88" fmla="*/ 0 w 3582"/>
                    <a:gd name="T89" fmla="*/ 0 h 1884"/>
                    <a:gd name="T90" fmla="*/ 0 w 3582"/>
                    <a:gd name="T91" fmla="*/ 0 h 1884"/>
                    <a:gd name="T92" fmla="*/ 0 w 3582"/>
                    <a:gd name="T93" fmla="*/ 0 h 1884"/>
                    <a:gd name="T94" fmla="*/ 0 w 3582"/>
                    <a:gd name="T95" fmla="*/ 0 h 1884"/>
                    <a:gd name="T96" fmla="*/ 0 w 3582"/>
                    <a:gd name="T97" fmla="*/ 0 h 1884"/>
                    <a:gd name="T98" fmla="*/ 0 w 3582"/>
                    <a:gd name="T99" fmla="*/ 0 h 1884"/>
                    <a:gd name="T100" fmla="*/ 0 w 3582"/>
                    <a:gd name="T101" fmla="*/ 0 h 1884"/>
                    <a:gd name="T102" fmla="*/ 0 w 3582"/>
                    <a:gd name="T103" fmla="*/ 0 h 1884"/>
                    <a:gd name="T104" fmla="*/ 0 w 3582"/>
                    <a:gd name="T105" fmla="*/ 0 h 1884"/>
                    <a:gd name="T106" fmla="*/ 0 w 3582"/>
                    <a:gd name="T107" fmla="*/ 0 h 1884"/>
                    <a:gd name="T108" fmla="*/ 0 w 3582"/>
                    <a:gd name="T109" fmla="*/ 0 h 1884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3582"/>
                    <a:gd name="T166" fmla="*/ 0 h 1884"/>
                    <a:gd name="T167" fmla="*/ 3582 w 3582"/>
                    <a:gd name="T168" fmla="*/ 1884 h 1884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3582" h="1884">
                      <a:moveTo>
                        <a:pt x="29" y="728"/>
                      </a:moveTo>
                      <a:lnTo>
                        <a:pt x="32" y="715"/>
                      </a:lnTo>
                      <a:lnTo>
                        <a:pt x="36" y="702"/>
                      </a:lnTo>
                      <a:lnTo>
                        <a:pt x="40" y="689"/>
                      </a:lnTo>
                      <a:lnTo>
                        <a:pt x="43" y="677"/>
                      </a:lnTo>
                      <a:lnTo>
                        <a:pt x="49" y="701"/>
                      </a:lnTo>
                      <a:lnTo>
                        <a:pt x="56" y="725"/>
                      </a:lnTo>
                      <a:lnTo>
                        <a:pt x="62" y="749"/>
                      </a:lnTo>
                      <a:lnTo>
                        <a:pt x="70" y="773"/>
                      </a:lnTo>
                      <a:lnTo>
                        <a:pt x="78" y="796"/>
                      </a:lnTo>
                      <a:lnTo>
                        <a:pt x="87" y="819"/>
                      </a:lnTo>
                      <a:lnTo>
                        <a:pt x="97" y="842"/>
                      </a:lnTo>
                      <a:lnTo>
                        <a:pt x="107" y="864"/>
                      </a:lnTo>
                      <a:lnTo>
                        <a:pt x="118" y="886"/>
                      </a:lnTo>
                      <a:lnTo>
                        <a:pt x="130" y="908"/>
                      </a:lnTo>
                      <a:lnTo>
                        <a:pt x="142" y="929"/>
                      </a:lnTo>
                      <a:lnTo>
                        <a:pt x="156" y="951"/>
                      </a:lnTo>
                      <a:lnTo>
                        <a:pt x="170" y="972"/>
                      </a:lnTo>
                      <a:lnTo>
                        <a:pt x="185" y="992"/>
                      </a:lnTo>
                      <a:lnTo>
                        <a:pt x="199" y="1012"/>
                      </a:lnTo>
                      <a:lnTo>
                        <a:pt x="216" y="1032"/>
                      </a:lnTo>
                      <a:lnTo>
                        <a:pt x="231" y="1052"/>
                      </a:lnTo>
                      <a:lnTo>
                        <a:pt x="249" y="1071"/>
                      </a:lnTo>
                      <a:lnTo>
                        <a:pt x="266" y="1090"/>
                      </a:lnTo>
                      <a:lnTo>
                        <a:pt x="285" y="1108"/>
                      </a:lnTo>
                      <a:lnTo>
                        <a:pt x="303" y="1126"/>
                      </a:lnTo>
                      <a:lnTo>
                        <a:pt x="322" y="1144"/>
                      </a:lnTo>
                      <a:lnTo>
                        <a:pt x="342" y="1162"/>
                      </a:lnTo>
                      <a:lnTo>
                        <a:pt x="362" y="1179"/>
                      </a:lnTo>
                      <a:lnTo>
                        <a:pt x="383" y="1195"/>
                      </a:lnTo>
                      <a:lnTo>
                        <a:pt x="404" y="1212"/>
                      </a:lnTo>
                      <a:lnTo>
                        <a:pt x="426" y="1229"/>
                      </a:lnTo>
                      <a:lnTo>
                        <a:pt x="448" y="1244"/>
                      </a:lnTo>
                      <a:lnTo>
                        <a:pt x="494" y="1276"/>
                      </a:lnTo>
                      <a:lnTo>
                        <a:pt x="541" y="1304"/>
                      </a:lnTo>
                      <a:lnTo>
                        <a:pt x="599" y="1336"/>
                      </a:lnTo>
                      <a:lnTo>
                        <a:pt x="658" y="1363"/>
                      </a:lnTo>
                      <a:lnTo>
                        <a:pt x="720" y="1387"/>
                      </a:lnTo>
                      <a:lnTo>
                        <a:pt x="783" y="1407"/>
                      </a:lnTo>
                      <a:lnTo>
                        <a:pt x="850" y="1424"/>
                      </a:lnTo>
                      <a:lnTo>
                        <a:pt x="917" y="1437"/>
                      </a:lnTo>
                      <a:lnTo>
                        <a:pt x="987" y="1447"/>
                      </a:lnTo>
                      <a:lnTo>
                        <a:pt x="1057" y="1455"/>
                      </a:lnTo>
                      <a:lnTo>
                        <a:pt x="1130" y="1458"/>
                      </a:lnTo>
                      <a:lnTo>
                        <a:pt x="1203" y="1459"/>
                      </a:lnTo>
                      <a:lnTo>
                        <a:pt x="1277" y="1458"/>
                      </a:lnTo>
                      <a:lnTo>
                        <a:pt x="1352" y="1454"/>
                      </a:lnTo>
                      <a:lnTo>
                        <a:pt x="1427" y="1447"/>
                      </a:lnTo>
                      <a:lnTo>
                        <a:pt x="1504" y="1438"/>
                      </a:lnTo>
                      <a:lnTo>
                        <a:pt x="1579" y="1427"/>
                      </a:lnTo>
                      <a:lnTo>
                        <a:pt x="1656" y="1414"/>
                      </a:lnTo>
                      <a:lnTo>
                        <a:pt x="1732" y="1398"/>
                      </a:lnTo>
                      <a:lnTo>
                        <a:pt x="1807" y="1381"/>
                      </a:lnTo>
                      <a:lnTo>
                        <a:pt x="1883" y="1362"/>
                      </a:lnTo>
                      <a:lnTo>
                        <a:pt x="1958" y="1342"/>
                      </a:lnTo>
                      <a:lnTo>
                        <a:pt x="2032" y="1320"/>
                      </a:lnTo>
                      <a:lnTo>
                        <a:pt x="2106" y="1298"/>
                      </a:lnTo>
                      <a:lnTo>
                        <a:pt x="2177" y="1273"/>
                      </a:lnTo>
                      <a:lnTo>
                        <a:pt x="2248" y="1248"/>
                      </a:lnTo>
                      <a:lnTo>
                        <a:pt x="2317" y="1221"/>
                      </a:lnTo>
                      <a:lnTo>
                        <a:pt x="2385" y="1194"/>
                      </a:lnTo>
                      <a:lnTo>
                        <a:pt x="2452" y="1166"/>
                      </a:lnTo>
                      <a:lnTo>
                        <a:pt x="2515" y="1139"/>
                      </a:lnTo>
                      <a:lnTo>
                        <a:pt x="2578" y="1110"/>
                      </a:lnTo>
                      <a:lnTo>
                        <a:pt x="2637" y="1080"/>
                      </a:lnTo>
                      <a:lnTo>
                        <a:pt x="2695" y="1051"/>
                      </a:lnTo>
                      <a:lnTo>
                        <a:pt x="2749" y="1022"/>
                      </a:lnTo>
                      <a:lnTo>
                        <a:pt x="2780" y="1004"/>
                      </a:lnTo>
                      <a:lnTo>
                        <a:pt x="2810" y="986"/>
                      </a:lnTo>
                      <a:lnTo>
                        <a:pt x="2840" y="967"/>
                      </a:lnTo>
                      <a:lnTo>
                        <a:pt x="2870" y="948"/>
                      </a:lnTo>
                      <a:lnTo>
                        <a:pt x="2900" y="928"/>
                      </a:lnTo>
                      <a:lnTo>
                        <a:pt x="2929" y="907"/>
                      </a:lnTo>
                      <a:lnTo>
                        <a:pt x="2958" y="886"/>
                      </a:lnTo>
                      <a:lnTo>
                        <a:pt x="2987" y="865"/>
                      </a:lnTo>
                      <a:lnTo>
                        <a:pt x="3015" y="843"/>
                      </a:lnTo>
                      <a:lnTo>
                        <a:pt x="3044" y="819"/>
                      </a:lnTo>
                      <a:lnTo>
                        <a:pt x="3071" y="796"/>
                      </a:lnTo>
                      <a:lnTo>
                        <a:pt x="3099" y="771"/>
                      </a:lnTo>
                      <a:lnTo>
                        <a:pt x="3124" y="747"/>
                      </a:lnTo>
                      <a:lnTo>
                        <a:pt x="3151" y="722"/>
                      </a:lnTo>
                      <a:lnTo>
                        <a:pt x="3176" y="696"/>
                      </a:lnTo>
                      <a:lnTo>
                        <a:pt x="3201" y="670"/>
                      </a:lnTo>
                      <a:lnTo>
                        <a:pt x="3225" y="643"/>
                      </a:lnTo>
                      <a:lnTo>
                        <a:pt x="3249" y="616"/>
                      </a:lnTo>
                      <a:lnTo>
                        <a:pt x="3272" y="588"/>
                      </a:lnTo>
                      <a:lnTo>
                        <a:pt x="3294" y="560"/>
                      </a:lnTo>
                      <a:lnTo>
                        <a:pt x="3317" y="531"/>
                      </a:lnTo>
                      <a:lnTo>
                        <a:pt x="3338" y="502"/>
                      </a:lnTo>
                      <a:lnTo>
                        <a:pt x="3358" y="472"/>
                      </a:lnTo>
                      <a:lnTo>
                        <a:pt x="3378" y="442"/>
                      </a:lnTo>
                      <a:lnTo>
                        <a:pt x="3397" y="412"/>
                      </a:lnTo>
                      <a:lnTo>
                        <a:pt x="3415" y="381"/>
                      </a:lnTo>
                      <a:lnTo>
                        <a:pt x="3431" y="350"/>
                      </a:lnTo>
                      <a:lnTo>
                        <a:pt x="3448" y="317"/>
                      </a:lnTo>
                      <a:lnTo>
                        <a:pt x="3464" y="286"/>
                      </a:lnTo>
                      <a:lnTo>
                        <a:pt x="3478" y="253"/>
                      </a:lnTo>
                      <a:lnTo>
                        <a:pt x="3493" y="221"/>
                      </a:lnTo>
                      <a:lnTo>
                        <a:pt x="3505" y="187"/>
                      </a:lnTo>
                      <a:lnTo>
                        <a:pt x="3514" y="164"/>
                      </a:lnTo>
                      <a:lnTo>
                        <a:pt x="3521" y="140"/>
                      </a:lnTo>
                      <a:lnTo>
                        <a:pt x="3529" y="117"/>
                      </a:lnTo>
                      <a:lnTo>
                        <a:pt x="3537" y="94"/>
                      </a:lnTo>
                      <a:lnTo>
                        <a:pt x="3545" y="70"/>
                      </a:lnTo>
                      <a:lnTo>
                        <a:pt x="3552" y="47"/>
                      </a:lnTo>
                      <a:lnTo>
                        <a:pt x="3558" y="24"/>
                      </a:lnTo>
                      <a:lnTo>
                        <a:pt x="3565" y="0"/>
                      </a:lnTo>
                      <a:lnTo>
                        <a:pt x="3569" y="16"/>
                      </a:lnTo>
                      <a:lnTo>
                        <a:pt x="3573" y="33"/>
                      </a:lnTo>
                      <a:lnTo>
                        <a:pt x="3576" y="49"/>
                      </a:lnTo>
                      <a:lnTo>
                        <a:pt x="3578" y="66"/>
                      </a:lnTo>
                      <a:lnTo>
                        <a:pt x="3582" y="100"/>
                      </a:lnTo>
                      <a:lnTo>
                        <a:pt x="3582" y="136"/>
                      </a:lnTo>
                      <a:lnTo>
                        <a:pt x="3582" y="173"/>
                      </a:lnTo>
                      <a:lnTo>
                        <a:pt x="3578" y="211"/>
                      </a:lnTo>
                      <a:lnTo>
                        <a:pt x="3574" y="250"/>
                      </a:lnTo>
                      <a:lnTo>
                        <a:pt x="3568" y="288"/>
                      </a:lnTo>
                      <a:lnTo>
                        <a:pt x="3560" y="329"/>
                      </a:lnTo>
                      <a:lnTo>
                        <a:pt x="3552" y="369"/>
                      </a:lnTo>
                      <a:lnTo>
                        <a:pt x="3541" y="409"/>
                      </a:lnTo>
                      <a:lnTo>
                        <a:pt x="3530" y="450"/>
                      </a:lnTo>
                      <a:lnTo>
                        <a:pt x="3518" y="491"/>
                      </a:lnTo>
                      <a:lnTo>
                        <a:pt x="3505" y="531"/>
                      </a:lnTo>
                      <a:lnTo>
                        <a:pt x="3491" y="572"/>
                      </a:lnTo>
                      <a:lnTo>
                        <a:pt x="3477" y="612"/>
                      </a:lnTo>
                      <a:lnTo>
                        <a:pt x="3464" y="646"/>
                      </a:lnTo>
                      <a:lnTo>
                        <a:pt x="3450" y="678"/>
                      </a:lnTo>
                      <a:lnTo>
                        <a:pt x="3436" y="710"/>
                      </a:lnTo>
                      <a:lnTo>
                        <a:pt x="3420" y="742"/>
                      </a:lnTo>
                      <a:lnTo>
                        <a:pt x="3403" y="775"/>
                      </a:lnTo>
                      <a:lnTo>
                        <a:pt x="3387" y="806"/>
                      </a:lnTo>
                      <a:lnTo>
                        <a:pt x="3368" y="837"/>
                      </a:lnTo>
                      <a:lnTo>
                        <a:pt x="3349" y="867"/>
                      </a:lnTo>
                      <a:lnTo>
                        <a:pt x="3330" y="897"/>
                      </a:lnTo>
                      <a:lnTo>
                        <a:pt x="3309" y="927"/>
                      </a:lnTo>
                      <a:lnTo>
                        <a:pt x="3288" y="956"/>
                      </a:lnTo>
                      <a:lnTo>
                        <a:pt x="3267" y="985"/>
                      </a:lnTo>
                      <a:lnTo>
                        <a:pt x="3244" y="1013"/>
                      </a:lnTo>
                      <a:lnTo>
                        <a:pt x="3221" y="1041"/>
                      </a:lnTo>
                      <a:lnTo>
                        <a:pt x="3196" y="1069"/>
                      </a:lnTo>
                      <a:lnTo>
                        <a:pt x="3173" y="1095"/>
                      </a:lnTo>
                      <a:lnTo>
                        <a:pt x="3147" y="1121"/>
                      </a:lnTo>
                      <a:lnTo>
                        <a:pt x="3122" y="1146"/>
                      </a:lnTo>
                      <a:lnTo>
                        <a:pt x="3096" y="1172"/>
                      </a:lnTo>
                      <a:lnTo>
                        <a:pt x="3070" y="1197"/>
                      </a:lnTo>
                      <a:lnTo>
                        <a:pt x="3043" y="1221"/>
                      </a:lnTo>
                      <a:lnTo>
                        <a:pt x="3015" y="1244"/>
                      </a:lnTo>
                      <a:lnTo>
                        <a:pt x="2987" y="1268"/>
                      </a:lnTo>
                      <a:lnTo>
                        <a:pt x="2959" y="1290"/>
                      </a:lnTo>
                      <a:lnTo>
                        <a:pt x="2930" y="1311"/>
                      </a:lnTo>
                      <a:lnTo>
                        <a:pt x="2902" y="1332"/>
                      </a:lnTo>
                      <a:lnTo>
                        <a:pt x="2871" y="1353"/>
                      </a:lnTo>
                      <a:lnTo>
                        <a:pt x="2843" y="1373"/>
                      </a:lnTo>
                      <a:lnTo>
                        <a:pt x="2812" y="1392"/>
                      </a:lnTo>
                      <a:lnTo>
                        <a:pt x="2781" y="1411"/>
                      </a:lnTo>
                      <a:lnTo>
                        <a:pt x="2751" y="1429"/>
                      </a:lnTo>
                      <a:lnTo>
                        <a:pt x="2721" y="1446"/>
                      </a:lnTo>
                      <a:lnTo>
                        <a:pt x="2666" y="1476"/>
                      </a:lnTo>
                      <a:lnTo>
                        <a:pt x="2609" y="1505"/>
                      </a:lnTo>
                      <a:lnTo>
                        <a:pt x="2549" y="1535"/>
                      </a:lnTo>
                      <a:lnTo>
                        <a:pt x="2487" y="1563"/>
                      </a:lnTo>
                      <a:lnTo>
                        <a:pt x="2423" y="1592"/>
                      </a:lnTo>
                      <a:lnTo>
                        <a:pt x="2357" y="1619"/>
                      </a:lnTo>
                      <a:lnTo>
                        <a:pt x="2289" y="1646"/>
                      </a:lnTo>
                      <a:lnTo>
                        <a:pt x="2220" y="1673"/>
                      </a:lnTo>
                      <a:lnTo>
                        <a:pt x="2149" y="1698"/>
                      </a:lnTo>
                      <a:lnTo>
                        <a:pt x="2077" y="1723"/>
                      </a:lnTo>
                      <a:lnTo>
                        <a:pt x="2003" y="1745"/>
                      </a:lnTo>
                      <a:lnTo>
                        <a:pt x="1930" y="1767"/>
                      </a:lnTo>
                      <a:lnTo>
                        <a:pt x="1854" y="1787"/>
                      </a:lnTo>
                      <a:lnTo>
                        <a:pt x="1780" y="1806"/>
                      </a:lnTo>
                      <a:lnTo>
                        <a:pt x="1703" y="1823"/>
                      </a:lnTo>
                      <a:lnTo>
                        <a:pt x="1627" y="1839"/>
                      </a:lnTo>
                      <a:lnTo>
                        <a:pt x="1550" y="1852"/>
                      </a:lnTo>
                      <a:lnTo>
                        <a:pt x="1475" y="1863"/>
                      </a:lnTo>
                      <a:lnTo>
                        <a:pt x="1399" y="1872"/>
                      </a:lnTo>
                      <a:lnTo>
                        <a:pt x="1323" y="1879"/>
                      </a:lnTo>
                      <a:lnTo>
                        <a:pt x="1249" y="1883"/>
                      </a:lnTo>
                      <a:lnTo>
                        <a:pt x="1174" y="1884"/>
                      </a:lnTo>
                      <a:lnTo>
                        <a:pt x="1102" y="1883"/>
                      </a:lnTo>
                      <a:lnTo>
                        <a:pt x="1029" y="1879"/>
                      </a:lnTo>
                      <a:lnTo>
                        <a:pt x="958" y="1872"/>
                      </a:lnTo>
                      <a:lnTo>
                        <a:pt x="889" y="1862"/>
                      </a:lnTo>
                      <a:lnTo>
                        <a:pt x="821" y="1849"/>
                      </a:lnTo>
                      <a:lnTo>
                        <a:pt x="756" y="1832"/>
                      </a:lnTo>
                      <a:lnTo>
                        <a:pt x="691" y="1812"/>
                      </a:lnTo>
                      <a:lnTo>
                        <a:pt x="630" y="1789"/>
                      </a:lnTo>
                      <a:lnTo>
                        <a:pt x="570" y="1761"/>
                      </a:lnTo>
                      <a:lnTo>
                        <a:pt x="513" y="1730"/>
                      </a:lnTo>
                      <a:lnTo>
                        <a:pt x="479" y="1708"/>
                      </a:lnTo>
                      <a:lnTo>
                        <a:pt x="445" y="1687"/>
                      </a:lnTo>
                      <a:lnTo>
                        <a:pt x="413" y="1665"/>
                      </a:lnTo>
                      <a:lnTo>
                        <a:pt x="382" y="1642"/>
                      </a:lnTo>
                      <a:lnTo>
                        <a:pt x="351" y="1618"/>
                      </a:lnTo>
                      <a:lnTo>
                        <a:pt x="322" y="1594"/>
                      </a:lnTo>
                      <a:lnTo>
                        <a:pt x="293" y="1568"/>
                      </a:lnTo>
                      <a:lnTo>
                        <a:pt x="266" y="1543"/>
                      </a:lnTo>
                      <a:lnTo>
                        <a:pt x="239" y="1516"/>
                      </a:lnTo>
                      <a:lnTo>
                        <a:pt x="215" y="1489"/>
                      </a:lnTo>
                      <a:lnTo>
                        <a:pt x="190" y="1461"/>
                      </a:lnTo>
                      <a:lnTo>
                        <a:pt x="168" y="1432"/>
                      </a:lnTo>
                      <a:lnTo>
                        <a:pt x="147" y="1404"/>
                      </a:lnTo>
                      <a:lnTo>
                        <a:pt x="127" y="1373"/>
                      </a:lnTo>
                      <a:lnTo>
                        <a:pt x="108" y="1343"/>
                      </a:lnTo>
                      <a:lnTo>
                        <a:pt x="90" y="1312"/>
                      </a:lnTo>
                      <a:lnTo>
                        <a:pt x="74" y="1280"/>
                      </a:lnTo>
                      <a:lnTo>
                        <a:pt x="60" y="1248"/>
                      </a:lnTo>
                      <a:lnTo>
                        <a:pt x="47" y="1215"/>
                      </a:lnTo>
                      <a:lnTo>
                        <a:pt x="36" y="1181"/>
                      </a:lnTo>
                      <a:lnTo>
                        <a:pt x="26" y="1148"/>
                      </a:lnTo>
                      <a:lnTo>
                        <a:pt x="17" y="1112"/>
                      </a:lnTo>
                      <a:lnTo>
                        <a:pt x="10" y="1076"/>
                      </a:lnTo>
                      <a:lnTo>
                        <a:pt x="5" y="1041"/>
                      </a:lnTo>
                      <a:lnTo>
                        <a:pt x="2" y="1003"/>
                      </a:lnTo>
                      <a:lnTo>
                        <a:pt x="0" y="966"/>
                      </a:lnTo>
                      <a:lnTo>
                        <a:pt x="0" y="928"/>
                      </a:lnTo>
                      <a:lnTo>
                        <a:pt x="2" y="889"/>
                      </a:lnTo>
                      <a:lnTo>
                        <a:pt x="7" y="849"/>
                      </a:lnTo>
                      <a:lnTo>
                        <a:pt x="12" y="809"/>
                      </a:lnTo>
                      <a:lnTo>
                        <a:pt x="20" y="769"/>
                      </a:lnTo>
                      <a:lnTo>
                        <a:pt x="29" y="728"/>
                      </a:lnTo>
                      <a:close/>
                    </a:path>
                  </a:pathLst>
                </a:custGeom>
                <a:solidFill>
                  <a:srgbClr val="1B233E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214" name="Freeform 213"/>
                <p:cNvSpPr>
                  <a:spLocks/>
                </p:cNvSpPr>
                <p:nvPr/>
              </p:nvSpPr>
              <p:spPr bwMode="auto">
                <a:xfrm>
                  <a:off x="2767" y="2612"/>
                  <a:ext cx="509" cy="230"/>
                </a:xfrm>
                <a:custGeom>
                  <a:avLst/>
                  <a:gdLst>
                    <a:gd name="T0" fmla="*/ 0 w 3578"/>
                    <a:gd name="T1" fmla="*/ 0 h 1617"/>
                    <a:gd name="T2" fmla="*/ 0 w 3578"/>
                    <a:gd name="T3" fmla="*/ 0 h 1617"/>
                    <a:gd name="T4" fmla="*/ 0 w 3578"/>
                    <a:gd name="T5" fmla="*/ 0 h 1617"/>
                    <a:gd name="T6" fmla="*/ 0 w 3578"/>
                    <a:gd name="T7" fmla="*/ 0 h 1617"/>
                    <a:gd name="T8" fmla="*/ 0 w 3578"/>
                    <a:gd name="T9" fmla="*/ 0 h 1617"/>
                    <a:gd name="T10" fmla="*/ 0 w 3578"/>
                    <a:gd name="T11" fmla="*/ 0 h 1617"/>
                    <a:gd name="T12" fmla="*/ 0 w 3578"/>
                    <a:gd name="T13" fmla="*/ 0 h 1617"/>
                    <a:gd name="T14" fmla="*/ 0 w 3578"/>
                    <a:gd name="T15" fmla="*/ 0 h 1617"/>
                    <a:gd name="T16" fmla="*/ 0 w 3578"/>
                    <a:gd name="T17" fmla="*/ 0 h 1617"/>
                    <a:gd name="T18" fmla="*/ 0 w 3578"/>
                    <a:gd name="T19" fmla="*/ 0 h 1617"/>
                    <a:gd name="T20" fmla="*/ 0 w 3578"/>
                    <a:gd name="T21" fmla="*/ 0 h 1617"/>
                    <a:gd name="T22" fmla="*/ 0 w 3578"/>
                    <a:gd name="T23" fmla="*/ 0 h 1617"/>
                    <a:gd name="T24" fmla="*/ 0 w 3578"/>
                    <a:gd name="T25" fmla="*/ 0 h 1617"/>
                    <a:gd name="T26" fmla="*/ 0 w 3578"/>
                    <a:gd name="T27" fmla="*/ 0 h 1617"/>
                    <a:gd name="T28" fmla="*/ 0 w 3578"/>
                    <a:gd name="T29" fmla="*/ 0 h 1617"/>
                    <a:gd name="T30" fmla="*/ 0 w 3578"/>
                    <a:gd name="T31" fmla="*/ 0 h 1617"/>
                    <a:gd name="T32" fmla="*/ 0 w 3578"/>
                    <a:gd name="T33" fmla="*/ 0 h 1617"/>
                    <a:gd name="T34" fmla="*/ 0 w 3578"/>
                    <a:gd name="T35" fmla="*/ 0 h 1617"/>
                    <a:gd name="T36" fmla="*/ 0 w 3578"/>
                    <a:gd name="T37" fmla="*/ 0 h 1617"/>
                    <a:gd name="T38" fmla="*/ 0 w 3578"/>
                    <a:gd name="T39" fmla="*/ 0 h 1617"/>
                    <a:gd name="T40" fmla="*/ 0 w 3578"/>
                    <a:gd name="T41" fmla="*/ 0 h 1617"/>
                    <a:gd name="T42" fmla="*/ 0 w 3578"/>
                    <a:gd name="T43" fmla="*/ 0 h 1617"/>
                    <a:gd name="T44" fmla="*/ 0 w 3578"/>
                    <a:gd name="T45" fmla="*/ 0 h 1617"/>
                    <a:gd name="T46" fmla="*/ 0 w 3578"/>
                    <a:gd name="T47" fmla="*/ 0 h 1617"/>
                    <a:gd name="T48" fmla="*/ 0 w 3578"/>
                    <a:gd name="T49" fmla="*/ 0 h 1617"/>
                    <a:gd name="T50" fmla="*/ 0 w 3578"/>
                    <a:gd name="T51" fmla="*/ 0 h 1617"/>
                    <a:gd name="T52" fmla="*/ 0 w 3578"/>
                    <a:gd name="T53" fmla="*/ 0 h 1617"/>
                    <a:gd name="T54" fmla="*/ 0 w 3578"/>
                    <a:gd name="T55" fmla="*/ 0 h 1617"/>
                    <a:gd name="T56" fmla="*/ 0 w 3578"/>
                    <a:gd name="T57" fmla="*/ 0 h 1617"/>
                    <a:gd name="T58" fmla="*/ 0 w 3578"/>
                    <a:gd name="T59" fmla="*/ 0 h 1617"/>
                    <a:gd name="T60" fmla="*/ 0 w 3578"/>
                    <a:gd name="T61" fmla="*/ 0 h 1617"/>
                    <a:gd name="T62" fmla="*/ 0 w 3578"/>
                    <a:gd name="T63" fmla="*/ 0 h 1617"/>
                    <a:gd name="T64" fmla="*/ 0 w 3578"/>
                    <a:gd name="T65" fmla="*/ 0 h 1617"/>
                    <a:gd name="T66" fmla="*/ 0 w 3578"/>
                    <a:gd name="T67" fmla="*/ 0 h 1617"/>
                    <a:gd name="T68" fmla="*/ 0 w 3578"/>
                    <a:gd name="T69" fmla="*/ 0 h 1617"/>
                    <a:gd name="T70" fmla="*/ 0 w 3578"/>
                    <a:gd name="T71" fmla="*/ 0 h 1617"/>
                    <a:gd name="T72" fmla="*/ 0 w 3578"/>
                    <a:gd name="T73" fmla="*/ 0 h 1617"/>
                    <a:gd name="T74" fmla="*/ 0 w 3578"/>
                    <a:gd name="T75" fmla="*/ 0 h 1617"/>
                    <a:gd name="T76" fmla="*/ 0 w 3578"/>
                    <a:gd name="T77" fmla="*/ 0 h 1617"/>
                    <a:gd name="T78" fmla="*/ 0 w 3578"/>
                    <a:gd name="T79" fmla="*/ 0 h 1617"/>
                    <a:gd name="T80" fmla="*/ 0 w 3578"/>
                    <a:gd name="T81" fmla="*/ 0 h 1617"/>
                    <a:gd name="T82" fmla="*/ 0 w 3578"/>
                    <a:gd name="T83" fmla="*/ 0 h 1617"/>
                    <a:gd name="T84" fmla="*/ 0 w 3578"/>
                    <a:gd name="T85" fmla="*/ 0 h 1617"/>
                    <a:gd name="T86" fmla="*/ 0 w 3578"/>
                    <a:gd name="T87" fmla="*/ 0 h 1617"/>
                    <a:gd name="T88" fmla="*/ 0 w 3578"/>
                    <a:gd name="T89" fmla="*/ 0 h 1617"/>
                    <a:gd name="T90" fmla="*/ 0 w 3578"/>
                    <a:gd name="T91" fmla="*/ 0 h 1617"/>
                    <a:gd name="T92" fmla="*/ 0 w 3578"/>
                    <a:gd name="T93" fmla="*/ 0 h 1617"/>
                    <a:gd name="T94" fmla="*/ 0 w 3578"/>
                    <a:gd name="T95" fmla="*/ 0 h 1617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3578"/>
                    <a:gd name="T145" fmla="*/ 0 h 1617"/>
                    <a:gd name="T146" fmla="*/ 3578 w 3578"/>
                    <a:gd name="T147" fmla="*/ 1617 h 1617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3578" h="1617">
                      <a:moveTo>
                        <a:pt x="3395" y="291"/>
                      </a:moveTo>
                      <a:lnTo>
                        <a:pt x="3360" y="282"/>
                      </a:lnTo>
                      <a:lnTo>
                        <a:pt x="3321" y="273"/>
                      </a:lnTo>
                      <a:lnTo>
                        <a:pt x="3277" y="263"/>
                      </a:lnTo>
                      <a:lnTo>
                        <a:pt x="3228" y="255"/>
                      </a:lnTo>
                      <a:lnTo>
                        <a:pt x="3174" y="246"/>
                      </a:lnTo>
                      <a:lnTo>
                        <a:pt x="3117" y="237"/>
                      </a:lnTo>
                      <a:lnTo>
                        <a:pt x="3056" y="229"/>
                      </a:lnTo>
                      <a:lnTo>
                        <a:pt x="2990" y="222"/>
                      </a:lnTo>
                      <a:lnTo>
                        <a:pt x="2921" y="214"/>
                      </a:lnTo>
                      <a:lnTo>
                        <a:pt x="2850" y="206"/>
                      </a:lnTo>
                      <a:lnTo>
                        <a:pt x="2776" y="201"/>
                      </a:lnTo>
                      <a:lnTo>
                        <a:pt x="2698" y="194"/>
                      </a:lnTo>
                      <a:lnTo>
                        <a:pt x="2618" y="188"/>
                      </a:lnTo>
                      <a:lnTo>
                        <a:pt x="2535" y="184"/>
                      </a:lnTo>
                      <a:lnTo>
                        <a:pt x="2452" y="179"/>
                      </a:lnTo>
                      <a:lnTo>
                        <a:pt x="2365" y="176"/>
                      </a:lnTo>
                      <a:lnTo>
                        <a:pt x="2277" y="173"/>
                      </a:lnTo>
                      <a:lnTo>
                        <a:pt x="2189" y="172"/>
                      </a:lnTo>
                      <a:lnTo>
                        <a:pt x="2099" y="170"/>
                      </a:lnTo>
                      <a:lnTo>
                        <a:pt x="2008" y="170"/>
                      </a:lnTo>
                      <a:lnTo>
                        <a:pt x="1916" y="172"/>
                      </a:lnTo>
                      <a:lnTo>
                        <a:pt x="1825" y="174"/>
                      </a:lnTo>
                      <a:lnTo>
                        <a:pt x="1733" y="177"/>
                      </a:lnTo>
                      <a:lnTo>
                        <a:pt x="1642" y="182"/>
                      </a:lnTo>
                      <a:lnTo>
                        <a:pt x="1550" y="187"/>
                      </a:lnTo>
                      <a:lnTo>
                        <a:pt x="1459" y="194"/>
                      </a:lnTo>
                      <a:lnTo>
                        <a:pt x="1370" y="203"/>
                      </a:lnTo>
                      <a:lnTo>
                        <a:pt x="1281" y="212"/>
                      </a:lnTo>
                      <a:lnTo>
                        <a:pt x="1194" y="223"/>
                      </a:lnTo>
                      <a:lnTo>
                        <a:pt x="1108" y="235"/>
                      </a:lnTo>
                      <a:lnTo>
                        <a:pt x="1024" y="250"/>
                      </a:lnTo>
                      <a:lnTo>
                        <a:pt x="943" y="265"/>
                      </a:lnTo>
                      <a:lnTo>
                        <a:pt x="906" y="274"/>
                      </a:lnTo>
                      <a:lnTo>
                        <a:pt x="870" y="285"/>
                      </a:lnTo>
                      <a:lnTo>
                        <a:pt x="834" y="298"/>
                      </a:lnTo>
                      <a:lnTo>
                        <a:pt x="798" y="314"/>
                      </a:lnTo>
                      <a:lnTo>
                        <a:pt x="762" y="333"/>
                      </a:lnTo>
                      <a:lnTo>
                        <a:pt x="728" y="353"/>
                      </a:lnTo>
                      <a:lnTo>
                        <a:pt x="692" y="374"/>
                      </a:lnTo>
                      <a:lnTo>
                        <a:pt x="659" y="399"/>
                      </a:lnTo>
                      <a:lnTo>
                        <a:pt x="624" y="424"/>
                      </a:lnTo>
                      <a:lnTo>
                        <a:pt x="591" y="451"/>
                      </a:lnTo>
                      <a:lnTo>
                        <a:pt x="557" y="480"/>
                      </a:lnTo>
                      <a:lnTo>
                        <a:pt x="526" y="510"/>
                      </a:lnTo>
                      <a:lnTo>
                        <a:pt x="494" y="542"/>
                      </a:lnTo>
                      <a:lnTo>
                        <a:pt x="463" y="574"/>
                      </a:lnTo>
                      <a:lnTo>
                        <a:pt x="433" y="608"/>
                      </a:lnTo>
                      <a:lnTo>
                        <a:pt x="404" y="642"/>
                      </a:lnTo>
                      <a:lnTo>
                        <a:pt x="375" y="678"/>
                      </a:lnTo>
                      <a:lnTo>
                        <a:pt x="348" y="715"/>
                      </a:lnTo>
                      <a:lnTo>
                        <a:pt x="322" y="751"/>
                      </a:lnTo>
                      <a:lnTo>
                        <a:pt x="296" y="789"/>
                      </a:lnTo>
                      <a:lnTo>
                        <a:pt x="271" y="827"/>
                      </a:lnTo>
                      <a:lnTo>
                        <a:pt x="248" y="865"/>
                      </a:lnTo>
                      <a:lnTo>
                        <a:pt x="226" y="904"/>
                      </a:lnTo>
                      <a:lnTo>
                        <a:pt x="205" y="942"/>
                      </a:lnTo>
                      <a:lnTo>
                        <a:pt x="185" y="981"/>
                      </a:lnTo>
                      <a:lnTo>
                        <a:pt x="166" y="1018"/>
                      </a:lnTo>
                      <a:lnTo>
                        <a:pt x="149" y="1057"/>
                      </a:lnTo>
                      <a:lnTo>
                        <a:pt x="133" y="1095"/>
                      </a:lnTo>
                      <a:lnTo>
                        <a:pt x="119" y="1132"/>
                      </a:lnTo>
                      <a:lnTo>
                        <a:pt x="106" y="1169"/>
                      </a:lnTo>
                      <a:lnTo>
                        <a:pt x="94" y="1205"/>
                      </a:lnTo>
                      <a:lnTo>
                        <a:pt x="86" y="1240"/>
                      </a:lnTo>
                      <a:lnTo>
                        <a:pt x="79" y="1266"/>
                      </a:lnTo>
                      <a:lnTo>
                        <a:pt x="73" y="1291"/>
                      </a:lnTo>
                      <a:lnTo>
                        <a:pt x="69" y="1316"/>
                      </a:lnTo>
                      <a:lnTo>
                        <a:pt x="66" y="1340"/>
                      </a:lnTo>
                      <a:lnTo>
                        <a:pt x="62" y="1365"/>
                      </a:lnTo>
                      <a:lnTo>
                        <a:pt x="60" y="1389"/>
                      </a:lnTo>
                      <a:lnTo>
                        <a:pt x="58" y="1412"/>
                      </a:lnTo>
                      <a:lnTo>
                        <a:pt x="57" y="1437"/>
                      </a:lnTo>
                      <a:lnTo>
                        <a:pt x="57" y="1460"/>
                      </a:lnTo>
                      <a:lnTo>
                        <a:pt x="57" y="1484"/>
                      </a:lnTo>
                      <a:lnTo>
                        <a:pt x="58" y="1506"/>
                      </a:lnTo>
                      <a:lnTo>
                        <a:pt x="59" y="1529"/>
                      </a:lnTo>
                      <a:lnTo>
                        <a:pt x="61" y="1552"/>
                      </a:lnTo>
                      <a:lnTo>
                        <a:pt x="64" y="1574"/>
                      </a:lnTo>
                      <a:lnTo>
                        <a:pt x="68" y="1596"/>
                      </a:lnTo>
                      <a:lnTo>
                        <a:pt x="72" y="1617"/>
                      </a:lnTo>
                      <a:lnTo>
                        <a:pt x="59" y="1587"/>
                      </a:lnTo>
                      <a:lnTo>
                        <a:pt x="47" y="1557"/>
                      </a:lnTo>
                      <a:lnTo>
                        <a:pt x="35" y="1526"/>
                      </a:lnTo>
                      <a:lnTo>
                        <a:pt x="27" y="1494"/>
                      </a:lnTo>
                      <a:lnTo>
                        <a:pt x="19" y="1461"/>
                      </a:lnTo>
                      <a:lnTo>
                        <a:pt x="12" y="1429"/>
                      </a:lnTo>
                      <a:lnTo>
                        <a:pt x="7" y="1396"/>
                      </a:lnTo>
                      <a:lnTo>
                        <a:pt x="3" y="1361"/>
                      </a:lnTo>
                      <a:lnTo>
                        <a:pt x="1" y="1327"/>
                      </a:lnTo>
                      <a:lnTo>
                        <a:pt x="0" y="1292"/>
                      </a:lnTo>
                      <a:lnTo>
                        <a:pt x="1" y="1257"/>
                      </a:lnTo>
                      <a:lnTo>
                        <a:pt x="3" y="1220"/>
                      </a:lnTo>
                      <a:lnTo>
                        <a:pt x="7" y="1183"/>
                      </a:lnTo>
                      <a:lnTo>
                        <a:pt x="12" y="1146"/>
                      </a:lnTo>
                      <a:lnTo>
                        <a:pt x="20" y="1109"/>
                      </a:lnTo>
                      <a:lnTo>
                        <a:pt x="29" y="1071"/>
                      </a:lnTo>
                      <a:lnTo>
                        <a:pt x="38" y="1035"/>
                      </a:lnTo>
                      <a:lnTo>
                        <a:pt x="49" y="1000"/>
                      </a:lnTo>
                      <a:lnTo>
                        <a:pt x="62" y="963"/>
                      </a:lnTo>
                      <a:lnTo>
                        <a:pt x="77" y="925"/>
                      </a:lnTo>
                      <a:lnTo>
                        <a:pt x="92" y="887"/>
                      </a:lnTo>
                      <a:lnTo>
                        <a:pt x="109" y="849"/>
                      </a:lnTo>
                      <a:lnTo>
                        <a:pt x="128" y="810"/>
                      </a:lnTo>
                      <a:lnTo>
                        <a:pt x="148" y="773"/>
                      </a:lnTo>
                      <a:lnTo>
                        <a:pt x="169" y="734"/>
                      </a:lnTo>
                      <a:lnTo>
                        <a:pt x="191" y="695"/>
                      </a:lnTo>
                      <a:lnTo>
                        <a:pt x="215" y="657"/>
                      </a:lnTo>
                      <a:lnTo>
                        <a:pt x="239" y="619"/>
                      </a:lnTo>
                      <a:lnTo>
                        <a:pt x="265" y="581"/>
                      </a:lnTo>
                      <a:lnTo>
                        <a:pt x="291" y="544"/>
                      </a:lnTo>
                      <a:lnTo>
                        <a:pt x="319" y="509"/>
                      </a:lnTo>
                      <a:lnTo>
                        <a:pt x="347" y="473"/>
                      </a:lnTo>
                      <a:lnTo>
                        <a:pt x="376" y="438"/>
                      </a:lnTo>
                      <a:lnTo>
                        <a:pt x="407" y="404"/>
                      </a:lnTo>
                      <a:lnTo>
                        <a:pt x="437" y="372"/>
                      </a:lnTo>
                      <a:lnTo>
                        <a:pt x="470" y="341"/>
                      </a:lnTo>
                      <a:lnTo>
                        <a:pt x="502" y="311"/>
                      </a:lnTo>
                      <a:lnTo>
                        <a:pt x="534" y="282"/>
                      </a:lnTo>
                      <a:lnTo>
                        <a:pt x="567" y="254"/>
                      </a:lnTo>
                      <a:lnTo>
                        <a:pt x="602" y="228"/>
                      </a:lnTo>
                      <a:lnTo>
                        <a:pt x="637" y="205"/>
                      </a:lnTo>
                      <a:lnTo>
                        <a:pt x="671" y="183"/>
                      </a:lnTo>
                      <a:lnTo>
                        <a:pt x="706" y="163"/>
                      </a:lnTo>
                      <a:lnTo>
                        <a:pt x="741" y="145"/>
                      </a:lnTo>
                      <a:lnTo>
                        <a:pt x="777" y="128"/>
                      </a:lnTo>
                      <a:lnTo>
                        <a:pt x="813" y="115"/>
                      </a:lnTo>
                      <a:lnTo>
                        <a:pt x="849" y="104"/>
                      </a:lnTo>
                      <a:lnTo>
                        <a:pt x="886" y="95"/>
                      </a:lnTo>
                      <a:lnTo>
                        <a:pt x="967" y="79"/>
                      </a:lnTo>
                      <a:lnTo>
                        <a:pt x="1052" y="66"/>
                      </a:lnTo>
                      <a:lnTo>
                        <a:pt x="1137" y="53"/>
                      </a:lnTo>
                      <a:lnTo>
                        <a:pt x="1224" y="41"/>
                      </a:lnTo>
                      <a:lnTo>
                        <a:pt x="1313" y="33"/>
                      </a:lnTo>
                      <a:lnTo>
                        <a:pt x="1403" y="24"/>
                      </a:lnTo>
                      <a:lnTo>
                        <a:pt x="1494" y="17"/>
                      </a:lnTo>
                      <a:lnTo>
                        <a:pt x="1585" y="11"/>
                      </a:lnTo>
                      <a:lnTo>
                        <a:pt x="1676" y="7"/>
                      </a:lnTo>
                      <a:lnTo>
                        <a:pt x="1768" y="4"/>
                      </a:lnTo>
                      <a:lnTo>
                        <a:pt x="1860" y="1"/>
                      </a:lnTo>
                      <a:lnTo>
                        <a:pt x="1951" y="0"/>
                      </a:lnTo>
                      <a:lnTo>
                        <a:pt x="2042" y="0"/>
                      </a:lnTo>
                      <a:lnTo>
                        <a:pt x="2132" y="1"/>
                      </a:lnTo>
                      <a:lnTo>
                        <a:pt x="2221" y="4"/>
                      </a:lnTo>
                      <a:lnTo>
                        <a:pt x="2308" y="6"/>
                      </a:lnTo>
                      <a:lnTo>
                        <a:pt x="2395" y="9"/>
                      </a:lnTo>
                      <a:lnTo>
                        <a:pt x="2479" y="14"/>
                      </a:lnTo>
                      <a:lnTo>
                        <a:pt x="2561" y="18"/>
                      </a:lnTo>
                      <a:lnTo>
                        <a:pt x="2641" y="24"/>
                      </a:lnTo>
                      <a:lnTo>
                        <a:pt x="2719" y="30"/>
                      </a:lnTo>
                      <a:lnTo>
                        <a:pt x="2793" y="37"/>
                      </a:lnTo>
                      <a:lnTo>
                        <a:pt x="2866" y="44"/>
                      </a:lnTo>
                      <a:lnTo>
                        <a:pt x="2934" y="51"/>
                      </a:lnTo>
                      <a:lnTo>
                        <a:pt x="2999" y="59"/>
                      </a:lnTo>
                      <a:lnTo>
                        <a:pt x="3061" y="67"/>
                      </a:lnTo>
                      <a:lnTo>
                        <a:pt x="3117" y="76"/>
                      </a:lnTo>
                      <a:lnTo>
                        <a:pt x="3171" y="85"/>
                      </a:lnTo>
                      <a:lnTo>
                        <a:pt x="3220" y="94"/>
                      </a:lnTo>
                      <a:lnTo>
                        <a:pt x="3264" y="103"/>
                      </a:lnTo>
                      <a:lnTo>
                        <a:pt x="3303" y="112"/>
                      </a:lnTo>
                      <a:lnTo>
                        <a:pt x="3338" y="120"/>
                      </a:lnTo>
                      <a:lnTo>
                        <a:pt x="3367" y="129"/>
                      </a:lnTo>
                      <a:lnTo>
                        <a:pt x="3393" y="140"/>
                      </a:lnTo>
                      <a:lnTo>
                        <a:pt x="3418" y="153"/>
                      </a:lnTo>
                      <a:lnTo>
                        <a:pt x="3440" y="166"/>
                      </a:lnTo>
                      <a:lnTo>
                        <a:pt x="3460" y="181"/>
                      </a:lnTo>
                      <a:lnTo>
                        <a:pt x="3479" y="197"/>
                      </a:lnTo>
                      <a:lnTo>
                        <a:pt x="3496" y="214"/>
                      </a:lnTo>
                      <a:lnTo>
                        <a:pt x="3511" y="233"/>
                      </a:lnTo>
                      <a:lnTo>
                        <a:pt x="3525" y="252"/>
                      </a:lnTo>
                      <a:lnTo>
                        <a:pt x="3537" y="273"/>
                      </a:lnTo>
                      <a:lnTo>
                        <a:pt x="3547" y="294"/>
                      </a:lnTo>
                      <a:lnTo>
                        <a:pt x="3556" y="317"/>
                      </a:lnTo>
                      <a:lnTo>
                        <a:pt x="3564" y="341"/>
                      </a:lnTo>
                      <a:lnTo>
                        <a:pt x="3570" y="365"/>
                      </a:lnTo>
                      <a:lnTo>
                        <a:pt x="3575" y="390"/>
                      </a:lnTo>
                      <a:lnTo>
                        <a:pt x="3578" y="416"/>
                      </a:lnTo>
                      <a:lnTo>
                        <a:pt x="3570" y="405"/>
                      </a:lnTo>
                      <a:lnTo>
                        <a:pt x="3563" y="395"/>
                      </a:lnTo>
                      <a:lnTo>
                        <a:pt x="3554" y="385"/>
                      </a:lnTo>
                      <a:lnTo>
                        <a:pt x="3545" y="375"/>
                      </a:lnTo>
                      <a:lnTo>
                        <a:pt x="3536" y="366"/>
                      </a:lnTo>
                      <a:lnTo>
                        <a:pt x="3526" y="357"/>
                      </a:lnTo>
                      <a:lnTo>
                        <a:pt x="3515" y="349"/>
                      </a:lnTo>
                      <a:lnTo>
                        <a:pt x="3504" y="341"/>
                      </a:lnTo>
                      <a:lnTo>
                        <a:pt x="3492" y="333"/>
                      </a:lnTo>
                      <a:lnTo>
                        <a:pt x="3480" y="326"/>
                      </a:lnTo>
                      <a:lnTo>
                        <a:pt x="3467" y="319"/>
                      </a:lnTo>
                      <a:lnTo>
                        <a:pt x="3454" y="312"/>
                      </a:lnTo>
                      <a:lnTo>
                        <a:pt x="3440" y="306"/>
                      </a:lnTo>
                      <a:lnTo>
                        <a:pt x="3426" y="301"/>
                      </a:lnTo>
                      <a:lnTo>
                        <a:pt x="3410" y="295"/>
                      </a:lnTo>
                      <a:lnTo>
                        <a:pt x="3395" y="291"/>
                      </a:lnTo>
                      <a:close/>
                    </a:path>
                  </a:pathLst>
                </a:custGeom>
                <a:solidFill>
                  <a:srgbClr val="1B457C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215" name="Freeform 214"/>
                <p:cNvSpPr>
                  <a:spLocks/>
                </p:cNvSpPr>
                <p:nvPr/>
              </p:nvSpPr>
              <p:spPr bwMode="auto">
                <a:xfrm>
                  <a:off x="2950" y="2489"/>
                  <a:ext cx="984" cy="575"/>
                </a:xfrm>
                <a:custGeom>
                  <a:avLst/>
                  <a:gdLst>
                    <a:gd name="T0" fmla="*/ 0 w 6882"/>
                    <a:gd name="T1" fmla="*/ 0 h 4066"/>
                    <a:gd name="T2" fmla="*/ 0 w 6882"/>
                    <a:gd name="T3" fmla="*/ 0 h 4066"/>
                    <a:gd name="T4" fmla="*/ 0 w 6882"/>
                    <a:gd name="T5" fmla="*/ 0 h 4066"/>
                    <a:gd name="T6" fmla="*/ 0 w 6882"/>
                    <a:gd name="T7" fmla="*/ 0 h 4066"/>
                    <a:gd name="T8" fmla="*/ 0 w 6882"/>
                    <a:gd name="T9" fmla="*/ 0 h 4066"/>
                    <a:gd name="T10" fmla="*/ 0 w 6882"/>
                    <a:gd name="T11" fmla="*/ 0 h 4066"/>
                    <a:gd name="T12" fmla="*/ 0 w 6882"/>
                    <a:gd name="T13" fmla="*/ 0 h 4066"/>
                    <a:gd name="T14" fmla="*/ 0 w 6882"/>
                    <a:gd name="T15" fmla="*/ 0 h 4066"/>
                    <a:gd name="T16" fmla="*/ 0 w 6882"/>
                    <a:gd name="T17" fmla="*/ 0 h 4066"/>
                    <a:gd name="T18" fmla="*/ 0 w 6882"/>
                    <a:gd name="T19" fmla="*/ 0 h 4066"/>
                    <a:gd name="T20" fmla="*/ 0 w 6882"/>
                    <a:gd name="T21" fmla="*/ 0 h 4066"/>
                    <a:gd name="T22" fmla="*/ 0 w 6882"/>
                    <a:gd name="T23" fmla="*/ 0 h 4066"/>
                    <a:gd name="T24" fmla="*/ 0 w 6882"/>
                    <a:gd name="T25" fmla="*/ 0 h 4066"/>
                    <a:gd name="T26" fmla="*/ 0 w 6882"/>
                    <a:gd name="T27" fmla="*/ 0 h 4066"/>
                    <a:gd name="T28" fmla="*/ 0 w 6882"/>
                    <a:gd name="T29" fmla="*/ 0 h 4066"/>
                    <a:gd name="T30" fmla="*/ 0 w 6882"/>
                    <a:gd name="T31" fmla="*/ 0 h 4066"/>
                    <a:gd name="T32" fmla="*/ 0 w 6882"/>
                    <a:gd name="T33" fmla="*/ 0 h 4066"/>
                    <a:gd name="T34" fmla="*/ 0 w 6882"/>
                    <a:gd name="T35" fmla="*/ 0 h 4066"/>
                    <a:gd name="T36" fmla="*/ 0 w 6882"/>
                    <a:gd name="T37" fmla="*/ 0 h 4066"/>
                    <a:gd name="T38" fmla="*/ 0 w 6882"/>
                    <a:gd name="T39" fmla="*/ 0 h 4066"/>
                    <a:gd name="T40" fmla="*/ 0 w 6882"/>
                    <a:gd name="T41" fmla="*/ 0 h 4066"/>
                    <a:gd name="T42" fmla="*/ 0 w 6882"/>
                    <a:gd name="T43" fmla="*/ 0 h 4066"/>
                    <a:gd name="T44" fmla="*/ 0 w 6882"/>
                    <a:gd name="T45" fmla="*/ 0 h 4066"/>
                    <a:gd name="T46" fmla="*/ 0 w 6882"/>
                    <a:gd name="T47" fmla="*/ 0 h 4066"/>
                    <a:gd name="T48" fmla="*/ 0 w 6882"/>
                    <a:gd name="T49" fmla="*/ 0 h 4066"/>
                    <a:gd name="T50" fmla="*/ 0 w 6882"/>
                    <a:gd name="T51" fmla="*/ 0 h 4066"/>
                    <a:gd name="T52" fmla="*/ 0 w 6882"/>
                    <a:gd name="T53" fmla="*/ 0 h 4066"/>
                    <a:gd name="T54" fmla="*/ 0 w 6882"/>
                    <a:gd name="T55" fmla="*/ 0 h 4066"/>
                    <a:gd name="T56" fmla="*/ 0 w 6882"/>
                    <a:gd name="T57" fmla="*/ 0 h 4066"/>
                    <a:gd name="T58" fmla="*/ 0 w 6882"/>
                    <a:gd name="T59" fmla="*/ 0 h 4066"/>
                    <a:gd name="T60" fmla="*/ 0 w 6882"/>
                    <a:gd name="T61" fmla="*/ 0 h 4066"/>
                    <a:gd name="T62" fmla="*/ 0 w 6882"/>
                    <a:gd name="T63" fmla="*/ 0 h 4066"/>
                    <a:gd name="T64" fmla="*/ 0 w 6882"/>
                    <a:gd name="T65" fmla="*/ 0 h 4066"/>
                    <a:gd name="T66" fmla="*/ 0 w 6882"/>
                    <a:gd name="T67" fmla="*/ 0 h 4066"/>
                    <a:gd name="T68" fmla="*/ 0 w 6882"/>
                    <a:gd name="T69" fmla="*/ 0 h 4066"/>
                    <a:gd name="T70" fmla="*/ 0 w 6882"/>
                    <a:gd name="T71" fmla="*/ 0 h 4066"/>
                    <a:gd name="T72" fmla="*/ 0 w 6882"/>
                    <a:gd name="T73" fmla="*/ 0 h 4066"/>
                    <a:gd name="T74" fmla="*/ 0 w 6882"/>
                    <a:gd name="T75" fmla="*/ 0 h 4066"/>
                    <a:gd name="T76" fmla="*/ 0 w 6882"/>
                    <a:gd name="T77" fmla="*/ 0 h 4066"/>
                    <a:gd name="T78" fmla="*/ 0 w 6882"/>
                    <a:gd name="T79" fmla="*/ 0 h 4066"/>
                    <a:gd name="T80" fmla="*/ 0 w 6882"/>
                    <a:gd name="T81" fmla="*/ 0 h 4066"/>
                    <a:gd name="T82" fmla="*/ 0 w 6882"/>
                    <a:gd name="T83" fmla="*/ 0 h 4066"/>
                    <a:gd name="T84" fmla="*/ 0 w 6882"/>
                    <a:gd name="T85" fmla="*/ 0 h 4066"/>
                    <a:gd name="T86" fmla="*/ 0 w 6882"/>
                    <a:gd name="T87" fmla="*/ 0 h 4066"/>
                    <a:gd name="T88" fmla="*/ 0 w 6882"/>
                    <a:gd name="T89" fmla="*/ 0 h 4066"/>
                    <a:gd name="T90" fmla="*/ 0 w 6882"/>
                    <a:gd name="T91" fmla="*/ 0 h 4066"/>
                    <a:gd name="T92" fmla="*/ 0 w 6882"/>
                    <a:gd name="T93" fmla="*/ 0 h 4066"/>
                    <a:gd name="T94" fmla="*/ 0 w 6882"/>
                    <a:gd name="T95" fmla="*/ 0 h 406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6882"/>
                    <a:gd name="T145" fmla="*/ 0 h 4066"/>
                    <a:gd name="T146" fmla="*/ 6882 w 6882"/>
                    <a:gd name="T147" fmla="*/ 4066 h 4066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6882" h="4066">
                      <a:moveTo>
                        <a:pt x="6852" y="4060"/>
                      </a:moveTo>
                      <a:lnTo>
                        <a:pt x="6873" y="3833"/>
                      </a:lnTo>
                      <a:lnTo>
                        <a:pt x="6882" y="3612"/>
                      </a:lnTo>
                      <a:lnTo>
                        <a:pt x="6877" y="3395"/>
                      </a:lnTo>
                      <a:lnTo>
                        <a:pt x="6863" y="3183"/>
                      </a:lnTo>
                      <a:lnTo>
                        <a:pt x="6836" y="2978"/>
                      </a:lnTo>
                      <a:lnTo>
                        <a:pt x="6799" y="2777"/>
                      </a:lnTo>
                      <a:lnTo>
                        <a:pt x="6752" y="2582"/>
                      </a:lnTo>
                      <a:lnTo>
                        <a:pt x="6694" y="2394"/>
                      </a:lnTo>
                      <a:lnTo>
                        <a:pt x="6627" y="2211"/>
                      </a:lnTo>
                      <a:lnTo>
                        <a:pt x="6551" y="2035"/>
                      </a:lnTo>
                      <a:lnTo>
                        <a:pt x="6467" y="1865"/>
                      </a:lnTo>
                      <a:lnTo>
                        <a:pt x="6373" y="1701"/>
                      </a:lnTo>
                      <a:lnTo>
                        <a:pt x="6273" y="1543"/>
                      </a:lnTo>
                      <a:lnTo>
                        <a:pt x="6165" y="1393"/>
                      </a:lnTo>
                      <a:lnTo>
                        <a:pt x="6050" y="1249"/>
                      </a:lnTo>
                      <a:lnTo>
                        <a:pt x="5929" y="1112"/>
                      </a:lnTo>
                      <a:lnTo>
                        <a:pt x="5801" y="983"/>
                      </a:lnTo>
                      <a:lnTo>
                        <a:pt x="5669" y="861"/>
                      </a:lnTo>
                      <a:lnTo>
                        <a:pt x="5531" y="746"/>
                      </a:lnTo>
                      <a:lnTo>
                        <a:pt x="5387" y="639"/>
                      </a:lnTo>
                      <a:lnTo>
                        <a:pt x="5240" y="540"/>
                      </a:lnTo>
                      <a:lnTo>
                        <a:pt x="5089" y="449"/>
                      </a:lnTo>
                      <a:lnTo>
                        <a:pt x="4934" y="366"/>
                      </a:lnTo>
                      <a:lnTo>
                        <a:pt x="4777" y="290"/>
                      </a:lnTo>
                      <a:lnTo>
                        <a:pt x="4617" y="223"/>
                      </a:lnTo>
                      <a:lnTo>
                        <a:pt x="4454" y="164"/>
                      </a:lnTo>
                      <a:lnTo>
                        <a:pt x="4290" y="114"/>
                      </a:lnTo>
                      <a:lnTo>
                        <a:pt x="4125" y="73"/>
                      </a:lnTo>
                      <a:lnTo>
                        <a:pt x="3958" y="42"/>
                      </a:lnTo>
                      <a:lnTo>
                        <a:pt x="3792" y="18"/>
                      </a:lnTo>
                      <a:lnTo>
                        <a:pt x="3625" y="4"/>
                      </a:lnTo>
                      <a:lnTo>
                        <a:pt x="3459" y="0"/>
                      </a:lnTo>
                      <a:lnTo>
                        <a:pt x="3292" y="4"/>
                      </a:lnTo>
                      <a:lnTo>
                        <a:pt x="3124" y="20"/>
                      </a:lnTo>
                      <a:lnTo>
                        <a:pt x="2956" y="43"/>
                      </a:lnTo>
                      <a:lnTo>
                        <a:pt x="2789" y="77"/>
                      </a:lnTo>
                      <a:lnTo>
                        <a:pt x="2622" y="121"/>
                      </a:lnTo>
                      <a:lnTo>
                        <a:pt x="2456" y="172"/>
                      </a:lnTo>
                      <a:lnTo>
                        <a:pt x="2292" y="233"/>
                      </a:lnTo>
                      <a:lnTo>
                        <a:pt x="2130" y="302"/>
                      </a:lnTo>
                      <a:lnTo>
                        <a:pt x="1970" y="381"/>
                      </a:lnTo>
                      <a:lnTo>
                        <a:pt x="1813" y="467"/>
                      </a:lnTo>
                      <a:lnTo>
                        <a:pt x="1660" y="562"/>
                      </a:lnTo>
                      <a:lnTo>
                        <a:pt x="1510" y="664"/>
                      </a:lnTo>
                      <a:lnTo>
                        <a:pt x="1365" y="773"/>
                      </a:lnTo>
                      <a:lnTo>
                        <a:pt x="1224" y="891"/>
                      </a:lnTo>
                      <a:lnTo>
                        <a:pt x="1089" y="1016"/>
                      </a:lnTo>
                      <a:lnTo>
                        <a:pt x="959" y="1147"/>
                      </a:lnTo>
                      <a:lnTo>
                        <a:pt x="836" y="1286"/>
                      </a:lnTo>
                      <a:lnTo>
                        <a:pt x="719" y="1432"/>
                      </a:lnTo>
                      <a:lnTo>
                        <a:pt x="609" y="1583"/>
                      </a:lnTo>
                      <a:lnTo>
                        <a:pt x="506" y="1742"/>
                      </a:lnTo>
                      <a:lnTo>
                        <a:pt x="413" y="1906"/>
                      </a:lnTo>
                      <a:lnTo>
                        <a:pt x="327" y="2077"/>
                      </a:lnTo>
                      <a:lnTo>
                        <a:pt x="250" y="2253"/>
                      </a:lnTo>
                      <a:lnTo>
                        <a:pt x="183" y="2434"/>
                      </a:lnTo>
                      <a:lnTo>
                        <a:pt x="125" y="2621"/>
                      </a:lnTo>
                      <a:lnTo>
                        <a:pt x="77" y="2814"/>
                      </a:lnTo>
                      <a:lnTo>
                        <a:pt x="40" y="3011"/>
                      </a:lnTo>
                      <a:lnTo>
                        <a:pt x="16" y="3213"/>
                      </a:lnTo>
                      <a:lnTo>
                        <a:pt x="1" y="3420"/>
                      </a:lnTo>
                      <a:lnTo>
                        <a:pt x="0" y="3631"/>
                      </a:lnTo>
                      <a:lnTo>
                        <a:pt x="10" y="3847"/>
                      </a:lnTo>
                      <a:lnTo>
                        <a:pt x="35" y="4066"/>
                      </a:lnTo>
                      <a:lnTo>
                        <a:pt x="101" y="4016"/>
                      </a:lnTo>
                      <a:lnTo>
                        <a:pt x="181" y="3959"/>
                      </a:lnTo>
                      <a:lnTo>
                        <a:pt x="274" y="3897"/>
                      </a:lnTo>
                      <a:lnTo>
                        <a:pt x="378" y="3829"/>
                      </a:lnTo>
                      <a:lnTo>
                        <a:pt x="494" y="3757"/>
                      </a:lnTo>
                      <a:lnTo>
                        <a:pt x="622" y="3681"/>
                      </a:lnTo>
                      <a:lnTo>
                        <a:pt x="761" y="3604"/>
                      </a:lnTo>
                      <a:lnTo>
                        <a:pt x="912" y="3525"/>
                      </a:lnTo>
                      <a:lnTo>
                        <a:pt x="1072" y="3447"/>
                      </a:lnTo>
                      <a:lnTo>
                        <a:pt x="1243" y="3369"/>
                      </a:lnTo>
                      <a:lnTo>
                        <a:pt x="1424" y="3295"/>
                      </a:lnTo>
                      <a:lnTo>
                        <a:pt x="1613" y="3222"/>
                      </a:lnTo>
                      <a:lnTo>
                        <a:pt x="1812" y="3154"/>
                      </a:lnTo>
                      <a:lnTo>
                        <a:pt x="2019" y="3092"/>
                      </a:lnTo>
                      <a:lnTo>
                        <a:pt x="2235" y="3037"/>
                      </a:lnTo>
                      <a:lnTo>
                        <a:pt x="2460" y="2988"/>
                      </a:lnTo>
                      <a:lnTo>
                        <a:pt x="2691" y="2946"/>
                      </a:lnTo>
                      <a:lnTo>
                        <a:pt x="2931" y="2916"/>
                      </a:lnTo>
                      <a:lnTo>
                        <a:pt x="3177" y="2895"/>
                      </a:lnTo>
                      <a:lnTo>
                        <a:pt x="3429" y="2886"/>
                      </a:lnTo>
                      <a:lnTo>
                        <a:pt x="3687" y="2891"/>
                      </a:lnTo>
                      <a:lnTo>
                        <a:pt x="3952" y="2907"/>
                      </a:lnTo>
                      <a:lnTo>
                        <a:pt x="4223" y="2940"/>
                      </a:lnTo>
                      <a:lnTo>
                        <a:pt x="4499" y="2988"/>
                      </a:lnTo>
                      <a:lnTo>
                        <a:pt x="4779" y="3052"/>
                      </a:lnTo>
                      <a:lnTo>
                        <a:pt x="5064" y="3134"/>
                      </a:lnTo>
                      <a:lnTo>
                        <a:pt x="5354" y="3236"/>
                      </a:lnTo>
                      <a:lnTo>
                        <a:pt x="5647" y="3356"/>
                      </a:lnTo>
                      <a:lnTo>
                        <a:pt x="5943" y="3498"/>
                      </a:lnTo>
                      <a:lnTo>
                        <a:pt x="6244" y="3662"/>
                      </a:lnTo>
                      <a:lnTo>
                        <a:pt x="6547" y="3849"/>
                      </a:lnTo>
                      <a:lnTo>
                        <a:pt x="6852" y="4060"/>
                      </a:lnTo>
                      <a:close/>
                    </a:path>
                  </a:pathLst>
                </a:custGeom>
                <a:solidFill>
                  <a:srgbClr val="242D54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216" name="Freeform 215"/>
                <p:cNvSpPr>
                  <a:spLocks/>
                </p:cNvSpPr>
                <p:nvPr/>
              </p:nvSpPr>
              <p:spPr bwMode="auto">
                <a:xfrm>
                  <a:off x="2950" y="2628"/>
                  <a:ext cx="984" cy="436"/>
                </a:xfrm>
                <a:custGeom>
                  <a:avLst/>
                  <a:gdLst>
                    <a:gd name="T0" fmla="*/ 0 w 6883"/>
                    <a:gd name="T1" fmla="*/ 0 h 3057"/>
                    <a:gd name="T2" fmla="*/ 0 w 6883"/>
                    <a:gd name="T3" fmla="*/ 0 h 3057"/>
                    <a:gd name="T4" fmla="*/ 0 w 6883"/>
                    <a:gd name="T5" fmla="*/ 0 h 3057"/>
                    <a:gd name="T6" fmla="*/ 0 w 6883"/>
                    <a:gd name="T7" fmla="*/ 0 h 3057"/>
                    <a:gd name="T8" fmla="*/ 0 w 6883"/>
                    <a:gd name="T9" fmla="*/ 0 h 3057"/>
                    <a:gd name="T10" fmla="*/ 0 w 6883"/>
                    <a:gd name="T11" fmla="*/ 0 h 3057"/>
                    <a:gd name="T12" fmla="*/ 0 w 6883"/>
                    <a:gd name="T13" fmla="*/ 0 h 3057"/>
                    <a:gd name="T14" fmla="*/ 0 w 6883"/>
                    <a:gd name="T15" fmla="*/ 0 h 3057"/>
                    <a:gd name="T16" fmla="*/ 0 w 6883"/>
                    <a:gd name="T17" fmla="*/ 0 h 3057"/>
                    <a:gd name="T18" fmla="*/ 0 w 6883"/>
                    <a:gd name="T19" fmla="*/ 0 h 3057"/>
                    <a:gd name="T20" fmla="*/ 0 w 6883"/>
                    <a:gd name="T21" fmla="*/ 0 h 3057"/>
                    <a:gd name="T22" fmla="*/ 0 w 6883"/>
                    <a:gd name="T23" fmla="*/ 0 h 3057"/>
                    <a:gd name="T24" fmla="*/ 0 w 6883"/>
                    <a:gd name="T25" fmla="*/ 0 h 3057"/>
                    <a:gd name="T26" fmla="*/ 0 w 6883"/>
                    <a:gd name="T27" fmla="*/ 0 h 3057"/>
                    <a:gd name="T28" fmla="*/ 0 w 6883"/>
                    <a:gd name="T29" fmla="*/ 0 h 3057"/>
                    <a:gd name="T30" fmla="*/ 0 w 6883"/>
                    <a:gd name="T31" fmla="*/ 0 h 3057"/>
                    <a:gd name="T32" fmla="*/ 0 w 6883"/>
                    <a:gd name="T33" fmla="*/ 0 h 3057"/>
                    <a:gd name="T34" fmla="*/ 0 w 6883"/>
                    <a:gd name="T35" fmla="*/ 0 h 3057"/>
                    <a:gd name="T36" fmla="*/ 0 w 6883"/>
                    <a:gd name="T37" fmla="*/ 0 h 3057"/>
                    <a:gd name="T38" fmla="*/ 0 w 6883"/>
                    <a:gd name="T39" fmla="*/ 0 h 3057"/>
                    <a:gd name="T40" fmla="*/ 0 w 6883"/>
                    <a:gd name="T41" fmla="*/ 0 h 3057"/>
                    <a:gd name="T42" fmla="*/ 0 w 6883"/>
                    <a:gd name="T43" fmla="*/ 0 h 3057"/>
                    <a:gd name="T44" fmla="*/ 0 w 6883"/>
                    <a:gd name="T45" fmla="*/ 0 h 3057"/>
                    <a:gd name="T46" fmla="*/ 0 w 6883"/>
                    <a:gd name="T47" fmla="*/ 0 h 3057"/>
                    <a:gd name="T48" fmla="*/ 0 w 6883"/>
                    <a:gd name="T49" fmla="*/ 0 h 3057"/>
                    <a:gd name="T50" fmla="*/ 0 w 6883"/>
                    <a:gd name="T51" fmla="*/ 0 h 3057"/>
                    <a:gd name="T52" fmla="*/ 0 w 6883"/>
                    <a:gd name="T53" fmla="*/ 0 h 3057"/>
                    <a:gd name="T54" fmla="*/ 0 w 6883"/>
                    <a:gd name="T55" fmla="*/ 0 h 3057"/>
                    <a:gd name="T56" fmla="*/ 0 w 6883"/>
                    <a:gd name="T57" fmla="*/ 0 h 3057"/>
                    <a:gd name="T58" fmla="*/ 0 w 6883"/>
                    <a:gd name="T59" fmla="*/ 0 h 3057"/>
                    <a:gd name="T60" fmla="*/ 0 w 6883"/>
                    <a:gd name="T61" fmla="*/ 0 h 3057"/>
                    <a:gd name="T62" fmla="*/ 0 w 6883"/>
                    <a:gd name="T63" fmla="*/ 0 h 3057"/>
                    <a:gd name="T64" fmla="*/ 0 w 6883"/>
                    <a:gd name="T65" fmla="*/ 0 h 3057"/>
                    <a:gd name="T66" fmla="*/ 0 w 6883"/>
                    <a:gd name="T67" fmla="*/ 0 h 3057"/>
                    <a:gd name="T68" fmla="*/ 0 w 6883"/>
                    <a:gd name="T69" fmla="*/ 0 h 3057"/>
                    <a:gd name="T70" fmla="*/ 0 w 6883"/>
                    <a:gd name="T71" fmla="*/ 0 h 3057"/>
                    <a:gd name="T72" fmla="*/ 0 w 6883"/>
                    <a:gd name="T73" fmla="*/ 0 h 3057"/>
                    <a:gd name="T74" fmla="*/ 0 w 6883"/>
                    <a:gd name="T75" fmla="*/ 0 h 3057"/>
                    <a:gd name="T76" fmla="*/ 0 w 6883"/>
                    <a:gd name="T77" fmla="*/ 0 h 3057"/>
                    <a:gd name="T78" fmla="*/ 0 w 6883"/>
                    <a:gd name="T79" fmla="*/ 0 h 3057"/>
                    <a:gd name="T80" fmla="*/ 0 w 6883"/>
                    <a:gd name="T81" fmla="*/ 0 h 3057"/>
                    <a:gd name="T82" fmla="*/ 0 w 6883"/>
                    <a:gd name="T83" fmla="*/ 0 h 3057"/>
                    <a:gd name="T84" fmla="*/ 0 w 6883"/>
                    <a:gd name="T85" fmla="*/ 0 h 3057"/>
                    <a:gd name="T86" fmla="*/ 0 w 6883"/>
                    <a:gd name="T87" fmla="*/ 0 h 3057"/>
                    <a:gd name="T88" fmla="*/ 0 w 6883"/>
                    <a:gd name="T89" fmla="*/ 0 h 3057"/>
                    <a:gd name="T90" fmla="*/ 0 w 6883"/>
                    <a:gd name="T91" fmla="*/ 0 h 3057"/>
                    <a:gd name="T92" fmla="*/ 0 w 6883"/>
                    <a:gd name="T93" fmla="*/ 0 h 3057"/>
                    <a:gd name="T94" fmla="*/ 0 w 6883"/>
                    <a:gd name="T95" fmla="*/ 0 h 3057"/>
                    <a:gd name="T96" fmla="*/ 0 w 6883"/>
                    <a:gd name="T97" fmla="*/ 0 h 3057"/>
                    <a:gd name="T98" fmla="*/ 0 w 6883"/>
                    <a:gd name="T99" fmla="*/ 0 h 3057"/>
                    <a:gd name="T100" fmla="*/ 0 w 6883"/>
                    <a:gd name="T101" fmla="*/ 0 h 3057"/>
                    <a:gd name="T102" fmla="*/ 0 w 6883"/>
                    <a:gd name="T103" fmla="*/ 0 h 3057"/>
                    <a:gd name="T104" fmla="*/ 0 w 6883"/>
                    <a:gd name="T105" fmla="*/ 0 h 3057"/>
                    <a:gd name="T106" fmla="*/ 0 w 6883"/>
                    <a:gd name="T107" fmla="*/ 0 h 3057"/>
                    <a:gd name="T108" fmla="*/ 0 w 6883"/>
                    <a:gd name="T109" fmla="*/ 0 h 3057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6883"/>
                    <a:gd name="T166" fmla="*/ 0 h 3057"/>
                    <a:gd name="T167" fmla="*/ 6883 w 6883"/>
                    <a:gd name="T168" fmla="*/ 3057 h 3057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6883" h="3057">
                      <a:moveTo>
                        <a:pt x="5829" y="0"/>
                      </a:moveTo>
                      <a:lnTo>
                        <a:pt x="5815" y="20"/>
                      </a:lnTo>
                      <a:lnTo>
                        <a:pt x="5804" y="39"/>
                      </a:lnTo>
                      <a:lnTo>
                        <a:pt x="5793" y="58"/>
                      </a:lnTo>
                      <a:lnTo>
                        <a:pt x="5782" y="75"/>
                      </a:lnTo>
                      <a:lnTo>
                        <a:pt x="5760" y="113"/>
                      </a:lnTo>
                      <a:lnTo>
                        <a:pt x="5736" y="150"/>
                      </a:lnTo>
                      <a:lnTo>
                        <a:pt x="5714" y="186"/>
                      </a:lnTo>
                      <a:lnTo>
                        <a:pt x="5691" y="220"/>
                      </a:lnTo>
                      <a:lnTo>
                        <a:pt x="5667" y="252"/>
                      </a:lnTo>
                      <a:lnTo>
                        <a:pt x="5644" y="285"/>
                      </a:lnTo>
                      <a:lnTo>
                        <a:pt x="5619" y="315"/>
                      </a:lnTo>
                      <a:lnTo>
                        <a:pt x="5595" y="345"/>
                      </a:lnTo>
                      <a:lnTo>
                        <a:pt x="5571" y="374"/>
                      </a:lnTo>
                      <a:lnTo>
                        <a:pt x="5546" y="401"/>
                      </a:lnTo>
                      <a:lnTo>
                        <a:pt x="5520" y="428"/>
                      </a:lnTo>
                      <a:lnTo>
                        <a:pt x="5495" y="454"/>
                      </a:lnTo>
                      <a:lnTo>
                        <a:pt x="5469" y="478"/>
                      </a:lnTo>
                      <a:lnTo>
                        <a:pt x="5443" y="503"/>
                      </a:lnTo>
                      <a:lnTo>
                        <a:pt x="5416" y="526"/>
                      </a:lnTo>
                      <a:lnTo>
                        <a:pt x="5388" y="549"/>
                      </a:lnTo>
                      <a:lnTo>
                        <a:pt x="5360" y="572"/>
                      </a:lnTo>
                      <a:lnTo>
                        <a:pt x="5331" y="593"/>
                      </a:lnTo>
                      <a:lnTo>
                        <a:pt x="5302" y="614"/>
                      </a:lnTo>
                      <a:lnTo>
                        <a:pt x="5272" y="635"/>
                      </a:lnTo>
                      <a:lnTo>
                        <a:pt x="5242" y="655"/>
                      </a:lnTo>
                      <a:lnTo>
                        <a:pt x="5212" y="674"/>
                      </a:lnTo>
                      <a:lnTo>
                        <a:pt x="5180" y="693"/>
                      </a:lnTo>
                      <a:lnTo>
                        <a:pt x="5149" y="712"/>
                      </a:lnTo>
                      <a:lnTo>
                        <a:pt x="5082" y="749"/>
                      </a:lnTo>
                      <a:lnTo>
                        <a:pt x="5013" y="784"/>
                      </a:lnTo>
                      <a:lnTo>
                        <a:pt x="4942" y="820"/>
                      </a:lnTo>
                      <a:lnTo>
                        <a:pt x="4866" y="856"/>
                      </a:lnTo>
                      <a:lnTo>
                        <a:pt x="4803" y="883"/>
                      </a:lnTo>
                      <a:lnTo>
                        <a:pt x="4739" y="910"/>
                      </a:lnTo>
                      <a:lnTo>
                        <a:pt x="4677" y="935"/>
                      </a:lnTo>
                      <a:lnTo>
                        <a:pt x="4613" y="958"/>
                      </a:lnTo>
                      <a:lnTo>
                        <a:pt x="4551" y="979"/>
                      </a:lnTo>
                      <a:lnTo>
                        <a:pt x="4489" y="999"/>
                      </a:lnTo>
                      <a:lnTo>
                        <a:pt x="4427" y="1017"/>
                      </a:lnTo>
                      <a:lnTo>
                        <a:pt x="4365" y="1034"/>
                      </a:lnTo>
                      <a:lnTo>
                        <a:pt x="4304" y="1049"/>
                      </a:lnTo>
                      <a:lnTo>
                        <a:pt x="4243" y="1064"/>
                      </a:lnTo>
                      <a:lnTo>
                        <a:pt x="4180" y="1076"/>
                      </a:lnTo>
                      <a:lnTo>
                        <a:pt x="4119" y="1087"/>
                      </a:lnTo>
                      <a:lnTo>
                        <a:pt x="4058" y="1098"/>
                      </a:lnTo>
                      <a:lnTo>
                        <a:pt x="3997" y="1107"/>
                      </a:lnTo>
                      <a:lnTo>
                        <a:pt x="3934" y="1115"/>
                      </a:lnTo>
                      <a:lnTo>
                        <a:pt x="3873" y="1123"/>
                      </a:lnTo>
                      <a:lnTo>
                        <a:pt x="3812" y="1128"/>
                      </a:lnTo>
                      <a:lnTo>
                        <a:pt x="3750" y="1134"/>
                      </a:lnTo>
                      <a:lnTo>
                        <a:pt x="3687" y="1139"/>
                      </a:lnTo>
                      <a:lnTo>
                        <a:pt x="3625" y="1143"/>
                      </a:lnTo>
                      <a:lnTo>
                        <a:pt x="3563" y="1146"/>
                      </a:lnTo>
                      <a:lnTo>
                        <a:pt x="3500" y="1148"/>
                      </a:lnTo>
                      <a:lnTo>
                        <a:pt x="3437" y="1150"/>
                      </a:lnTo>
                      <a:lnTo>
                        <a:pt x="3373" y="1153"/>
                      </a:lnTo>
                      <a:lnTo>
                        <a:pt x="3245" y="1155"/>
                      </a:lnTo>
                      <a:lnTo>
                        <a:pt x="3115" y="1155"/>
                      </a:lnTo>
                      <a:lnTo>
                        <a:pt x="2983" y="1156"/>
                      </a:lnTo>
                      <a:lnTo>
                        <a:pt x="2848" y="1156"/>
                      </a:lnTo>
                      <a:lnTo>
                        <a:pt x="2790" y="1157"/>
                      </a:lnTo>
                      <a:lnTo>
                        <a:pt x="2729" y="1159"/>
                      </a:lnTo>
                      <a:lnTo>
                        <a:pt x="2663" y="1165"/>
                      </a:lnTo>
                      <a:lnTo>
                        <a:pt x="2594" y="1172"/>
                      </a:lnTo>
                      <a:lnTo>
                        <a:pt x="2521" y="1182"/>
                      </a:lnTo>
                      <a:lnTo>
                        <a:pt x="2445" y="1193"/>
                      </a:lnTo>
                      <a:lnTo>
                        <a:pt x="2366" y="1207"/>
                      </a:lnTo>
                      <a:lnTo>
                        <a:pt x="2285" y="1223"/>
                      </a:lnTo>
                      <a:lnTo>
                        <a:pt x="2200" y="1241"/>
                      </a:lnTo>
                      <a:lnTo>
                        <a:pt x="2114" y="1262"/>
                      </a:lnTo>
                      <a:lnTo>
                        <a:pt x="2024" y="1284"/>
                      </a:lnTo>
                      <a:lnTo>
                        <a:pt x="1934" y="1310"/>
                      </a:lnTo>
                      <a:lnTo>
                        <a:pt x="1841" y="1337"/>
                      </a:lnTo>
                      <a:lnTo>
                        <a:pt x="1747" y="1367"/>
                      </a:lnTo>
                      <a:lnTo>
                        <a:pt x="1652" y="1400"/>
                      </a:lnTo>
                      <a:lnTo>
                        <a:pt x="1555" y="1434"/>
                      </a:lnTo>
                      <a:lnTo>
                        <a:pt x="1457" y="1472"/>
                      </a:lnTo>
                      <a:lnTo>
                        <a:pt x="1358" y="1512"/>
                      </a:lnTo>
                      <a:lnTo>
                        <a:pt x="1259" y="1554"/>
                      </a:lnTo>
                      <a:lnTo>
                        <a:pt x="1159" y="1600"/>
                      </a:lnTo>
                      <a:lnTo>
                        <a:pt x="1058" y="1648"/>
                      </a:lnTo>
                      <a:lnTo>
                        <a:pt x="959" y="1698"/>
                      </a:lnTo>
                      <a:lnTo>
                        <a:pt x="859" y="1751"/>
                      </a:lnTo>
                      <a:lnTo>
                        <a:pt x="760" y="1807"/>
                      </a:lnTo>
                      <a:lnTo>
                        <a:pt x="661" y="1866"/>
                      </a:lnTo>
                      <a:lnTo>
                        <a:pt x="563" y="1928"/>
                      </a:lnTo>
                      <a:lnTo>
                        <a:pt x="466" y="1992"/>
                      </a:lnTo>
                      <a:lnTo>
                        <a:pt x="372" y="2060"/>
                      </a:lnTo>
                      <a:lnTo>
                        <a:pt x="277" y="2130"/>
                      </a:lnTo>
                      <a:lnTo>
                        <a:pt x="185" y="2203"/>
                      </a:lnTo>
                      <a:lnTo>
                        <a:pt x="93" y="2279"/>
                      </a:lnTo>
                      <a:lnTo>
                        <a:pt x="6" y="2358"/>
                      </a:lnTo>
                      <a:lnTo>
                        <a:pt x="2" y="2442"/>
                      </a:lnTo>
                      <a:lnTo>
                        <a:pt x="0" y="2528"/>
                      </a:lnTo>
                      <a:lnTo>
                        <a:pt x="1" y="2615"/>
                      </a:lnTo>
                      <a:lnTo>
                        <a:pt x="3" y="2702"/>
                      </a:lnTo>
                      <a:lnTo>
                        <a:pt x="8" y="2790"/>
                      </a:lnTo>
                      <a:lnTo>
                        <a:pt x="16" y="2878"/>
                      </a:lnTo>
                      <a:lnTo>
                        <a:pt x="24" y="2968"/>
                      </a:lnTo>
                      <a:lnTo>
                        <a:pt x="36" y="3057"/>
                      </a:lnTo>
                      <a:lnTo>
                        <a:pt x="102" y="3008"/>
                      </a:lnTo>
                      <a:lnTo>
                        <a:pt x="182" y="2951"/>
                      </a:lnTo>
                      <a:lnTo>
                        <a:pt x="275" y="2888"/>
                      </a:lnTo>
                      <a:lnTo>
                        <a:pt x="379" y="2820"/>
                      </a:lnTo>
                      <a:lnTo>
                        <a:pt x="495" y="2747"/>
                      </a:lnTo>
                      <a:lnTo>
                        <a:pt x="623" y="2672"/>
                      </a:lnTo>
                      <a:lnTo>
                        <a:pt x="762" y="2595"/>
                      </a:lnTo>
                      <a:lnTo>
                        <a:pt x="913" y="2516"/>
                      </a:lnTo>
                      <a:lnTo>
                        <a:pt x="1073" y="2438"/>
                      </a:lnTo>
                      <a:lnTo>
                        <a:pt x="1244" y="2360"/>
                      </a:lnTo>
                      <a:lnTo>
                        <a:pt x="1425" y="2286"/>
                      </a:lnTo>
                      <a:lnTo>
                        <a:pt x="1614" y="2213"/>
                      </a:lnTo>
                      <a:lnTo>
                        <a:pt x="1813" y="2145"/>
                      </a:lnTo>
                      <a:lnTo>
                        <a:pt x="2020" y="2083"/>
                      </a:lnTo>
                      <a:lnTo>
                        <a:pt x="2236" y="2027"/>
                      </a:lnTo>
                      <a:lnTo>
                        <a:pt x="2461" y="1978"/>
                      </a:lnTo>
                      <a:lnTo>
                        <a:pt x="2692" y="1938"/>
                      </a:lnTo>
                      <a:lnTo>
                        <a:pt x="2932" y="1907"/>
                      </a:lnTo>
                      <a:lnTo>
                        <a:pt x="3178" y="1887"/>
                      </a:lnTo>
                      <a:lnTo>
                        <a:pt x="3430" y="1878"/>
                      </a:lnTo>
                      <a:lnTo>
                        <a:pt x="3688" y="1882"/>
                      </a:lnTo>
                      <a:lnTo>
                        <a:pt x="3953" y="1898"/>
                      </a:lnTo>
                      <a:lnTo>
                        <a:pt x="4224" y="1931"/>
                      </a:lnTo>
                      <a:lnTo>
                        <a:pt x="4500" y="1978"/>
                      </a:lnTo>
                      <a:lnTo>
                        <a:pt x="4780" y="2043"/>
                      </a:lnTo>
                      <a:lnTo>
                        <a:pt x="5065" y="2125"/>
                      </a:lnTo>
                      <a:lnTo>
                        <a:pt x="5355" y="2227"/>
                      </a:lnTo>
                      <a:lnTo>
                        <a:pt x="5648" y="2348"/>
                      </a:lnTo>
                      <a:lnTo>
                        <a:pt x="5946" y="2489"/>
                      </a:lnTo>
                      <a:lnTo>
                        <a:pt x="6245" y="2654"/>
                      </a:lnTo>
                      <a:lnTo>
                        <a:pt x="6548" y="2841"/>
                      </a:lnTo>
                      <a:lnTo>
                        <a:pt x="6853" y="3051"/>
                      </a:lnTo>
                      <a:lnTo>
                        <a:pt x="6866" y="2932"/>
                      </a:lnTo>
                      <a:lnTo>
                        <a:pt x="6875" y="2813"/>
                      </a:lnTo>
                      <a:lnTo>
                        <a:pt x="6881" y="2696"/>
                      </a:lnTo>
                      <a:lnTo>
                        <a:pt x="6883" y="2582"/>
                      </a:lnTo>
                      <a:lnTo>
                        <a:pt x="6882" y="2467"/>
                      </a:lnTo>
                      <a:lnTo>
                        <a:pt x="6877" y="2355"/>
                      </a:lnTo>
                      <a:lnTo>
                        <a:pt x="6869" y="2243"/>
                      </a:lnTo>
                      <a:lnTo>
                        <a:pt x="6859" y="2133"/>
                      </a:lnTo>
                      <a:lnTo>
                        <a:pt x="6846" y="2025"/>
                      </a:lnTo>
                      <a:lnTo>
                        <a:pt x="6829" y="1918"/>
                      </a:lnTo>
                      <a:lnTo>
                        <a:pt x="6809" y="1814"/>
                      </a:lnTo>
                      <a:lnTo>
                        <a:pt x="6787" y="1709"/>
                      </a:lnTo>
                      <a:lnTo>
                        <a:pt x="6761" y="1608"/>
                      </a:lnTo>
                      <a:lnTo>
                        <a:pt x="6734" y="1508"/>
                      </a:lnTo>
                      <a:lnTo>
                        <a:pt x="6702" y="1409"/>
                      </a:lnTo>
                      <a:lnTo>
                        <a:pt x="6669" y="1312"/>
                      </a:lnTo>
                      <a:lnTo>
                        <a:pt x="6633" y="1216"/>
                      </a:lnTo>
                      <a:lnTo>
                        <a:pt x="6594" y="1123"/>
                      </a:lnTo>
                      <a:lnTo>
                        <a:pt x="6554" y="1030"/>
                      </a:lnTo>
                      <a:lnTo>
                        <a:pt x="6511" y="940"/>
                      </a:lnTo>
                      <a:lnTo>
                        <a:pt x="6465" y="851"/>
                      </a:lnTo>
                      <a:lnTo>
                        <a:pt x="6418" y="765"/>
                      </a:lnTo>
                      <a:lnTo>
                        <a:pt x="6367" y="680"/>
                      </a:lnTo>
                      <a:lnTo>
                        <a:pt x="6315" y="596"/>
                      </a:lnTo>
                      <a:lnTo>
                        <a:pt x="6261" y="515"/>
                      </a:lnTo>
                      <a:lnTo>
                        <a:pt x="6205" y="436"/>
                      </a:lnTo>
                      <a:lnTo>
                        <a:pt x="6146" y="358"/>
                      </a:lnTo>
                      <a:lnTo>
                        <a:pt x="6086" y="282"/>
                      </a:lnTo>
                      <a:lnTo>
                        <a:pt x="6025" y="209"/>
                      </a:lnTo>
                      <a:lnTo>
                        <a:pt x="5961" y="138"/>
                      </a:lnTo>
                      <a:lnTo>
                        <a:pt x="5896" y="68"/>
                      </a:lnTo>
                      <a:lnTo>
                        <a:pt x="5829" y="0"/>
                      </a:lnTo>
                      <a:close/>
                    </a:path>
                  </a:pathLst>
                </a:custGeom>
                <a:solidFill>
                  <a:srgbClr val="1B233E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217" name="Freeform 216"/>
                <p:cNvSpPr>
                  <a:spLocks/>
                </p:cNvSpPr>
                <p:nvPr/>
              </p:nvSpPr>
              <p:spPr bwMode="auto">
                <a:xfrm>
                  <a:off x="3077" y="2487"/>
                  <a:ext cx="441" cy="208"/>
                </a:xfrm>
                <a:custGeom>
                  <a:avLst/>
                  <a:gdLst>
                    <a:gd name="T0" fmla="*/ 0 w 3086"/>
                    <a:gd name="T1" fmla="*/ 0 h 1483"/>
                    <a:gd name="T2" fmla="*/ 0 w 3086"/>
                    <a:gd name="T3" fmla="*/ 0 h 1483"/>
                    <a:gd name="T4" fmla="*/ 0 w 3086"/>
                    <a:gd name="T5" fmla="*/ 0 h 1483"/>
                    <a:gd name="T6" fmla="*/ 0 w 3086"/>
                    <a:gd name="T7" fmla="*/ 0 h 1483"/>
                    <a:gd name="T8" fmla="*/ 0 w 3086"/>
                    <a:gd name="T9" fmla="*/ 0 h 1483"/>
                    <a:gd name="T10" fmla="*/ 0 w 3086"/>
                    <a:gd name="T11" fmla="*/ 0 h 1483"/>
                    <a:gd name="T12" fmla="*/ 0 w 3086"/>
                    <a:gd name="T13" fmla="*/ 0 h 1483"/>
                    <a:gd name="T14" fmla="*/ 0 w 3086"/>
                    <a:gd name="T15" fmla="*/ 0 h 1483"/>
                    <a:gd name="T16" fmla="*/ 0 w 3086"/>
                    <a:gd name="T17" fmla="*/ 0 h 1483"/>
                    <a:gd name="T18" fmla="*/ 0 w 3086"/>
                    <a:gd name="T19" fmla="*/ 0 h 1483"/>
                    <a:gd name="T20" fmla="*/ 0 w 3086"/>
                    <a:gd name="T21" fmla="*/ 0 h 1483"/>
                    <a:gd name="T22" fmla="*/ 0 w 3086"/>
                    <a:gd name="T23" fmla="*/ 0 h 1483"/>
                    <a:gd name="T24" fmla="*/ 0 w 3086"/>
                    <a:gd name="T25" fmla="*/ 0 h 1483"/>
                    <a:gd name="T26" fmla="*/ 0 w 3086"/>
                    <a:gd name="T27" fmla="*/ 0 h 1483"/>
                    <a:gd name="T28" fmla="*/ 0 w 3086"/>
                    <a:gd name="T29" fmla="*/ 0 h 1483"/>
                    <a:gd name="T30" fmla="*/ 0 w 3086"/>
                    <a:gd name="T31" fmla="*/ 0 h 1483"/>
                    <a:gd name="T32" fmla="*/ 0 w 3086"/>
                    <a:gd name="T33" fmla="*/ 0 h 1483"/>
                    <a:gd name="T34" fmla="*/ 0 w 3086"/>
                    <a:gd name="T35" fmla="*/ 0 h 1483"/>
                    <a:gd name="T36" fmla="*/ 0 w 3086"/>
                    <a:gd name="T37" fmla="*/ 0 h 1483"/>
                    <a:gd name="T38" fmla="*/ 0 w 3086"/>
                    <a:gd name="T39" fmla="*/ 0 h 1483"/>
                    <a:gd name="T40" fmla="*/ 0 w 3086"/>
                    <a:gd name="T41" fmla="*/ 0 h 1483"/>
                    <a:gd name="T42" fmla="*/ 0 w 3086"/>
                    <a:gd name="T43" fmla="*/ 0 h 1483"/>
                    <a:gd name="T44" fmla="*/ 0 w 3086"/>
                    <a:gd name="T45" fmla="*/ 0 h 1483"/>
                    <a:gd name="T46" fmla="*/ 0 w 3086"/>
                    <a:gd name="T47" fmla="*/ 0 h 1483"/>
                    <a:gd name="T48" fmla="*/ 0 w 3086"/>
                    <a:gd name="T49" fmla="*/ 0 h 1483"/>
                    <a:gd name="T50" fmla="*/ 0 w 3086"/>
                    <a:gd name="T51" fmla="*/ 0 h 1483"/>
                    <a:gd name="T52" fmla="*/ 0 w 3086"/>
                    <a:gd name="T53" fmla="*/ 0 h 1483"/>
                    <a:gd name="T54" fmla="*/ 0 w 3086"/>
                    <a:gd name="T55" fmla="*/ 0 h 1483"/>
                    <a:gd name="T56" fmla="*/ 0 w 3086"/>
                    <a:gd name="T57" fmla="*/ 0 h 1483"/>
                    <a:gd name="T58" fmla="*/ 0 w 3086"/>
                    <a:gd name="T59" fmla="*/ 0 h 1483"/>
                    <a:gd name="T60" fmla="*/ 0 w 3086"/>
                    <a:gd name="T61" fmla="*/ 0 h 1483"/>
                    <a:gd name="T62" fmla="*/ 0 w 3086"/>
                    <a:gd name="T63" fmla="*/ 0 h 1483"/>
                    <a:gd name="T64" fmla="*/ 0 w 3086"/>
                    <a:gd name="T65" fmla="*/ 0 h 1483"/>
                    <a:gd name="T66" fmla="*/ 0 w 3086"/>
                    <a:gd name="T67" fmla="*/ 0 h 1483"/>
                    <a:gd name="T68" fmla="*/ 0 w 3086"/>
                    <a:gd name="T69" fmla="*/ 0 h 1483"/>
                    <a:gd name="T70" fmla="*/ 0 w 3086"/>
                    <a:gd name="T71" fmla="*/ 0 h 1483"/>
                    <a:gd name="T72" fmla="*/ 0 w 3086"/>
                    <a:gd name="T73" fmla="*/ 0 h 1483"/>
                    <a:gd name="T74" fmla="*/ 0 w 3086"/>
                    <a:gd name="T75" fmla="*/ 0 h 1483"/>
                    <a:gd name="T76" fmla="*/ 0 w 3086"/>
                    <a:gd name="T77" fmla="*/ 0 h 1483"/>
                    <a:gd name="T78" fmla="*/ 0 w 3086"/>
                    <a:gd name="T79" fmla="*/ 0 h 1483"/>
                    <a:gd name="T80" fmla="*/ 0 w 3086"/>
                    <a:gd name="T81" fmla="*/ 0 h 1483"/>
                    <a:gd name="T82" fmla="*/ 0 w 3086"/>
                    <a:gd name="T83" fmla="*/ 0 h 1483"/>
                    <a:gd name="T84" fmla="*/ 0 w 3086"/>
                    <a:gd name="T85" fmla="*/ 0 h 1483"/>
                    <a:gd name="T86" fmla="*/ 0 w 3086"/>
                    <a:gd name="T87" fmla="*/ 0 h 1483"/>
                    <a:gd name="T88" fmla="*/ 0 w 3086"/>
                    <a:gd name="T89" fmla="*/ 0 h 1483"/>
                    <a:gd name="T90" fmla="*/ 0 w 3086"/>
                    <a:gd name="T91" fmla="*/ 0 h 1483"/>
                    <a:gd name="T92" fmla="*/ 0 w 3086"/>
                    <a:gd name="T93" fmla="*/ 0 h 1483"/>
                    <a:gd name="T94" fmla="*/ 0 w 3086"/>
                    <a:gd name="T95" fmla="*/ 0 h 1483"/>
                    <a:gd name="T96" fmla="*/ 0 w 3086"/>
                    <a:gd name="T97" fmla="*/ 0 h 1483"/>
                    <a:gd name="T98" fmla="*/ 0 w 3086"/>
                    <a:gd name="T99" fmla="*/ 0 h 1483"/>
                    <a:gd name="T100" fmla="*/ 0 w 3086"/>
                    <a:gd name="T101" fmla="*/ 0 h 1483"/>
                    <a:gd name="T102" fmla="*/ 0 w 3086"/>
                    <a:gd name="T103" fmla="*/ 0 h 1483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3086"/>
                    <a:gd name="T157" fmla="*/ 0 h 1483"/>
                    <a:gd name="T158" fmla="*/ 3086 w 3086"/>
                    <a:gd name="T159" fmla="*/ 1483 h 1483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3086" h="1483">
                      <a:moveTo>
                        <a:pt x="1769" y="1302"/>
                      </a:moveTo>
                      <a:lnTo>
                        <a:pt x="1826" y="1278"/>
                      </a:lnTo>
                      <a:lnTo>
                        <a:pt x="1881" y="1252"/>
                      </a:lnTo>
                      <a:lnTo>
                        <a:pt x="1937" y="1224"/>
                      </a:lnTo>
                      <a:lnTo>
                        <a:pt x="1990" y="1196"/>
                      </a:lnTo>
                      <a:lnTo>
                        <a:pt x="2043" y="1167"/>
                      </a:lnTo>
                      <a:lnTo>
                        <a:pt x="2094" y="1138"/>
                      </a:lnTo>
                      <a:lnTo>
                        <a:pt x="2145" y="1107"/>
                      </a:lnTo>
                      <a:lnTo>
                        <a:pt x="2194" y="1075"/>
                      </a:lnTo>
                      <a:lnTo>
                        <a:pt x="2242" y="1043"/>
                      </a:lnTo>
                      <a:lnTo>
                        <a:pt x="2289" y="1008"/>
                      </a:lnTo>
                      <a:lnTo>
                        <a:pt x="2335" y="974"/>
                      </a:lnTo>
                      <a:lnTo>
                        <a:pt x="2380" y="938"/>
                      </a:lnTo>
                      <a:lnTo>
                        <a:pt x="2424" y="901"/>
                      </a:lnTo>
                      <a:lnTo>
                        <a:pt x="2467" y="864"/>
                      </a:lnTo>
                      <a:lnTo>
                        <a:pt x="2509" y="825"/>
                      </a:lnTo>
                      <a:lnTo>
                        <a:pt x="2550" y="786"/>
                      </a:lnTo>
                      <a:lnTo>
                        <a:pt x="2590" y="744"/>
                      </a:lnTo>
                      <a:lnTo>
                        <a:pt x="2629" y="703"/>
                      </a:lnTo>
                      <a:lnTo>
                        <a:pt x="2667" y="661"/>
                      </a:lnTo>
                      <a:lnTo>
                        <a:pt x="2704" y="617"/>
                      </a:lnTo>
                      <a:lnTo>
                        <a:pt x="2741" y="573"/>
                      </a:lnTo>
                      <a:lnTo>
                        <a:pt x="2776" y="527"/>
                      </a:lnTo>
                      <a:lnTo>
                        <a:pt x="2811" y="481"/>
                      </a:lnTo>
                      <a:lnTo>
                        <a:pt x="2844" y="433"/>
                      </a:lnTo>
                      <a:lnTo>
                        <a:pt x="2877" y="385"/>
                      </a:lnTo>
                      <a:lnTo>
                        <a:pt x="2910" y="336"/>
                      </a:lnTo>
                      <a:lnTo>
                        <a:pt x="2941" y="286"/>
                      </a:lnTo>
                      <a:lnTo>
                        <a:pt x="2971" y="235"/>
                      </a:lnTo>
                      <a:lnTo>
                        <a:pt x="3001" y="182"/>
                      </a:lnTo>
                      <a:lnTo>
                        <a:pt x="3030" y="129"/>
                      </a:lnTo>
                      <a:lnTo>
                        <a:pt x="3058" y="76"/>
                      </a:lnTo>
                      <a:lnTo>
                        <a:pt x="3086" y="20"/>
                      </a:lnTo>
                      <a:lnTo>
                        <a:pt x="3042" y="16"/>
                      </a:lnTo>
                      <a:lnTo>
                        <a:pt x="2999" y="11"/>
                      </a:lnTo>
                      <a:lnTo>
                        <a:pt x="2955" y="8"/>
                      </a:lnTo>
                      <a:lnTo>
                        <a:pt x="2913" y="6"/>
                      </a:lnTo>
                      <a:lnTo>
                        <a:pt x="2870" y="3"/>
                      </a:lnTo>
                      <a:lnTo>
                        <a:pt x="2826" y="1"/>
                      </a:lnTo>
                      <a:lnTo>
                        <a:pt x="2783" y="0"/>
                      </a:lnTo>
                      <a:lnTo>
                        <a:pt x="2739" y="0"/>
                      </a:lnTo>
                      <a:lnTo>
                        <a:pt x="2646" y="1"/>
                      </a:lnTo>
                      <a:lnTo>
                        <a:pt x="2552" y="7"/>
                      </a:lnTo>
                      <a:lnTo>
                        <a:pt x="2458" y="14"/>
                      </a:lnTo>
                      <a:lnTo>
                        <a:pt x="2363" y="24"/>
                      </a:lnTo>
                      <a:lnTo>
                        <a:pt x="2270" y="39"/>
                      </a:lnTo>
                      <a:lnTo>
                        <a:pt x="2175" y="56"/>
                      </a:lnTo>
                      <a:lnTo>
                        <a:pt x="2081" y="76"/>
                      </a:lnTo>
                      <a:lnTo>
                        <a:pt x="1987" y="98"/>
                      </a:lnTo>
                      <a:lnTo>
                        <a:pt x="1892" y="124"/>
                      </a:lnTo>
                      <a:lnTo>
                        <a:pt x="1800" y="152"/>
                      </a:lnTo>
                      <a:lnTo>
                        <a:pt x="1707" y="184"/>
                      </a:lnTo>
                      <a:lnTo>
                        <a:pt x="1614" y="218"/>
                      </a:lnTo>
                      <a:lnTo>
                        <a:pt x="1522" y="255"/>
                      </a:lnTo>
                      <a:lnTo>
                        <a:pt x="1432" y="294"/>
                      </a:lnTo>
                      <a:lnTo>
                        <a:pt x="1340" y="336"/>
                      </a:lnTo>
                      <a:lnTo>
                        <a:pt x="1251" y="381"/>
                      </a:lnTo>
                      <a:lnTo>
                        <a:pt x="1162" y="428"/>
                      </a:lnTo>
                      <a:lnTo>
                        <a:pt x="1076" y="479"/>
                      </a:lnTo>
                      <a:lnTo>
                        <a:pt x="989" y="532"/>
                      </a:lnTo>
                      <a:lnTo>
                        <a:pt x="903" y="586"/>
                      </a:lnTo>
                      <a:lnTo>
                        <a:pt x="820" y="644"/>
                      </a:lnTo>
                      <a:lnTo>
                        <a:pt x="736" y="704"/>
                      </a:lnTo>
                      <a:lnTo>
                        <a:pt x="655" y="767"/>
                      </a:lnTo>
                      <a:lnTo>
                        <a:pt x="576" y="831"/>
                      </a:lnTo>
                      <a:lnTo>
                        <a:pt x="497" y="898"/>
                      </a:lnTo>
                      <a:lnTo>
                        <a:pt x="421" y="968"/>
                      </a:lnTo>
                      <a:lnTo>
                        <a:pt x="345" y="1039"/>
                      </a:lnTo>
                      <a:lnTo>
                        <a:pt x="273" y="1114"/>
                      </a:lnTo>
                      <a:lnTo>
                        <a:pt x="202" y="1190"/>
                      </a:lnTo>
                      <a:lnTo>
                        <a:pt x="133" y="1269"/>
                      </a:lnTo>
                      <a:lnTo>
                        <a:pt x="66" y="1349"/>
                      </a:lnTo>
                      <a:lnTo>
                        <a:pt x="0" y="1431"/>
                      </a:lnTo>
                      <a:lnTo>
                        <a:pt x="58" y="1440"/>
                      </a:lnTo>
                      <a:lnTo>
                        <a:pt x="116" y="1449"/>
                      </a:lnTo>
                      <a:lnTo>
                        <a:pt x="175" y="1457"/>
                      </a:lnTo>
                      <a:lnTo>
                        <a:pt x="234" y="1462"/>
                      </a:lnTo>
                      <a:lnTo>
                        <a:pt x="294" y="1468"/>
                      </a:lnTo>
                      <a:lnTo>
                        <a:pt x="353" y="1473"/>
                      </a:lnTo>
                      <a:lnTo>
                        <a:pt x="413" y="1477"/>
                      </a:lnTo>
                      <a:lnTo>
                        <a:pt x="474" y="1480"/>
                      </a:lnTo>
                      <a:lnTo>
                        <a:pt x="535" y="1482"/>
                      </a:lnTo>
                      <a:lnTo>
                        <a:pt x="595" y="1483"/>
                      </a:lnTo>
                      <a:lnTo>
                        <a:pt x="655" y="1483"/>
                      </a:lnTo>
                      <a:lnTo>
                        <a:pt x="715" y="1483"/>
                      </a:lnTo>
                      <a:lnTo>
                        <a:pt x="775" y="1481"/>
                      </a:lnTo>
                      <a:lnTo>
                        <a:pt x="835" y="1480"/>
                      </a:lnTo>
                      <a:lnTo>
                        <a:pt x="894" y="1477"/>
                      </a:lnTo>
                      <a:lnTo>
                        <a:pt x="953" y="1472"/>
                      </a:lnTo>
                      <a:lnTo>
                        <a:pt x="1012" y="1468"/>
                      </a:lnTo>
                      <a:lnTo>
                        <a:pt x="1069" y="1462"/>
                      </a:lnTo>
                      <a:lnTo>
                        <a:pt x="1127" y="1457"/>
                      </a:lnTo>
                      <a:lnTo>
                        <a:pt x="1182" y="1449"/>
                      </a:lnTo>
                      <a:lnTo>
                        <a:pt x="1238" y="1441"/>
                      </a:lnTo>
                      <a:lnTo>
                        <a:pt x="1293" y="1432"/>
                      </a:lnTo>
                      <a:lnTo>
                        <a:pt x="1346" y="1423"/>
                      </a:lnTo>
                      <a:lnTo>
                        <a:pt x="1398" y="1413"/>
                      </a:lnTo>
                      <a:lnTo>
                        <a:pt x="1449" y="1402"/>
                      </a:lnTo>
                      <a:lnTo>
                        <a:pt x="1500" y="1390"/>
                      </a:lnTo>
                      <a:lnTo>
                        <a:pt x="1547" y="1378"/>
                      </a:lnTo>
                      <a:lnTo>
                        <a:pt x="1595" y="1363"/>
                      </a:lnTo>
                      <a:lnTo>
                        <a:pt x="1641" y="1350"/>
                      </a:lnTo>
                      <a:lnTo>
                        <a:pt x="1685" y="1334"/>
                      </a:lnTo>
                      <a:lnTo>
                        <a:pt x="1728" y="1319"/>
                      </a:lnTo>
                      <a:lnTo>
                        <a:pt x="1769" y="1302"/>
                      </a:lnTo>
                      <a:close/>
                    </a:path>
                  </a:pathLst>
                </a:custGeom>
                <a:solidFill>
                  <a:srgbClr val="243D6A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</p:grpSp>
          <p:grpSp>
            <p:nvGrpSpPr>
              <p:cNvPr id="257" name="Group 166"/>
              <p:cNvGrpSpPr>
                <a:grpSpLocks/>
              </p:cNvGrpSpPr>
              <p:nvPr/>
            </p:nvGrpSpPr>
            <p:grpSpPr bwMode="auto">
              <a:xfrm>
                <a:off x="6133075" y="1642296"/>
                <a:ext cx="473664" cy="654194"/>
                <a:chOff x="192" y="480"/>
                <a:chExt cx="1038" cy="1824"/>
              </a:xfrm>
            </p:grpSpPr>
            <p:pic>
              <p:nvPicPr>
                <p:cNvPr id="270" name="Picture 167" descr="j0417464"/>
                <p:cNvPicPr>
                  <a:picLocks noChangeAspect="1" noChangeArrowheads="1"/>
                </p:cNvPicPr>
                <p:nvPr/>
              </p:nvPicPr>
              <p:blipFill>
                <a:blip r:embed="rId4" cstate="print"/>
                <a:srcRect/>
                <a:stretch>
                  <a:fillRect/>
                </a:stretch>
              </p:blipFill>
              <p:spPr bwMode="auto">
                <a:xfrm>
                  <a:off x="192" y="480"/>
                  <a:ext cx="1038" cy="168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grpSp>
              <p:nvGrpSpPr>
                <p:cNvPr id="271" name="Group 168"/>
                <p:cNvGrpSpPr>
                  <a:grpSpLocks/>
                </p:cNvGrpSpPr>
                <p:nvPr/>
              </p:nvGrpSpPr>
              <p:grpSpPr bwMode="auto">
                <a:xfrm>
                  <a:off x="279" y="1545"/>
                  <a:ext cx="885" cy="759"/>
                  <a:chOff x="3160" y="3505"/>
                  <a:chExt cx="602" cy="660"/>
                </a:xfrm>
              </p:grpSpPr>
              <p:sp>
                <p:nvSpPr>
                  <p:cNvPr id="272" name="Freeform 169"/>
                  <p:cNvSpPr>
                    <a:spLocks/>
                  </p:cNvSpPr>
                  <p:nvPr/>
                </p:nvSpPr>
                <p:spPr bwMode="auto">
                  <a:xfrm>
                    <a:off x="3292" y="3975"/>
                    <a:ext cx="136" cy="177"/>
                  </a:xfrm>
                  <a:custGeom>
                    <a:avLst/>
                    <a:gdLst>
                      <a:gd name="T0" fmla="*/ 0 w 955"/>
                      <a:gd name="T1" fmla="*/ 0 h 1249"/>
                      <a:gd name="T2" fmla="*/ 0 w 955"/>
                      <a:gd name="T3" fmla="*/ 0 h 1249"/>
                      <a:gd name="T4" fmla="*/ 0 w 955"/>
                      <a:gd name="T5" fmla="*/ 0 h 1249"/>
                      <a:gd name="T6" fmla="*/ 0 w 955"/>
                      <a:gd name="T7" fmla="*/ 0 h 1249"/>
                      <a:gd name="T8" fmla="*/ 0 w 955"/>
                      <a:gd name="T9" fmla="*/ 0 h 1249"/>
                      <a:gd name="T10" fmla="*/ 0 w 955"/>
                      <a:gd name="T11" fmla="*/ 0 h 1249"/>
                      <a:gd name="T12" fmla="*/ 0 w 955"/>
                      <a:gd name="T13" fmla="*/ 0 h 1249"/>
                      <a:gd name="T14" fmla="*/ 0 w 955"/>
                      <a:gd name="T15" fmla="*/ 0 h 1249"/>
                      <a:gd name="T16" fmla="*/ 0 w 955"/>
                      <a:gd name="T17" fmla="*/ 0 h 1249"/>
                      <a:gd name="T18" fmla="*/ 0 w 955"/>
                      <a:gd name="T19" fmla="*/ 0 h 1249"/>
                      <a:gd name="T20" fmla="*/ 0 w 955"/>
                      <a:gd name="T21" fmla="*/ 0 h 1249"/>
                      <a:gd name="T22" fmla="*/ 0 w 955"/>
                      <a:gd name="T23" fmla="*/ 0 h 1249"/>
                      <a:gd name="T24" fmla="*/ 0 w 955"/>
                      <a:gd name="T25" fmla="*/ 0 h 1249"/>
                      <a:gd name="T26" fmla="*/ 0 w 955"/>
                      <a:gd name="T27" fmla="*/ 0 h 1249"/>
                      <a:gd name="T28" fmla="*/ 0 w 955"/>
                      <a:gd name="T29" fmla="*/ 0 h 1249"/>
                      <a:gd name="T30" fmla="*/ 0 w 955"/>
                      <a:gd name="T31" fmla="*/ 0 h 1249"/>
                      <a:gd name="T32" fmla="*/ 0 w 955"/>
                      <a:gd name="T33" fmla="*/ 0 h 1249"/>
                      <a:gd name="T34" fmla="*/ 0 w 955"/>
                      <a:gd name="T35" fmla="*/ 0 h 1249"/>
                      <a:gd name="T36" fmla="*/ 0 w 955"/>
                      <a:gd name="T37" fmla="*/ 0 h 1249"/>
                      <a:gd name="T38" fmla="*/ 0 w 955"/>
                      <a:gd name="T39" fmla="*/ 0 h 1249"/>
                      <a:gd name="T40" fmla="*/ 0 w 955"/>
                      <a:gd name="T41" fmla="*/ 0 h 1249"/>
                      <a:gd name="T42" fmla="*/ 0 w 955"/>
                      <a:gd name="T43" fmla="*/ 0 h 1249"/>
                      <a:gd name="T44" fmla="*/ 0 w 955"/>
                      <a:gd name="T45" fmla="*/ 0 h 1249"/>
                      <a:gd name="T46" fmla="*/ 0 w 955"/>
                      <a:gd name="T47" fmla="*/ 0 h 1249"/>
                      <a:gd name="T48" fmla="*/ 0 w 955"/>
                      <a:gd name="T49" fmla="*/ 0 h 1249"/>
                      <a:gd name="T50" fmla="*/ 0 w 955"/>
                      <a:gd name="T51" fmla="*/ 0 h 1249"/>
                      <a:gd name="T52" fmla="*/ 0 w 955"/>
                      <a:gd name="T53" fmla="*/ 0 h 1249"/>
                      <a:gd name="T54" fmla="*/ 0 w 955"/>
                      <a:gd name="T55" fmla="*/ 0 h 1249"/>
                      <a:gd name="T56" fmla="*/ 0 w 955"/>
                      <a:gd name="T57" fmla="*/ 0 h 1249"/>
                      <a:gd name="T58" fmla="*/ 0 w 955"/>
                      <a:gd name="T59" fmla="*/ 0 h 1249"/>
                      <a:gd name="T60" fmla="*/ 0 w 955"/>
                      <a:gd name="T61" fmla="*/ 0 h 1249"/>
                      <a:gd name="T62" fmla="*/ 0 w 955"/>
                      <a:gd name="T63" fmla="*/ 0 h 1249"/>
                      <a:gd name="T64" fmla="*/ 0 w 955"/>
                      <a:gd name="T65" fmla="*/ 0 h 1249"/>
                      <a:gd name="T66" fmla="*/ 0 w 955"/>
                      <a:gd name="T67" fmla="*/ 0 h 1249"/>
                      <a:gd name="T68" fmla="*/ 0 w 955"/>
                      <a:gd name="T69" fmla="*/ 0 h 1249"/>
                      <a:gd name="T70" fmla="*/ 0 w 955"/>
                      <a:gd name="T71" fmla="*/ 0 h 1249"/>
                      <a:gd name="T72" fmla="*/ 0 w 955"/>
                      <a:gd name="T73" fmla="*/ 0 h 1249"/>
                      <a:gd name="T74" fmla="*/ 0 w 955"/>
                      <a:gd name="T75" fmla="*/ 0 h 1249"/>
                      <a:gd name="T76" fmla="*/ 0 w 955"/>
                      <a:gd name="T77" fmla="*/ 0 h 1249"/>
                      <a:gd name="T78" fmla="*/ 0 w 955"/>
                      <a:gd name="T79" fmla="*/ 0 h 1249"/>
                      <a:gd name="T80" fmla="*/ 0 w 955"/>
                      <a:gd name="T81" fmla="*/ 0 h 1249"/>
                      <a:gd name="T82" fmla="*/ 0 w 955"/>
                      <a:gd name="T83" fmla="*/ 0 h 1249"/>
                      <a:gd name="T84" fmla="*/ 0 w 955"/>
                      <a:gd name="T85" fmla="*/ 0 h 1249"/>
                      <a:gd name="T86" fmla="*/ 0 w 955"/>
                      <a:gd name="T87" fmla="*/ 0 h 1249"/>
                      <a:gd name="T88" fmla="*/ 0 w 955"/>
                      <a:gd name="T89" fmla="*/ 0 h 1249"/>
                      <a:gd name="T90" fmla="*/ 0 w 955"/>
                      <a:gd name="T91" fmla="*/ 0 h 1249"/>
                      <a:gd name="T92" fmla="*/ 0 w 955"/>
                      <a:gd name="T93" fmla="*/ 0 h 1249"/>
                      <a:gd name="T94" fmla="*/ 0 w 955"/>
                      <a:gd name="T95" fmla="*/ 0 h 1249"/>
                      <a:gd name="T96" fmla="*/ 0 w 955"/>
                      <a:gd name="T97" fmla="*/ 0 h 1249"/>
                      <a:gd name="T98" fmla="*/ 0 w 955"/>
                      <a:gd name="T99" fmla="*/ 0 h 1249"/>
                      <a:gd name="T100" fmla="*/ 0 w 955"/>
                      <a:gd name="T101" fmla="*/ 0 h 1249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w 955"/>
                      <a:gd name="T154" fmla="*/ 0 h 1249"/>
                      <a:gd name="T155" fmla="*/ 955 w 955"/>
                      <a:gd name="T156" fmla="*/ 1249 h 1249"/>
                    </a:gdLst>
                    <a:ahLst/>
                    <a:cxnLst>
                      <a:cxn ang="T102">
                        <a:pos x="T0" y="T1"/>
                      </a:cxn>
                      <a:cxn ang="T103">
                        <a:pos x="T2" y="T3"/>
                      </a:cxn>
                      <a:cxn ang="T104">
                        <a:pos x="T4" y="T5"/>
                      </a:cxn>
                      <a:cxn ang="T105">
                        <a:pos x="T6" y="T7"/>
                      </a:cxn>
                      <a:cxn ang="T106">
                        <a:pos x="T8" y="T9"/>
                      </a:cxn>
                      <a:cxn ang="T107">
                        <a:pos x="T10" y="T11"/>
                      </a:cxn>
                      <a:cxn ang="T108">
                        <a:pos x="T12" y="T13"/>
                      </a:cxn>
                      <a:cxn ang="T109">
                        <a:pos x="T14" y="T15"/>
                      </a:cxn>
                      <a:cxn ang="T110">
                        <a:pos x="T16" y="T17"/>
                      </a:cxn>
                      <a:cxn ang="T111">
                        <a:pos x="T18" y="T19"/>
                      </a:cxn>
                      <a:cxn ang="T112">
                        <a:pos x="T20" y="T21"/>
                      </a:cxn>
                      <a:cxn ang="T113">
                        <a:pos x="T22" y="T23"/>
                      </a:cxn>
                      <a:cxn ang="T114">
                        <a:pos x="T24" y="T25"/>
                      </a:cxn>
                      <a:cxn ang="T115">
                        <a:pos x="T26" y="T27"/>
                      </a:cxn>
                      <a:cxn ang="T116">
                        <a:pos x="T28" y="T29"/>
                      </a:cxn>
                      <a:cxn ang="T117">
                        <a:pos x="T30" y="T31"/>
                      </a:cxn>
                      <a:cxn ang="T118">
                        <a:pos x="T32" y="T33"/>
                      </a:cxn>
                      <a:cxn ang="T119">
                        <a:pos x="T34" y="T35"/>
                      </a:cxn>
                      <a:cxn ang="T120">
                        <a:pos x="T36" y="T37"/>
                      </a:cxn>
                      <a:cxn ang="T121">
                        <a:pos x="T38" y="T39"/>
                      </a:cxn>
                      <a:cxn ang="T122">
                        <a:pos x="T40" y="T41"/>
                      </a:cxn>
                      <a:cxn ang="T123">
                        <a:pos x="T42" y="T43"/>
                      </a:cxn>
                      <a:cxn ang="T124">
                        <a:pos x="T44" y="T45"/>
                      </a:cxn>
                      <a:cxn ang="T125">
                        <a:pos x="T46" y="T47"/>
                      </a:cxn>
                      <a:cxn ang="T126">
                        <a:pos x="T48" y="T49"/>
                      </a:cxn>
                      <a:cxn ang="T127">
                        <a:pos x="T50" y="T51"/>
                      </a:cxn>
                      <a:cxn ang="T128">
                        <a:pos x="T52" y="T53"/>
                      </a:cxn>
                      <a:cxn ang="T129">
                        <a:pos x="T54" y="T55"/>
                      </a:cxn>
                      <a:cxn ang="T130">
                        <a:pos x="T56" y="T57"/>
                      </a:cxn>
                      <a:cxn ang="T131">
                        <a:pos x="T58" y="T59"/>
                      </a:cxn>
                      <a:cxn ang="T132">
                        <a:pos x="T60" y="T61"/>
                      </a:cxn>
                      <a:cxn ang="T133">
                        <a:pos x="T62" y="T63"/>
                      </a:cxn>
                      <a:cxn ang="T134">
                        <a:pos x="T64" y="T65"/>
                      </a:cxn>
                      <a:cxn ang="T135">
                        <a:pos x="T66" y="T67"/>
                      </a:cxn>
                      <a:cxn ang="T136">
                        <a:pos x="T68" y="T69"/>
                      </a:cxn>
                      <a:cxn ang="T137">
                        <a:pos x="T70" y="T71"/>
                      </a:cxn>
                      <a:cxn ang="T138">
                        <a:pos x="T72" y="T73"/>
                      </a:cxn>
                      <a:cxn ang="T139">
                        <a:pos x="T74" y="T75"/>
                      </a:cxn>
                      <a:cxn ang="T140">
                        <a:pos x="T76" y="T77"/>
                      </a:cxn>
                      <a:cxn ang="T141">
                        <a:pos x="T78" y="T79"/>
                      </a:cxn>
                      <a:cxn ang="T142">
                        <a:pos x="T80" y="T81"/>
                      </a:cxn>
                      <a:cxn ang="T143">
                        <a:pos x="T82" y="T83"/>
                      </a:cxn>
                      <a:cxn ang="T144">
                        <a:pos x="T84" y="T85"/>
                      </a:cxn>
                      <a:cxn ang="T145">
                        <a:pos x="T86" y="T87"/>
                      </a:cxn>
                      <a:cxn ang="T146">
                        <a:pos x="T88" y="T89"/>
                      </a:cxn>
                      <a:cxn ang="T147">
                        <a:pos x="T90" y="T91"/>
                      </a:cxn>
                      <a:cxn ang="T148">
                        <a:pos x="T92" y="T93"/>
                      </a:cxn>
                      <a:cxn ang="T149">
                        <a:pos x="T94" y="T95"/>
                      </a:cxn>
                      <a:cxn ang="T150">
                        <a:pos x="T96" y="T97"/>
                      </a:cxn>
                      <a:cxn ang="T151">
                        <a:pos x="T98" y="T99"/>
                      </a:cxn>
                      <a:cxn ang="T152">
                        <a:pos x="T100" y="T101"/>
                      </a:cxn>
                    </a:cxnLst>
                    <a:rect l="T153" t="T154" r="T155" b="T156"/>
                    <a:pathLst>
                      <a:path w="955" h="1249">
                        <a:moveTo>
                          <a:pt x="953" y="531"/>
                        </a:moveTo>
                        <a:lnTo>
                          <a:pt x="955" y="463"/>
                        </a:lnTo>
                        <a:lnTo>
                          <a:pt x="951" y="401"/>
                        </a:lnTo>
                        <a:lnTo>
                          <a:pt x="942" y="344"/>
                        </a:lnTo>
                        <a:lnTo>
                          <a:pt x="929" y="292"/>
                        </a:lnTo>
                        <a:lnTo>
                          <a:pt x="911" y="245"/>
                        </a:lnTo>
                        <a:lnTo>
                          <a:pt x="889" y="202"/>
                        </a:lnTo>
                        <a:lnTo>
                          <a:pt x="863" y="164"/>
                        </a:lnTo>
                        <a:lnTo>
                          <a:pt x="834" y="130"/>
                        </a:lnTo>
                        <a:lnTo>
                          <a:pt x="802" y="100"/>
                        </a:lnTo>
                        <a:lnTo>
                          <a:pt x="768" y="75"/>
                        </a:lnTo>
                        <a:lnTo>
                          <a:pt x="731" y="54"/>
                        </a:lnTo>
                        <a:lnTo>
                          <a:pt x="692" y="36"/>
                        </a:lnTo>
                        <a:lnTo>
                          <a:pt x="652" y="23"/>
                        </a:lnTo>
                        <a:lnTo>
                          <a:pt x="611" y="11"/>
                        </a:lnTo>
                        <a:lnTo>
                          <a:pt x="567" y="5"/>
                        </a:lnTo>
                        <a:lnTo>
                          <a:pt x="524" y="0"/>
                        </a:lnTo>
                        <a:lnTo>
                          <a:pt x="480" y="0"/>
                        </a:lnTo>
                        <a:lnTo>
                          <a:pt x="437" y="2"/>
                        </a:lnTo>
                        <a:lnTo>
                          <a:pt x="395" y="7"/>
                        </a:lnTo>
                        <a:lnTo>
                          <a:pt x="352" y="15"/>
                        </a:lnTo>
                        <a:lnTo>
                          <a:pt x="311" y="25"/>
                        </a:lnTo>
                        <a:lnTo>
                          <a:pt x="272" y="37"/>
                        </a:lnTo>
                        <a:lnTo>
                          <a:pt x="234" y="53"/>
                        </a:lnTo>
                        <a:lnTo>
                          <a:pt x="199" y="69"/>
                        </a:lnTo>
                        <a:lnTo>
                          <a:pt x="165" y="88"/>
                        </a:lnTo>
                        <a:lnTo>
                          <a:pt x="135" y="109"/>
                        </a:lnTo>
                        <a:lnTo>
                          <a:pt x="109" y="132"/>
                        </a:lnTo>
                        <a:lnTo>
                          <a:pt x="85" y="155"/>
                        </a:lnTo>
                        <a:lnTo>
                          <a:pt x="66" y="181"/>
                        </a:lnTo>
                        <a:lnTo>
                          <a:pt x="51" y="207"/>
                        </a:lnTo>
                        <a:lnTo>
                          <a:pt x="41" y="235"/>
                        </a:lnTo>
                        <a:lnTo>
                          <a:pt x="35" y="264"/>
                        </a:lnTo>
                        <a:lnTo>
                          <a:pt x="25" y="352"/>
                        </a:lnTo>
                        <a:lnTo>
                          <a:pt x="14" y="448"/>
                        </a:lnTo>
                        <a:lnTo>
                          <a:pt x="10" y="497"/>
                        </a:lnTo>
                        <a:lnTo>
                          <a:pt x="5" y="547"/>
                        </a:lnTo>
                        <a:lnTo>
                          <a:pt x="2" y="596"/>
                        </a:lnTo>
                        <a:lnTo>
                          <a:pt x="1" y="645"/>
                        </a:lnTo>
                        <a:lnTo>
                          <a:pt x="0" y="692"/>
                        </a:lnTo>
                        <a:lnTo>
                          <a:pt x="2" y="738"/>
                        </a:lnTo>
                        <a:lnTo>
                          <a:pt x="3" y="760"/>
                        </a:lnTo>
                        <a:lnTo>
                          <a:pt x="5" y="781"/>
                        </a:lnTo>
                        <a:lnTo>
                          <a:pt x="8" y="803"/>
                        </a:lnTo>
                        <a:lnTo>
                          <a:pt x="12" y="823"/>
                        </a:lnTo>
                        <a:lnTo>
                          <a:pt x="15" y="843"/>
                        </a:lnTo>
                        <a:lnTo>
                          <a:pt x="21" y="860"/>
                        </a:lnTo>
                        <a:lnTo>
                          <a:pt x="26" y="878"/>
                        </a:lnTo>
                        <a:lnTo>
                          <a:pt x="33" y="895"/>
                        </a:lnTo>
                        <a:lnTo>
                          <a:pt x="40" y="911"/>
                        </a:lnTo>
                        <a:lnTo>
                          <a:pt x="47" y="926"/>
                        </a:lnTo>
                        <a:lnTo>
                          <a:pt x="57" y="939"/>
                        </a:lnTo>
                        <a:lnTo>
                          <a:pt x="67" y="952"/>
                        </a:lnTo>
                        <a:lnTo>
                          <a:pt x="79" y="963"/>
                        </a:lnTo>
                        <a:lnTo>
                          <a:pt x="91" y="975"/>
                        </a:lnTo>
                        <a:lnTo>
                          <a:pt x="104" y="987"/>
                        </a:lnTo>
                        <a:lnTo>
                          <a:pt x="120" y="1001"/>
                        </a:lnTo>
                        <a:lnTo>
                          <a:pt x="153" y="1026"/>
                        </a:lnTo>
                        <a:lnTo>
                          <a:pt x="190" y="1052"/>
                        </a:lnTo>
                        <a:lnTo>
                          <a:pt x="231" y="1079"/>
                        </a:lnTo>
                        <a:lnTo>
                          <a:pt x="274" y="1104"/>
                        </a:lnTo>
                        <a:lnTo>
                          <a:pt x="320" y="1129"/>
                        </a:lnTo>
                        <a:lnTo>
                          <a:pt x="368" y="1152"/>
                        </a:lnTo>
                        <a:lnTo>
                          <a:pt x="416" y="1174"/>
                        </a:lnTo>
                        <a:lnTo>
                          <a:pt x="465" y="1194"/>
                        </a:lnTo>
                        <a:lnTo>
                          <a:pt x="489" y="1203"/>
                        </a:lnTo>
                        <a:lnTo>
                          <a:pt x="514" y="1212"/>
                        </a:lnTo>
                        <a:lnTo>
                          <a:pt x="538" y="1220"/>
                        </a:lnTo>
                        <a:lnTo>
                          <a:pt x="563" y="1227"/>
                        </a:lnTo>
                        <a:lnTo>
                          <a:pt x="586" y="1232"/>
                        </a:lnTo>
                        <a:lnTo>
                          <a:pt x="609" y="1238"/>
                        </a:lnTo>
                        <a:lnTo>
                          <a:pt x="633" y="1242"/>
                        </a:lnTo>
                        <a:lnTo>
                          <a:pt x="655" y="1246"/>
                        </a:lnTo>
                        <a:lnTo>
                          <a:pt x="676" y="1248"/>
                        </a:lnTo>
                        <a:lnTo>
                          <a:pt x="697" y="1249"/>
                        </a:lnTo>
                        <a:lnTo>
                          <a:pt x="719" y="1249"/>
                        </a:lnTo>
                        <a:lnTo>
                          <a:pt x="737" y="1248"/>
                        </a:lnTo>
                        <a:lnTo>
                          <a:pt x="762" y="1244"/>
                        </a:lnTo>
                        <a:lnTo>
                          <a:pt x="784" y="1239"/>
                        </a:lnTo>
                        <a:lnTo>
                          <a:pt x="805" y="1231"/>
                        </a:lnTo>
                        <a:lnTo>
                          <a:pt x="824" y="1221"/>
                        </a:lnTo>
                        <a:lnTo>
                          <a:pt x="841" y="1210"/>
                        </a:lnTo>
                        <a:lnTo>
                          <a:pt x="858" y="1197"/>
                        </a:lnTo>
                        <a:lnTo>
                          <a:pt x="871" y="1181"/>
                        </a:lnTo>
                        <a:lnTo>
                          <a:pt x="883" y="1164"/>
                        </a:lnTo>
                        <a:lnTo>
                          <a:pt x="894" y="1146"/>
                        </a:lnTo>
                        <a:lnTo>
                          <a:pt x="904" y="1126"/>
                        </a:lnTo>
                        <a:lnTo>
                          <a:pt x="913" y="1105"/>
                        </a:lnTo>
                        <a:lnTo>
                          <a:pt x="921" y="1083"/>
                        </a:lnTo>
                        <a:lnTo>
                          <a:pt x="928" y="1060"/>
                        </a:lnTo>
                        <a:lnTo>
                          <a:pt x="932" y="1035"/>
                        </a:lnTo>
                        <a:lnTo>
                          <a:pt x="937" y="1010"/>
                        </a:lnTo>
                        <a:lnTo>
                          <a:pt x="941" y="984"/>
                        </a:lnTo>
                        <a:lnTo>
                          <a:pt x="943" y="957"/>
                        </a:lnTo>
                        <a:lnTo>
                          <a:pt x="946" y="929"/>
                        </a:lnTo>
                        <a:lnTo>
                          <a:pt x="948" y="902"/>
                        </a:lnTo>
                        <a:lnTo>
                          <a:pt x="949" y="873"/>
                        </a:lnTo>
                        <a:lnTo>
                          <a:pt x="950" y="815"/>
                        </a:lnTo>
                        <a:lnTo>
                          <a:pt x="950" y="756"/>
                        </a:lnTo>
                        <a:lnTo>
                          <a:pt x="950" y="698"/>
                        </a:lnTo>
                        <a:lnTo>
                          <a:pt x="950" y="640"/>
                        </a:lnTo>
                        <a:lnTo>
                          <a:pt x="951" y="584"/>
                        </a:lnTo>
                        <a:lnTo>
                          <a:pt x="953" y="531"/>
                        </a:lnTo>
                        <a:close/>
                      </a:path>
                    </a:pathLst>
                  </a:custGeom>
                  <a:solidFill>
                    <a:srgbClr val="273669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73" name="Freeform 170"/>
                  <p:cNvSpPr>
                    <a:spLocks/>
                  </p:cNvSpPr>
                  <p:nvPr/>
                </p:nvSpPr>
                <p:spPr bwMode="auto">
                  <a:xfrm>
                    <a:off x="3357" y="3975"/>
                    <a:ext cx="71" cy="138"/>
                  </a:xfrm>
                  <a:custGeom>
                    <a:avLst/>
                    <a:gdLst>
                      <a:gd name="T0" fmla="*/ 0 w 502"/>
                      <a:gd name="T1" fmla="*/ 0 h 967"/>
                      <a:gd name="T2" fmla="*/ 0 w 502"/>
                      <a:gd name="T3" fmla="*/ 0 h 967"/>
                      <a:gd name="T4" fmla="*/ 0 w 502"/>
                      <a:gd name="T5" fmla="*/ 0 h 967"/>
                      <a:gd name="T6" fmla="*/ 0 w 502"/>
                      <a:gd name="T7" fmla="*/ 0 h 967"/>
                      <a:gd name="T8" fmla="*/ 0 w 502"/>
                      <a:gd name="T9" fmla="*/ 0 h 967"/>
                      <a:gd name="T10" fmla="*/ 0 w 502"/>
                      <a:gd name="T11" fmla="*/ 0 h 967"/>
                      <a:gd name="T12" fmla="*/ 0 w 502"/>
                      <a:gd name="T13" fmla="*/ 0 h 967"/>
                      <a:gd name="T14" fmla="*/ 0 w 502"/>
                      <a:gd name="T15" fmla="*/ 0 h 967"/>
                      <a:gd name="T16" fmla="*/ 0 w 502"/>
                      <a:gd name="T17" fmla="*/ 0 h 967"/>
                      <a:gd name="T18" fmla="*/ 0 w 502"/>
                      <a:gd name="T19" fmla="*/ 0 h 967"/>
                      <a:gd name="T20" fmla="*/ 0 w 502"/>
                      <a:gd name="T21" fmla="*/ 0 h 967"/>
                      <a:gd name="T22" fmla="*/ 0 w 502"/>
                      <a:gd name="T23" fmla="*/ 0 h 967"/>
                      <a:gd name="T24" fmla="*/ 0 w 502"/>
                      <a:gd name="T25" fmla="*/ 0 h 967"/>
                      <a:gd name="T26" fmla="*/ 0 w 502"/>
                      <a:gd name="T27" fmla="*/ 0 h 967"/>
                      <a:gd name="T28" fmla="*/ 0 w 502"/>
                      <a:gd name="T29" fmla="*/ 0 h 967"/>
                      <a:gd name="T30" fmla="*/ 0 w 502"/>
                      <a:gd name="T31" fmla="*/ 0 h 967"/>
                      <a:gd name="T32" fmla="*/ 0 w 502"/>
                      <a:gd name="T33" fmla="*/ 0 h 967"/>
                      <a:gd name="T34" fmla="*/ 0 w 502"/>
                      <a:gd name="T35" fmla="*/ 0 h 967"/>
                      <a:gd name="T36" fmla="*/ 0 w 502"/>
                      <a:gd name="T37" fmla="*/ 0 h 967"/>
                      <a:gd name="T38" fmla="*/ 0 w 502"/>
                      <a:gd name="T39" fmla="*/ 0 h 967"/>
                      <a:gd name="T40" fmla="*/ 0 w 502"/>
                      <a:gd name="T41" fmla="*/ 0 h 967"/>
                      <a:gd name="T42" fmla="*/ 0 w 502"/>
                      <a:gd name="T43" fmla="*/ 0 h 967"/>
                      <a:gd name="T44" fmla="*/ 0 w 502"/>
                      <a:gd name="T45" fmla="*/ 0 h 967"/>
                      <a:gd name="T46" fmla="*/ 0 w 502"/>
                      <a:gd name="T47" fmla="*/ 0 h 967"/>
                      <a:gd name="T48" fmla="*/ 0 w 502"/>
                      <a:gd name="T49" fmla="*/ 0 h 967"/>
                      <a:gd name="T50" fmla="*/ 0 w 502"/>
                      <a:gd name="T51" fmla="*/ 0 h 967"/>
                      <a:gd name="T52" fmla="*/ 0 w 502"/>
                      <a:gd name="T53" fmla="*/ 0 h 967"/>
                      <a:gd name="T54" fmla="*/ 0 w 502"/>
                      <a:gd name="T55" fmla="*/ 0 h 967"/>
                      <a:gd name="T56" fmla="*/ 0 w 502"/>
                      <a:gd name="T57" fmla="*/ 0 h 967"/>
                      <a:gd name="T58" fmla="*/ 0 w 502"/>
                      <a:gd name="T59" fmla="*/ 0 h 967"/>
                      <a:gd name="T60" fmla="*/ 0 w 502"/>
                      <a:gd name="T61" fmla="*/ 0 h 967"/>
                      <a:gd name="T62" fmla="*/ 0 w 502"/>
                      <a:gd name="T63" fmla="*/ 0 h 967"/>
                      <a:gd name="T64" fmla="*/ 0 w 502"/>
                      <a:gd name="T65" fmla="*/ 0 h 967"/>
                      <a:gd name="T66" fmla="*/ 0 w 502"/>
                      <a:gd name="T67" fmla="*/ 0 h 967"/>
                      <a:gd name="T68" fmla="*/ 0 w 502"/>
                      <a:gd name="T69" fmla="*/ 0 h 967"/>
                      <a:gd name="T70" fmla="*/ 0 w 502"/>
                      <a:gd name="T71" fmla="*/ 0 h 967"/>
                      <a:gd name="T72" fmla="*/ 0 w 502"/>
                      <a:gd name="T73" fmla="*/ 0 h 967"/>
                      <a:gd name="T74" fmla="*/ 0 w 502"/>
                      <a:gd name="T75" fmla="*/ 0 h 967"/>
                      <a:gd name="T76" fmla="*/ 0 w 502"/>
                      <a:gd name="T77" fmla="*/ 0 h 967"/>
                      <a:gd name="T78" fmla="*/ 0 w 502"/>
                      <a:gd name="T79" fmla="*/ 0 h 967"/>
                      <a:gd name="T80" fmla="*/ 0 w 502"/>
                      <a:gd name="T81" fmla="*/ 0 h 967"/>
                      <a:gd name="T82" fmla="*/ 0 w 502"/>
                      <a:gd name="T83" fmla="*/ 0 h 967"/>
                      <a:gd name="T84" fmla="*/ 0 w 502"/>
                      <a:gd name="T85" fmla="*/ 0 h 96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502"/>
                      <a:gd name="T130" fmla="*/ 0 h 967"/>
                      <a:gd name="T131" fmla="*/ 502 w 502"/>
                      <a:gd name="T132" fmla="*/ 967 h 96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502" h="967">
                        <a:moveTo>
                          <a:pt x="499" y="379"/>
                        </a:moveTo>
                        <a:lnTo>
                          <a:pt x="496" y="358"/>
                        </a:lnTo>
                        <a:lnTo>
                          <a:pt x="492" y="337"/>
                        </a:lnTo>
                        <a:lnTo>
                          <a:pt x="485" y="315"/>
                        </a:lnTo>
                        <a:lnTo>
                          <a:pt x="478" y="291"/>
                        </a:lnTo>
                        <a:lnTo>
                          <a:pt x="469" y="269"/>
                        </a:lnTo>
                        <a:lnTo>
                          <a:pt x="458" y="246"/>
                        </a:lnTo>
                        <a:lnTo>
                          <a:pt x="447" y="224"/>
                        </a:lnTo>
                        <a:lnTo>
                          <a:pt x="434" y="200"/>
                        </a:lnTo>
                        <a:lnTo>
                          <a:pt x="420" y="179"/>
                        </a:lnTo>
                        <a:lnTo>
                          <a:pt x="405" y="157"/>
                        </a:lnTo>
                        <a:lnTo>
                          <a:pt x="389" y="137"/>
                        </a:lnTo>
                        <a:lnTo>
                          <a:pt x="373" y="118"/>
                        </a:lnTo>
                        <a:lnTo>
                          <a:pt x="355" y="100"/>
                        </a:lnTo>
                        <a:lnTo>
                          <a:pt x="337" y="83"/>
                        </a:lnTo>
                        <a:lnTo>
                          <a:pt x="318" y="69"/>
                        </a:lnTo>
                        <a:lnTo>
                          <a:pt x="298" y="55"/>
                        </a:lnTo>
                        <a:lnTo>
                          <a:pt x="288" y="50"/>
                        </a:lnTo>
                        <a:lnTo>
                          <a:pt x="272" y="43"/>
                        </a:lnTo>
                        <a:lnTo>
                          <a:pt x="255" y="37"/>
                        </a:lnTo>
                        <a:lnTo>
                          <a:pt x="233" y="30"/>
                        </a:lnTo>
                        <a:lnTo>
                          <a:pt x="210" y="22"/>
                        </a:lnTo>
                        <a:lnTo>
                          <a:pt x="186" y="15"/>
                        </a:lnTo>
                        <a:lnTo>
                          <a:pt x="160" y="10"/>
                        </a:lnTo>
                        <a:lnTo>
                          <a:pt x="134" y="5"/>
                        </a:lnTo>
                        <a:lnTo>
                          <a:pt x="110" y="2"/>
                        </a:lnTo>
                        <a:lnTo>
                          <a:pt x="86" y="0"/>
                        </a:lnTo>
                        <a:lnTo>
                          <a:pt x="75" y="0"/>
                        </a:lnTo>
                        <a:lnTo>
                          <a:pt x="65" y="1"/>
                        </a:lnTo>
                        <a:lnTo>
                          <a:pt x="55" y="2"/>
                        </a:lnTo>
                        <a:lnTo>
                          <a:pt x="46" y="3"/>
                        </a:lnTo>
                        <a:lnTo>
                          <a:pt x="39" y="5"/>
                        </a:lnTo>
                        <a:lnTo>
                          <a:pt x="32" y="9"/>
                        </a:lnTo>
                        <a:lnTo>
                          <a:pt x="25" y="13"/>
                        </a:lnTo>
                        <a:lnTo>
                          <a:pt x="21" y="18"/>
                        </a:lnTo>
                        <a:lnTo>
                          <a:pt x="17" y="23"/>
                        </a:lnTo>
                        <a:lnTo>
                          <a:pt x="15" y="30"/>
                        </a:lnTo>
                        <a:lnTo>
                          <a:pt x="14" y="38"/>
                        </a:lnTo>
                        <a:lnTo>
                          <a:pt x="14" y="45"/>
                        </a:lnTo>
                        <a:lnTo>
                          <a:pt x="14" y="62"/>
                        </a:lnTo>
                        <a:lnTo>
                          <a:pt x="13" y="107"/>
                        </a:lnTo>
                        <a:lnTo>
                          <a:pt x="12" y="172"/>
                        </a:lnTo>
                        <a:lnTo>
                          <a:pt x="10" y="252"/>
                        </a:lnTo>
                        <a:lnTo>
                          <a:pt x="7" y="341"/>
                        </a:lnTo>
                        <a:lnTo>
                          <a:pt x="6" y="433"/>
                        </a:lnTo>
                        <a:lnTo>
                          <a:pt x="5" y="520"/>
                        </a:lnTo>
                        <a:lnTo>
                          <a:pt x="5" y="596"/>
                        </a:lnTo>
                        <a:lnTo>
                          <a:pt x="4" y="630"/>
                        </a:lnTo>
                        <a:lnTo>
                          <a:pt x="2" y="664"/>
                        </a:lnTo>
                        <a:lnTo>
                          <a:pt x="0" y="700"/>
                        </a:lnTo>
                        <a:lnTo>
                          <a:pt x="0" y="737"/>
                        </a:lnTo>
                        <a:lnTo>
                          <a:pt x="1" y="754"/>
                        </a:lnTo>
                        <a:lnTo>
                          <a:pt x="3" y="771"/>
                        </a:lnTo>
                        <a:lnTo>
                          <a:pt x="6" y="788"/>
                        </a:lnTo>
                        <a:lnTo>
                          <a:pt x="12" y="803"/>
                        </a:lnTo>
                        <a:lnTo>
                          <a:pt x="17" y="819"/>
                        </a:lnTo>
                        <a:lnTo>
                          <a:pt x="25" y="833"/>
                        </a:lnTo>
                        <a:lnTo>
                          <a:pt x="30" y="840"/>
                        </a:lnTo>
                        <a:lnTo>
                          <a:pt x="35" y="847"/>
                        </a:lnTo>
                        <a:lnTo>
                          <a:pt x="41" y="853"/>
                        </a:lnTo>
                        <a:lnTo>
                          <a:pt x="48" y="859"/>
                        </a:lnTo>
                        <a:lnTo>
                          <a:pt x="56" y="867"/>
                        </a:lnTo>
                        <a:lnTo>
                          <a:pt x="68" y="875"/>
                        </a:lnTo>
                        <a:lnTo>
                          <a:pt x="78" y="882"/>
                        </a:lnTo>
                        <a:lnTo>
                          <a:pt x="90" y="888"/>
                        </a:lnTo>
                        <a:lnTo>
                          <a:pt x="113" y="900"/>
                        </a:lnTo>
                        <a:lnTo>
                          <a:pt x="140" y="910"/>
                        </a:lnTo>
                        <a:lnTo>
                          <a:pt x="167" y="919"/>
                        </a:lnTo>
                        <a:lnTo>
                          <a:pt x="196" y="927"/>
                        </a:lnTo>
                        <a:lnTo>
                          <a:pt x="224" y="933"/>
                        </a:lnTo>
                        <a:lnTo>
                          <a:pt x="255" y="939"/>
                        </a:lnTo>
                        <a:lnTo>
                          <a:pt x="316" y="947"/>
                        </a:lnTo>
                        <a:lnTo>
                          <a:pt x="376" y="954"/>
                        </a:lnTo>
                        <a:lnTo>
                          <a:pt x="433" y="960"/>
                        </a:lnTo>
                        <a:lnTo>
                          <a:pt x="485" y="967"/>
                        </a:lnTo>
                        <a:lnTo>
                          <a:pt x="483" y="946"/>
                        </a:lnTo>
                        <a:lnTo>
                          <a:pt x="482" y="918"/>
                        </a:lnTo>
                        <a:lnTo>
                          <a:pt x="482" y="886"/>
                        </a:lnTo>
                        <a:lnTo>
                          <a:pt x="483" y="850"/>
                        </a:lnTo>
                        <a:lnTo>
                          <a:pt x="486" y="768"/>
                        </a:lnTo>
                        <a:lnTo>
                          <a:pt x="492" y="679"/>
                        </a:lnTo>
                        <a:lnTo>
                          <a:pt x="496" y="589"/>
                        </a:lnTo>
                        <a:lnTo>
                          <a:pt x="501" y="505"/>
                        </a:lnTo>
                        <a:lnTo>
                          <a:pt x="501" y="467"/>
                        </a:lnTo>
                        <a:lnTo>
                          <a:pt x="502" y="433"/>
                        </a:lnTo>
                        <a:lnTo>
                          <a:pt x="501" y="404"/>
                        </a:lnTo>
                        <a:lnTo>
                          <a:pt x="499" y="379"/>
                        </a:lnTo>
                        <a:close/>
                      </a:path>
                    </a:pathLst>
                  </a:custGeom>
                  <a:solidFill>
                    <a:srgbClr val="242B53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74" name="Freeform 171"/>
                  <p:cNvSpPr>
                    <a:spLocks/>
                  </p:cNvSpPr>
                  <p:nvPr/>
                </p:nvSpPr>
                <p:spPr bwMode="auto">
                  <a:xfrm>
                    <a:off x="3254" y="4059"/>
                    <a:ext cx="170" cy="105"/>
                  </a:xfrm>
                  <a:custGeom>
                    <a:avLst/>
                    <a:gdLst>
                      <a:gd name="T0" fmla="*/ 0 w 1192"/>
                      <a:gd name="T1" fmla="*/ 0 h 736"/>
                      <a:gd name="T2" fmla="*/ 0 w 1192"/>
                      <a:gd name="T3" fmla="*/ 0 h 736"/>
                      <a:gd name="T4" fmla="*/ 0 w 1192"/>
                      <a:gd name="T5" fmla="*/ 0 h 736"/>
                      <a:gd name="T6" fmla="*/ 0 w 1192"/>
                      <a:gd name="T7" fmla="*/ 0 h 736"/>
                      <a:gd name="T8" fmla="*/ 0 w 1192"/>
                      <a:gd name="T9" fmla="*/ 0 h 736"/>
                      <a:gd name="T10" fmla="*/ 0 w 1192"/>
                      <a:gd name="T11" fmla="*/ 0 h 736"/>
                      <a:gd name="T12" fmla="*/ 0 w 1192"/>
                      <a:gd name="T13" fmla="*/ 0 h 736"/>
                      <a:gd name="T14" fmla="*/ 0 w 1192"/>
                      <a:gd name="T15" fmla="*/ 0 h 736"/>
                      <a:gd name="T16" fmla="*/ 0 w 1192"/>
                      <a:gd name="T17" fmla="*/ 0 h 736"/>
                      <a:gd name="T18" fmla="*/ 0 w 1192"/>
                      <a:gd name="T19" fmla="*/ 0 h 736"/>
                      <a:gd name="T20" fmla="*/ 0 w 1192"/>
                      <a:gd name="T21" fmla="*/ 0 h 736"/>
                      <a:gd name="T22" fmla="*/ 0 w 1192"/>
                      <a:gd name="T23" fmla="*/ 0 h 736"/>
                      <a:gd name="T24" fmla="*/ 0 w 1192"/>
                      <a:gd name="T25" fmla="*/ 0 h 736"/>
                      <a:gd name="T26" fmla="*/ 0 w 1192"/>
                      <a:gd name="T27" fmla="*/ 0 h 736"/>
                      <a:gd name="T28" fmla="*/ 0 w 1192"/>
                      <a:gd name="T29" fmla="*/ 0 h 736"/>
                      <a:gd name="T30" fmla="*/ 0 w 1192"/>
                      <a:gd name="T31" fmla="*/ 0 h 736"/>
                      <a:gd name="T32" fmla="*/ 0 w 1192"/>
                      <a:gd name="T33" fmla="*/ 0 h 736"/>
                      <a:gd name="T34" fmla="*/ 0 w 1192"/>
                      <a:gd name="T35" fmla="*/ 0 h 736"/>
                      <a:gd name="T36" fmla="*/ 0 w 1192"/>
                      <a:gd name="T37" fmla="*/ 0 h 736"/>
                      <a:gd name="T38" fmla="*/ 0 w 1192"/>
                      <a:gd name="T39" fmla="*/ 0 h 736"/>
                      <a:gd name="T40" fmla="*/ 0 w 1192"/>
                      <a:gd name="T41" fmla="*/ 0 h 736"/>
                      <a:gd name="T42" fmla="*/ 0 w 1192"/>
                      <a:gd name="T43" fmla="*/ 0 h 736"/>
                      <a:gd name="T44" fmla="*/ 0 w 1192"/>
                      <a:gd name="T45" fmla="*/ 0 h 736"/>
                      <a:gd name="T46" fmla="*/ 0 w 1192"/>
                      <a:gd name="T47" fmla="*/ 0 h 736"/>
                      <a:gd name="T48" fmla="*/ 0 w 1192"/>
                      <a:gd name="T49" fmla="*/ 0 h 736"/>
                      <a:gd name="T50" fmla="*/ 0 w 1192"/>
                      <a:gd name="T51" fmla="*/ 0 h 736"/>
                      <a:gd name="T52" fmla="*/ 0 w 1192"/>
                      <a:gd name="T53" fmla="*/ 0 h 736"/>
                      <a:gd name="T54" fmla="*/ 0 w 1192"/>
                      <a:gd name="T55" fmla="*/ 0 h 736"/>
                      <a:gd name="T56" fmla="*/ 0 w 1192"/>
                      <a:gd name="T57" fmla="*/ 0 h 736"/>
                      <a:gd name="T58" fmla="*/ 0 w 1192"/>
                      <a:gd name="T59" fmla="*/ 0 h 736"/>
                      <a:gd name="T60" fmla="*/ 0 w 1192"/>
                      <a:gd name="T61" fmla="*/ 0 h 736"/>
                      <a:gd name="T62" fmla="*/ 0 w 1192"/>
                      <a:gd name="T63" fmla="*/ 0 h 736"/>
                      <a:gd name="T64" fmla="*/ 0 w 1192"/>
                      <a:gd name="T65" fmla="*/ 0 h 736"/>
                      <a:gd name="T66" fmla="*/ 0 w 1192"/>
                      <a:gd name="T67" fmla="*/ 0 h 736"/>
                      <a:gd name="T68" fmla="*/ 0 w 1192"/>
                      <a:gd name="T69" fmla="*/ 0 h 736"/>
                      <a:gd name="T70" fmla="*/ 0 w 1192"/>
                      <a:gd name="T71" fmla="*/ 0 h 736"/>
                      <a:gd name="T72" fmla="*/ 0 w 1192"/>
                      <a:gd name="T73" fmla="*/ 0 h 736"/>
                      <a:gd name="T74" fmla="*/ 0 w 1192"/>
                      <a:gd name="T75" fmla="*/ 0 h 736"/>
                      <a:gd name="T76" fmla="*/ 0 w 1192"/>
                      <a:gd name="T77" fmla="*/ 0 h 736"/>
                      <a:gd name="T78" fmla="*/ 0 w 1192"/>
                      <a:gd name="T79" fmla="*/ 0 h 736"/>
                      <a:gd name="T80" fmla="*/ 0 w 1192"/>
                      <a:gd name="T81" fmla="*/ 0 h 736"/>
                      <a:gd name="T82" fmla="*/ 0 w 1192"/>
                      <a:gd name="T83" fmla="*/ 0 h 736"/>
                      <a:gd name="T84" fmla="*/ 0 w 1192"/>
                      <a:gd name="T85" fmla="*/ 0 h 736"/>
                      <a:gd name="T86" fmla="*/ 0 w 1192"/>
                      <a:gd name="T87" fmla="*/ 0 h 736"/>
                      <a:gd name="T88" fmla="*/ 0 w 1192"/>
                      <a:gd name="T89" fmla="*/ 0 h 736"/>
                      <a:gd name="T90" fmla="*/ 0 w 1192"/>
                      <a:gd name="T91" fmla="*/ 0 h 736"/>
                      <a:gd name="T92" fmla="*/ 0 w 1192"/>
                      <a:gd name="T93" fmla="*/ 0 h 736"/>
                      <a:gd name="T94" fmla="*/ 0 w 1192"/>
                      <a:gd name="T95" fmla="*/ 0 h 736"/>
                      <a:gd name="T96" fmla="*/ 0 w 1192"/>
                      <a:gd name="T97" fmla="*/ 0 h 736"/>
                      <a:gd name="T98" fmla="*/ 0 w 1192"/>
                      <a:gd name="T99" fmla="*/ 0 h 736"/>
                      <a:gd name="T100" fmla="*/ 0 w 1192"/>
                      <a:gd name="T101" fmla="*/ 0 h 736"/>
                      <a:gd name="T102" fmla="*/ 0 w 1192"/>
                      <a:gd name="T103" fmla="*/ 0 h 736"/>
                      <a:gd name="T104" fmla="*/ 0 w 1192"/>
                      <a:gd name="T105" fmla="*/ 0 h 736"/>
                      <a:gd name="T106" fmla="*/ 0 w 1192"/>
                      <a:gd name="T107" fmla="*/ 0 h 736"/>
                      <a:gd name="T108" fmla="*/ 0 w 1192"/>
                      <a:gd name="T109" fmla="*/ 0 h 736"/>
                      <a:gd name="T110" fmla="*/ 0 w 1192"/>
                      <a:gd name="T111" fmla="*/ 0 h 736"/>
                      <a:gd name="T112" fmla="*/ 0 w 1192"/>
                      <a:gd name="T113" fmla="*/ 0 h 736"/>
                      <a:gd name="T114" fmla="*/ 0 w 1192"/>
                      <a:gd name="T115" fmla="*/ 0 h 736"/>
                      <a:gd name="T116" fmla="*/ 0 w 1192"/>
                      <a:gd name="T117" fmla="*/ 0 h 736"/>
                      <a:gd name="T118" fmla="*/ 0 w 1192"/>
                      <a:gd name="T119" fmla="*/ 0 h 736"/>
                      <a:gd name="T120" fmla="*/ 0 w 1192"/>
                      <a:gd name="T121" fmla="*/ 0 h 736"/>
                      <a:gd name="T122" fmla="*/ 0 w 1192"/>
                      <a:gd name="T123" fmla="*/ 0 h 736"/>
                      <a:gd name="T124" fmla="*/ 0 w 1192"/>
                      <a:gd name="T125" fmla="*/ 0 h 7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60000 65536"/>
                      <a:gd name="T184" fmla="*/ 0 60000 65536"/>
                      <a:gd name="T185" fmla="*/ 0 60000 65536"/>
                      <a:gd name="T186" fmla="*/ 0 60000 65536"/>
                      <a:gd name="T187" fmla="*/ 0 60000 65536"/>
                      <a:gd name="T188" fmla="*/ 0 60000 65536"/>
                      <a:gd name="T189" fmla="*/ 0 w 1192"/>
                      <a:gd name="T190" fmla="*/ 0 h 736"/>
                      <a:gd name="T191" fmla="*/ 1192 w 1192"/>
                      <a:gd name="T192" fmla="*/ 736 h 736"/>
                    </a:gdLst>
                    <a:ahLst/>
                    <a:cxnLst>
                      <a:cxn ang="T126">
                        <a:pos x="T0" y="T1"/>
                      </a:cxn>
                      <a:cxn ang="T127">
                        <a:pos x="T2" y="T3"/>
                      </a:cxn>
                      <a:cxn ang="T128">
                        <a:pos x="T4" y="T5"/>
                      </a:cxn>
                      <a:cxn ang="T129">
                        <a:pos x="T6" y="T7"/>
                      </a:cxn>
                      <a:cxn ang="T130">
                        <a:pos x="T8" y="T9"/>
                      </a:cxn>
                      <a:cxn ang="T131">
                        <a:pos x="T10" y="T11"/>
                      </a:cxn>
                      <a:cxn ang="T132">
                        <a:pos x="T12" y="T13"/>
                      </a:cxn>
                      <a:cxn ang="T133">
                        <a:pos x="T14" y="T15"/>
                      </a:cxn>
                      <a:cxn ang="T134">
                        <a:pos x="T16" y="T17"/>
                      </a:cxn>
                      <a:cxn ang="T135">
                        <a:pos x="T18" y="T19"/>
                      </a:cxn>
                      <a:cxn ang="T136">
                        <a:pos x="T20" y="T21"/>
                      </a:cxn>
                      <a:cxn ang="T137">
                        <a:pos x="T22" y="T23"/>
                      </a:cxn>
                      <a:cxn ang="T138">
                        <a:pos x="T24" y="T25"/>
                      </a:cxn>
                      <a:cxn ang="T139">
                        <a:pos x="T26" y="T27"/>
                      </a:cxn>
                      <a:cxn ang="T140">
                        <a:pos x="T28" y="T29"/>
                      </a:cxn>
                      <a:cxn ang="T141">
                        <a:pos x="T30" y="T31"/>
                      </a:cxn>
                      <a:cxn ang="T142">
                        <a:pos x="T32" y="T33"/>
                      </a:cxn>
                      <a:cxn ang="T143">
                        <a:pos x="T34" y="T35"/>
                      </a:cxn>
                      <a:cxn ang="T144">
                        <a:pos x="T36" y="T37"/>
                      </a:cxn>
                      <a:cxn ang="T145">
                        <a:pos x="T38" y="T39"/>
                      </a:cxn>
                      <a:cxn ang="T146">
                        <a:pos x="T40" y="T41"/>
                      </a:cxn>
                      <a:cxn ang="T147">
                        <a:pos x="T42" y="T43"/>
                      </a:cxn>
                      <a:cxn ang="T148">
                        <a:pos x="T44" y="T45"/>
                      </a:cxn>
                      <a:cxn ang="T149">
                        <a:pos x="T46" y="T47"/>
                      </a:cxn>
                      <a:cxn ang="T150">
                        <a:pos x="T48" y="T49"/>
                      </a:cxn>
                      <a:cxn ang="T151">
                        <a:pos x="T50" y="T51"/>
                      </a:cxn>
                      <a:cxn ang="T152">
                        <a:pos x="T52" y="T53"/>
                      </a:cxn>
                      <a:cxn ang="T153">
                        <a:pos x="T54" y="T55"/>
                      </a:cxn>
                      <a:cxn ang="T154">
                        <a:pos x="T56" y="T57"/>
                      </a:cxn>
                      <a:cxn ang="T155">
                        <a:pos x="T58" y="T59"/>
                      </a:cxn>
                      <a:cxn ang="T156">
                        <a:pos x="T60" y="T61"/>
                      </a:cxn>
                      <a:cxn ang="T157">
                        <a:pos x="T62" y="T63"/>
                      </a:cxn>
                      <a:cxn ang="T158">
                        <a:pos x="T64" y="T65"/>
                      </a:cxn>
                      <a:cxn ang="T159">
                        <a:pos x="T66" y="T67"/>
                      </a:cxn>
                      <a:cxn ang="T160">
                        <a:pos x="T68" y="T69"/>
                      </a:cxn>
                      <a:cxn ang="T161">
                        <a:pos x="T70" y="T71"/>
                      </a:cxn>
                      <a:cxn ang="T162">
                        <a:pos x="T72" y="T73"/>
                      </a:cxn>
                      <a:cxn ang="T163">
                        <a:pos x="T74" y="T75"/>
                      </a:cxn>
                      <a:cxn ang="T164">
                        <a:pos x="T76" y="T77"/>
                      </a:cxn>
                      <a:cxn ang="T165">
                        <a:pos x="T78" y="T79"/>
                      </a:cxn>
                      <a:cxn ang="T166">
                        <a:pos x="T80" y="T81"/>
                      </a:cxn>
                      <a:cxn ang="T167">
                        <a:pos x="T82" y="T83"/>
                      </a:cxn>
                      <a:cxn ang="T168">
                        <a:pos x="T84" y="T85"/>
                      </a:cxn>
                      <a:cxn ang="T169">
                        <a:pos x="T86" y="T87"/>
                      </a:cxn>
                      <a:cxn ang="T170">
                        <a:pos x="T88" y="T89"/>
                      </a:cxn>
                      <a:cxn ang="T171">
                        <a:pos x="T90" y="T91"/>
                      </a:cxn>
                      <a:cxn ang="T172">
                        <a:pos x="T92" y="T93"/>
                      </a:cxn>
                      <a:cxn ang="T173">
                        <a:pos x="T94" y="T95"/>
                      </a:cxn>
                      <a:cxn ang="T174">
                        <a:pos x="T96" y="T97"/>
                      </a:cxn>
                      <a:cxn ang="T175">
                        <a:pos x="T98" y="T99"/>
                      </a:cxn>
                      <a:cxn ang="T176">
                        <a:pos x="T100" y="T101"/>
                      </a:cxn>
                      <a:cxn ang="T177">
                        <a:pos x="T102" y="T103"/>
                      </a:cxn>
                      <a:cxn ang="T178">
                        <a:pos x="T104" y="T105"/>
                      </a:cxn>
                      <a:cxn ang="T179">
                        <a:pos x="T106" y="T107"/>
                      </a:cxn>
                      <a:cxn ang="T180">
                        <a:pos x="T108" y="T109"/>
                      </a:cxn>
                      <a:cxn ang="T181">
                        <a:pos x="T110" y="T111"/>
                      </a:cxn>
                      <a:cxn ang="T182">
                        <a:pos x="T112" y="T113"/>
                      </a:cxn>
                      <a:cxn ang="T183">
                        <a:pos x="T114" y="T115"/>
                      </a:cxn>
                      <a:cxn ang="T184">
                        <a:pos x="T116" y="T117"/>
                      </a:cxn>
                      <a:cxn ang="T185">
                        <a:pos x="T118" y="T119"/>
                      </a:cxn>
                      <a:cxn ang="T186">
                        <a:pos x="T120" y="T121"/>
                      </a:cxn>
                      <a:cxn ang="T187">
                        <a:pos x="T122" y="T123"/>
                      </a:cxn>
                      <a:cxn ang="T188">
                        <a:pos x="T124" y="T125"/>
                      </a:cxn>
                    </a:cxnLst>
                    <a:rect l="T189" t="T190" r="T191" b="T192"/>
                    <a:pathLst>
                      <a:path w="1192" h="736">
                        <a:moveTo>
                          <a:pt x="1192" y="368"/>
                        </a:moveTo>
                        <a:lnTo>
                          <a:pt x="1192" y="387"/>
                        </a:lnTo>
                        <a:lnTo>
                          <a:pt x="1191" y="405"/>
                        </a:lnTo>
                        <a:lnTo>
                          <a:pt x="1190" y="424"/>
                        </a:lnTo>
                        <a:lnTo>
                          <a:pt x="1187" y="442"/>
                        </a:lnTo>
                        <a:lnTo>
                          <a:pt x="1184" y="460"/>
                        </a:lnTo>
                        <a:lnTo>
                          <a:pt x="1181" y="478"/>
                        </a:lnTo>
                        <a:lnTo>
                          <a:pt x="1176" y="495"/>
                        </a:lnTo>
                        <a:lnTo>
                          <a:pt x="1171" y="511"/>
                        </a:lnTo>
                        <a:lnTo>
                          <a:pt x="1164" y="528"/>
                        </a:lnTo>
                        <a:lnTo>
                          <a:pt x="1156" y="543"/>
                        </a:lnTo>
                        <a:lnTo>
                          <a:pt x="1147" y="559"/>
                        </a:lnTo>
                        <a:lnTo>
                          <a:pt x="1137" y="574"/>
                        </a:lnTo>
                        <a:lnTo>
                          <a:pt x="1126" y="588"/>
                        </a:lnTo>
                        <a:lnTo>
                          <a:pt x="1114" y="602"/>
                        </a:lnTo>
                        <a:lnTo>
                          <a:pt x="1101" y="616"/>
                        </a:lnTo>
                        <a:lnTo>
                          <a:pt x="1085" y="628"/>
                        </a:lnTo>
                        <a:lnTo>
                          <a:pt x="1068" y="640"/>
                        </a:lnTo>
                        <a:lnTo>
                          <a:pt x="1051" y="653"/>
                        </a:lnTo>
                        <a:lnTo>
                          <a:pt x="1031" y="664"/>
                        </a:lnTo>
                        <a:lnTo>
                          <a:pt x="1008" y="674"/>
                        </a:lnTo>
                        <a:lnTo>
                          <a:pt x="985" y="683"/>
                        </a:lnTo>
                        <a:lnTo>
                          <a:pt x="960" y="691"/>
                        </a:lnTo>
                        <a:lnTo>
                          <a:pt x="934" y="700"/>
                        </a:lnTo>
                        <a:lnTo>
                          <a:pt x="905" y="707"/>
                        </a:lnTo>
                        <a:lnTo>
                          <a:pt x="874" y="714"/>
                        </a:lnTo>
                        <a:lnTo>
                          <a:pt x="840" y="719"/>
                        </a:lnTo>
                        <a:lnTo>
                          <a:pt x="806" y="725"/>
                        </a:lnTo>
                        <a:lnTo>
                          <a:pt x="768" y="728"/>
                        </a:lnTo>
                        <a:lnTo>
                          <a:pt x="729" y="732"/>
                        </a:lnTo>
                        <a:lnTo>
                          <a:pt x="687" y="734"/>
                        </a:lnTo>
                        <a:lnTo>
                          <a:pt x="642" y="736"/>
                        </a:lnTo>
                        <a:lnTo>
                          <a:pt x="595" y="736"/>
                        </a:lnTo>
                        <a:lnTo>
                          <a:pt x="544" y="736"/>
                        </a:lnTo>
                        <a:lnTo>
                          <a:pt x="495" y="734"/>
                        </a:lnTo>
                        <a:lnTo>
                          <a:pt x="450" y="732"/>
                        </a:lnTo>
                        <a:lnTo>
                          <a:pt x="407" y="728"/>
                        </a:lnTo>
                        <a:lnTo>
                          <a:pt x="367" y="725"/>
                        </a:lnTo>
                        <a:lnTo>
                          <a:pt x="329" y="719"/>
                        </a:lnTo>
                        <a:lnTo>
                          <a:pt x="295" y="714"/>
                        </a:lnTo>
                        <a:lnTo>
                          <a:pt x="263" y="707"/>
                        </a:lnTo>
                        <a:lnTo>
                          <a:pt x="234" y="700"/>
                        </a:lnTo>
                        <a:lnTo>
                          <a:pt x="206" y="691"/>
                        </a:lnTo>
                        <a:lnTo>
                          <a:pt x="180" y="683"/>
                        </a:lnTo>
                        <a:lnTo>
                          <a:pt x="158" y="674"/>
                        </a:lnTo>
                        <a:lnTo>
                          <a:pt x="137" y="664"/>
                        </a:lnTo>
                        <a:lnTo>
                          <a:pt x="118" y="653"/>
                        </a:lnTo>
                        <a:lnTo>
                          <a:pt x="100" y="640"/>
                        </a:lnTo>
                        <a:lnTo>
                          <a:pt x="84" y="628"/>
                        </a:lnTo>
                        <a:lnTo>
                          <a:pt x="71" y="616"/>
                        </a:lnTo>
                        <a:lnTo>
                          <a:pt x="59" y="602"/>
                        </a:lnTo>
                        <a:lnTo>
                          <a:pt x="48" y="588"/>
                        </a:lnTo>
                        <a:lnTo>
                          <a:pt x="39" y="574"/>
                        </a:lnTo>
                        <a:lnTo>
                          <a:pt x="30" y="559"/>
                        </a:lnTo>
                        <a:lnTo>
                          <a:pt x="23" y="543"/>
                        </a:lnTo>
                        <a:lnTo>
                          <a:pt x="18" y="528"/>
                        </a:lnTo>
                        <a:lnTo>
                          <a:pt x="13" y="511"/>
                        </a:lnTo>
                        <a:lnTo>
                          <a:pt x="9" y="495"/>
                        </a:lnTo>
                        <a:lnTo>
                          <a:pt x="5" y="478"/>
                        </a:lnTo>
                        <a:lnTo>
                          <a:pt x="3" y="460"/>
                        </a:lnTo>
                        <a:lnTo>
                          <a:pt x="2" y="442"/>
                        </a:lnTo>
                        <a:lnTo>
                          <a:pt x="0" y="405"/>
                        </a:lnTo>
                        <a:lnTo>
                          <a:pt x="0" y="368"/>
                        </a:lnTo>
                        <a:lnTo>
                          <a:pt x="0" y="349"/>
                        </a:lnTo>
                        <a:lnTo>
                          <a:pt x="2" y="331"/>
                        </a:lnTo>
                        <a:lnTo>
                          <a:pt x="7" y="312"/>
                        </a:lnTo>
                        <a:lnTo>
                          <a:pt x="12" y="294"/>
                        </a:lnTo>
                        <a:lnTo>
                          <a:pt x="19" y="276"/>
                        </a:lnTo>
                        <a:lnTo>
                          <a:pt x="27" y="259"/>
                        </a:lnTo>
                        <a:lnTo>
                          <a:pt x="36" y="242"/>
                        </a:lnTo>
                        <a:lnTo>
                          <a:pt x="47" y="225"/>
                        </a:lnTo>
                        <a:lnTo>
                          <a:pt x="59" y="209"/>
                        </a:lnTo>
                        <a:lnTo>
                          <a:pt x="71" y="193"/>
                        </a:lnTo>
                        <a:lnTo>
                          <a:pt x="86" y="177"/>
                        </a:lnTo>
                        <a:lnTo>
                          <a:pt x="101" y="163"/>
                        </a:lnTo>
                        <a:lnTo>
                          <a:pt x="118" y="148"/>
                        </a:lnTo>
                        <a:lnTo>
                          <a:pt x="136" y="134"/>
                        </a:lnTo>
                        <a:lnTo>
                          <a:pt x="155" y="121"/>
                        </a:lnTo>
                        <a:lnTo>
                          <a:pt x="175" y="108"/>
                        </a:lnTo>
                        <a:lnTo>
                          <a:pt x="195" y="96"/>
                        </a:lnTo>
                        <a:lnTo>
                          <a:pt x="217" y="84"/>
                        </a:lnTo>
                        <a:lnTo>
                          <a:pt x="239" y="73"/>
                        </a:lnTo>
                        <a:lnTo>
                          <a:pt x="263" y="63"/>
                        </a:lnTo>
                        <a:lnTo>
                          <a:pt x="287" y="54"/>
                        </a:lnTo>
                        <a:lnTo>
                          <a:pt x="312" y="45"/>
                        </a:lnTo>
                        <a:lnTo>
                          <a:pt x="337" y="36"/>
                        </a:lnTo>
                        <a:lnTo>
                          <a:pt x="364" y="29"/>
                        </a:lnTo>
                        <a:lnTo>
                          <a:pt x="391" y="23"/>
                        </a:lnTo>
                        <a:lnTo>
                          <a:pt x="418" y="17"/>
                        </a:lnTo>
                        <a:lnTo>
                          <a:pt x="446" y="12"/>
                        </a:lnTo>
                        <a:lnTo>
                          <a:pt x="475" y="7"/>
                        </a:lnTo>
                        <a:lnTo>
                          <a:pt x="505" y="5"/>
                        </a:lnTo>
                        <a:lnTo>
                          <a:pt x="535" y="2"/>
                        </a:lnTo>
                        <a:lnTo>
                          <a:pt x="565" y="0"/>
                        </a:lnTo>
                        <a:lnTo>
                          <a:pt x="595" y="0"/>
                        </a:lnTo>
                        <a:lnTo>
                          <a:pt x="627" y="0"/>
                        </a:lnTo>
                        <a:lnTo>
                          <a:pt x="657" y="2"/>
                        </a:lnTo>
                        <a:lnTo>
                          <a:pt x="687" y="5"/>
                        </a:lnTo>
                        <a:lnTo>
                          <a:pt x="716" y="7"/>
                        </a:lnTo>
                        <a:lnTo>
                          <a:pt x="744" y="12"/>
                        </a:lnTo>
                        <a:lnTo>
                          <a:pt x="773" y="17"/>
                        </a:lnTo>
                        <a:lnTo>
                          <a:pt x="800" y="23"/>
                        </a:lnTo>
                        <a:lnTo>
                          <a:pt x="828" y="29"/>
                        </a:lnTo>
                        <a:lnTo>
                          <a:pt x="855" y="36"/>
                        </a:lnTo>
                        <a:lnTo>
                          <a:pt x="880" y="45"/>
                        </a:lnTo>
                        <a:lnTo>
                          <a:pt x="905" y="54"/>
                        </a:lnTo>
                        <a:lnTo>
                          <a:pt x="929" y="63"/>
                        </a:lnTo>
                        <a:lnTo>
                          <a:pt x="953" y="73"/>
                        </a:lnTo>
                        <a:lnTo>
                          <a:pt x="975" y="84"/>
                        </a:lnTo>
                        <a:lnTo>
                          <a:pt x="996" y="96"/>
                        </a:lnTo>
                        <a:lnTo>
                          <a:pt x="1017" y="108"/>
                        </a:lnTo>
                        <a:lnTo>
                          <a:pt x="1037" y="121"/>
                        </a:lnTo>
                        <a:lnTo>
                          <a:pt x="1056" y="134"/>
                        </a:lnTo>
                        <a:lnTo>
                          <a:pt x="1073" y="148"/>
                        </a:lnTo>
                        <a:lnTo>
                          <a:pt x="1090" y="163"/>
                        </a:lnTo>
                        <a:lnTo>
                          <a:pt x="1105" y="177"/>
                        </a:lnTo>
                        <a:lnTo>
                          <a:pt x="1120" y="193"/>
                        </a:lnTo>
                        <a:lnTo>
                          <a:pt x="1133" y="209"/>
                        </a:lnTo>
                        <a:lnTo>
                          <a:pt x="1145" y="225"/>
                        </a:lnTo>
                        <a:lnTo>
                          <a:pt x="1155" y="242"/>
                        </a:lnTo>
                        <a:lnTo>
                          <a:pt x="1165" y="259"/>
                        </a:lnTo>
                        <a:lnTo>
                          <a:pt x="1173" y="276"/>
                        </a:lnTo>
                        <a:lnTo>
                          <a:pt x="1180" y="294"/>
                        </a:lnTo>
                        <a:lnTo>
                          <a:pt x="1185" y="312"/>
                        </a:lnTo>
                        <a:lnTo>
                          <a:pt x="1189" y="331"/>
                        </a:lnTo>
                        <a:lnTo>
                          <a:pt x="1191" y="349"/>
                        </a:lnTo>
                        <a:lnTo>
                          <a:pt x="1192" y="368"/>
                        </a:lnTo>
                        <a:close/>
                      </a:path>
                    </a:pathLst>
                  </a:custGeom>
                  <a:solidFill>
                    <a:srgbClr val="273669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75" name="Freeform 172"/>
                  <p:cNvSpPr>
                    <a:spLocks/>
                  </p:cNvSpPr>
                  <p:nvPr/>
                </p:nvSpPr>
                <p:spPr bwMode="auto">
                  <a:xfrm>
                    <a:off x="3295" y="4059"/>
                    <a:ext cx="85" cy="29"/>
                  </a:xfrm>
                  <a:custGeom>
                    <a:avLst/>
                    <a:gdLst>
                      <a:gd name="T0" fmla="*/ 0 w 593"/>
                      <a:gd name="T1" fmla="*/ 0 h 194"/>
                      <a:gd name="T2" fmla="*/ 0 w 593"/>
                      <a:gd name="T3" fmla="*/ 0 h 194"/>
                      <a:gd name="T4" fmla="*/ 0 w 593"/>
                      <a:gd name="T5" fmla="*/ 0 h 194"/>
                      <a:gd name="T6" fmla="*/ 0 w 593"/>
                      <a:gd name="T7" fmla="*/ 0 h 194"/>
                      <a:gd name="T8" fmla="*/ 0 w 593"/>
                      <a:gd name="T9" fmla="*/ 0 h 194"/>
                      <a:gd name="T10" fmla="*/ 0 w 593"/>
                      <a:gd name="T11" fmla="*/ 0 h 194"/>
                      <a:gd name="T12" fmla="*/ 0 w 593"/>
                      <a:gd name="T13" fmla="*/ 0 h 194"/>
                      <a:gd name="T14" fmla="*/ 0 w 593"/>
                      <a:gd name="T15" fmla="*/ 0 h 194"/>
                      <a:gd name="T16" fmla="*/ 0 w 593"/>
                      <a:gd name="T17" fmla="*/ 0 h 194"/>
                      <a:gd name="T18" fmla="*/ 0 w 593"/>
                      <a:gd name="T19" fmla="*/ 0 h 194"/>
                      <a:gd name="T20" fmla="*/ 0 w 593"/>
                      <a:gd name="T21" fmla="*/ 0 h 194"/>
                      <a:gd name="T22" fmla="*/ 0 w 593"/>
                      <a:gd name="T23" fmla="*/ 0 h 194"/>
                      <a:gd name="T24" fmla="*/ 0 w 593"/>
                      <a:gd name="T25" fmla="*/ 0 h 194"/>
                      <a:gd name="T26" fmla="*/ 0 w 593"/>
                      <a:gd name="T27" fmla="*/ 0 h 194"/>
                      <a:gd name="T28" fmla="*/ 0 w 593"/>
                      <a:gd name="T29" fmla="*/ 0 h 194"/>
                      <a:gd name="T30" fmla="*/ 0 w 593"/>
                      <a:gd name="T31" fmla="*/ 0 h 194"/>
                      <a:gd name="T32" fmla="*/ 0 w 593"/>
                      <a:gd name="T33" fmla="*/ 0 h 194"/>
                      <a:gd name="T34" fmla="*/ 0 w 593"/>
                      <a:gd name="T35" fmla="*/ 0 h 194"/>
                      <a:gd name="T36" fmla="*/ 0 w 593"/>
                      <a:gd name="T37" fmla="*/ 0 h 194"/>
                      <a:gd name="T38" fmla="*/ 0 w 593"/>
                      <a:gd name="T39" fmla="*/ 0 h 194"/>
                      <a:gd name="T40" fmla="*/ 0 w 593"/>
                      <a:gd name="T41" fmla="*/ 0 h 194"/>
                      <a:gd name="T42" fmla="*/ 0 w 593"/>
                      <a:gd name="T43" fmla="*/ 0 h 194"/>
                      <a:gd name="T44" fmla="*/ 0 w 593"/>
                      <a:gd name="T45" fmla="*/ 0 h 194"/>
                      <a:gd name="T46" fmla="*/ 0 w 593"/>
                      <a:gd name="T47" fmla="*/ 0 h 194"/>
                      <a:gd name="T48" fmla="*/ 0 w 593"/>
                      <a:gd name="T49" fmla="*/ 0 h 194"/>
                      <a:gd name="T50" fmla="*/ 0 w 593"/>
                      <a:gd name="T51" fmla="*/ 0 h 194"/>
                      <a:gd name="T52" fmla="*/ 0 w 593"/>
                      <a:gd name="T53" fmla="*/ 0 h 194"/>
                      <a:gd name="T54" fmla="*/ 0 w 593"/>
                      <a:gd name="T55" fmla="*/ 0 h 194"/>
                      <a:gd name="T56" fmla="*/ 0 w 593"/>
                      <a:gd name="T57" fmla="*/ 0 h 194"/>
                      <a:gd name="T58" fmla="*/ 0 w 593"/>
                      <a:gd name="T59" fmla="*/ 0 h 194"/>
                      <a:gd name="T60" fmla="*/ 0 w 593"/>
                      <a:gd name="T61" fmla="*/ 0 h 194"/>
                      <a:gd name="T62" fmla="*/ 0 w 593"/>
                      <a:gd name="T63" fmla="*/ 0 h 194"/>
                      <a:gd name="T64" fmla="*/ 0 w 593"/>
                      <a:gd name="T65" fmla="*/ 0 h 194"/>
                      <a:gd name="T66" fmla="*/ 0 w 593"/>
                      <a:gd name="T67" fmla="*/ 0 h 194"/>
                      <a:gd name="T68" fmla="*/ 0 w 593"/>
                      <a:gd name="T69" fmla="*/ 0 h 194"/>
                      <a:gd name="T70" fmla="*/ 0 w 593"/>
                      <a:gd name="T71" fmla="*/ 0 h 194"/>
                      <a:gd name="T72" fmla="*/ 0 w 593"/>
                      <a:gd name="T73" fmla="*/ 0 h 194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w 593"/>
                      <a:gd name="T112" fmla="*/ 0 h 194"/>
                      <a:gd name="T113" fmla="*/ 593 w 593"/>
                      <a:gd name="T114" fmla="*/ 194 h 194"/>
                    </a:gdLst>
                    <a:ahLst/>
                    <a:cxnLst>
                      <a:cxn ang="T74">
                        <a:pos x="T0" y="T1"/>
                      </a:cxn>
                      <a:cxn ang="T75">
                        <a:pos x="T2" y="T3"/>
                      </a:cxn>
                      <a:cxn ang="T76">
                        <a:pos x="T4" y="T5"/>
                      </a:cxn>
                      <a:cxn ang="T77">
                        <a:pos x="T6" y="T7"/>
                      </a:cxn>
                      <a:cxn ang="T78">
                        <a:pos x="T8" y="T9"/>
                      </a:cxn>
                      <a:cxn ang="T79">
                        <a:pos x="T10" y="T11"/>
                      </a:cxn>
                      <a:cxn ang="T80">
                        <a:pos x="T12" y="T13"/>
                      </a:cxn>
                      <a:cxn ang="T81">
                        <a:pos x="T14" y="T15"/>
                      </a:cxn>
                      <a:cxn ang="T82">
                        <a:pos x="T16" y="T17"/>
                      </a:cxn>
                      <a:cxn ang="T83">
                        <a:pos x="T18" y="T19"/>
                      </a:cxn>
                      <a:cxn ang="T84">
                        <a:pos x="T20" y="T21"/>
                      </a:cxn>
                      <a:cxn ang="T85">
                        <a:pos x="T22" y="T23"/>
                      </a:cxn>
                      <a:cxn ang="T86">
                        <a:pos x="T24" y="T25"/>
                      </a:cxn>
                      <a:cxn ang="T87">
                        <a:pos x="T26" y="T27"/>
                      </a:cxn>
                      <a:cxn ang="T88">
                        <a:pos x="T28" y="T29"/>
                      </a:cxn>
                      <a:cxn ang="T89">
                        <a:pos x="T30" y="T31"/>
                      </a:cxn>
                      <a:cxn ang="T90">
                        <a:pos x="T32" y="T33"/>
                      </a:cxn>
                      <a:cxn ang="T91">
                        <a:pos x="T34" y="T35"/>
                      </a:cxn>
                      <a:cxn ang="T92">
                        <a:pos x="T36" y="T37"/>
                      </a:cxn>
                      <a:cxn ang="T93">
                        <a:pos x="T38" y="T39"/>
                      </a:cxn>
                      <a:cxn ang="T94">
                        <a:pos x="T40" y="T41"/>
                      </a:cxn>
                      <a:cxn ang="T95">
                        <a:pos x="T42" y="T43"/>
                      </a:cxn>
                      <a:cxn ang="T96">
                        <a:pos x="T44" y="T45"/>
                      </a:cxn>
                      <a:cxn ang="T97">
                        <a:pos x="T46" y="T47"/>
                      </a:cxn>
                      <a:cxn ang="T98">
                        <a:pos x="T48" y="T49"/>
                      </a:cxn>
                      <a:cxn ang="T99">
                        <a:pos x="T50" y="T51"/>
                      </a:cxn>
                      <a:cxn ang="T100">
                        <a:pos x="T52" y="T53"/>
                      </a:cxn>
                      <a:cxn ang="T101">
                        <a:pos x="T54" y="T55"/>
                      </a:cxn>
                      <a:cxn ang="T102">
                        <a:pos x="T56" y="T57"/>
                      </a:cxn>
                      <a:cxn ang="T103">
                        <a:pos x="T58" y="T59"/>
                      </a:cxn>
                      <a:cxn ang="T104">
                        <a:pos x="T60" y="T61"/>
                      </a:cxn>
                      <a:cxn ang="T105">
                        <a:pos x="T62" y="T63"/>
                      </a:cxn>
                      <a:cxn ang="T106">
                        <a:pos x="T64" y="T65"/>
                      </a:cxn>
                      <a:cxn ang="T107">
                        <a:pos x="T66" y="T67"/>
                      </a:cxn>
                      <a:cxn ang="T108">
                        <a:pos x="T68" y="T69"/>
                      </a:cxn>
                      <a:cxn ang="T109">
                        <a:pos x="T70" y="T71"/>
                      </a:cxn>
                      <a:cxn ang="T110">
                        <a:pos x="T72" y="T73"/>
                      </a:cxn>
                    </a:cxnLst>
                    <a:rect l="T111" t="T112" r="T113" b="T114"/>
                    <a:pathLst>
                      <a:path w="593" h="194">
                        <a:moveTo>
                          <a:pt x="593" y="98"/>
                        </a:moveTo>
                        <a:lnTo>
                          <a:pt x="593" y="102"/>
                        </a:lnTo>
                        <a:lnTo>
                          <a:pt x="592" y="108"/>
                        </a:lnTo>
                        <a:lnTo>
                          <a:pt x="590" y="112"/>
                        </a:lnTo>
                        <a:lnTo>
                          <a:pt x="588" y="117"/>
                        </a:lnTo>
                        <a:lnTo>
                          <a:pt x="580" y="127"/>
                        </a:lnTo>
                        <a:lnTo>
                          <a:pt x="570" y="136"/>
                        </a:lnTo>
                        <a:lnTo>
                          <a:pt x="558" y="143"/>
                        </a:lnTo>
                        <a:lnTo>
                          <a:pt x="543" y="152"/>
                        </a:lnTo>
                        <a:lnTo>
                          <a:pt x="525" y="159"/>
                        </a:lnTo>
                        <a:lnTo>
                          <a:pt x="506" y="167"/>
                        </a:lnTo>
                        <a:lnTo>
                          <a:pt x="485" y="172"/>
                        </a:lnTo>
                        <a:lnTo>
                          <a:pt x="463" y="178"/>
                        </a:lnTo>
                        <a:lnTo>
                          <a:pt x="438" y="183"/>
                        </a:lnTo>
                        <a:lnTo>
                          <a:pt x="412" y="187"/>
                        </a:lnTo>
                        <a:lnTo>
                          <a:pt x="385" y="190"/>
                        </a:lnTo>
                        <a:lnTo>
                          <a:pt x="356" y="192"/>
                        </a:lnTo>
                        <a:lnTo>
                          <a:pt x="327" y="194"/>
                        </a:lnTo>
                        <a:lnTo>
                          <a:pt x="297" y="194"/>
                        </a:lnTo>
                        <a:lnTo>
                          <a:pt x="266" y="194"/>
                        </a:lnTo>
                        <a:lnTo>
                          <a:pt x="237" y="192"/>
                        </a:lnTo>
                        <a:lnTo>
                          <a:pt x="208" y="190"/>
                        </a:lnTo>
                        <a:lnTo>
                          <a:pt x="181" y="187"/>
                        </a:lnTo>
                        <a:lnTo>
                          <a:pt x="156" y="183"/>
                        </a:lnTo>
                        <a:lnTo>
                          <a:pt x="131" y="178"/>
                        </a:lnTo>
                        <a:lnTo>
                          <a:pt x="108" y="172"/>
                        </a:lnTo>
                        <a:lnTo>
                          <a:pt x="87" y="167"/>
                        </a:lnTo>
                        <a:lnTo>
                          <a:pt x="68" y="159"/>
                        </a:lnTo>
                        <a:lnTo>
                          <a:pt x="51" y="152"/>
                        </a:lnTo>
                        <a:lnTo>
                          <a:pt x="36" y="143"/>
                        </a:lnTo>
                        <a:lnTo>
                          <a:pt x="23" y="136"/>
                        </a:lnTo>
                        <a:lnTo>
                          <a:pt x="18" y="131"/>
                        </a:lnTo>
                        <a:lnTo>
                          <a:pt x="13" y="127"/>
                        </a:lnTo>
                        <a:lnTo>
                          <a:pt x="9" y="122"/>
                        </a:lnTo>
                        <a:lnTo>
                          <a:pt x="5" y="117"/>
                        </a:lnTo>
                        <a:lnTo>
                          <a:pt x="3" y="112"/>
                        </a:lnTo>
                        <a:lnTo>
                          <a:pt x="1" y="108"/>
                        </a:lnTo>
                        <a:lnTo>
                          <a:pt x="0" y="102"/>
                        </a:lnTo>
                        <a:lnTo>
                          <a:pt x="0" y="98"/>
                        </a:lnTo>
                        <a:lnTo>
                          <a:pt x="0" y="92"/>
                        </a:lnTo>
                        <a:lnTo>
                          <a:pt x="1" y="88"/>
                        </a:lnTo>
                        <a:lnTo>
                          <a:pt x="3" y="82"/>
                        </a:lnTo>
                        <a:lnTo>
                          <a:pt x="5" y="78"/>
                        </a:lnTo>
                        <a:lnTo>
                          <a:pt x="13" y="69"/>
                        </a:lnTo>
                        <a:lnTo>
                          <a:pt x="23" y="60"/>
                        </a:lnTo>
                        <a:lnTo>
                          <a:pt x="36" y="51"/>
                        </a:lnTo>
                        <a:lnTo>
                          <a:pt x="51" y="43"/>
                        </a:lnTo>
                        <a:lnTo>
                          <a:pt x="68" y="35"/>
                        </a:lnTo>
                        <a:lnTo>
                          <a:pt x="87" y="29"/>
                        </a:lnTo>
                        <a:lnTo>
                          <a:pt x="108" y="22"/>
                        </a:lnTo>
                        <a:lnTo>
                          <a:pt x="131" y="16"/>
                        </a:lnTo>
                        <a:lnTo>
                          <a:pt x="156" y="12"/>
                        </a:lnTo>
                        <a:lnTo>
                          <a:pt x="181" y="8"/>
                        </a:lnTo>
                        <a:lnTo>
                          <a:pt x="208" y="4"/>
                        </a:lnTo>
                        <a:lnTo>
                          <a:pt x="237" y="2"/>
                        </a:lnTo>
                        <a:lnTo>
                          <a:pt x="266" y="1"/>
                        </a:lnTo>
                        <a:lnTo>
                          <a:pt x="297" y="0"/>
                        </a:lnTo>
                        <a:lnTo>
                          <a:pt x="327" y="1"/>
                        </a:lnTo>
                        <a:lnTo>
                          <a:pt x="356" y="2"/>
                        </a:lnTo>
                        <a:lnTo>
                          <a:pt x="385" y="4"/>
                        </a:lnTo>
                        <a:lnTo>
                          <a:pt x="412" y="8"/>
                        </a:lnTo>
                        <a:lnTo>
                          <a:pt x="438" y="12"/>
                        </a:lnTo>
                        <a:lnTo>
                          <a:pt x="463" y="16"/>
                        </a:lnTo>
                        <a:lnTo>
                          <a:pt x="485" y="22"/>
                        </a:lnTo>
                        <a:lnTo>
                          <a:pt x="506" y="29"/>
                        </a:lnTo>
                        <a:lnTo>
                          <a:pt x="525" y="35"/>
                        </a:lnTo>
                        <a:lnTo>
                          <a:pt x="543" y="43"/>
                        </a:lnTo>
                        <a:lnTo>
                          <a:pt x="558" y="51"/>
                        </a:lnTo>
                        <a:lnTo>
                          <a:pt x="570" y="60"/>
                        </a:lnTo>
                        <a:lnTo>
                          <a:pt x="580" y="69"/>
                        </a:lnTo>
                        <a:lnTo>
                          <a:pt x="588" y="78"/>
                        </a:lnTo>
                        <a:lnTo>
                          <a:pt x="590" y="82"/>
                        </a:lnTo>
                        <a:lnTo>
                          <a:pt x="592" y="88"/>
                        </a:lnTo>
                        <a:lnTo>
                          <a:pt x="593" y="92"/>
                        </a:lnTo>
                        <a:lnTo>
                          <a:pt x="593" y="98"/>
                        </a:lnTo>
                        <a:close/>
                      </a:path>
                    </a:pathLst>
                  </a:custGeom>
                  <a:solidFill>
                    <a:srgbClr val="2E5592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76" name="Freeform 173"/>
                  <p:cNvSpPr>
                    <a:spLocks/>
                  </p:cNvSpPr>
                  <p:nvPr/>
                </p:nvSpPr>
                <p:spPr bwMode="auto">
                  <a:xfrm>
                    <a:off x="3255" y="4078"/>
                    <a:ext cx="169" cy="86"/>
                  </a:xfrm>
                  <a:custGeom>
                    <a:avLst/>
                    <a:gdLst>
                      <a:gd name="T0" fmla="*/ 0 w 1184"/>
                      <a:gd name="T1" fmla="*/ 0 h 605"/>
                      <a:gd name="T2" fmla="*/ 0 w 1184"/>
                      <a:gd name="T3" fmla="*/ 0 h 605"/>
                      <a:gd name="T4" fmla="*/ 0 w 1184"/>
                      <a:gd name="T5" fmla="*/ 0 h 605"/>
                      <a:gd name="T6" fmla="*/ 0 w 1184"/>
                      <a:gd name="T7" fmla="*/ 0 h 605"/>
                      <a:gd name="T8" fmla="*/ 0 w 1184"/>
                      <a:gd name="T9" fmla="*/ 0 h 605"/>
                      <a:gd name="T10" fmla="*/ 0 w 1184"/>
                      <a:gd name="T11" fmla="*/ 0 h 605"/>
                      <a:gd name="T12" fmla="*/ 0 w 1184"/>
                      <a:gd name="T13" fmla="*/ 0 h 605"/>
                      <a:gd name="T14" fmla="*/ 0 w 1184"/>
                      <a:gd name="T15" fmla="*/ 0 h 605"/>
                      <a:gd name="T16" fmla="*/ 0 w 1184"/>
                      <a:gd name="T17" fmla="*/ 0 h 605"/>
                      <a:gd name="T18" fmla="*/ 0 w 1184"/>
                      <a:gd name="T19" fmla="*/ 0 h 605"/>
                      <a:gd name="T20" fmla="*/ 0 w 1184"/>
                      <a:gd name="T21" fmla="*/ 0 h 605"/>
                      <a:gd name="T22" fmla="*/ 0 w 1184"/>
                      <a:gd name="T23" fmla="*/ 0 h 605"/>
                      <a:gd name="T24" fmla="*/ 0 w 1184"/>
                      <a:gd name="T25" fmla="*/ 0 h 605"/>
                      <a:gd name="T26" fmla="*/ 0 w 1184"/>
                      <a:gd name="T27" fmla="*/ 0 h 605"/>
                      <a:gd name="T28" fmla="*/ 0 w 1184"/>
                      <a:gd name="T29" fmla="*/ 0 h 605"/>
                      <a:gd name="T30" fmla="*/ 0 w 1184"/>
                      <a:gd name="T31" fmla="*/ 0 h 605"/>
                      <a:gd name="T32" fmla="*/ 0 w 1184"/>
                      <a:gd name="T33" fmla="*/ 0 h 605"/>
                      <a:gd name="T34" fmla="*/ 0 w 1184"/>
                      <a:gd name="T35" fmla="*/ 0 h 605"/>
                      <a:gd name="T36" fmla="*/ 0 w 1184"/>
                      <a:gd name="T37" fmla="*/ 0 h 605"/>
                      <a:gd name="T38" fmla="*/ 0 w 1184"/>
                      <a:gd name="T39" fmla="*/ 0 h 605"/>
                      <a:gd name="T40" fmla="*/ 0 w 1184"/>
                      <a:gd name="T41" fmla="*/ 0 h 605"/>
                      <a:gd name="T42" fmla="*/ 0 w 1184"/>
                      <a:gd name="T43" fmla="*/ 0 h 605"/>
                      <a:gd name="T44" fmla="*/ 0 w 1184"/>
                      <a:gd name="T45" fmla="*/ 0 h 605"/>
                      <a:gd name="T46" fmla="*/ 0 w 1184"/>
                      <a:gd name="T47" fmla="*/ 0 h 605"/>
                      <a:gd name="T48" fmla="*/ 0 w 1184"/>
                      <a:gd name="T49" fmla="*/ 0 h 605"/>
                      <a:gd name="T50" fmla="*/ 0 w 1184"/>
                      <a:gd name="T51" fmla="*/ 0 h 605"/>
                      <a:gd name="T52" fmla="*/ 0 w 1184"/>
                      <a:gd name="T53" fmla="*/ 0 h 605"/>
                      <a:gd name="T54" fmla="*/ 0 w 1184"/>
                      <a:gd name="T55" fmla="*/ 0 h 605"/>
                      <a:gd name="T56" fmla="*/ 0 w 1184"/>
                      <a:gd name="T57" fmla="*/ 0 h 605"/>
                      <a:gd name="T58" fmla="*/ 0 w 1184"/>
                      <a:gd name="T59" fmla="*/ 0 h 605"/>
                      <a:gd name="T60" fmla="*/ 0 w 1184"/>
                      <a:gd name="T61" fmla="*/ 0 h 605"/>
                      <a:gd name="T62" fmla="*/ 0 w 1184"/>
                      <a:gd name="T63" fmla="*/ 0 h 605"/>
                      <a:gd name="T64" fmla="*/ 0 w 1184"/>
                      <a:gd name="T65" fmla="*/ 0 h 605"/>
                      <a:gd name="T66" fmla="*/ 0 w 1184"/>
                      <a:gd name="T67" fmla="*/ 0 h 605"/>
                      <a:gd name="T68" fmla="*/ 0 w 1184"/>
                      <a:gd name="T69" fmla="*/ 0 h 605"/>
                      <a:gd name="T70" fmla="*/ 0 w 1184"/>
                      <a:gd name="T71" fmla="*/ 0 h 605"/>
                      <a:gd name="T72" fmla="*/ 0 w 1184"/>
                      <a:gd name="T73" fmla="*/ 0 h 605"/>
                      <a:gd name="T74" fmla="*/ 0 w 1184"/>
                      <a:gd name="T75" fmla="*/ 0 h 605"/>
                      <a:gd name="T76" fmla="*/ 0 w 1184"/>
                      <a:gd name="T77" fmla="*/ 0 h 605"/>
                      <a:gd name="T78" fmla="*/ 0 w 1184"/>
                      <a:gd name="T79" fmla="*/ 0 h 605"/>
                      <a:gd name="T80" fmla="*/ 0 w 1184"/>
                      <a:gd name="T81" fmla="*/ 0 h 605"/>
                      <a:gd name="T82" fmla="*/ 0 w 1184"/>
                      <a:gd name="T83" fmla="*/ 0 h 605"/>
                      <a:gd name="T84" fmla="*/ 0 w 1184"/>
                      <a:gd name="T85" fmla="*/ 0 h 605"/>
                      <a:gd name="T86" fmla="*/ 0 w 1184"/>
                      <a:gd name="T87" fmla="*/ 0 h 605"/>
                      <a:gd name="T88" fmla="*/ 0 w 1184"/>
                      <a:gd name="T89" fmla="*/ 0 h 605"/>
                      <a:gd name="T90" fmla="*/ 0 w 1184"/>
                      <a:gd name="T91" fmla="*/ 0 h 605"/>
                      <a:gd name="T92" fmla="*/ 0 w 1184"/>
                      <a:gd name="T93" fmla="*/ 0 h 605"/>
                      <a:gd name="T94" fmla="*/ 0 w 1184"/>
                      <a:gd name="T95" fmla="*/ 0 h 605"/>
                      <a:gd name="T96" fmla="*/ 0 w 1184"/>
                      <a:gd name="T97" fmla="*/ 0 h 605"/>
                      <a:gd name="T98" fmla="*/ 0 w 1184"/>
                      <a:gd name="T99" fmla="*/ 0 h 605"/>
                      <a:gd name="T100" fmla="*/ 0 w 1184"/>
                      <a:gd name="T101" fmla="*/ 0 h 605"/>
                      <a:gd name="T102" fmla="*/ 0 w 1184"/>
                      <a:gd name="T103" fmla="*/ 0 h 605"/>
                      <a:gd name="T104" fmla="*/ 0 w 1184"/>
                      <a:gd name="T105" fmla="*/ 0 h 605"/>
                      <a:gd name="T106" fmla="*/ 0 w 1184"/>
                      <a:gd name="T107" fmla="*/ 0 h 605"/>
                      <a:gd name="T108" fmla="*/ 0 w 1184"/>
                      <a:gd name="T109" fmla="*/ 0 h 605"/>
                      <a:gd name="T110" fmla="*/ 0 w 1184"/>
                      <a:gd name="T111" fmla="*/ 0 h 605"/>
                      <a:gd name="T112" fmla="*/ 0 w 1184"/>
                      <a:gd name="T113" fmla="*/ 0 h 605"/>
                      <a:gd name="T114" fmla="*/ 0 w 1184"/>
                      <a:gd name="T115" fmla="*/ 0 h 605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w 1184"/>
                      <a:gd name="T175" fmla="*/ 0 h 605"/>
                      <a:gd name="T176" fmla="*/ 1184 w 1184"/>
                      <a:gd name="T177" fmla="*/ 605 h 605"/>
                    </a:gdLst>
                    <a:ahLst/>
                    <a:cxnLst>
                      <a:cxn ang="T116">
                        <a:pos x="T0" y="T1"/>
                      </a:cxn>
                      <a:cxn ang="T117">
                        <a:pos x="T2" y="T3"/>
                      </a:cxn>
                      <a:cxn ang="T118">
                        <a:pos x="T4" y="T5"/>
                      </a:cxn>
                      <a:cxn ang="T119">
                        <a:pos x="T6" y="T7"/>
                      </a:cxn>
                      <a:cxn ang="T120">
                        <a:pos x="T8" y="T9"/>
                      </a:cxn>
                      <a:cxn ang="T121">
                        <a:pos x="T10" y="T11"/>
                      </a:cxn>
                      <a:cxn ang="T122">
                        <a:pos x="T12" y="T13"/>
                      </a:cxn>
                      <a:cxn ang="T123">
                        <a:pos x="T14" y="T15"/>
                      </a:cxn>
                      <a:cxn ang="T124">
                        <a:pos x="T16" y="T17"/>
                      </a:cxn>
                      <a:cxn ang="T125">
                        <a:pos x="T18" y="T19"/>
                      </a:cxn>
                      <a:cxn ang="T126">
                        <a:pos x="T20" y="T21"/>
                      </a:cxn>
                      <a:cxn ang="T127">
                        <a:pos x="T22" y="T23"/>
                      </a:cxn>
                      <a:cxn ang="T128">
                        <a:pos x="T24" y="T25"/>
                      </a:cxn>
                      <a:cxn ang="T129">
                        <a:pos x="T26" y="T27"/>
                      </a:cxn>
                      <a:cxn ang="T130">
                        <a:pos x="T28" y="T29"/>
                      </a:cxn>
                      <a:cxn ang="T131">
                        <a:pos x="T30" y="T31"/>
                      </a:cxn>
                      <a:cxn ang="T132">
                        <a:pos x="T32" y="T33"/>
                      </a:cxn>
                      <a:cxn ang="T133">
                        <a:pos x="T34" y="T35"/>
                      </a:cxn>
                      <a:cxn ang="T134">
                        <a:pos x="T36" y="T37"/>
                      </a:cxn>
                      <a:cxn ang="T135">
                        <a:pos x="T38" y="T39"/>
                      </a:cxn>
                      <a:cxn ang="T136">
                        <a:pos x="T40" y="T41"/>
                      </a:cxn>
                      <a:cxn ang="T137">
                        <a:pos x="T42" y="T43"/>
                      </a:cxn>
                      <a:cxn ang="T138">
                        <a:pos x="T44" y="T45"/>
                      </a:cxn>
                      <a:cxn ang="T139">
                        <a:pos x="T46" y="T47"/>
                      </a:cxn>
                      <a:cxn ang="T140">
                        <a:pos x="T48" y="T49"/>
                      </a:cxn>
                      <a:cxn ang="T141">
                        <a:pos x="T50" y="T51"/>
                      </a:cxn>
                      <a:cxn ang="T142">
                        <a:pos x="T52" y="T53"/>
                      </a:cxn>
                      <a:cxn ang="T143">
                        <a:pos x="T54" y="T55"/>
                      </a:cxn>
                      <a:cxn ang="T144">
                        <a:pos x="T56" y="T57"/>
                      </a:cxn>
                      <a:cxn ang="T145">
                        <a:pos x="T58" y="T59"/>
                      </a:cxn>
                      <a:cxn ang="T146">
                        <a:pos x="T60" y="T61"/>
                      </a:cxn>
                      <a:cxn ang="T147">
                        <a:pos x="T62" y="T63"/>
                      </a:cxn>
                      <a:cxn ang="T148">
                        <a:pos x="T64" y="T65"/>
                      </a:cxn>
                      <a:cxn ang="T149">
                        <a:pos x="T66" y="T67"/>
                      </a:cxn>
                      <a:cxn ang="T150">
                        <a:pos x="T68" y="T69"/>
                      </a:cxn>
                      <a:cxn ang="T151">
                        <a:pos x="T70" y="T71"/>
                      </a:cxn>
                      <a:cxn ang="T152">
                        <a:pos x="T72" y="T73"/>
                      </a:cxn>
                      <a:cxn ang="T153">
                        <a:pos x="T74" y="T75"/>
                      </a:cxn>
                      <a:cxn ang="T154">
                        <a:pos x="T76" y="T77"/>
                      </a:cxn>
                      <a:cxn ang="T155">
                        <a:pos x="T78" y="T79"/>
                      </a:cxn>
                      <a:cxn ang="T156">
                        <a:pos x="T80" y="T81"/>
                      </a:cxn>
                      <a:cxn ang="T157">
                        <a:pos x="T82" y="T83"/>
                      </a:cxn>
                      <a:cxn ang="T158">
                        <a:pos x="T84" y="T85"/>
                      </a:cxn>
                      <a:cxn ang="T159">
                        <a:pos x="T86" y="T87"/>
                      </a:cxn>
                      <a:cxn ang="T160">
                        <a:pos x="T88" y="T89"/>
                      </a:cxn>
                      <a:cxn ang="T161">
                        <a:pos x="T90" y="T91"/>
                      </a:cxn>
                      <a:cxn ang="T162">
                        <a:pos x="T92" y="T93"/>
                      </a:cxn>
                      <a:cxn ang="T163">
                        <a:pos x="T94" y="T95"/>
                      </a:cxn>
                      <a:cxn ang="T164">
                        <a:pos x="T96" y="T97"/>
                      </a:cxn>
                      <a:cxn ang="T165">
                        <a:pos x="T98" y="T99"/>
                      </a:cxn>
                      <a:cxn ang="T166">
                        <a:pos x="T100" y="T101"/>
                      </a:cxn>
                      <a:cxn ang="T167">
                        <a:pos x="T102" y="T103"/>
                      </a:cxn>
                      <a:cxn ang="T168">
                        <a:pos x="T104" y="T105"/>
                      </a:cxn>
                      <a:cxn ang="T169">
                        <a:pos x="T106" y="T107"/>
                      </a:cxn>
                      <a:cxn ang="T170">
                        <a:pos x="T108" y="T109"/>
                      </a:cxn>
                      <a:cxn ang="T171">
                        <a:pos x="T110" y="T111"/>
                      </a:cxn>
                      <a:cxn ang="T172">
                        <a:pos x="T112" y="T113"/>
                      </a:cxn>
                      <a:cxn ang="T173">
                        <a:pos x="T114" y="T115"/>
                      </a:cxn>
                    </a:cxnLst>
                    <a:rect l="T174" t="T175" r="T176" b="T177"/>
                    <a:pathLst>
                      <a:path w="1184" h="605">
                        <a:moveTo>
                          <a:pt x="1079" y="0"/>
                        </a:moveTo>
                        <a:lnTo>
                          <a:pt x="1086" y="20"/>
                        </a:lnTo>
                        <a:lnTo>
                          <a:pt x="1092" y="40"/>
                        </a:lnTo>
                        <a:lnTo>
                          <a:pt x="1096" y="57"/>
                        </a:lnTo>
                        <a:lnTo>
                          <a:pt x="1098" y="75"/>
                        </a:lnTo>
                        <a:lnTo>
                          <a:pt x="1099" y="92"/>
                        </a:lnTo>
                        <a:lnTo>
                          <a:pt x="1099" y="106"/>
                        </a:lnTo>
                        <a:lnTo>
                          <a:pt x="1097" y="121"/>
                        </a:lnTo>
                        <a:lnTo>
                          <a:pt x="1095" y="134"/>
                        </a:lnTo>
                        <a:lnTo>
                          <a:pt x="1090" y="148"/>
                        </a:lnTo>
                        <a:lnTo>
                          <a:pt x="1085" y="159"/>
                        </a:lnTo>
                        <a:lnTo>
                          <a:pt x="1078" y="170"/>
                        </a:lnTo>
                        <a:lnTo>
                          <a:pt x="1071" y="181"/>
                        </a:lnTo>
                        <a:lnTo>
                          <a:pt x="1063" y="191"/>
                        </a:lnTo>
                        <a:lnTo>
                          <a:pt x="1054" y="200"/>
                        </a:lnTo>
                        <a:lnTo>
                          <a:pt x="1044" y="209"/>
                        </a:lnTo>
                        <a:lnTo>
                          <a:pt x="1033" y="217"/>
                        </a:lnTo>
                        <a:lnTo>
                          <a:pt x="1020" y="224"/>
                        </a:lnTo>
                        <a:lnTo>
                          <a:pt x="1008" y="231"/>
                        </a:lnTo>
                        <a:lnTo>
                          <a:pt x="995" y="239"/>
                        </a:lnTo>
                        <a:lnTo>
                          <a:pt x="981" y="246"/>
                        </a:lnTo>
                        <a:lnTo>
                          <a:pt x="952" y="258"/>
                        </a:lnTo>
                        <a:lnTo>
                          <a:pt x="921" y="269"/>
                        </a:lnTo>
                        <a:lnTo>
                          <a:pt x="857" y="292"/>
                        </a:lnTo>
                        <a:lnTo>
                          <a:pt x="790" y="316"/>
                        </a:lnTo>
                        <a:lnTo>
                          <a:pt x="770" y="323"/>
                        </a:lnTo>
                        <a:lnTo>
                          <a:pt x="749" y="330"/>
                        </a:lnTo>
                        <a:lnTo>
                          <a:pt x="728" y="337"/>
                        </a:lnTo>
                        <a:lnTo>
                          <a:pt x="705" y="342"/>
                        </a:lnTo>
                        <a:lnTo>
                          <a:pt x="659" y="353"/>
                        </a:lnTo>
                        <a:lnTo>
                          <a:pt x="608" y="362"/>
                        </a:lnTo>
                        <a:lnTo>
                          <a:pt x="557" y="369"/>
                        </a:lnTo>
                        <a:lnTo>
                          <a:pt x="505" y="375"/>
                        </a:lnTo>
                        <a:lnTo>
                          <a:pt x="450" y="379"/>
                        </a:lnTo>
                        <a:lnTo>
                          <a:pt x="397" y="381"/>
                        </a:lnTo>
                        <a:lnTo>
                          <a:pt x="342" y="382"/>
                        </a:lnTo>
                        <a:lnTo>
                          <a:pt x="288" y="382"/>
                        </a:lnTo>
                        <a:lnTo>
                          <a:pt x="236" y="381"/>
                        </a:lnTo>
                        <a:lnTo>
                          <a:pt x="183" y="379"/>
                        </a:lnTo>
                        <a:lnTo>
                          <a:pt x="133" y="376"/>
                        </a:lnTo>
                        <a:lnTo>
                          <a:pt x="86" y="370"/>
                        </a:lnTo>
                        <a:lnTo>
                          <a:pt x="42" y="366"/>
                        </a:lnTo>
                        <a:lnTo>
                          <a:pt x="0" y="359"/>
                        </a:lnTo>
                        <a:lnTo>
                          <a:pt x="3" y="372"/>
                        </a:lnTo>
                        <a:lnTo>
                          <a:pt x="6" y="386"/>
                        </a:lnTo>
                        <a:lnTo>
                          <a:pt x="10" y="398"/>
                        </a:lnTo>
                        <a:lnTo>
                          <a:pt x="15" y="410"/>
                        </a:lnTo>
                        <a:lnTo>
                          <a:pt x="20" y="422"/>
                        </a:lnTo>
                        <a:lnTo>
                          <a:pt x="26" y="435"/>
                        </a:lnTo>
                        <a:lnTo>
                          <a:pt x="33" y="447"/>
                        </a:lnTo>
                        <a:lnTo>
                          <a:pt x="41" y="458"/>
                        </a:lnTo>
                        <a:lnTo>
                          <a:pt x="49" y="469"/>
                        </a:lnTo>
                        <a:lnTo>
                          <a:pt x="58" y="479"/>
                        </a:lnTo>
                        <a:lnTo>
                          <a:pt x="69" y="490"/>
                        </a:lnTo>
                        <a:lnTo>
                          <a:pt x="80" y="500"/>
                        </a:lnTo>
                        <a:lnTo>
                          <a:pt x="92" y="509"/>
                        </a:lnTo>
                        <a:lnTo>
                          <a:pt x="105" y="518"/>
                        </a:lnTo>
                        <a:lnTo>
                          <a:pt x="120" y="527"/>
                        </a:lnTo>
                        <a:lnTo>
                          <a:pt x="135" y="536"/>
                        </a:lnTo>
                        <a:lnTo>
                          <a:pt x="153" y="544"/>
                        </a:lnTo>
                        <a:lnTo>
                          <a:pt x="171" y="552"/>
                        </a:lnTo>
                        <a:lnTo>
                          <a:pt x="191" y="558"/>
                        </a:lnTo>
                        <a:lnTo>
                          <a:pt x="212" y="565"/>
                        </a:lnTo>
                        <a:lnTo>
                          <a:pt x="235" y="572"/>
                        </a:lnTo>
                        <a:lnTo>
                          <a:pt x="258" y="577"/>
                        </a:lnTo>
                        <a:lnTo>
                          <a:pt x="283" y="583"/>
                        </a:lnTo>
                        <a:lnTo>
                          <a:pt x="310" y="587"/>
                        </a:lnTo>
                        <a:lnTo>
                          <a:pt x="339" y="592"/>
                        </a:lnTo>
                        <a:lnTo>
                          <a:pt x="369" y="595"/>
                        </a:lnTo>
                        <a:lnTo>
                          <a:pt x="401" y="598"/>
                        </a:lnTo>
                        <a:lnTo>
                          <a:pt x="435" y="601"/>
                        </a:lnTo>
                        <a:lnTo>
                          <a:pt x="470" y="603"/>
                        </a:lnTo>
                        <a:lnTo>
                          <a:pt x="507" y="604"/>
                        </a:lnTo>
                        <a:lnTo>
                          <a:pt x="546" y="605"/>
                        </a:lnTo>
                        <a:lnTo>
                          <a:pt x="587" y="605"/>
                        </a:lnTo>
                        <a:lnTo>
                          <a:pt x="634" y="605"/>
                        </a:lnTo>
                        <a:lnTo>
                          <a:pt x="679" y="603"/>
                        </a:lnTo>
                        <a:lnTo>
                          <a:pt x="721" y="601"/>
                        </a:lnTo>
                        <a:lnTo>
                          <a:pt x="760" y="597"/>
                        </a:lnTo>
                        <a:lnTo>
                          <a:pt x="798" y="594"/>
                        </a:lnTo>
                        <a:lnTo>
                          <a:pt x="832" y="588"/>
                        </a:lnTo>
                        <a:lnTo>
                          <a:pt x="866" y="583"/>
                        </a:lnTo>
                        <a:lnTo>
                          <a:pt x="897" y="576"/>
                        </a:lnTo>
                        <a:lnTo>
                          <a:pt x="926" y="569"/>
                        </a:lnTo>
                        <a:lnTo>
                          <a:pt x="952" y="560"/>
                        </a:lnTo>
                        <a:lnTo>
                          <a:pt x="977" y="552"/>
                        </a:lnTo>
                        <a:lnTo>
                          <a:pt x="1000" y="543"/>
                        </a:lnTo>
                        <a:lnTo>
                          <a:pt x="1023" y="533"/>
                        </a:lnTo>
                        <a:lnTo>
                          <a:pt x="1043" y="522"/>
                        </a:lnTo>
                        <a:lnTo>
                          <a:pt x="1060" y="509"/>
                        </a:lnTo>
                        <a:lnTo>
                          <a:pt x="1077" y="497"/>
                        </a:lnTo>
                        <a:lnTo>
                          <a:pt x="1093" y="485"/>
                        </a:lnTo>
                        <a:lnTo>
                          <a:pt x="1106" y="471"/>
                        </a:lnTo>
                        <a:lnTo>
                          <a:pt x="1118" y="457"/>
                        </a:lnTo>
                        <a:lnTo>
                          <a:pt x="1129" y="443"/>
                        </a:lnTo>
                        <a:lnTo>
                          <a:pt x="1139" y="428"/>
                        </a:lnTo>
                        <a:lnTo>
                          <a:pt x="1148" y="412"/>
                        </a:lnTo>
                        <a:lnTo>
                          <a:pt x="1156" y="397"/>
                        </a:lnTo>
                        <a:lnTo>
                          <a:pt x="1163" y="380"/>
                        </a:lnTo>
                        <a:lnTo>
                          <a:pt x="1168" y="364"/>
                        </a:lnTo>
                        <a:lnTo>
                          <a:pt x="1173" y="347"/>
                        </a:lnTo>
                        <a:lnTo>
                          <a:pt x="1176" y="329"/>
                        </a:lnTo>
                        <a:lnTo>
                          <a:pt x="1179" y="311"/>
                        </a:lnTo>
                        <a:lnTo>
                          <a:pt x="1182" y="293"/>
                        </a:lnTo>
                        <a:lnTo>
                          <a:pt x="1183" y="274"/>
                        </a:lnTo>
                        <a:lnTo>
                          <a:pt x="1184" y="256"/>
                        </a:lnTo>
                        <a:lnTo>
                          <a:pt x="1184" y="237"/>
                        </a:lnTo>
                        <a:lnTo>
                          <a:pt x="1183" y="226"/>
                        </a:lnTo>
                        <a:lnTo>
                          <a:pt x="1181" y="212"/>
                        </a:lnTo>
                        <a:lnTo>
                          <a:pt x="1177" y="198"/>
                        </a:lnTo>
                        <a:lnTo>
                          <a:pt x="1173" y="182"/>
                        </a:lnTo>
                        <a:lnTo>
                          <a:pt x="1161" y="150"/>
                        </a:lnTo>
                        <a:lnTo>
                          <a:pt x="1146" y="115"/>
                        </a:lnTo>
                        <a:lnTo>
                          <a:pt x="1129" y="81"/>
                        </a:lnTo>
                        <a:lnTo>
                          <a:pt x="1112" y="49"/>
                        </a:lnTo>
                        <a:lnTo>
                          <a:pt x="1095" y="21"/>
                        </a:lnTo>
                        <a:lnTo>
                          <a:pt x="1079" y="0"/>
                        </a:lnTo>
                        <a:close/>
                      </a:path>
                    </a:pathLst>
                  </a:custGeom>
                  <a:solidFill>
                    <a:srgbClr val="242B53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77" name="Freeform 174"/>
                  <p:cNvSpPr>
                    <a:spLocks/>
                  </p:cNvSpPr>
                  <p:nvPr/>
                </p:nvSpPr>
                <p:spPr bwMode="auto">
                  <a:xfrm>
                    <a:off x="3255" y="4127"/>
                    <a:ext cx="168" cy="38"/>
                  </a:xfrm>
                  <a:custGeom>
                    <a:avLst/>
                    <a:gdLst>
                      <a:gd name="T0" fmla="*/ 0 w 1173"/>
                      <a:gd name="T1" fmla="*/ 0 h 264"/>
                      <a:gd name="T2" fmla="*/ 0 w 1173"/>
                      <a:gd name="T3" fmla="*/ 0 h 264"/>
                      <a:gd name="T4" fmla="*/ 0 w 1173"/>
                      <a:gd name="T5" fmla="*/ 0 h 264"/>
                      <a:gd name="T6" fmla="*/ 0 w 1173"/>
                      <a:gd name="T7" fmla="*/ 0 h 264"/>
                      <a:gd name="T8" fmla="*/ 0 w 1173"/>
                      <a:gd name="T9" fmla="*/ 0 h 264"/>
                      <a:gd name="T10" fmla="*/ 0 w 1173"/>
                      <a:gd name="T11" fmla="*/ 0 h 264"/>
                      <a:gd name="T12" fmla="*/ 0 w 1173"/>
                      <a:gd name="T13" fmla="*/ 0 h 264"/>
                      <a:gd name="T14" fmla="*/ 0 w 1173"/>
                      <a:gd name="T15" fmla="*/ 0 h 264"/>
                      <a:gd name="T16" fmla="*/ 0 w 1173"/>
                      <a:gd name="T17" fmla="*/ 0 h 264"/>
                      <a:gd name="T18" fmla="*/ 0 w 1173"/>
                      <a:gd name="T19" fmla="*/ 0 h 264"/>
                      <a:gd name="T20" fmla="*/ 0 w 1173"/>
                      <a:gd name="T21" fmla="*/ 0 h 264"/>
                      <a:gd name="T22" fmla="*/ 0 w 1173"/>
                      <a:gd name="T23" fmla="*/ 0 h 264"/>
                      <a:gd name="T24" fmla="*/ 0 w 1173"/>
                      <a:gd name="T25" fmla="*/ 0 h 264"/>
                      <a:gd name="T26" fmla="*/ 0 w 1173"/>
                      <a:gd name="T27" fmla="*/ 0 h 264"/>
                      <a:gd name="T28" fmla="*/ 0 w 1173"/>
                      <a:gd name="T29" fmla="*/ 0 h 264"/>
                      <a:gd name="T30" fmla="*/ 0 w 1173"/>
                      <a:gd name="T31" fmla="*/ 0 h 264"/>
                      <a:gd name="T32" fmla="*/ 0 w 1173"/>
                      <a:gd name="T33" fmla="*/ 0 h 264"/>
                      <a:gd name="T34" fmla="*/ 0 w 1173"/>
                      <a:gd name="T35" fmla="*/ 0 h 264"/>
                      <a:gd name="T36" fmla="*/ 0 w 1173"/>
                      <a:gd name="T37" fmla="*/ 0 h 264"/>
                      <a:gd name="T38" fmla="*/ 0 w 1173"/>
                      <a:gd name="T39" fmla="*/ 0 h 264"/>
                      <a:gd name="T40" fmla="*/ 0 w 1173"/>
                      <a:gd name="T41" fmla="*/ 0 h 264"/>
                      <a:gd name="T42" fmla="*/ 0 w 1173"/>
                      <a:gd name="T43" fmla="*/ 0 h 264"/>
                      <a:gd name="T44" fmla="*/ 0 w 1173"/>
                      <a:gd name="T45" fmla="*/ 0 h 264"/>
                      <a:gd name="T46" fmla="*/ 0 w 1173"/>
                      <a:gd name="T47" fmla="*/ 0 h 264"/>
                      <a:gd name="T48" fmla="*/ 0 w 1173"/>
                      <a:gd name="T49" fmla="*/ 0 h 264"/>
                      <a:gd name="T50" fmla="*/ 0 w 1173"/>
                      <a:gd name="T51" fmla="*/ 0 h 264"/>
                      <a:gd name="T52" fmla="*/ 0 w 1173"/>
                      <a:gd name="T53" fmla="*/ 0 h 264"/>
                      <a:gd name="T54" fmla="*/ 0 w 1173"/>
                      <a:gd name="T55" fmla="*/ 0 h 264"/>
                      <a:gd name="T56" fmla="*/ 0 w 1173"/>
                      <a:gd name="T57" fmla="*/ 0 h 264"/>
                      <a:gd name="T58" fmla="*/ 0 w 1173"/>
                      <a:gd name="T59" fmla="*/ 0 h 264"/>
                      <a:gd name="T60" fmla="*/ 0 w 1173"/>
                      <a:gd name="T61" fmla="*/ 0 h 264"/>
                      <a:gd name="T62" fmla="*/ 0 w 1173"/>
                      <a:gd name="T63" fmla="*/ 0 h 264"/>
                      <a:gd name="T64" fmla="*/ 0 w 1173"/>
                      <a:gd name="T65" fmla="*/ 0 h 264"/>
                      <a:gd name="T66" fmla="*/ 0 w 1173"/>
                      <a:gd name="T67" fmla="*/ 0 h 264"/>
                      <a:gd name="T68" fmla="*/ 0 w 1173"/>
                      <a:gd name="T69" fmla="*/ 0 h 264"/>
                      <a:gd name="T70" fmla="*/ 0 w 1173"/>
                      <a:gd name="T71" fmla="*/ 0 h 264"/>
                      <a:gd name="T72" fmla="*/ 0 w 1173"/>
                      <a:gd name="T73" fmla="*/ 0 h 264"/>
                      <a:gd name="T74" fmla="*/ 0 w 1173"/>
                      <a:gd name="T75" fmla="*/ 0 h 264"/>
                      <a:gd name="T76" fmla="*/ 0 w 1173"/>
                      <a:gd name="T77" fmla="*/ 0 h 264"/>
                      <a:gd name="T78" fmla="*/ 0 w 1173"/>
                      <a:gd name="T79" fmla="*/ 0 h 264"/>
                      <a:gd name="T80" fmla="*/ 0 w 1173"/>
                      <a:gd name="T81" fmla="*/ 0 h 264"/>
                      <a:gd name="T82" fmla="*/ 0 w 1173"/>
                      <a:gd name="T83" fmla="*/ 0 h 264"/>
                      <a:gd name="T84" fmla="*/ 0 w 1173"/>
                      <a:gd name="T85" fmla="*/ 0 h 264"/>
                      <a:gd name="T86" fmla="*/ 0 w 1173"/>
                      <a:gd name="T87" fmla="*/ 0 h 264"/>
                      <a:gd name="T88" fmla="*/ 0 w 1173"/>
                      <a:gd name="T89" fmla="*/ 0 h 264"/>
                      <a:gd name="T90" fmla="*/ 0 w 1173"/>
                      <a:gd name="T91" fmla="*/ 0 h 264"/>
                      <a:gd name="T92" fmla="*/ 0 w 1173"/>
                      <a:gd name="T93" fmla="*/ 0 h 264"/>
                      <a:gd name="T94" fmla="*/ 0 w 1173"/>
                      <a:gd name="T95" fmla="*/ 0 h 264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w 1173"/>
                      <a:gd name="T145" fmla="*/ 0 h 264"/>
                      <a:gd name="T146" fmla="*/ 1173 w 1173"/>
                      <a:gd name="T147" fmla="*/ 264 h 264"/>
                    </a:gdLst>
                    <a:ahLst/>
                    <a:cxnLst>
                      <a:cxn ang="T96">
                        <a:pos x="T0" y="T1"/>
                      </a:cxn>
                      <a:cxn ang="T97">
                        <a:pos x="T2" y="T3"/>
                      </a:cxn>
                      <a:cxn ang="T98">
                        <a:pos x="T4" y="T5"/>
                      </a:cxn>
                      <a:cxn ang="T99">
                        <a:pos x="T6" y="T7"/>
                      </a:cxn>
                      <a:cxn ang="T100">
                        <a:pos x="T8" y="T9"/>
                      </a:cxn>
                      <a:cxn ang="T101">
                        <a:pos x="T10" y="T11"/>
                      </a:cxn>
                      <a:cxn ang="T102">
                        <a:pos x="T12" y="T13"/>
                      </a:cxn>
                      <a:cxn ang="T103">
                        <a:pos x="T14" y="T15"/>
                      </a:cxn>
                      <a:cxn ang="T104">
                        <a:pos x="T16" y="T17"/>
                      </a:cxn>
                      <a:cxn ang="T105">
                        <a:pos x="T18" y="T19"/>
                      </a:cxn>
                      <a:cxn ang="T106">
                        <a:pos x="T20" y="T21"/>
                      </a:cxn>
                      <a:cxn ang="T107">
                        <a:pos x="T22" y="T23"/>
                      </a:cxn>
                      <a:cxn ang="T108">
                        <a:pos x="T24" y="T25"/>
                      </a:cxn>
                      <a:cxn ang="T109">
                        <a:pos x="T26" y="T27"/>
                      </a:cxn>
                      <a:cxn ang="T110">
                        <a:pos x="T28" y="T29"/>
                      </a:cxn>
                      <a:cxn ang="T111">
                        <a:pos x="T30" y="T31"/>
                      </a:cxn>
                      <a:cxn ang="T112">
                        <a:pos x="T32" y="T33"/>
                      </a:cxn>
                      <a:cxn ang="T113">
                        <a:pos x="T34" y="T35"/>
                      </a:cxn>
                      <a:cxn ang="T114">
                        <a:pos x="T36" y="T37"/>
                      </a:cxn>
                      <a:cxn ang="T115">
                        <a:pos x="T38" y="T39"/>
                      </a:cxn>
                      <a:cxn ang="T116">
                        <a:pos x="T40" y="T41"/>
                      </a:cxn>
                      <a:cxn ang="T117">
                        <a:pos x="T42" y="T43"/>
                      </a:cxn>
                      <a:cxn ang="T118">
                        <a:pos x="T44" y="T45"/>
                      </a:cxn>
                      <a:cxn ang="T119">
                        <a:pos x="T46" y="T47"/>
                      </a:cxn>
                      <a:cxn ang="T120">
                        <a:pos x="T48" y="T49"/>
                      </a:cxn>
                      <a:cxn ang="T121">
                        <a:pos x="T50" y="T51"/>
                      </a:cxn>
                      <a:cxn ang="T122">
                        <a:pos x="T52" y="T53"/>
                      </a:cxn>
                      <a:cxn ang="T123">
                        <a:pos x="T54" y="T55"/>
                      </a:cxn>
                      <a:cxn ang="T124">
                        <a:pos x="T56" y="T57"/>
                      </a:cxn>
                      <a:cxn ang="T125">
                        <a:pos x="T58" y="T59"/>
                      </a:cxn>
                      <a:cxn ang="T126">
                        <a:pos x="T60" y="T61"/>
                      </a:cxn>
                      <a:cxn ang="T127">
                        <a:pos x="T62" y="T63"/>
                      </a:cxn>
                      <a:cxn ang="T128">
                        <a:pos x="T64" y="T65"/>
                      </a:cxn>
                      <a:cxn ang="T129">
                        <a:pos x="T66" y="T67"/>
                      </a:cxn>
                      <a:cxn ang="T130">
                        <a:pos x="T68" y="T69"/>
                      </a:cxn>
                      <a:cxn ang="T131">
                        <a:pos x="T70" y="T71"/>
                      </a:cxn>
                      <a:cxn ang="T132">
                        <a:pos x="T72" y="T73"/>
                      </a:cxn>
                      <a:cxn ang="T133">
                        <a:pos x="T74" y="T75"/>
                      </a:cxn>
                      <a:cxn ang="T134">
                        <a:pos x="T76" y="T77"/>
                      </a:cxn>
                      <a:cxn ang="T135">
                        <a:pos x="T78" y="T79"/>
                      </a:cxn>
                      <a:cxn ang="T136">
                        <a:pos x="T80" y="T81"/>
                      </a:cxn>
                      <a:cxn ang="T137">
                        <a:pos x="T82" y="T83"/>
                      </a:cxn>
                      <a:cxn ang="T138">
                        <a:pos x="T84" y="T85"/>
                      </a:cxn>
                      <a:cxn ang="T139">
                        <a:pos x="T86" y="T87"/>
                      </a:cxn>
                      <a:cxn ang="T140">
                        <a:pos x="T88" y="T89"/>
                      </a:cxn>
                      <a:cxn ang="T141">
                        <a:pos x="T90" y="T91"/>
                      </a:cxn>
                      <a:cxn ang="T142">
                        <a:pos x="T92" y="T93"/>
                      </a:cxn>
                      <a:cxn ang="T143">
                        <a:pos x="T94" y="T95"/>
                      </a:cxn>
                    </a:cxnLst>
                    <a:rect l="T144" t="T145" r="T146" b="T147"/>
                    <a:pathLst>
                      <a:path w="1173" h="264">
                        <a:moveTo>
                          <a:pt x="586" y="142"/>
                        </a:moveTo>
                        <a:lnTo>
                          <a:pt x="525" y="142"/>
                        </a:lnTo>
                        <a:lnTo>
                          <a:pt x="467" y="139"/>
                        </a:lnTo>
                        <a:lnTo>
                          <a:pt x="414" y="137"/>
                        </a:lnTo>
                        <a:lnTo>
                          <a:pt x="364" y="133"/>
                        </a:lnTo>
                        <a:lnTo>
                          <a:pt x="316" y="128"/>
                        </a:lnTo>
                        <a:lnTo>
                          <a:pt x="274" y="123"/>
                        </a:lnTo>
                        <a:lnTo>
                          <a:pt x="234" y="116"/>
                        </a:lnTo>
                        <a:lnTo>
                          <a:pt x="197" y="108"/>
                        </a:lnTo>
                        <a:lnTo>
                          <a:pt x="162" y="100"/>
                        </a:lnTo>
                        <a:lnTo>
                          <a:pt x="131" y="90"/>
                        </a:lnTo>
                        <a:lnTo>
                          <a:pt x="103" y="80"/>
                        </a:lnTo>
                        <a:lnTo>
                          <a:pt x="78" y="70"/>
                        </a:lnTo>
                        <a:lnTo>
                          <a:pt x="54" y="58"/>
                        </a:lnTo>
                        <a:lnTo>
                          <a:pt x="34" y="46"/>
                        </a:lnTo>
                        <a:lnTo>
                          <a:pt x="15" y="33"/>
                        </a:lnTo>
                        <a:lnTo>
                          <a:pt x="0" y="19"/>
                        </a:lnTo>
                        <a:lnTo>
                          <a:pt x="2" y="33"/>
                        </a:lnTo>
                        <a:lnTo>
                          <a:pt x="5" y="46"/>
                        </a:lnTo>
                        <a:lnTo>
                          <a:pt x="10" y="58"/>
                        </a:lnTo>
                        <a:lnTo>
                          <a:pt x="14" y="70"/>
                        </a:lnTo>
                        <a:lnTo>
                          <a:pt x="20" y="83"/>
                        </a:lnTo>
                        <a:lnTo>
                          <a:pt x="25" y="95"/>
                        </a:lnTo>
                        <a:lnTo>
                          <a:pt x="32" y="106"/>
                        </a:lnTo>
                        <a:lnTo>
                          <a:pt x="40" y="117"/>
                        </a:lnTo>
                        <a:lnTo>
                          <a:pt x="48" y="128"/>
                        </a:lnTo>
                        <a:lnTo>
                          <a:pt x="58" y="139"/>
                        </a:lnTo>
                        <a:lnTo>
                          <a:pt x="68" y="149"/>
                        </a:lnTo>
                        <a:lnTo>
                          <a:pt x="79" y="159"/>
                        </a:lnTo>
                        <a:lnTo>
                          <a:pt x="91" y="169"/>
                        </a:lnTo>
                        <a:lnTo>
                          <a:pt x="106" y="178"/>
                        </a:lnTo>
                        <a:lnTo>
                          <a:pt x="120" y="187"/>
                        </a:lnTo>
                        <a:lnTo>
                          <a:pt x="136" y="195"/>
                        </a:lnTo>
                        <a:lnTo>
                          <a:pt x="152" y="203"/>
                        </a:lnTo>
                        <a:lnTo>
                          <a:pt x="171" y="211"/>
                        </a:lnTo>
                        <a:lnTo>
                          <a:pt x="190" y="218"/>
                        </a:lnTo>
                        <a:lnTo>
                          <a:pt x="211" y="224"/>
                        </a:lnTo>
                        <a:lnTo>
                          <a:pt x="234" y="231"/>
                        </a:lnTo>
                        <a:lnTo>
                          <a:pt x="258" y="236"/>
                        </a:lnTo>
                        <a:lnTo>
                          <a:pt x="284" y="242"/>
                        </a:lnTo>
                        <a:lnTo>
                          <a:pt x="310" y="246"/>
                        </a:lnTo>
                        <a:lnTo>
                          <a:pt x="338" y="251"/>
                        </a:lnTo>
                        <a:lnTo>
                          <a:pt x="368" y="254"/>
                        </a:lnTo>
                        <a:lnTo>
                          <a:pt x="400" y="257"/>
                        </a:lnTo>
                        <a:lnTo>
                          <a:pt x="434" y="260"/>
                        </a:lnTo>
                        <a:lnTo>
                          <a:pt x="469" y="262"/>
                        </a:lnTo>
                        <a:lnTo>
                          <a:pt x="506" y="263"/>
                        </a:lnTo>
                        <a:lnTo>
                          <a:pt x="545" y="264"/>
                        </a:lnTo>
                        <a:lnTo>
                          <a:pt x="586" y="264"/>
                        </a:lnTo>
                        <a:lnTo>
                          <a:pt x="625" y="264"/>
                        </a:lnTo>
                        <a:lnTo>
                          <a:pt x="662" y="263"/>
                        </a:lnTo>
                        <a:lnTo>
                          <a:pt x="698" y="262"/>
                        </a:lnTo>
                        <a:lnTo>
                          <a:pt x="731" y="260"/>
                        </a:lnTo>
                        <a:lnTo>
                          <a:pt x="763" y="256"/>
                        </a:lnTo>
                        <a:lnTo>
                          <a:pt x="793" y="253"/>
                        </a:lnTo>
                        <a:lnTo>
                          <a:pt x="823" y="250"/>
                        </a:lnTo>
                        <a:lnTo>
                          <a:pt x="851" y="245"/>
                        </a:lnTo>
                        <a:lnTo>
                          <a:pt x="877" y="240"/>
                        </a:lnTo>
                        <a:lnTo>
                          <a:pt x="902" y="234"/>
                        </a:lnTo>
                        <a:lnTo>
                          <a:pt x="926" y="227"/>
                        </a:lnTo>
                        <a:lnTo>
                          <a:pt x="948" y="221"/>
                        </a:lnTo>
                        <a:lnTo>
                          <a:pt x="969" y="214"/>
                        </a:lnTo>
                        <a:lnTo>
                          <a:pt x="988" y="206"/>
                        </a:lnTo>
                        <a:lnTo>
                          <a:pt x="1007" y="198"/>
                        </a:lnTo>
                        <a:lnTo>
                          <a:pt x="1025" y="189"/>
                        </a:lnTo>
                        <a:lnTo>
                          <a:pt x="1040" y="181"/>
                        </a:lnTo>
                        <a:lnTo>
                          <a:pt x="1056" y="172"/>
                        </a:lnTo>
                        <a:lnTo>
                          <a:pt x="1070" y="162"/>
                        </a:lnTo>
                        <a:lnTo>
                          <a:pt x="1083" y="150"/>
                        </a:lnTo>
                        <a:lnTo>
                          <a:pt x="1095" y="140"/>
                        </a:lnTo>
                        <a:lnTo>
                          <a:pt x="1106" y="129"/>
                        </a:lnTo>
                        <a:lnTo>
                          <a:pt x="1116" y="118"/>
                        </a:lnTo>
                        <a:lnTo>
                          <a:pt x="1126" y="106"/>
                        </a:lnTo>
                        <a:lnTo>
                          <a:pt x="1134" y="94"/>
                        </a:lnTo>
                        <a:lnTo>
                          <a:pt x="1142" y="81"/>
                        </a:lnTo>
                        <a:lnTo>
                          <a:pt x="1148" y="68"/>
                        </a:lnTo>
                        <a:lnTo>
                          <a:pt x="1155" y="56"/>
                        </a:lnTo>
                        <a:lnTo>
                          <a:pt x="1161" y="43"/>
                        </a:lnTo>
                        <a:lnTo>
                          <a:pt x="1165" y="28"/>
                        </a:lnTo>
                        <a:lnTo>
                          <a:pt x="1170" y="15"/>
                        </a:lnTo>
                        <a:lnTo>
                          <a:pt x="1173" y="0"/>
                        </a:lnTo>
                        <a:lnTo>
                          <a:pt x="1156" y="16"/>
                        </a:lnTo>
                        <a:lnTo>
                          <a:pt x="1136" y="31"/>
                        </a:lnTo>
                        <a:lnTo>
                          <a:pt x="1115" y="45"/>
                        </a:lnTo>
                        <a:lnTo>
                          <a:pt x="1092" y="58"/>
                        </a:lnTo>
                        <a:lnTo>
                          <a:pt x="1066" y="71"/>
                        </a:lnTo>
                        <a:lnTo>
                          <a:pt x="1037" y="83"/>
                        </a:lnTo>
                        <a:lnTo>
                          <a:pt x="1006" y="94"/>
                        </a:lnTo>
                        <a:lnTo>
                          <a:pt x="971" y="103"/>
                        </a:lnTo>
                        <a:lnTo>
                          <a:pt x="935" y="112"/>
                        </a:lnTo>
                        <a:lnTo>
                          <a:pt x="895" y="119"/>
                        </a:lnTo>
                        <a:lnTo>
                          <a:pt x="851" y="126"/>
                        </a:lnTo>
                        <a:lnTo>
                          <a:pt x="806" y="132"/>
                        </a:lnTo>
                        <a:lnTo>
                          <a:pt x="757" y="136"/>
                        </a:lnTo>
                        <a:lnTo>
                          <a:pt x="703" y="139"/>
                        </a:lnTo>
                        <a:lnTo>
                          <a:pt x="646" y="140"/>
                        </a:lnTo>
                        <a:lnTo>
                          <a:pt x="586" y="142"/>
                        </a:lnTo>
                        <a:close/>
                      </a:path>
                    </a:pathLst>
                  </a:custGeom>
                  <a:solidFill>
                    <a:srgbClr val="1F1A17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78" name="Freeform 175"/>
                  <p:cNvSpPr>
                    <a:spLocks/>
                  </p:cNvSpPr>
                  <p:nvPr/>
                </p:nvSpPr>
                <p:spPr bwMode="auto">
                  <a:xfrm>
                    <a:off x="3437" y="3975"/>
                    <a:ext cx="138" cy="177"/>
                  </a:xfrm>
                  <a:custGeom>
                    <a:avLst/>
                    <a:gdLst>
                      <a:gd name="T0" fmla="*/ 0 w 955"/>
                      <a:gd name="T1" fmla="*/ 0 h 1249"/>
                      <a:gd name="T2" fmla="*/ 0 w 955"/>
                      <a:gd name="T3" fmla="*/ 0 h 1249"/>
                      <a:gd name="T4" fmla="*/ 0 w 955"/>
                      <a:gd name="T5" fmla="*/ 0 h 1249"/>
                      <a:gd name="T6" fmla="*/ 0 w 955"/>
                      <a:gd name="T7" fmla="*/ 0 h 1249"/>
                      <a:gd name="T8" fmla="*/ 0 w 955"/>
                      <a:gd name="T9" fmla="*/ 0 h 1249"/>
                      <a:gd name="T10" fmla="*/ 0 w 955"/>
                      <a:gd name="T11" fmla="*/ 0 h 1249"/>
                      <a:gd name="T12" fmla="*/ 0 w 955"/>
                      <a:gd name="T13" fmla="*/ 0 h 1249"/>
                      <a:gd name="T14" fmla="*/ 0 w 955"/>
                      <a:gd name="T15" fmla="*/ 0 h 1249"/>
                      <a:gd name="T16" fmla="*/ 0 w 955"/>
                      <a:gd name="T17" fmla="*/ 0 h 1249"/>
                      <a:gd name="T18" fmla="*/ 0 w 955"/>
                      <a:gd name="T19" fmla="*/ 0 h 1249"/>
                      <a:gd name="T20" fmla="*/ 0 w 955"/>
                      <a:gd name="T21" fmla="*/ 0 h 1249"/>
                      <a:gd name="T22" fmla="*/ 0 w 955"/>
                      <a:gd name="T23" fmla="*/ 0 h 1249"/>
                      <a:gd name="T24" fmla="*/ 0 w 955"/>
                      <a:gd name="T25" fmla="*/ 0 h 1249"/>
                      <a:gd name="T26" fmla="*/ 0 w 955"/>
                      <a:gd name="T27" fmla="*/ 0 h 1249"/>
                      <a:gd name="T28" fmla="*/ 0 w 955"/>
                      <a:gd name="T29" fmla="*/ 0 h 1249"/>
                      <a:gd name="T30" fmla="*/ 0 w 955"/>
                      <a:gd name="T31" fmla="*/ 0 h 1249"/>
                      <a:gd name="T32" fmla="*/ 0 w 955"/>
                      <a:gd name="T33" fmla="*/ 0 h 1249"/>
                      <a:gd name="T34" fmla="*/ 0 w 955"/>
                      <a:gd name="T35" fmla="*/ 0 h 1249"/>
                      <a:gd name="T36" fmla="*/ 0 w 955"/>
                      <a:gd name="T37" fmla="*/ 0 h 1249"/>
                      <a:gd name="T38" fmla="*/ 0 w 955"/>
                      <a:gd name="T39" fmla="*/ 0 h 1249"/>
                      <a:gd name="T40" fmla="*/ 0 w 955"/>
                      <a:gd name="T41" fmla="*/ 0 h 1249"/>
                      <a:gd name="T42" fmla="*/ 0 w 955"/>
                      <a:gd name="T43" fmla="*/ 0 h 1249"/>
                      <a:gd name="T44" fmla="*/ 0 w 955"/>
                      <a:gd name="T45" fmla="*/ 0 h 1249"/>
                      <a:gd name="T46" fmla="*/ 0 w 955"/>
                      <a:gd name="T47" fmla="*/ 0 h 1249"/>
                      <a:gd name="T48" fmla="*/ 0 w 955"/>
                      <a:gd name="T49" fmla="*/ 0 h 1249"/>
                      <a:gd name="T50" fmla="*/ 0 w 955"/>
                      <a:gd name="T51" fmla="*/ 0 h 1249"/>
                      <a:gd name="T52" fmla="*/ 0 w 955"/>
                      <a:gd name="T53" fmla="*/ 0 h 1249"/>
                      <a:gd name="T54" fmla="*/ 0 w 955"/>
                      <a:gd name="T55" fmla="*/ 0 h 1249"/>
                      <a:gd name="T56" fmla="*/ 0 w 955"/>
                      <a:gd name="T57" fmla="*/ 0 h 1249"/>
                      <a:gd name="T58" fmla="*/ 0 w 955"/>
                      <a:gd name="T59" fmla="*/ 0 h 1249"/>
                      <a:gd name="T60" fmla="*/ 0 w 955"/>
                      <a:gd name="T61" fmla="*/ 0 h 1249"/>
                      <a:gd name="T62" fmla="*/ 0 w 955"/>
                      <a:gd name="T63" fmla="*/ 0 h 1249"/>
                      <a:gd name="T64" fmla="*/ 0 w 955"/>
                      <a:gd name="T65" fmla="*/ 0 h 1249"/>
                      <a:gd name="T66" fmla="*/ 0 w 955"/>
                      <a:gd name="T67" fmla="*/ 0 h 1249"/>
                      <a:gd name="T68" fmla="*/ 0 w 955"/>
                      <a:gd name="T69" fmla="*/ 0 h 1249"/>
                      <a:gd name="T70" fmla="*/ 0 w 955"/>
                      <a:gd name="T71" fmla="*/ 0 h 1249"/>
                      <a:gd name="T72" fmla="*/ 0 w 955"/>
                      <a:gd name="T73" fmla="*/ 0 h 1249"/>
                      <a:gd name="T74" fmla="*/ 0 w 955"/>
                      <a:gd name="T75" fmla="*/ 0 h 1249"/>
                      <a:gd name="T76" fmla="*/ 0 w 955"/>
                      <a:gd name="T77" fmla="*/ 0 h 1249"/>
                      <a:gd name="T78" fmla="*/ 0 w 955"/>
                      <a:gd name="T79" fmla="*/ 0 h 1249"/>
                      <a:gd name="T80" fmla="*/ 0 w 955"/>
                      <a:gd name="T81" fmla="*/ 0 h 1249"/>
                      <a:gd name="T82" fmla="*/ 0 w 955"/>
                      <a:gd name="T83" fmla="*/ 0 h 1249"/>
                      <a:gd name="T84" fmla="*/ 0 w 955"/>
                      <a:gd name="T85" fmla="*/ 0 h 1249"/>
                      <a:gd name="T86" fmla="*/ 0 w 955"/>
                      <a:gd name="T87" fmla="*/ 0 h 1249"/>
                      <a:gd name="T88" fmla="*/ 0 w 955"/>
                      <a:gd name="T89" fmla="*/ 0 h 1249"/>
                      <a:gd name="T90" fmla="*/ 0 w 955"/>
                      <a:gd name="T91" fmla="*/ 0 h 1249"/>
                      <a:gd name="T92" fmla="*/ 0 w 955"/>
                      <a:gd name="T93" fmla="*/ 0 h 1249"/>
                      <a:gd name="T94" fmla="*/ 0 w 955"/>
                      <a:gd name="T95" fmla="*/ 0 h 1249"/>
                      <a:gd name="T96" fmla="*/ 0 w 955"/>
                      <a:gd name="T97" fmla="*/ 0 h 1249"/>
                      <a:gd name="T98" fmla="*/ 0 w 955"/>
                      <a:gd name="T99" fmla="*/ 0 h 1249"/>
                      <a:gd name="T100" fmla="*/ 0 w 955"/>
                      <a:gd name="T101" fmla="*/ 0 h 1249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w 955"/>
                      <a:gd name="T154" fmla="*/ 0 h 1249"/>
                      <a:gd name="T155" fmla="*/ 955 w 955"/>
                      <a:gd name="T156" fmla="*/ 1249 h 1249"/>
                    </a:gdLst>
                    <a:ahLst/>
                    <a:cxnLst>
                      <a:cxn ang="T102">
                        <a:pos x="T0" y="T1"/>
                      </a:cxn>
                      <a:cxn ang="T103">
                        <a:pos x="T2" y="T3"/>
                      </a:cxn>
                      <a:cxn ang="T104">
                        <a:pos x="T4" y="T5"/>
                      </a:cxn>
                      <a:cxn ang="T105">
                        <a:pos x="T6" y="T7"/>
                      </a:cxn>
                      <a:cxn ang="T106">
                        <a:pos x="T8" y="T9"/>
                      </a:cxn>
                      <a:cxn ang="T107">
                        <a:pos x="T10" y="T11"/>
                      </a:cxn>
                      <a:cxn ang="T108">
                        <a:pos x="T12" y="T13"/>
                      </a:cxn>
                      <a:cxn ang="T109">
                        <a:pos x="T14" y="T15"/>
                      </a:cxn>
                      <a:cxn ang="T110">
                        <a:pos x="T16" y="T17"/>
                      </a:cxn>
                      <a:cxn ang="T111">
                        <a:pos x="T18" y="T19"/>
                      </a:cxn>
                      <a:cxn ang="T112">
                        <a:pos x="T20" y="T21"/>
                      </a:cxn>
                      <a:cxn ang="T113">
                        <a:pos x="T22" y="T23"/>
                      </a:cxn>
                      <a:cxn ang="T114">
                        <a:pos x="T24" y="T25"/>
                      </a:cxn>
                      <a:cxn ang="T115">
                        <a:pos x="T26" y="T27"/>
                      </a:cxn>
                      <a:cxn ang="T116">
                        <a:pos x="T28" y="T29"/>
                      </a:cxn>
                      <a:cxn ang="T117">
                        <a:pos x="T30" y="T31"/>
                      </a:cxn>
                      <a:cxn ang="T118">
                        <a:pos x="T32" y="T33"/>
                      </a:cxn>
                      <a:cxn ang="T119">
                        <a:pos x="T34" y="T35"/>
                      </a:cxn>
                      <a:cxn ang="T120">
                        <a:pos x="T36" y="T37"/>
                      </a:cxn>
                      <a:cxn ang="T121">
                        <a:pos x="T38" y="T39"/>
                      </a:cxn>
                      <a:cxn ang="T122">
                        <a:pos x="T40" y="T41"/>
                      </a:cxn>
                      <a:cxn ang="T123">
                        <a:pos x="T42" y="T43"/>
                      </a:cxn>
                      <a:cxn ang="T124">
                        <a:pos x="T44" y="T45"/>
                      </a:cxn>
                      <a:cxn ang="T125">
                        <a:pos x="T46" y="T47"/>
                      </a:cxn>
                      <a:cxn ang="T126">
                        <a:pos x="T48" y="T49"/>
                      </a:cxn>
                      <a:cxn ang="T127">
                        <a:pos x="T50" y="T51"/>
                      </a:cxn>
                      <a:cxn ang="T128">
                        <a:pos x="T52" y="T53"/>
                      </a:cxn>
                      <a:cxn ang="T129">
                        <a:pos x="T54" y="T55"/>
                      </a:cxn>
                      <a:cxn ang="T130">
                        <a:pos x="T56" y="T57"/>
                      </a:cxn>
                      <a:cxn ang="T131">
                        <a:pos x="T58" y="T59"/>
                      </a:cxn>
                      <a:cxn ang="T132">
                        <a:pos x="T60" y="T61"/>
                      </a:cxn>
                      <a:cxn ang="T133">
                        <a:pos x="T62" y="T63"/>
                      </a:cxn>
                      <a:cxn ang="T134">
                        <a:pos x="T64" y="T65"/>
                      </a:cxn>
                      <a:cxn ang="T135">
                        <a:pos x="T66" y="T67"/>
                      </a:cxn>
                      <a:cxn ang="T136">
                        <a:pos x="T68" y="T69"/>
                      </a:cxn>
                      <a:cxn ang="T137">
                        <a:pos x="T70" y="T71"/>
                      </a:cxn>
                      <a:cxn ang="T138">
                        <a:pos x="T72" y="T73"/>
                      </a:cxn>
                      <a:cxn ang="T139">
                        <a:pos x="T74" y="T75"/>
                      </a:cxn>
                      <a:cxn ang="T140">
                        <a:pos x="T76" y="T77"/>
                      </a:cxn>
                      <a:cxn ang="T141">
                        <a:pos x="T78" y="T79"/>
                      </a:cxn>
                      <a:cxn ang="T142">
                        <a:pos x="T80" y="T81"/>
                      </a:cxn>
                      <a:cxn ang="T143">
                        <a:pos x="T82" y="T83"/>
                      </a:cxn>
                      <a:cxn ang="T144">
                        <a:pos x="T84" y="T85"/>
                      </a:cxn>
                      <a:cxn ang="T145">
                        <a:pos x="T86" y="T87"/>
                      </a:cxn>
                      <a:cxn ang="T146">
                        <a:pos x="T88" y="T89"/>
                      </a:cxn>
                      <a:cxn ang="T147">
                        <a:pos x="T90" y="T91"/>
                      </a:cxn>
                      <a:cxn ang="T148">
                        <a:pos x="T92" y="T93"/>
                      </a:cxn>
                      <a:cxn ang="T149">
                        <a:pos x="T94" y="T95"/>
                      </a:cxn>
                      <a:cxn ang="T150">
                        <a:pos x="T96" y="T97"/>
                      </a:cxn>
                      <a:cxn ang="T151">
                        <a:pos x="T98" y="T99"/>
                      </a:cxn>
                      <a:cxn ang="T152">
                        <a:pos x="T100" y="T101"/>
                      </a:cxn>
                    </a:cxnLst>
                    <a:rect l="T153" t="T154" r="T155" b="T156"/>
                    <a:pathLst>
                      <a:path w="955" h="1249">
                        <a:moveTo>
                          <a:pt x="1" y="531"/>
                        </a:moveTo>
                        <a:lnTo>
                          <a:pt x="0" y="463"/>
                        </a:lnTo>
                        <a:lnTo>
                          <a:pt x="3" y="401"/>
                        </a:lnTo>
                        <a:lnTo>
                          <a:pt x="12" y="344"/>
                        </a:lnTo>
                        <a:lnTo>
                          <a:pt x="25" y="292"/>
                        </a:lnTo>
                        <a:lnTo>
                          <a:pt x="43" y="245"/>
                        </a:lnTo>
                        <a:lnTo>
                          <a:pt x="66" y="202"/>
                        </a:lnTo>
                        <a:lnTo>
                          <a:pt x="91" y="164"/>
                        </a:lnTo>
                        <a:lnTo>
                          <a:pt x="120" y="130"/>
                        </a:lnTo>
                        <a:lnTo>
                          <a:pt x="152" y="100"/>
                        </a:lnTo>
                        <a:lnTo>
                          <a:pt x="187" y="75"/>
                        </a:lnTo>
                        <a:lnTo>
                          <a:pt x="224" y="54"/>
                        </a:lnTo>
                        <a:lnTo>
                          <a:pt x="263" y="36"/>
                        </a:lnTo>
                        <a:lnTo>
                          <a:pt x="303" y="23"/>
                        </a:lnTo>
                        <a:lnTo>
                          <a:pt x="345" y="11"/>
                        </a:lnTo>
                        <a:lnTo>
                          <a:pt x="387" y="5"/>
                        </a:lnTo>
                        <a:lnTo>
                          <a:pt x="431" y="0"/>
                        </a:lnTo>
                        <a:lnTo>
                          <a:pt x="474" y="0"/>
                        </a:lnTo>
                        <a:lnTo>
                          <a:pt x="517" y="2"/>
                        </a:lnTo>
                        <a:lnTo>
                          <a:pt x="560" y="7"/>
                        </a:lnTo>
                        <a:lnTo>
                          <a:pt x="602" y="15"/>
                        </a:lnTo>
                        <a:lnTo>
                          <a:pt x="643" y="25"/>
                        </a:lnTo>
                        <a:lnTo>
                          <a:pt x="683" y="37"/>
                        </a:lnTo>
                        <a:lnTo>
                          <a:pt x="720" y="53"/>
                        </a:lnTo>
                        <a:lnTo>
                          <a:pt x="756" y="69"/>
                        </a:lnTo>
                        <a:lnTo>
                          <a:pt x="789" y="88"/>
                        </a:lnTo>
                        <a:lnTo>
                          <a:pt x="819" y="109"/>
                        </a:lnTo>
                        <a:lnTo>
                          <a:pt x="846" y="132"/>
                        </a:lnTo>
                        <a:lnTo>
                          <a:pt x="869" y="155"/>
                        </a:lnTo>
                        <a:lnTo>
                          <a:pt x="888" y="181"/>
                        </a:lnTo>
                        <a:lnTo>
                          <a:pt x="904" y="207"/>
                        </a:lnTo>
                        <a:lnTo>
                          <a:pt x="914" y="235"/>
                        </a:lnTo>
                        <a:lnTo>
                          <a:pt x="919" y="264"/>
                        </a:lnTo>
                        <a:lnTo>
                          <a:pt x="929" y="352"/>
                        </a:lnTo>
                        <a:lnTo>
                          <a:pt x="940" y="448"/>
                        </a:lnTo>
                        <a:lnTo>
                          <a:pt x="945" y="497"/>
                        </a:lnTo>
                        <a:lnTo>
                          <a:pt x="949" y="547"/>
                        </a:lnTo>
                        <a:lnTo>
                          <a:pt x="953" y="596"/>
                        </a:lnTo>
                        <a:lnTo>
                          <a:pt x="954" y="645"/>
                        </a:lnTo>
                        <a:lnTo>
                          <a:pt x="955" y="692"/>
                        </a:lnTo>
                        <a:lnTo>
                          <a:pt x="953" y="738"/>
                        </a:lnTo>
                        <a:lnTo>
                          <a:pt x="951" y="760"/>
                        </a:lnTo>
                        <a:lnTo>
                          <a:pt x="949" y="781"/>
                        </a:lnTo>
                        <a:lnTo>
                          <a:pt x="946" y="803"/>
                        </a:lnTo>
                        <a:lnTo>
                          <a:pt x="943" y="823"/>
                        </a:lnTo>
                        <a:lnTo>
                          <a:pt x="939" y="843"/>
                        </a:lnTo>
                        <a:lnTo>
                          <a:pt x="934" y="860"/>
                        </a:lnTo>
                        <a:lnTo>
                          <a:pt x="928" y="878"/>
                        </a:lnTo>
                        <a:lnTo>
                          <a:pt x="923" y="895"/>
                        </a:lnTo>
                        <a:lnTo>
                          <a:pt x="915" y="911"/>
                        </a:lnTo>
                        <a:lnTo>
                          <a:pt x="907" y="926"/>
                        </a:lnTo>
                        <a:lnTo>
                          <a:pt x="898" y="939"/>
                        </a:lnTo>
                        <a:lnTo>
                          <a:pt x="888" y="952"/>
                        </a:lnTo>
                        <a:lnTo>
                          <a:pt x="877" y="963"/>
                        </a:lnTo>
                        <a:lnTo>
                          <a:pt x="864" y="975"/>
                        </a:lnTo>
                        <a:lnTo>
                          <a:pt x="850" y="987"/>
                        </a:lnTo>
                        <a:lnTo>
                          <a:pt x="835" y="1001"/>
                        </a:lnTo>
                        <a:lnTo>
                          <a:pt x="801" y="1026"/>
                        </a:lnTo>
                        <a:lnTo>
                          <a:pt x="764" y="1052"/>
                        </a:lnTo>
                        <a:lnTo>
                          <a:pt x="723" y="1079"/>
                        </a:lnTo>
                        <a:lnTo>
                          <a:pt x="680" y="1104"/>
                        </a:lnTo>
                        <a:lnTo>
                          <a:pt x="634" y="1129"/>
                        </a:lnTo>
                        <a:lnTo>
                          <a:pt x="586" y="1152"/>
                        </a:lnTo>
                        <a:lnTo>
                          <a:pt x="539" y="1174"/>
                        </a:lnTo>
                        <a:lnTo>
                          <a:pt x="490" y="1194"/>
                        </a:lnTo>
                        <a:lnTo>
                          <a:pt x="464" y="1203"/>
                        </a:lnTo>
                        <a:lnTo>
                          <a:pt x="441" y="1212"/>
                        </a:lnTo>
                        <a:lnTo>
                          <a:pt x="416" y="1220"/>
                        </a:lnTo>
                        <a:lnTo>
                          <a:pt x="392" y="1227"/>
                        </a:lnTo>
                        <a:lnTo>
                          <a:pt x="368" y="1232"/>
                        </a:lnTo>
                        <a:lnTo>
                          <a:pt x="345" y="1238"/>
                        </a:lnTo>
                        <a:lnTo>
                          <a:pt x="322" y="1242"/>
                        </a:lnTo>
                        <a:lnTo>
                          <a:pt x="299" y="1246"/>
                        </a:lnTo>
                        <a:lnTo>
                          <a:pt x="278" y="1248"/>
                        </a:lnTo>
                        <a:lnTo>
                          <a:pt x="257" y="1249"/>
                        </a:lnTo>
                        <a:lnTo>
                          <a:pt x="237" y="1249"/>
                        </a:lnTo>
                        <a:lnTo>
                          <a:pt x="217" y="1248"/>
                        </a:lnTo>
                        <a:lnTo>
                          <a:pt x="192" y="1244"/>
                        </a:lnTo>
                        <a:lnTo>
                          <a:pt x="170" y="1239"/>
                        </a:lnTo>
                        <a:lnTo>
                          <a:pt x="149" y="1231"/>
                        </a:lnTo>
                        <a:lnTo>
                          <a:pt x="130" y="1221"/>
                        </a:lnTo>
                        <a:lnTo>
                          <a:pt x="112" y="1210"/>
                        </a:lnTo>
                        <a:lnTo>
                          <a:pt x="97" y="1197"/>
                        </a:lnTo>
                        <a:lnTo>
                          <a:pt x="83" y="1181"/>
                        </a:lnTo>
                        <a:lnTo>
                          <a:pt x="71" y="1164"/>
                        </a:lnTo>
                        <a:lnTo>
                          <a:pt x="60" y="1146"/>
                        </a:lnTo>
                        <a:lnTo>
                          <a:pt x="50" y="1126"/>
                        </a:lnTo>
                        <a:lnTo>
                          <a:pt x="41" y="1105"/>
                        </a:lnTo>
                        <a:lnTo>
                          <a:pt x="33" y="1083"/>
                        </a:lnTo>
                        <a:lnTo>
                          <a:pt x="27" y="1060"/>
                        </a:lnTo>
                        <a:lnTo>
                          <a:pt x="22" y="1035"/>
                        </a:lnTo>
                        <a:lnTo>
                          <a:pt x="17" y="1010"/>
                        </a:lnTo>
                        <a:lnTo>
                          <a:pt x="13" y="984"/>
                        </a:lnTo>
                        <a:lnTo>
                          <a:pt x="11" y="957"/>
                        </a:lnTo>
                        <a:lnTo>
                          <a:pt x="8" y="929"/>
                        </a:lnTo>
                        <a:lnTo>
                          <a:pt x="7" y="902"/>
                        </a:lnTo>
                        <a:lnTo>
                          <a:pt x="5" y="873"/>
                        </a:lnTo>
                        <a:lnTo>
                          <a:pt x="4" y="815"/>
                        </a:lnTo>
                        <a:lnTo>
                          <a:pt x="4" y="756"/>
                        </a:lnTo>
                        <a:lnTo>
                          <a:pt x="4" y="698"/>
                        </a:lnTo>
                        <a:lnTo>
                          <a:pt x="4" y="640"/>
                        </a:lnTo>
                        <a:lnTo>
                          <a:pt x="3" y="584"/>
                        </a:lnTo>
                        <a:lnTo>
                          <a:pt x="1" y="531"/>
                        </a:lnTo>
                        <a:close/>
                      </a:path>
                    </a:pathLst>
                  </a:custGeom>
                  <a:solidFill>
                    <a:srgbClr val="273669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79" name="Freeform 176"/>
                  <p:cNvSpPr>
                    <a:spLocks/>
                  </p:cNvSpPr>
                  <p:nvPr/>
                </p:nvSpPr>
                <p:spPr bwMode="auto">
                  <a:xfrm>
                    <a:off x="3437" y="3975"/>
                    <a:ext cx="74" cy="138"/>
                  </a:xfrm>
                  <a:custGeom>
                    <a:avLst/>
                    <a:gdLst>
                      <a:gd name="T0" fmla="*/ 0 w 502"/>
                      <a:gd name="T1" fmla="*/ 0 h 967"/>
                      <a:gd name="T2" fmla="*/ 0 w 502"/>
                      <a:gd name="T3" fmla="*/ 0 h 967"/>
                      <a:gd name="T4" fmla="*/ 0 w 502"/>
                      <a:gd name="T5" fmla="*/ 0 h 967"/>
                      <a:gd name="T6" fmla="*/ 0 w 502"/>
                      <a:gd name="T7" fmla="*/ 0 h 967"/>
                      <a:gd name="T8" fmla="*/ 0 w 502"/>
                      <a:gd name="T9" fmla="*/ 0 h 967"/>
                      <a:gd name="T10" fmla="*/ 0 w 502"/>
                      <a:gd name="T11" fmla="*/ 0 h 967"/>
                      <a:gd name="T12" fmla="*/ 0 w 502"/>
                      <a:gd name="T13" fmla="*/ 0 h 967"/>
                      <a:gd name="T14" fmla="*/ 0 w 502"/>
                      <a:gd name="T15" fmla="*/ 0 h 967"/>
                      <a:gd name="T16" fmla="*/ 0 w 502"/>
                      <a:gd name="T17" fmla="*/ 0 h 967"/>
                      <a:gd name="T18" fmla="*/ 0 w 502"/>
                      <a:gd name="T19" fmla="*/ 0 h 967"/>
                      <a:gd name="T20" fmla="*/ 0 w 502"/>
                      <a:gd name="T21" fmla="*/ 0 h 967"/>
                      <a:gd name="T22" fmla="*/ 0 w 502"/>
                      <a:gd name="T23" fmla="*/ 0 h 967"/>
                      <a:gd name="T24" fmla="*/ 0 w 502"/>
                      <a:gd name="T25" fmla="*/ 0 h 967"/>
                      <a:gd name="T26" fmla="*/ 0 w 502"/>
                      <a:gd name="T27" fmla="*/ 0 h 967"/>
                      <a:gd name="T28" fmla="*/ 0 w 502"/>
                      <a:gd name="T29" fmla="*/ 0 h 967"/>
                      <a:gd name="T30" fmla="*/ 0 w 502"/>
                      <a:gd name="T31" fmla="*/ 0 h 967"/>
                      <a:gd name="T32" fmla="*/ 0 w 502"/>
                      <a:gd name="T33" fmla="*/ 0 h 967"/>
                      <a:gd name="T34" fmla="*/ 0 w 502"/>
                      <a:gd name="T35" fmla="*/ 0 h 967"/>
                      <a:gd name="T36" fmla="*/ 0 w 502"/>
                      <a:gd name="T37" fmla="*/ 0 h 967"/>
                      <a:gd name="T38" fmla="*/ 0 w 502"/>
                      <a:gd name="T39" fmla="*/ 0 h 967"/>
                      <a:gd name="T40" fmla="*/ 0 w 502"/>
                      <a:gd name="T41" fmla="*/ 0 h 967"/>
                      <a:gd name="T42" fmla="*/ 0 w 502"/>
                      <a:gd name="T43" fmla="*/ 0 h 967"/>
                      <a:gd name="T44" fmla="*/ 0 w 502"/>
                      <a:gd name="T45" fmla="*/ 0 h 967"/>
                      <a:gd name="T46" fmla="*/ 0 w 502"/>
                      <a:gd name="T47" fmla="*/ 0 h 967"/>
                      <a:gd name="T48" fmla="*/ 0 w 502"/>
                      <a:gd name="T49" fmla="*/ 0 h 967"/>
                      <a:gd name="T50" fmla="*/ 0 w 502"/>
                      <a:gd name="T51" fmla="*/ 0 h 967"/>
                      <a:gd name="T52" fmla="*/ 0 w 502"/>
                      <a:gd name="T53" fmla="*/ 0 h 967"/>
                      <a:gd name="T54" fmla="*/ 0 w 502"/>
                      <a:gd name="T55" fmla="*/ 0 h 967"/>
                      <a:gd name="T56" fmla="*/ 0 w 502"/>
                      <a:gd name="T57" fmla="*/ 0 h 967"/>
                      <a:gd name="T58" fmla="*/ 0 w 502"/>
                      <a:gd name="T59" fmla="*/ 0 h 967"/>
                      <a:gd name="T60" fmla="*/ 0 w 502"/>
                      <a:gd name="T61" fmla="*/ 0 h 967"/>
                      <a:gd name="T62" fmla="*/ 0 w 502"/>
                      <a:gd name="T63" fmla="*/ 0 h 967"/>
                      <a:gd name="T64" fmla="*/ 0 w 502"/>
                      <a:gd name="T65" fmla="*/ 0 h 967"/>
                      <a:gd name="T66" fmla="*/ 0 w 502"/>
                      <a:gd name="T67" fmla="*/ 0 h 967"/>
                      <a:gd name="T68" fmla="*/ 0 w 502"/>
                      <a:gd name="T69" fmla="*/ 0 h 967"/>
                      <a:gd name="T70" fmla="*/ 0 w 502"/>
                      <a:gd name="T71" fmla="*/ 0 h 967"/>
                      <a:gd name="T72" fmla="*/ 0 w 502"/>
                      <a:gd name="T73" fmla="*/ 0 h 967"/>
                      <a:gd name="T74" fmla="*/ 0 w 502"/>
                      <a:gd name="T75" fmla="*/ 0 h 967"/>
                      <a:gd name="T76" fmla="*/ 0 w 502"/>
                      <a:gd name="T77" fmla="*/ 0 h 967"/>
                      <a:gd name="T78" fmla="*/ 0 w 502"/>
                      <a:gd name="T79" fmla="*/ 0 h 967"/>
                      <a:gd name="T80" fmla="*/ 0 w 502"/>
                      <a:gd name="T81" fmla="*/ 0 h 967"/>
                      <a:gd name="T82" fmla="*/ 0 w 502"/>
                      <a:gd name="T83" fmla="*/ 0 h 967"/>
                      <a:gd name="T84" fmla="*/ 0 w 502"/>
                      <a:gd name="T85" fmla="*/ 0 h 96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502"/>
                      <a:gd name="T130" fmla="*/ 0 h 967"/>
                      <a:gd name="T131" fmla="*/ 502 w 502"/>
                      <a:gd name="T132" fmla="*/ 967 h 96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502" h="967">
                        <a:moveTo>
                          <a:pt x="2" y="379"/>
                        </a:moveTo>
                        <a:lnTo>
                          <a:pt x="5" y="358"/>
                        </a:lnTo>
                        <a:lnTo>
                          <a:pt x="10" y="337"/>
                        </a:lnTo>
                        <a:lnTo>
                          <a:pt x="16" y="315"/>
                        </a:lnTo>
                        <a:lnTo>
                          <a:pt x="23" y="291"/>
                        </a:lnTo>
                        <a:lnTo>
                          <a:pt x="32" y="269"/>
                        </a:lnTo>
                        <a:lnTo>
                          <a:pt x="43" y="246"/>
                        </a:lnTo>
                        <a:lnTo>
                          <a:pt x="54" y="224"/>
                        </a:lnTo>
                        <a:lnTo>
                          <a:pt x="68" y="200"/>
                        </a:lnTo>
                        <a:lnTo>
                          <a:pt x="81" y="179"/>
                        </a:lnTo>
                        <a:lnTo>
                          <a:pt x="97" y="157"/>
                        </a:lnTo>
                        <a:lnTo>
                          <a:pt x="112" y="137"/>
                        </a:lnTo>
                        <a:lnTo>
                          <a:pt x="129" y="118"/>
                        </a:lnTo>
                        <a:lnTo>
                          <a:pt x="147" y="100"/>
                        </a:lnTo>
                        <a:lnTo>
                          <a:pt x="164" y="83"/>
                        </a:lnTo>
                        <a:lnTo>
                          <a:pt x="183" y="69"/>
                        </a:lnTo>
                        <a:lnTo>
                          <a:pt x="203" y="55"/>
                        </a:lnTo>
                        <a:lnTo>
                          <a:pt x="213" y="50"/>
                        </a:lnTo>
                        <a:lnTo>
                          <a:pt x="229" y="43"/>
                        </a:lnTo>
                        <a:lnTo>
                          <a:pt x="247" y="37"/>
                        </a:lnTo>
                        <a:lnTo>
                          <a:pt x="268" y="30"/>
                        </a:lnTo>
                        <a:lnTo>
                          <a:pt x="291" y="22"/>
                        </a:lnTo>
                        <a:lnTo>
                          <a:pt x="316" y="15"/>
                        </a:lnTo>
                        <a:lnTo>
                          <a:pt x="341" y="10"/>
                        </a:lnTo>
                        <a:lnTo>
                          <a:pt x="367" y="5"/>
                        </a:lnTo>
                        <a:lnTo>
                          <a:pt x="392" y="2"/>
                        </a:lnTo>
                        <a:lnTo>
                          <a:pt x="415" y="0"/>
                        </a:lnTo>
                        <a:lnTo>
                          <a:pt x="426" y="0"/>
                        </a:lnTo>
                        <a:lnTo>
                          <a:pt x="436" y="1"/>
                        </a:lnTo>
                        <a:lnTo>
                          <a:pt x="446" y="2"/>
                        </a:lnTo>
                        <a:lnTo>
                          <a:pt x="455" y="3"/>
                        </a:lnTo>
                        <a:lnTo>
                          <a:pt x="463" y="5"/>
                        </a:lnTo>
                        <a:lnTo>
                          <a:pt x="471" y="9"/>
                        </a:lnTo>
                        <a:lnTo>
                          <a:pt x="476" y="13"/>
                        </a:lnTo>
                        <a:lnTo>
                          <a:pt x="481" y="18"/>
                        </a:lnTo>
                        <a:lnTo>
                          <a:pt x="484" y="23"/>
                        </a:lnTo>
                        <a:lnTo>
                          <a:pt x="487" y="30"/>
                        </a:lnTo>
                        <a:lnTo>
                          <a:pt x="487" y="38"/>
                        </a:lnTo>
                        <a:lnTo>
                          <a:pt x="487" y="45"/>
                        </a:lnTo>
                        <a:lnTo>
                          <a:pt x="487" y="62"/>
                        </a:lnTo>
                        <a:lnTo>
                          <a:pt x="488" y="107"/>
                        </a:lnTo>
                        <a:lnTo>
                          <a:pt x="491" y="172"/>
                        </a:lnTo>
                        <a:lnTo>
                          <a:pt x="492" y="252"/>
                        </a:lnTo>
                        <a:lnTo>
                          <a:pt x="494" y="341"/>
                        </a:lnTo>
                        <a:lnTo>
                          <a:pt x="495" y="433"/>
                        </a:lnTo>
                        <a:lnTo>
                          <a:pt x="496" y="520"/>
                        </a:lnTo>
                        <a:lnTo>
                          <a:pt x="496" y="596"/>
                        </a:lnTo>
                        <a:lnTo>
                          <a:pt x="497" y="630"/>
                        </a:lnTo>
                        <a:lnTo>
                          <a:pt x="499" y="664"/>
                        </a:lnTo>
                        <a:lnTo>
                          <a:pt x="502" y="700"/>
                        </a:lnTo>
                        <a:lnTo>
                          <a:pt x="502" y="737"/>
                        </a:lnTo>
                        <a:lnTo>
                          <a:pt x="501" y="754"/>
                        </a:lnTo>
                        <a:lnTo>
                          <a:pt x="498" y="771"/>
                        </a:lnTo>
                        <a:lnTo>
                          <a:pt x="495" y="788"/>
                        </a:lnTo>
                        <a:lnTo>
                          <a:pt x="491" y="803"/>
                        </a:lnTo>
                        <a:lnTo>
                          <a:pt x="484" y="819"/>
                        </a:lnTo>
                        <a:lnTo>
                          <a:pt x="476" y="833"/>
                        </a:lnTo>
                        <a:lnTo>
                          <a:pt x="472" y="840"/>
                        </a:lnTo>
                        <a:lnTo>
                          <a:pt x="466" y="847"/>
                        </a:lnTo>
                        <a:lnTo>
                          <a:pt x="461" y="853"/>
                        </a:lnTo>
                        <a:lnTo>
                          <a:pt x="454" y="859"/>
                        </a:lnTo>
                        <a:lnTo>
                          <a:pt x="445" y="867"/>
                        </a:lnTo>
                        <a:lnTo>
                          <a:pt x="434" y="875"/>
                        </a:lnTo>
                        <a:lnTo>
                          <a:pt x="424" y="882"/>
                        </a:lnTo>
                        <a:lnTo>
                          <a:pt x="412" y="888"/>
                        </a:lnTo>
                        <a:lnTo>
                          <a:pt x="388" y="900"/>
                        </a:lnTo>
                        <a:lnTo>
                          <a:pt x="361" y="910"/>
                        </a:lnTo>
                        <a:lnTo>
                          <a:pt x="335" y="919"/>
                        </a:lnTo>
                        <a:lnTo>
                          <a:pt x="306" y="927"/>
                        </a:lnTo>
                        <a:lnTo>
                          <a:pt x="277" y="933"/>
                        </a:lnTo>
                        <a:lnTo>
                          <a:pt x="247" y="939"/>
                        </a:lnTo>
                        <a:lnTo>
                          <a:pt x="186" y="947"/>
                        </a:lnTo>
                        <a:lnTo>
                          <a:pt x="126" y="954"/>
                        </a:lnTo>
                        <a:lnTo>
                          <a:pt x="69" y="960"/>
                        </a:lnTo>
                        <a:lnTo>
                          <a:pt x="16" y="967"/>
                        </a:lnTo>
                        <a:lnTo>
                          <a:pt x="19" y="946"/>
                        </a:lnTo>
                        <a:lnTo>
                          <a:pt x="20" y="918"/>
                        </a:lnTo>
                        <a:lnTo>
                          <a:pt x="20" y="886"/>
                        </a:lnTo>
                        <a:lnTo>
                          <a:pt x="19" y="850"/>
                        </a:lnTo>
                        <a:lnTo>
                          <a:pt x="15" y="768"/>
                        </a:lnTo>
                        <a:lnTo>
                          <a:pt x="10" y="679"/>
                        </a:lnTo>
                        <a:lnTo>
                          <a:pt x="5" y="589"/>
                        </a:lnTo>
                        <a:lnTo>
                          <a:pt x="2" y="505"/>
                        </a:lnTo>
                        <a:lnTo>
                          <a:pt x="1" y="467"/>
                        </a:lnTo>
                        <a:lnTo>
                          <a:pt x="0" y="433"/>
                        </a:lnTo>
                        <a:lnTo>
                          <a:pt x="1" y="404"/>
                        </a:lnTo>
                        <a:lnTo>
                          <a:pt x="2" y="379"/>
                        </a:lnTo>
                        <a:close/>
                      </a:path>
                    </a:pathLst>
                  </a:custGeom>
                  <a:solidFill>
                    <a:srgbClr val="242B53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80" name="Freeform 177"/>
                  <p:cNvSpPr>
                    <a:spLocks/>
                  </p:cNvSpPr>
                  <p:nvPr/>
                </p:nvSpPr>
                <p:spPr bwMode="auto">
                  <a:xfrm>
                    <a:off x="3442" y="4059"/>
                    <a:ext cx="170" cy="105"/>
                  </a:xfrm>
                  <a:custGeom>
                    <a:avLst/>
                    <a:gdLst>
                      <a:gd name="T0" fmla="*/ 0 w 1192"/>
                      <a:gd name="T1" fmla="*/ 0 h 736"/>
                      <a:gd name="T2" fmla="*/ 0 w 1192"/>
                      <a:gd name="T3" fmla="*/ 0 h 736"/>
                      <a:gd name="T4" fmla="*/ 0 w 1192"/>
                      <a:gd name="T5" fmla="*/ 0 h 736"/>
                      <a:gd name="T6" fmla="*/ 0 w 1192"/>
                      <a:gd name="T7" fmla="*/ 0 h 736"/>
                      <a:gd name="T8" fmla="*/ 0 w 1192"/>
                      <a:gd name="T9" fmla="*/ 0 h 736"/>
                      <a:gd name="T10" fmla="*/ 0 w 1192"/>
                      <a:gd name="T11" fmla="*/ 0 h 736"/>
                      <a:gd name="T12" fmla="*/ 0 w 1192"/>
                      <a:gd name="T13" fmla="*/ 0 h 736"/>
                      <a:gd name="T14" fmla="*/ 0 w 1192"/>
                      <a:gd name="T15" fmla="*/ 0 h 736"/>
                      <a:gd name="T16" fmla="*/ 0 w 1192"/>
                      <a:gd name="T17" fmla="*/ 0 h 736"/>
                      <a:gd name="T18" fmla="*/ 0 w 1192"/>
                      <a:gd name="T19" fmla="*/ 0 h 736"/>
                      <a:gd name="T20" fmla="*/ 0 w 1192"/>
                      <a:gd name="T21" fmla="*/ 0 h 736"/>
                      <a:gd name="T22" fmla="*/ 0 w 1192"/>
                      <a:gd name="T23" fmla="*/ 0 h 736"/>
                      <a:gd name="T24" fmla="*/ 0 w 1192"/>
                      <a:gd name="T25" fmla="*/ 0 h 736"/>
                      <a:gd name="T26" fmla="*/ 0 w 1192"/>
                      <a:gd name="T27" fmla="*/ 0 h 736"/>
                      <a:gd name="T28" fmla="*/ 0 w 1192"/>
                      <a:gd name="T29" fmla="*/ 0 h 736"/>
                      <a:gd name="T30" fmla="*/ 0 w 1192"/>
                      <a:gd name="T31" fmla="*/ 0 h 736"/>
                      <a:gd name="T32" fmla="*/ 0 w 1192"/>
                      <a:gd name="T33" fmla="*/ 0 h 736"/>
                      <a:gd name="T34" fmla="*/ 0 w 1192"/>
                      <a:gd name="T35" fmla="*/ 0 h 736"/>
                      <a:gd name="T36" fmla="*/ 0 w 1192"/>
                      <a:gd name="T37" fmla="*/ 0 h 736"/>
                      <a:gd name="T38" fmla="*/ 0 w 1192"/>
                      <a:gd name="T39" fmla="*/ 0 h 736"/>
                      <a:gd name="T40" fmla="*/ 0 w 1192"/>
                      <a:gd name="T41" fmla="*/ 0 h 736"/>
                      <a:gd name="T42" fmla="*/ 0 w 1192"/>
                      <a:gd name="T43" fmla="*/ 0 h 736"/>
                      <a:gd name="T44" fmla="*/ 0 w 1192"/>
                      <a:gd name="T45" fmla="*/ 0 h 736"/>
                      <a:gd name="T46" fmla="*/ 0 w 1192"/>
                      <a:gd name="T47" fmla="*/ 0 h 736"/>
                      <a:gd name="T48" fmla="*/ 0 w 1192"/>
                      <a:gd name="T49" fmla="*/ 0 h 736"/>
                      <a:gd name="T50" fmla="*/ 0 w 1192"/>
                      <a:gd name="T51" fmla="*/ 0 h 736"/>
                      <a:gd name="T52" fmla="*/ 0 w 1192"/>
                      <a:gd name="T53" fmla="*/ 0 h 736"/>
                      <a:gd name="T54" fmla="*/ 0 w 1192"/>
                      <a:gd name="T55" fmla="*/ 0 h 736"/>
                      <a:gd name="T56" fmla="*/ 0 w 1192"/>
                      <a:gd name="T57" fmla="*/ 0 h 736"/>
                      <a:gd name="T58" fmla="*/ 0 w 1192"/>
                      <a:gd name="T59" fmla="*/ 0 h 736"/>
                      <a:gd name="T60" fmla="*/ 0 w 1192"/>
                      <a:gd name="T61" fmla="*/ 0 h 736"/>
                      <a:gd name="T62" fmla="*/ 0 w 1192"/>
                      <a:gd name="T63" fmla="*/ 0 h 736"/>
                      <a:gd name="T64" fmla="*/ 0 w 1192"/>
                      <a:gd name="T65" fmla="*/ 0 h 736"/>
                      <a:gd name="T66" fmla="*/ 0 w 1192"/>
                      <a:gd name="T67" fmla="*/ 0 h 736"/>
                      <a:gd name="T68" fmla="*/ 0 w 1192"/>
                      <a:gd name="T69" fmla="*/ 0 h 736"/>
                      <a:gd name="T70" fmla="*/ 0 w 1192"/>
                      <a:gd name="T71" fmla="*/ 0 h 736"/>
                      <a:gd name="T72" fmla="*/ 0 w 1192"/>
                      <a:gd name="T73" fmla="*/ 0 h 736"/>
                      <a:gd name="T74" fmla="*/ 0 w 1192"/>
                      <a:gd name="T75" fmla="*/ 0 h 736"/>
                      <a:gd name="T76" fmla="*/ 0 w 1192"/>
                      <a:gd name="T77" fmla="*/ 0 h 736"/>
                      <a:gd name="T78" fmla="*/ 0 w 1192"/>
                      <a:gd name="T79" fmla="*/ 0 h 736"/>
                      <a:gd name="T80" fmla="*/ 0 w 1192"/>
                      <a:gd name="T81" fmla="*/ 0 h 736"/>
                      <a:gd name="T82" fmla="*/ 0 w 1192"/>
                      <a:gd name="T83" fmla="*/ 0 h 736"/>
                      <a:gd name="T84" fmla="*/ 0 w 1192"/>
                      <a:gd name="T85" fmla="*/ 0 h 736"/>
                      <a:gd name="T86" fmla="*/ 0 w 1192"/>
                      <a:gd name="T87" fmla="*/ 0 h 736"/>
                      <a:gd name="T88" fmla="*/ 0 w 1192"/>
                      <a:gd name="T89" fmla="*/ 0 h 736"/>
                      <a:gd name="T90" fmla="*/ 0 w 1192"/>
                      <a:gd name="T91" fmla="*/ 0 h 736"/>
                      <a:gd name="T92" fmla="*/ 0 w 1192"/>
                      <a:gd name="T93" fmla="*/ 0 h 736"/>
                      <a:gd name="T94" fmla="*/ 0 w 1192"/>
                      <a:gd name="T95" fmla="*/ 0 h 736"/>
                      <a:gd name="T96" fmla="*/ 0 w 1192"/>
                      <a:gd name="T97" fmla="*/ 0 h 736"/>
                      <a:gd name="T98" fmla="*/ 0 w 1192"/>
                      <a:gd name="T99" fmla="*/ 0 h 736"/>
                      <a:gd name="T100" fmla="*/ 0 w 1192"/>
                      <a:gd name="T101" fmla="*/ 0 h 736"/>
                      <a:gd name="T102" fmla="*/ 0 w 1192"/>
                      <a:gd name="T103" fmla="*/ 0 h 736"/>
                      <a:gd name="T104" fmla="*/ 0 w 1192"/>
                      <a:gd name="T105" fmla="*/ 0 h 736"/>
                      <a:gd name="T106" fmla="*/ 0 w 1192"/>
                      <a:gd name="T107" fmla="*/ 0 h 736"/>
                      <a:gd name="T108" fmla="*/ 0 w 1192"/>
                      <a:gd name="T109" fmla="*/ 0 h 736"/>
                      <a:gd name="T110" fmla="*/ 0 w 1192"/>
                      <a:gd name="T111" fmla="*/ 0 h 736"/>
                      <a:gd name="T112" fmla="*/ 0 w 1192"/>
                      <a:gd name="T113" fmla="*/ 0 h 736"/>
                      <a:gd name="T114" fmla="*/ 0 w 1192"/>
                      <a:gd name="T115" fmla="*/ 0 h 736"/>
                      <a:gd name="T116" fmla="*/ 0 w 1192"/>
                      <a:gd name="T117" fmla="*/ 0 h 736"/>
                      <a:gd name="T118" fmla="*/ 0 w 1192"/>
                      <a:gd name="T119" fmla="*/ 0 h 736"/>
                      <a:gd name="T120" fmla="*/ 0 w 1192"/>
                      <a:gd name="T121" fmla="*/ 0 h 736"/>
                      <a:gd name="T122" fmla="*/ 0 w 1192"/>
                      <a:gd name="T123" fmla="*/ 0 h 736"/>
                      <a:gd name="T124" fmla="*/ 0 w 1192"/>
                      <a:gd name="T125" fmla="*/ 0 h 7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60000 65536"/>
                      <a:gd name="T184" fmla="*/ 0 60000 65536"/>
                      <a:gd name="T185" fmla="*/ 0 60000 65536"/>
                      <a:gd name="T186" fmla="*/ 0 60000 65536"/>
                      <a:gd name="T187" fmla="*/ 0 60000 65536"/>
                      <a:gd name="T188" fmla="*/ 0 60000 65536"/>
                      <a:gd name="T189" fmla="*/ 0 w 1192"/>
                      <a:gd name="T190" fmla="*/ 0 h 736"/>
                      <a:gd name="T191" fmla="*/ 1192 w 1192"/>
                      <a:gd name="T192" fmla="*/ 736 h 736"/>
                    </a:gdLst>
                    <a:ahLst/>
                    <a:cxnLst>
                      <a:cxn ang="T126">
                        <a:pos x="T0" y="T1"/>
                      </a:cxn>
                      <a:cxn ang="T127">
                        <a:pos x="T2" y="T3"/>
                      </a:cxn>
                      <a:cxn ang="T128">
                        <a:pos x="T4" y="T5"/>
                      </a:cxn>
                      <a:cxn ang="T129">
                        <a:pos x="T6" y="T7"/>
                      </a:cxn>
                      <a:cxn ang="T130">
                        <a:pos x="T8" y="T9"/>
                      </a:cxn>
                      <a:cxn ang="T131">
                        <a:pos x="T10" y="T11"/>
                      </a:cxn>
                      <a:cxn ang="T132">
                        <a:pos x="T12" y="T13"/>
                      </a:cxn>
                      <a:cxn ang="T133">
                        <a:pos x="T14" y="T15"/>
                      </a:cxn>
                      <a:cxn ang="T134">
                        <a:pos x="T16" y="T17"/>
                      </a:cxn>
                      <a:cxn ang="T135">
                        <a:pos x="T18" y="T19"/>
                      </a:cxn>
                      <a:cxn ang="T136">
                        <a:pos x="T20" y="T21"/>
                      </a:cxn>
                      <a:cxn ang="T137">
                        <a:pos x="T22" y="T23"/>
                      </a:cxn>
                      <a:cxn ang="T138">
                        <a:pos x="T24" y="T25"/>
                      </a:cxn>
                      <a:cxn ang="T139">
                        <a:pos x="T26" y="T27"/>
                      </a:cxn>
                      <a:cxn ang="T140">
                        <a:pos x="T28" y="T29"/>
                      </a:cxn>
                      <a:cxn ang="T141">
                        <a:pos x="T30" y="T31"/>
                      </a:cxn>
                      <a:cxn ang="T142">
                        <a:pos x="T32" y="T33"/>
                      </a:cxn>
                      <a:cxn ang="T143">
                        <a:pos x="T34" y="T35"/>
                      </a:cxn>
                      <a:cxn ang="T144">
                        <a:pos x="T36" y="T37"/>
                      </a:cxn>
                      <a:cxn ang="T145">
                        <a:pos x="T38" y="T39"/>
                      </a:cxn>
                      <a:cxn ang="T146">
                        <a:pos x="T40" y="T41"/>
                      </a:cxn>
                      <a:cxn ang="T147">
                        <a:pos x="T42" y="T43"/>
                      </a:cxn>
                      <a:cxn ang="T148">
                        <a:pos x="T44" y="T45"/>
                      </a:cxn>
                      <a:cxn ang="T149">
                        <a:pos x="T46" y="T47"/>
                      </a:cxn>
                      <a:cxn ang="T150">
                        <a:pos x="T48" y="T49"/>
                      </a:cxn>
                      <a:cxn ang="T151">
                        <a:pos x="T50" y="T51"/>
                      </a:cxn>
                      <a:cxn ang="T152">
                        <a:pos x="T52" y="T53"/>
                      </a:cxn>
                      <a:cxn ang="T153">
                        <a:pos x="T54" y="T55"/>
                      </a:cxn>
                      <a:cxn ang="T154">
                        <a:pos x="T56" y="T57"/>
                      </a:cxn>
                      <a:cxn ang="T155">
                        <a:pos x="T58" y="T59"/>
                      </a:cxn>
                      <a:cxn ang="T156">
                        <a:pos x="T60" y="T61"/>
                      </a:cxn>
                      <a:cxn ang="T157">
                        <a:pos x="T62" y="T63"/>
                      </a:cxn>
                      <a:cxn ang="T158">
                        <a:pos x="T64" y="T65"/>
                      </a:cxn>
                      <a:cxn ang="T159">
                        <a:pos x="T66" y="T67"/>
                      </a:cxn>
                      <a:cxn ang="T160">
                        <a:pos x="T68" y="T69"/>
                      </a:cxn>
                      <a:cxn ang="T161">
                        <a:pos x="T70" y="T71"/>
                      </a:cxn>
                      <a:cxn ang="T162">
                        <a:pos x="T72" y="T73"/>
                      </a:cxn>
                      <a:cxn ang="T163">
                        <a:pos x="T74" y="T75"/>
                      </a:cxn>
                      <a:cxn ang="T164">
                        <a:pos x="T76" y="T77"/>
                      </a:cxn>
                      <a:cxn ang="T165">
                        <a:pos x="T78" y="T79"/>
                      </a:cxn>
                      <a:cxn ang="T166">
                        <a:pos x="T80" y="T81"/>
                      </a:cxn>
                      <a:cxn ang="T167">
                        <a:pos x="T82" y="T83"/>
                      </a:cxn>
                      <a:cxn ang="T168">
                        <a:pos x="T84" y="T85"/>
                      </a:cxn>
                      <a:cxn ang="T169">
                        <a:pos x="T86" y="T87"/>
                      </a:cxn>
                      <a:cxn ang="T170">
                        <a:pos x="T88" y="T89"/>
                      </a:cxn>
                      <a:cxn ang="T171">
                        <a:pos x="T90" y="T91"/>
                      </a:cxn>
                      <a:cxn ang="T172">
                        <a:pos x="T92" y="T93"/>
                      </a:cxn>
                      <a:cxn ang="T173">
                        <a:pos x="T94" y="T95"/>
                      </a:cxn>
                      <a:cxn ang="T174">
                        <a:pos x="T96" y="T97"/>
                      </a:cxn>
                      <a:cxn ang="T175">
                        <a:pos x="T98" y="T99"/>
                      </a:cxn>
                      <a:cxn ang="T176">
                        <a:pos x="T100" y="T101"/>
                      </a:cxn>
                      <a:cxn ang="T177">
                        <a:pos x="T102" y="T103"/>
                      </a:cxn>
                      <a:cxn ang="T178">
                        <a:pos x="T104" y="T105"/>
                      </a:cxn>
                      <a:cxn ang="T179">
                        <a:pos x="T106" y="T107"/>
                      </a:cxn>
                      <a:cxn ang="T180">
                        <a:pos x="T108" y="T109"/>
                      </a:cxn>
                      <a:cxn ang="T181">
                        <a:pos x="T110" y="T111"/>
                      </a:cxn>
                      <a:cxn ang="T182">
                        <a:pos x="T112" y="T113"/>
                      </a:cxn>
                      <a:cxn ang="T183">
                        <a:pos x="T114" y="T115"/>
                      </a:cxn>
                      <a:cxn ang="T184">
                        <a:pos x="T116" y="T117"/>
                      </a:cxn>
                      <a:cxn ang="T185">
                        <a:pos x="T118" y="T119"/>
                      </a:cxn>
                      <a:cxn ang="T186">
                        <a:pos x="T120" y="T121"/>
                      </a:cxn>
                      <a:cxn ang="T187">
                        <a:pos x="T122" y="T123"/>
                      </a:cxn>
                      <a:cxn ang="T188">
                        <a:pos x="T124" y="T125"/>
                      </a:cxn>
                    </a:cxnLst>
                    <a:rect l="T189" t="T190" r="T191" b="T192"/>
                    <a:pathLst>
                      <a:path w="1192" h="736">
                        <a:moveTo>
                          <a:pt x="0" y="368"/>
                        </a:moveTo>
                        <a:lnTo>
                          <a:pt x="0" y="387"/>
                        </a:lnTo>
                        <a:lnTo>
                          <a:pt x="2" y="405"/>
                        </a:lnTo>
                        <a:lnTo>
                          <a:pt x="3" y="424"/>
                        </a:lnTo>
                        <a:lnTo>
                          <a:pt x="5" y="442"/>
                        </a:lnTo>
                        <a:lnTo>
                          <a:pt x="8" y="460"/>
                        </a:lnTo>
                        <a:lnTo>
                          <a:pt x="12" y="478"/>
                        </a:lnTo>
                        <a:lnTo>
                          <a:pt x="16" y="495"/>
                        </a:lnTo>
                        <a:lnTo>
                          <a:pt x="22" y="511"/>
                        </a:lnTo>
                        <a:lnTo>
                          <a:pt x="28" y="528"/>
                        </a:lnTo>
                        <a:lnTo>
                          <a:pt x="36" y="543"/>
                        </a:lnTo>
                        <a:lnTo>
                          <a:pt x="45" y="559"/>
                        </a:lnTo>
                        <a:lnTo>
                          <a:pt x="55" y="574"/>
                        </a:lnTo>
                        <a:lnTo>
                          <a:pt x="66" y="588"/>
                        </a:lnTo>
                        <a:lnTo>
                          <a:pt x="78" y="602"/>
                        </a:lnTo>
                        <a:lnTo>
                          <a:pt x="92" y="616"/>
                        </a:lnTo>
                        <a:lnTo>
                          <a:pt x="107" y="628"/>
                        </a:lnTo>
                        <a:lnTo>
                          <a:pt x="124" y="640"/>
                        </a:lnTo>
                        <a:lnTo>
                          <a:pt x="142" y="653"/>
                        </a:lnTo>
                        <a:lnTo>
                          <a:pt x="162" y="664"/>
                        </a:lnTo>
                        <a:lnTo>
                          <a:pt x="184" y="674"/>
                        </a:lnTo>
                        <a:lnTo>
                          <a:pt x="206" y="683"/>
                        </a:lnTo>
                        <a:lnTo>
                          <a:pt x="232" y="691"/>
                        </a:lnTo>
                        <a:lnTo>
                          <a:pt x="259" y="700"/>
                        </a:lnTo>
                        <a:lnTo>
                          <a:pt x="288" y="707"/>
                        </a:lnTo>
                        <a:lnTo>
                          <a:pt x="319" y="714"/>
                        </a:lnTo>
                        <a:lnTo>
                          <a:pt x="352" y="719"/>
                        </a:lnTo>
                        <a:lnTo>
                          <a:pt x="387" y="725"/>
                        </a:lnTo>
                        <a:lnTo>
                          <a:pt x="425" y="728"/>
                        </a:lnTo>
                        <a:lnTo>
                          <a:pt x="463" y="732"/>
                        </a:lnTo>
                        <a:lnTo>
                          <a:pt x="506" y="734"/>
                        </a:lnTo>
                        <a:lnTo>
                          <a:pt x="550" y="736"/>
                        </a:lnTo>
                        <a:lnTo>
                          <a:pt x="597" y="736"/>
                        </a:lnTo>
                        <a:lnTo>
                          <a:pt x="648" y="736"/>
                        </a:lnTo>
                        <a:lnTo>
                          <a:pt x="697" y="734"/>
                        </a:lnTo>
                        <a:lnTo>
                          <a:pt x="743" y="732"/>
                        </a:lnTo>
                        <a:lnTo>
                          <a:pt x="785" y="728"/>
                        </a:lnTo>
                        <a:lnTo>
                          <a:pt x="825" y="725"/>
                        </a:lnTo>
                        <a:lnTo>
                          <a:pt x="863" y="719"/>
                        </a:lnTo>
                        <a:lnTo>
                          <a:pt x="898" y="714"/>
                        </a:lnTo>
                        <a:lnTo>
                          <a:pt x="930" y="707"/>
                        </a:lnTo>
                        <a:lnTo>
                          <a:pt x="959" y="700"/>
                        </a:lnTo>
                        <a:lnTo>
                          <a:pt x="987" y="691"/>
                        </a:lnTo>
                        <a:lnTo>
                          <a:pt x="1012" y="683"/>
                        </a:lnTo>
                        <a:lnTo>
                          <a:pt x="1034" y="674"/>
                        </a:lnTo>
                        <a:lnTo>
                          <a:pt x="1056" y="664"/>
                        </a:lnTo>
                        <a:lnTo>
                          <a:pt x="1075" y="653"/>
                        </a:lnTo>
                        <a:lnTo>
                          <a:pt x="1092" y="640"/>
                        </a:lnTo>
                        <a:lnTo>
                          <a:pt x="1108" y="628"/>
                        </a:lnTo>
                        <a:lnTo>
                          <a:pt x="1121" y="616"/>
                        </a:lnTo>
                        <a:lnTo>
                          <a:pt x="1133" y="602"/>
                        </a:lnTo>
                        <a:lnTo>
                          <a:pt x="1145" y="588"/>
                        </a:lnTo>
                        <a:lnTo>
                          <a:pt x="1154" y="574"/>
                        </a:lnTo>
                        <a:lnTo>
                          <a:pt x="1162" y="559"/>
                        </a:lnTo>
                        <a:lnTo>
                          <a:pt x="1169" y="543"/>
                        </a:lnTo>
                        <a:lnTo>
                          <a:pt x="1175" y="528"/>
                        </a:lnTo>
                        <a:lnTo>
                          <a:pt x="1179" y="511"/>
                        </a:lnTo>
                        <a:lnTo>
                          <a:pt x="1184" y="495"/>
                        </a:lnTo>
                        <a:lnTo>
                          <a:pt x="1187" y="478"/>
                        </a:lnTo>
                        <a:lnTo>
                          <a:pt x="1189" y="460"/>
                        </a:lnTo>
                        <a:lnTo>
                          <a:pt x="1190" y="442"/>
                        </a:lnTo>
                        <a:lnTo>
                          <a:pt x="1192" y="405"/>
                        </a:lnTo>
                        <a:lnTo>
                          <a:pt x="1192" y="368"/>
                        </a:lnTo>
                        <a:lnTo>
                          <a:pt x="1192" y="349"/>
                        </a:lnTo>
                        <a:lnTo>
                          <a:pt x="1190" y="331"/>
                        </a:lnTo>
                        <a:lnTo>
                          <a:pt x="1186" y="312"/>
                        </a:lnTo>
                        <a:lnTo>
                          <a:pt x="1180" y="294"/>
                        </a:lnTo>
                        <a:lnTo>
                          <a:pt x="1174" y="276"/>
                        </a:lnTo>
                        <a:lnTo>
                          <a:pt x="1166" y="259"/>
                        </a:lnTo>
                        <a:lnTo>
                          <a:pt x="1157" y="242"/>
                        </a:lnTo>
                        <a:lnTo>
                          <a:pt x="1146" y="225"/>
                        </a:lnTo>
                        <a:lnTo>
                          <a:pt x="1133" y="209"/>
                        </a:lnTo>
                        <a:lnTo>
                          <a:pt x="1121" y="193"/>
                        </a:lnTo>
                        <a:lnTo>
                          <a:pt x="1107" y="177"/>
                        </a:lnTo>
                        <a:lnTo>
                          <a:pt x="1091" y="163"/>
                        </a:lnTo>
                        <a:lnTo>
                          <a:pt x="1075" y="148"/>
                        </a:lnTo>
                        <a:lnTo>
                          <a:pt x="1057" y="134"/>
                        </a:lnTo>
                        <a:lnTo>
                          <a:pt x="1038" y="121"/>
                        </a:lnTo>
                        <a:lnTo>
                          <a:pt x="1018" y="108"/>
                        </a:lnTo>
                        <a:lnTo>
                          <a:pt x="998" y="96"/>
                        </a:lnTo>
                        <a:lnTo>
                          <a:pt x="975" y="84"/>
                        </a:lnTo>
                        <a:lnTo>
                          <a:pt x="953" y="73"/>
                        </a:lnTo>
                        <a:lnTo>
                          <a:pt x="930" y="63"/>
                        </a:lnTo>
                        <a:lnTo>
                          <a:pt x="905" y="54"/>
                        </a:lnTo>
                        <a:lnTo>
                          <a:pt x="881" y="45"/>
                        </a:lnTo>
                        <a:lnTo>
                          <a:pt x="855" y="36"/>
                        </a:lnTo>
                        <a:lnTo>
                          <a:pt x="829" y="29"/>
                        </a:lnTo>
                        <a:lnTo>
                          <a:pt x="802" y="23"/>
                        </a:lnTo>
                        <a:lnTo>
                          <a:pt x="774" y="17"/>
                        </a:lnTo>
                        <a:lnTo>
                          <a:pt x="746" y="12"/>
                        </a:lnTo>
                        <a:lnTo>
                          <a:pt x="717" y="7"/>
                        </a:lnTo>
                        <a:lnTo>
                          <a:pt x="687" y="5"/>
                        </a:lnTo>
                        <a:lnTo>
                          <a:pt x="658" y="2"/>
                        </a:lnTo>
                        <a:lnTo>
                          <a:pt x="627" y="0"/>
                        </a:lnTo>
                        <a:lnTo>
                          <a:pt x="597" y="0"/>
                        </a:lnTo>
                        <a:lnTo>
                          <a:pt x="566" y="0"/>
                        </a:lnTo>
                        <a:lnTo>
                          <a:pt x="536" y="2"/>
                        </a:lnTo>
                        <a:lnTo>
                          <a:pt x="506" y="5"/>
                        </a:lnTo>
                        <a:lnTo>
                          <a:pt x="477" y="7"/>
                        </a:lnTo>
                        <a:lnTo>
                          <a:pt x="448" y="12"/>
                        </a:lnTo>
                        <a:lnTo>
                          <a:pt x="419" y="17"/>
                        </a:lnTo>
                        <a:lnTo>
                          <a:pt x="392" y="23"/>
                        </a:lnTo>
                        <a:lnTo>
                          <a:pt x="364" y="29"/>
                        </a:lnTo>
                        <a:lnTo>
                          <a:pt x="339" y="36"/>
                        </a:lnTo>
                        <a:lnTo>
                          <a:pt x="312" y="45"/>
                        </a:lnTo>
                        <a:lnTo>
                          <a:pt x="288" y="54"/>
                        </a:lnTo>
                        <a:lnTo>
                          <a:pt x="263" y="63"/>
                        </a:lnTo>
                        <a:lnTo>
                          <a:pt x="240" y="73"/>
                        </a:lnTo>
                        <a:lnTo>
                          <a:pt x="217" y="84"/>
                        </a:lnTo>
                        <a:lnTo>
                          <a:pt x="196" y="96"/>
                        </a:lnTo>
                        <a:lnTo>
                          <a:pt x="175" y="108"/>
                        </a:lnTo>
                        <a:lnTo>
                          <a:pt x="155" y="121"/>
                        </a:lnTo>
                        <a:lnTo>
                          <a:pt x="136" y="134"/>
                        </a:lnTo>
                        <a:lnTo>
                          <a:pt x="120" y="148"/>
                        </a:lnTo>
                        <a:lnTo>
                          <a:pt x="103" y="163"/>
                        </a:lnTo>
                        <a:lnTo>
                          <a:pt x="87" y="177"/>
                        </a:lnTo>
                        <a:lnTo>
                          <a:pt x="73" y="193"/>
                        </a:lnTo>
                        <a:lnTo>
                          <a:pt x="59" y="209"/>
                        </a:lnTo>
                        <a:lnTo>
                          <a:pt x="47" y="225"/>
                        </a:lnTo>
                        <a:lnTo>
                          <a:pt x="37" y="242"/>
                        </a:lnTo>
                        <a:lnTo>
                          <a:pt x="27" y="259"/>
                        </a:lnTo>
                        <a:lnTo>
                          <a:pt x="19" y="276"/>
                        </a:lnTo>
                        <a:lnTo>
                          <a:pt x="13" y="294"/>
                        </a:lnTo>
                        <a:lnTo>
                          <a:pt x="7" y="312"/>
                        </a:lnTo>
                        <a:lnTo>
                          <a:pt x="4" y="331"/>
                        </a:lnTo>
                        <a:lnTo>
                          <a:pt x="2" y="349"/>
                        </a:lnTo>
                        <a:lnTo>
                          <a:pt x="0" y="368"/>
                        </a:lnTo>
                        <a:close/>
                      </a:path>
                    </a:pathLst>
                  </a:custGeom>
                  <a:solidFill>
                    <a:srgbClr val="273669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81" name="Freeform 178"/>
                  <p:cNvSpPr>
                    <a:spLocks/>
                  </p:cNvSpPr>
                  <p:nvPr/>
                </p:nvSpPr>
                <p:spPr bwMode="auto">
                  <a:xfrm>
                    <a:off x="3487" y="4059"/>
                    <a:ext cx="84" cy="29"/>
                  </a:xfrm>
                  <a:custGeom>
                    <a:avLst/>
                    <a:gdLst>
                      <a:gd name="T0" fmla="*/ 0 w 593"/>
                      <a:gd name="T1" fmla="*/ 0 h 194"/>
                      <a:gd name="T2" fmla="*/ 0 w 593"/>
                      <a:gd name="T3" fmla="*/ 0 h 194"/>
                      <a:gd name="T4" fmla="*/ 0 w 593"/>
                      <a:gd name="T5" fmla="*/ 0 h 194"/>
                      <a:gd name="T6" fmla="*/ 0 w 593"/>
                      <a:gd name="T7" fmla="*/ 0 h 194"/>
                      <a:gd name="T8" fmla="*/ 0 w 593"/>
                      <a:gd name="T9" fmla="*/ 0 h 194"/>
                      <a:gd name="T10" fmla="*/ 0 w 593"/>
                      <a:gd name="T11" fmla="*/ 0 h 194"/>
                      <a:gd name="T12" fmla="*/ 0 w 593"/>
                      <a:gd name="T13" fmla="*/ 0 h 194"/>
                      <a:gd name="T14" fmla="*/ 0 w 593"/>
                      <a:gd name="T15" fmla="*/ 0 h 194"/>
                      <a:gd name="T16" fmla="*/ 0 w 593"/>
                      <a:gd name="T17" fmla="*/ 0 h 194"/>
                      <a:gd name="T18" fmla="*/ 0 w 593"/>
                      <a:gd name="T19" fmla="*/ 0 h 194"/>
                      <a:gd name="T20" fmla="*/ 0 w 593"/>
                      <a:gd name="T21" fmla="*/ 0 h 194"/>
                      <a:gd name="T22" fmla="*/ 0 w 593"/>
                      <a:gd name="T23" fmla="*/ 0 h 194"/>
                      <a:gd name="T24" fmla="*/ 0 w 593"/>
                      <a:gd name="T25" fmla="*/ 0 h 194"/>
                      <a:gd name="T26" fmla="*/ 0 w 593"/>
                      <a:gd name="T27" fmla="*/ 0 h 194"/>
                      <a:gd name="T28" fmla="*/ 0 w 593"/>
                      <a:gd name="T29" fmla="*/ 0 h 194"/>
                      <a:gd name="T30" fmla="*/ 0 w 593"/>
                      <a:gd name="T31" fmla="*/ 0 h 194"/>
                      <a:gd name="T32" fmla="*/ 0 w 593"/>
                      <a:gd name="T33" fmla="*/ 0 h 194"/>
                      <a:gd name="T34" fmla="*/ 0 w 593"/>
                      <a:gd name="T35" fmla="*/ 0 h 194"/>
                      <a:gd name="T36" fmla="*/ 0 w 593"/>
                      <a:gd name="T37" fmla="*/ 0 h 194"/>
                      <a:gd name="T38" fmla="*/ 0 w 593"/>
                      <a:gd name="T39" fmla="*/ 0 h 194"/>
                      <a:gd name="T40" fmla="*/ 0 w 593"/>
                      <a:gd name="T41" fmla="*/ 0 h 194"/>
                      <a:gd name="T42" fmla="*/ 0 w 593"/>
                      <a:gd name="T43" fmla="*/ 0 h 194"/>
                      <a:gd name="T44" fmla="*/ 0 w 593"/>
                      <a:gd name="T45" fmla="*/ 0 h 194"/>
                      <a:gd name="T46" fmla="*/ 0 w 593"/>
                      <a:gd name="T47" fmla="*/ 0 h 194"/>
                      <a:gd name="T48" fmla="*/ 0 w 593"/>
                      <a:gd name="T49" fmla="*/ 0 h 194"/>
                      <a:gd name="T50" fmla="*/ 0 w 593"/>
                      <a:gd name="T51" fmla="*/ 0 h 194"/>
                      <a:gd name="T52" fmla="*/ 0 w 593"/>
                      <a:gd name="T53" fmla="*/ 0 h 194"/>
                      <a:gd name="T54" fmla="*/ 0 w 593"/>
                      <a:gd name="T55" fmla="*/ 0 h 194"/>
                      <a:gd name="T56" fmla="*/ 0 w 593"/>
                      <a:gd name="T57" fmla="*/ 0 h 194"/>
                      <a:gd name="T58" fmla="*/ 0 w 593"/>
                      <a:gd name="T59" fmla="*/ 0 h 194"/>
                      <a:gd name="T60" fmla="*/ 0 w 593"/>
                      <a:gd name="T61" fmla="*/ 0 h 194"/>
                      <a:gd name="T62" fmla="*/ 0 w 593"/>
                      <a:gd name="T63" fmla="*/ 0 h 194"/>
                      <a:gd name="T64" fmla="*/ 0 w 593"/>
                      <a:gd name="T65" fmla="*/ 0 h 194"/>
                      <a:gd name="T66" fmla="*/ 0 w 593"/>
                      <a:gd name="T67" fmla="*/ 0 h 194"/>
                      <a:gd name="T68" fmla="*/ 0 w 593"/>
                      <a:gd name="T69" fmla="*/ 0 h 194"/>
                      <a:gd name="T70" fmla="*/ 0 w 593"/>
                      <a:gd name="T71" fmla="*/ 0 h 194"/>
                      <a:gd name="T72" fmla="*/ 0 w 593"/>
                      <a:gd name="T73" fmla="*/ 0 h 194"/>
                      <a:gd name="T74" fmla="*/ 0 w 593"/>
                      <a:gd name="T75" fmla="*/ 0 h 194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w 593"/>
                      <a:gd name="T115" fmla="*/ 0 h 194"/>
                      <a:gd name="T116" fmla="*/ 593 w 593"/>
                      <a:gd name="T117" fmla="*/ 194 h 194"/>
                    </a:gdLst>
                    <a:ahLst/>
                    <a:cxnLst>
                      <a:cxn ang="T76">
                        <a:pos x="T0" y="T1"/>
                      </a:cxn>
                      <a:cxn ang="T77">
                        <a:pos x="T2" y="T3"/>
                      </a:cxn>
                      <a:cxn ang="T78">
                        <a:pos x="T4" y="T5"/>
                      </a:cxn>
                      <a:cxn ang="T79">
                        <a:pos x="T6" y="T7"/>
                      </a:cxn>
                      <a:cxn ang="T80">
                        <a:pos x="T8" y="T9"/>
                      </a:cxn>
                      <a:cxn ang="T81">
                        <a:pos x="T10" y="T11"/>
                      </a:cxn>
                      <a:cxn ang="T82">
                        <a:pos x="T12" y="T13"/>
                      </a:cxn>
                      <a:cxn ang="T83">
                        <a:pos x="T14" y="T15"/>
                      </a:cxn>
                      <a:cxn ang="T84">
                        <a:pos x="T16" y="T17"/>
                      </a:cxn>
                      <a:cxn ang="T85">
                        <a:pos x="T18" y="T19"/>
                      </a:cxn>
                      <a:cxn ang="T86">
                        <a:pos x="T20" y="T21"/>
                      </a:cxn>
                      <a:cxn ang="T87">
                        <a:pos x="T22" y="T23"/>
                      </a:cxn>
                      <a:cxn ang="T88">
                        <a:pos x="T24" y="T25"/>
                      </a:cxn>
                      <a:cxn ang="T89">
                        <a:pos x="T26" y="T27"/>
                      </a:cxn>
                      <a:cxn ang="T90">
                        <a:pos x="T28" y="T29"/>
                      </a:cxn>
                      <a:cxn ang="T91">
                        <a:pos x="T30" y="T31"/>
                      </a:cxn>
                      <a:cxn ang="T92">
                        <a:pos x="T32" y="T33"/>
                      </a:cxn>
                      <a:cxn ang="T93">
                        <a:pos x="T34" y="T35"/>
                      </a:cxn>
                      <a:cxn ang="T94">
                        <a:pos x="T36" y="T37"/>
                      </a:cxn>
                      <a:cxn ang="T95">
                        <a:pos x="T38" y="T39"/>
                      </a:cxn>
                      <a:cxn ang="T96">
                        <a:pos x="T40" y="T41"/>
                      </a:cxn>
                      <a:cxn ang="T97">
                        <a:pos x="T42" y="T43"/>
                      </a:cxn>
                      <a:cxn ang="T98">
                        <a:pos x="T44" y="T45"/>
                      </a:cxn>
                      <a:cxn ang="T99">
                        <a:pos x="T46" y="T47"/>
                      </a:cxn>
                      <a:cxn ang="T100">
                        <a:pos x="T48" y="T49"/>
                      </a:cxn>
                      <a:cxn ang="T101">
                        <a:pos x="T50" y="T51"/>
                      </a:cxn>
                      <a:cxn ang="T102">
                        <a:pos x="T52" y="T53"/>
                      </a:cxn>
                      <a:cxn ang="T103">
                        <a:pos x="T54" y="T55"/>
                      </a:cxn>
                      <a:cxn ang="T104">
                        <a:pos x="T56" y="T57"/>
                      </a:cxn>
                      <a:cxn ang="T105">
                        <a:pos x="T58" y="T59"/>
                      </a:cxn>
                      <a:cxn ang="T106">
                        <a:pos x="T60" y="T61"/>
                      </a:cxn>
                      <a:cxn ang="T107">
                        <a:pos x="T62" y="T63"/>
                      </a:cxn>
                      <a:cxn ang="T108">
                        <a:pos x="T64" y="T65"/>
                      </a:cxn>
                      <a:cxn ang="T109">
                        <a:pos x="T66" y="T67"/>
                      </a:cxn>
                      <a:cxn ang="T110">
                        <a:pos x="T68" y="T69"/>
                      </a:cxn>
                      <a:cxn ang="T111">
                        <a:pos x="T70" y="T71"/>
                      </a:cxn>
                      <a:cxn ang="T112">
                        <a:pos x="T72" y="T73"/>
                      </a:cxn>
                      <a:cxn ang="T113">
                        <a:pos x="T74" y="T75"/>
                      </a:cxn>
                    </a:cxnLst>
                    <a:rect l="T114" t="T115" r="T116" b="T117"/>
                    <a:pathLst>
                      <a:path w="593" h="194">
                        <a:moveTo>
                          <a:pt x="0" y="98"/>
                        </a:moveTo>
                        <a:lnTo>
                          <a:pt x="0" y="102"/>
                        </a:lnTo>
                        <a:lnTo>
                          <a:pt x="1" y="108"/>
                        </a:lnTo>
                        <a:lnTo>
                          <a:pt x="4" y="112"/>
                        </a:lnTo>
                        <a:lnTo>
                          <a:pt x="6" y="117"/>
                        </a:lnTo>
                        <a:lnTo>
                          <a:pt x="9" y="122"/>
                        </a:lnTo>
                        <a:lnTo>
                          <a:pt x="14" y="127"/>
                        </a:lnTo>
                        <a:lnTo>
                          <a:pt x="18" y="131"/>
                        </a:lnTo>
                        <a:lnTo>
                          <a:pt x="24" y="136"/>
                        </a:lnTo>
                        <a:lnTo>
                          <a:pt x="36" y="143"/>
                        </a:lnTo>
                        <a:lnTo>
                          <a:pt x="50" y="152"/>
                        </a:lnTo>
                        <a:lnTo>
                          <a:pt x="68" y="159"/>
                        </a:lnTo>
                        <a:lnTo>
                          <a:pt x="87" y="167"/>
                        </a:lnTo>
                        <a:lnTo>
                          <a:pt x="108" y="172"/>
                        </a:lnTo>
                        <a:lnTo>
                          <a:pt x="130" y="178"/>
                        </a:lnTo>
                        <a:lnTo>
                          <a:pt x="155" y="183"/>
                        </a:lnTo>
                        <a:lnTo>
                          <a:pt x="182" y="187"/>
                        </a:lnTo>
                        <a:lnTo>
                          <a:pt x="208" y="190"/>
                        </a:lnTo>
                        <a:lnTo>
                          <a:pt x="237" y="192"/>
                        </a:lnTo>
                        <a:lnTo>
                          <a:pt x="266" y="194"/>
                        </a:lnTo>
                        <a:lnTo>
                          <a:pt x="296" y="194"/>
                        </a:lnTo>
                        <a:lnTo>
                          <a:pt x="327" y="194"/>
                        </a:lnTo>
                        <a:lnTo>
                          <a:pt x="356" y="192"/>
                        </a:lnTo>
                        <a:lnTo>
                          <a:pt x="385" y="190"/>
                        </a:lnTo>
                        <a:lnTo>
                          <a:pt x="412" y="187"/>
                        </a:lnTo>
                        <a:lnTo>
                          <a:pt x="438" y="183"/>
                        </a:lnTo>
                        <a:lnTo>
                          <a:pt x="462" y="178"/>
                        </a:lnTo>
                        <a:lnTo>
                          <a:pt x="485" y="172"/>
                        </a:lnTo>
                        <a:lnTo>
                          <a:pt x="507" y="167"/>
                        </a:lnTo>
                        <a:lnTo>
                          <a:pt x="526" y="159"/>
                        </a:lnTo>
                        <a:lnTo>
                          <a:pt x="542" y="152"/>
                        </a:lnTo>
                        <a:lnTo>
                          <a:pt x="558" y="143"/>
                        </a:lnTo>
                        <a:lnTo>
                          <a:pt x="570" y="136"/>
                        </a:lnTo>
                        <a:lnTo>
                          <a:pt x="576" y="131"/>
                        </a:lnTo>
                        <a:lnTo>
                          <a:pt x="580" y="127"/>
                        </a:lnTo>
                        <a:lnTo>
                          <a:pt x="585" y="122"/>
                        </a:lnTo>
                        <a:lnTo>
                          <a:pt x="588" y="117"/>
                        </a:lnTo>
                        <a:lnTo>
                          <a:pt x="590" y="112"/>
                        </a:lnTo>
                        <a:lnTo>
                          <a:pt x="592" y="108"/>
                        </a:lnTo>
                        <a:lnTo>
                          <a:pt x="593" y="102"/>
                        </a:lnTo>
                        <a:lnTo>
                          <a:pt x="593" y="98"/>
                        </a:lnTo>
                        <a:lnTo>
                          <a:pt x="593" y="92"/>
                        </a:lnTo>
                        <a:lnTo>
                          <a:pt x="592" y="88"/>
                        </a:lnTo>
                        <a:lnTo>
                          <a:pt x="590" y="82"/>
                        </a:lnTo>
                        <a:lnTo>
                          <a:pt x="588" y="78"/>
                        </a:lnTo>
                        <a:lnTo>
                          <a:pt x="580" y="69"/>
                        </a:lnTo>
                        <a:lnTo>
                          <a:pt x="570" y="60"/>
                        </a:lnTo>
                        <a:lnTo>
                          <a:pt x="558" y="51"/>
                        </a:lnTo>
                        <a:lnTo>
                          <a:pt x="542" y="43"/>
                        </a:lnTo>
                        <a:lnTo>
                          <a:pt x="526" y="35"/>
                        </a:lnTo>
                        <a:lnTo>
                          <a:pt x="507" y="29"/>
                        </a:lnTo>
                        <a:lnTo>
                          <a:pt x="485" y="22"/>
                        </a:lnTo>
                        <a:lnTo>
                          <a:pt x="462" y="16"/>
                        </a:lnTo>
                        <a:lnTo>
                          <a:pt x="438" y="12"/>
                        </a:lnTo>
                        <a:lnTo>
                          <a:pt x="412" y="8"/>
                        </a:lnTo>
                        <a:lnTo>
                          <a:pt x="385" y="4"/>
                        </a:lnTo>
                        <a:lnTo>
                          <a:pt x="356" y="2"/>
                        </a:lnTo>
                        <a:lnTo>
                          <a:pt x="327" y="1"/>
                        </a:lnTo>
                        <a:lnTo>
                          <a:pt x="296" y="0"/>
                        </a:lnTo>
                        <a:lnTo>
                          <a:pt x="266" y="1"/>
                        </a:lnTo>
                        <a:lnTo>
                          <a:pt x="237" y="2"/>
                        </a:lnTo>
                        <a:lnTo>
                          <a:pt x="208" y="4"/>
                        </a:lnTo>
                        <a:lnTo>
                          <a:pt x="182" y="8"/>
                        </a:lnTo>
                        <a:lnTo>
                          <a:pt x="155" y="12"/>
                        </a:lnTo>
                        <a:lnTo>
                          <a:pt x="130" y="16"/>
                        </a:lnTo>
                        <a:lnTo>
                          <a:pt x="108" y="22"/>
                        </a:lnTo>
                        <a:lnTo>
                          <a:pt x="87" y="29"/>
                        </a:lnTo>
                        <a:lnTo>
                          <a:pt x="68" y="35"/>
                        </a:lnTo>
                        <a:lnTo>
                          <a:pt x="50" y="43"/>
                        </a:lnTo>
                        <a:lnTo>
                          <a:pt x="36" y="51"/>
                        </a:lnTo>
                        <a:lnTo>
                          <a:pt x="24" y="60"/>
                        </a:lnTo>
                        <a:lnTo>
                          <a:pt x="14" y="69"/>
                        </a:lnTo>
                        <a:lnTo>
                          <a:pt x="6" y="78"/>
                        </a:lnTo>
                        <a:lnTo>
                          <a:pt x="4" y="82"/>
                        </a:lnTo>
                        <a:lnTo>
                          <a:pt x="1" y="88"/>
                        </a:lnTo>
                        <a:lnTo>
                          <a:pt x="0" y="92"/>
                        </a:lnTo>
                        <a:lnTo>
                          <a:pt x="0" y="98"/>
                        </a:lnTo>
                        <a:close/>
                      </a:path>
                    </a:pathLst>
                  </a:custGeom>
                  <a:solidFill>
                    <a:srgbClr val="2E5592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82" name="Freeform 179"/>
                  <p:cNvSpPr>
                    <a:spLocks/>
                  </p:cNvSpPr>
                  <p:nvPr/>
                </p:nvSpPr>
                <p:spPr bwMode="auto">
                  <a:xfrm>
                    <a:off x="3442" y="4078"/>
                    <a:ext cx="169" cy="86"/>
                  </a:xfrm>
                  <a:custGeom>
                    <a:avLst/>
                    <a:gdLst>
                      <a:gd name="T0" fmla="*/ 0 w 1185"/>
                      <a:gd name="T1" fmla="*/ 0 h 605"/>
                      <a:gd name="T2" fmla="*/ 0 w 1185"/>
                      <a:gd name="T3" fmla="*/ 0 h 605"/>
                      <a:gd name="T4" fmla="*/ 0 w 1185"/>
                      <a:gd name="T5" fmla="*/ 0 h 605"/>
                      <a:gd name="T6" fmla="*/ 0 w 1185"/>
                      <a:gd name="T7" fmla="*/ 0 h 605"/>
                      <a:gd name="T8" fmla="*/ 0 w 1185"/>
                      <a:gd name="T9" fmla="*/ 0 h 605"/>
                      <a:gd name="T10" fmla="*/ 0 w 1185"/>
                      <a:gd name="T11" fmla="*/ 0 h 605"/>
                      <a:gd name="T12" fmla="*/ 0 w 1185"/>
                      <a:gd name="T13" fmla="*/ 0 h 605"/>
                      <a:gd name="T14" fmla="*/ 0 w 1185"/>
                      <a:gd name="T15" fmla="*/ 0 h 605"/>
                      <a:gd name="T16" fmla="*/ 0 w 1185"/>
                      <a:gd name="T17" fmla="*/ 0 h 605"/>
                      <a:gd name="T18" fmla="*/ 0 w 1185"/>
                      <a:gd name="T19" fmla="*/ 0 h 605"/>
                      <a:gd name="T20" fmla="*/ 0 w 1185"/>
                      <a:gd name="T21" fmla="*/ 0 h 605"/>
                      <a:gd name="T22" fmla="*/ 0 w 1185"/>
                      <a:gd name="T23" fmla="*/ 0 h 605"/>
                      <a:gd name="T24" fmla="*/ 0 w 1185"/>
                      <a:gd name="T25" fmla="*/ 0 h 605"/>
                      <a:gd name="T26" fmla="*/ 0 w 1185"/>
                      <a:gd name="T27" fmla="*/ 0 h 605"/>
                      <a:gd name="T28" fmla="*/ 0 w 1185"/>
                      <a:gd name="T29" fmla="*/ 0 h 605"/>
                      <a:gd name="T30" fmla="*/ 0 w 1185"/>
                      <a:gd name="T31" fmla="*/ 0 h 605"/>
                      <a:gd name="T32" fmla="*/ 0 w 1185"/>
                      <a:gd name="T33" fmla="*/ 0 h 605"/>
                      <a:gd name="T34" fmla="*/ 0 w 1185"/>
                      <a:gd name="T35" fmla="*/ 0 h 605"/>
                      <a:gd name="T36" fmla="*/ 0 w 1185"/>
                      <a:gd name="T37" fmla="*/ 0 h 605"/>
                      <a:gd name="T38" fmla="*/ 0 w 1185"/>
                      <a:gd name="T39" fmla="*/ 0 h 605"/>
                      <a:gd name="T40" fmla="*/ 0 w 1185"/>
                      <a:gd name="T41" fmla="*/ 0 h 605"/>
                      <a:gd name="T42" fmla="*/ 0 w 1185"/>
                      <a:gd name="T43" fmla="*/ 0 h 605"/>
                      <a:gd name="T44" fmla="*/ 0 w 1185"/>
                      <a:gd name="T45" fmla="*/ 0 h 605"/>
                      <a:gd name="T46" fmla="*/ 0 w 1185"/>
                      <a:gd name="T47" fmla="*/ 0 h 605"/>
                      <a:gd name="T48" fmla="*/ 0 w 1185"/>
                      <a:gd name="T49" fmla="*/ 0 h 605"/>
                      <a:gd name="T50" fmla="*/ 0 w 1185"/>
                      <a:gd name="T51" fmla="*/ 0 h 605"/>
                      <a:gd name="T52" fmla="*/ 0 w 1185"/>
                      <a:gd name="T53" fmla="*/ 0 h 605"/>
                      <a:gd name="T54" fmla="*/ 0 w 1185"/>
                      <a:gd name="T55" fmla="*/ 0 h 605"/>
                      <a:gd name="T56" fmla="*/ 0 w 1185"/>
                      <a:gd name="T57" fmla="*/ 0 h 605"/>
                      <a:gd name="T58" fmla="*/ 0 w 1185"/>
                      <a:gd name="T59" fmla="*/ 0 h 605"/>
                      <a:gd name="T60" fmla="*/ 0 w 1185"/>
                      <a:gd name="T61" fmla="*/ 0 h 605"/>
                      <a:gd name="T62" fmla="*/ 0 w 1185"/>
                      <a:gd name="T63" fmla="*/ 0 h 605"/>
                      <a:gd name="T64" fmla="*/ 0 w 1185"/>
                      <a:gd name="T65" fmla="*/ 0 h 605"/>
                      <a:gd name="T66" fmla="*/ 0 w 1185"/>
                      <a:gd name="T67" fmla="*/ 0 h 605"/>
                      <a:gd name="T68" fmla="*/ 0 w 1185"/>
                      <a:gd name="T69" fmla="*/ 0 h 605"/>
                      <a:gd name="T70" fmla="*/ 0 w 1185"/>
                      <a:gd name="T71" fmla="*/ 0 h 605"/>
                      <a:gd name="T72" fmla="*/ 0 w 1185"/>
                      <a:gd name="T73" fmla="*/ 0 h 605"/>
                      <a:gd name="T74" fmla="*/ 0 w 1185"/>
                      <a:gd name="T75" fmla="*/ 0 h 605"/>
                      <a:gd name="T76" fmla="*/ 0 w 1185"/>
                      <a:gd name="T77" fmla="*/ 0 h 605"/>
                      <a:gd name="T78" fmla="*/ 0 w 1185"/>
                      <a:gd name="T79" fmla="*/ 0 h 605"/>
                      <a:gd name="T80" fmla="*/ 0 w 1185"/>
                      <a:gd name="T81" fmla="*/ 0 h 605"/>
                      <a:gd name="T82" fmla="*/ 0 w 1185"/>
                      <a:gd name="T83" fmla="*/ 0 h 605"/>
                      <a:gd name="T84" fmla="*/ 0 w 1185"/>
                      <a:gd name="T85" fmla="*/ 0 h 605"/>
                      <a:gd name="T86" fmla="*/ 0 w 1185"/>
                      <a:gd name="T87" fmla="*/ 0 h 605"/>
                      <a:gd name="T88" fmla="*/ 0 w 1185"/>
                      <a:gd name="T89" fmla="*/ 0 h 605"/>
                      <a:gd name="T90" fmla="*/ 0 w 1185"/>
                      <a:gd name="T91" fmla="*/ 0 h 605"/>
                      <a:gd name="T92" fmla="*/ 0 w 1185"/>
                      <a:gd name="T93" fmla="*/ 0 h 605"/>
                      <a:gd name="T94" fmla="*/ 0 w 1185"/>
                      <a:gd name="T95" fmla="*/ 0 h 605"/>
                      <a:gd name="T96" fmla="*/ 0 w 1185"/>
                      <a:gd name="T97" fmla="*/ 0 h 605"/>
                      <a:gd name="T98" fmla="*/ 0 w 1185"/>
                      <a:gd name="T99" fmla="*/ 0 h 605"/>
                      <a:gd name="T100" fmla="*/ 0 w 1185"/>
                      <a:gd name="T101" fmla="*/ 0 h 605"/>
                      <a:gd name="T102" fmla="*/ 0 w 1185"/>
                      <a:gd name="T103" fmla="*/ 0 h 605"/>
                      <a:gd name="T104" fmla="*/ 0 w 1185"/>
                      <a:gd name="T105" fmla="*/ 0 h 605"/>
                      <a:gd name="T106" fmla="*/ 0 w 1185"/>
                      <a:gd name="T107" fmla="*/ 0 h 605"/>
                      <a:gd name="T108" fmla="*/ 0 w 1185"/>
                      <a:gd name="T109" fmla="*/ 0 h 605"/>
                      <a:gd name="T110" fmla="*/ 0 w 1185"/>
                      <a:gd name="T111" fmla="*/ 0 h 605"/>
                      <a:gd name="T112" fmla="*/ 0 w 1185"/>
                      <a:gd name="T113" fmla="*/ 0 h 605"/>
                      <a:gd name="T114" fmla="*/ 0 w 1185"/>
                      <a:gd name="T115" fmla="*/ 0 h 605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w 1185"/>
                      <a:gd name="T175" fmla="*/ 0 h 605"/>
                      <a:gd name="T176" fmla="*/ 1185 w 1185"/>
                      <a:gd name="T177" fmla="*/ 605 h 605"/>
                    </a:gdLst>
                    <a:ahLst/>
                    <a:cxnLst>
                      <a:cxn ang="T116">
                        <a:pos x="T0" y="T1"/>
                      </a:cxn>
                      <a:cxn ang="T117">
                        <a:pos x="T2" y="T3"/>
                      </a:cxn>
                      <a:cxn ang="T118">
                        <a:pos x="T4" y="T5"/>
                      </a:cxn>
                      <a:cxn ang="T119">
                        <a:pos x="T6" y="T7"/>
                      </a:cxn>
                      <a:cxn ang="T120">
                        <a:pos x="T8" y="T9"/>
                      </a:cxn>
                      <a:cxn ang="T121">
                        <a:pos x="T10" y="T11"/>
                      </a:cxn>
                      <a:cxn ang="T122">
                        <a:pos x="T12" y="T13"/>
                      </a:cxn>
                      <a:cxn ang="T123">
                        <a:pos x="T14" y="T15"/>
                      </a:cxn>
                      <a:cxn ang="T124">
                        <a:pos x="T16" y="T17"/>
                      </a:cxn>
                      <a:cxn ang="T125">
                        <a:pos x="T18" y="T19"/>
                      </a:cxn>
                      <a:cxn ang="T126">
                        <a:pos x="T20" y="T21"/>
                      </a:cxn>
                      <a:cxn ang="T127">
                        <a:pos x="T22" y="T23"/>
                      </a:cxn>
                      <a:cxn ang="T128">
                        <a:pos x="T24" y="T25"/>
                      </a:cxn>
                      <a:cxn ang="T129">
                        <a:pos x="T26" y="T27"/>
                      </a:cxn>
                      <a:cxn ang="T130">
                        <a:pos x="T28" y="T29"/>
                      </a:cxn>
                      <a:cxn ang="T131">
                        <a:pos x="T30" y="T31"/>
                      </a:cxn>
                      <a:cxn ang="T132">
                        <a:pos x="T32" y="T33"/>
                      </a:cxn>
                      <a:cxn ang="T133">
                        <a:pos x="T34" y="T35"/>
                      </a:cxn>
                      <a:cxn ang="T134">
                        <a:pos x="T36" y="T37"/>
                      </a:cxn>
                      <a:cxn ang="T135">
                        <a:pos x="T38" y="T39"/>
                      </a:cxn>
                      <a:cxn ang="T136">
                        <a:pos x="T40" y="T41"/>
                      </a:cxn>
                      <a:cxn ang="T137">
                        <a:pos x="T42" y="T43"/>
                      </a:cxn>
                      <a:cxn ang="T138">
                        <a:pos x="T44" y="T45"/>
                      </a:cxn>
                      <a:cxn ang="T139">
                        <a:pos x="T46" y="T47"/>
                      </a:cxn>
                      <a:cxn ang="T140">
                        <a:pos x="T48" y="T49"/>
                      </a:cxn>
                      <a:cxn ang="T141">
                        <a:pos x="T50" y="T51"/>
                      </a:cxn>
                      <a:cxn ang="T142">
                        <a:pos x="T52" y="T53"/>
                      </a:cxn>
                      <a:cxn ang="T143">
                        <a:pos x="T54" y="T55"/>
                      </a:cxn>
                      <a:cxn ang="T144">
                        <a:pos x="T56" y="T57"/>
                      </a:cxn>
                      <a:cxn ang="T145">
                        <a:pos x="T58" y="T59"/>
                      </a:cxn>
                      <a:cxn ang="T146">
                        <a:pos x="T60" y="T61"/>
                      </a:cxn>
                      <a:cxn ang="T147">
                        <a:pos x="T62" y="T63"/>
                      </a:cxn>
                      <a:cxn ang="T148">
                        <a:pos x="T64" y="T65"/>
                      </a:cxn>
                      <a:cxn ang="T149">
                        <a:pos x="T66" y="T67"/>
                      </a:cxn>
                      <a:cxn ang="T150">
                        <a:pos x="T68" y="T69"/>
                      </a:cxn>
                      <a:cxn ang="T151">
                        <a:pos x="T70" y="T71"/>
                      </a:cxn>
                      <a:cxn ang="T152">
                        <a:pos x="T72" y="T73"/>
                      </a:cxn>
                      <a:cxn ang="T153">
                        <a:pos x="T74" y="T75"/>
                      </a:cxn>
                      <a:cxn ang="T154">
                        <a:pos x="T76" y="T77"/>
                      </a:cxn>
                      <a:cxn ang="T155">
                        <a:pos x="T78" y="T79"/>
                      </a:cxn>
                      <a:cxn ang="T156">
                        <a:pos x="T80" y="T81"/>
                      </a:cxn>
                      <a:cxn ang="T157">
                        <a:pos x="T82" y="T83"/>
                      </a:cxn>
                      <a:cxn ang="T158">
                        <a:pos x="T84" y="T85"/>
                      </a:cxn>
                      <a:cxn ang="T159">
                        <a:pos x="T86" y="T87"/>
                      </a:cxn>
                      <a:cxn ang="T160">
                        <a:pos x="T88" y="T89"/>
                      </a:cxn>
                      <a:cxn ang="T161">
                        <a:pos x="T90" y="T91"/>
                      </a:cxn>
                      <a:cxn ang="T162">
                        <a:pos x="T92" y="T93"/>
                      </a:cxn>
                      <a:cxn ang="T163">
                        <a:pos x="T94" y="T95"/>
                      </a:cxn>
                      <a:cxn ang="T164">
                        <a:pos x="T96" y="T97"/>
                      </a:cxn>
                      <a:cxn ang="T165">
                        <a:pos x="T98" y="T99"/>
                      </a:cxn>
                      <a:cxn ang="T166">
                        <a:pos x="T100" y="T101"/>
                      </a:cxn>
                      <a:cxn ang="T167">
                        <a:pos x="T102" y="T103"/>
                      </a:cxn>
                      <a:cxn ang="T168">
                        <a:pos x="T104" y="T105"/>
                      </a:cxn>
                      <a:cxn ang="T169">
                        <a:pos x="T106" y="T107"/>
                      </a:cxn>
                      <a:cxn ang="T170">
                        <a:pos x="T108" y="T109"/>
                      </a:cxn>
                      <a:cxn ang="T171">
                        <a:pos x="T110" y="T111"/>
                      </a:cxn>
                      <a:cxn ang="T172">
                        <a:pos x="T112" y="T113"/>
                      </a:cxn>
                      <a:cxn ang="T173">
                        <a:pos x="T114" y="T115"/>
                      </a:cxn>
                    </a:cxnLst>
                    <a:rect l="T174" t="T175" r="T176" b="T177"/>
                    <a:pathLst>
                      <a:path w="1185" h="605">
                        <a:moveTo>
                          <a:pt x="105" y="0"/>
                        </a:moveTo>
                        <a:lnTo>
                          <a:pt x="98" y="20"/>
                        </a:lnTo>
                        <a:lnTo>
                          <a:pt x="93" y="40"/>
                        </a:lnTo>
                        <a:lnTo>
                          <a:pt x="88" y="57"/>
                        </a:lnTo>
                        <a:lnTo>
                          <a:pt x="86" y="75"/>
                        </a:lnTo>
                        <a:lnTo>
                          <a:pt x="85" y="92"/>
                        </a:lnTo>
                        <a:lnTo>
                          <a:pt x="85" y="106"/>
                        </a:lnTo>
                        <a:lnTo>
                          <a:pt x="87" y="121"/>
                        </a:lnTo>
                        <a:lnTo>
                          <a:pt x="89" y="134"/>
                        </a:lnTo>
                        <a:lnTo>
                          <a:pt x="94" y="148"/>
                        </a:lnTo>
                        <a:lnTo>
                          <a:pt x="100" y="159"/>
                        </a:lnTo>
                        <a:lnTo>
                          <a:pt x="106" y="170"/>
                        </a:lnTo>
                        <a:lnTo>
                          <a:pt x="113" y="181"/>
                        </a:lnTo>
                        <a:lnTo>
                          <a:pt x="122" y="191"/>
                        </a:lnTo>
                        <a:lnTo>
                          <a:pt x="131" y="200"/>
                        </a:lnTo>
                        <a:lnTo>
                          <a:pt x="141" y="209"/>
                        </a:lnTo>
                        <a:lnTo>
                          <a:pt x="152" y="217"/>
                        </a:lnTo>
                        <a:lnTo>
                          <a:pt x="164" y="224"/>
                        </a:lnTo>
                        <a:lnTo>
                          <a:pt x="176" y="231"/>
                        </a:lnTo>
                        <a:lnTo>
                          <a:pt x="190" y="239"/>
                        </a:lnTo>
                        <a:lnTo>
                          <a:pt x="203" y="246"/>
                        </a:lnTo>
                        <a:lnTo>
                          <a:pt x="232" y="258"/>
                        </a:lnTo>
                        <a:lnTo>
                          <a:pt x="263" y="269"/>
                        </a:lnTo>
                        <a:lnTo>
                          <a:pt x="328" y="292"/>
                        </a:lnTo>
                        <a:lnTo>
                          <a:pt x="394" y="316"/>
                        </a:lnTo>
                        <a:lnTo>
                          <a:pt x="414" y="323"/>
                        </a:lnTo>
                        <a:lnTo>
                          <a:pt x="436" y="330"/>
                        </a:lnTo>
                        <a:lnTo>
                          <a:pt x="457" y="337"/>
                        </a:lnTo>
                        <a:lnTo>
                          <a:pt x="479" y="342"/>
                        </a:lnTo>
                        <a:lnTo>
                          <a:pt x="526" y="353"/>
                        </a:lnTo>
                        <a:lnTo>
                          <a:pt x="576" y="362"/>
                        </a:lnTo>
                        <a:lnTo>
                          <a:pt x="627" y="369"/>
                        </a:lnTo>
                        <a:lnTo>
                          <a:pt x="679" y="375"/>
                        </a:lnTo>
                        <a:lnTo>
                          <a:pt x="734" y="379"/>
                        </a:lnTo>
                        <a:lnTo>
                          <a:pt x="787" y="381"/>
                        </a:lnTo>
                        <a:lnTo>
                          <a:pt x="842" y="382"/>
                        </a:lnTo>
                        <a:lnTo>
                          <a:pt x="896" y="382"/>
                        </a:lnTo>
                        <a:lnTo>
                          <a:pt x="949" y="381"/>
                        </a:lnTo>
                        <a:lnTo>
                          <a:pt x="1001" y="379"/>
                        </a:lnTo>
                        <a:lnTo>
                          <a:pt x="1051" y="376"/>
                        </a:lnTo>
                        <a:lnTo>
                          <a:pt x="1098" y="370"/>
                        </a:lnTo>
                        <a:lnTo>
                          <a:pt x="1142" y="366"/>
                        </a:lnTo>
                        <a:lnTo>
                          <a:pt x="1185" y="359"/>
                        </a:lnTo>
                        <a:lnTo>
                          <a:pt x="1181" y="372"/>
                        </a:lnTo>
                        <a:lnTo>
                          <a:pt x="1178" y="386"/>
                        </a:lnTo>
                        <a:lnTo>
                          <a:pt x="1175" y="398"/>
                        </a:lnTo>
                        <a:lnTo>
                          <a:pt x="1169" y="410"/>
                        </a:lnTo>
                        <a:lnTo>
                          <a:pt x="1165" y="422"/>
                        </a:lnTo>
                        <a:lnTo>
                          <a:pt x="1158" y="435"/>
                        </a:lnTo>
                        <a:lnTo>
                          <a:pt x="1151" y="447"/>
                        </a:lnTo>
                        <a:lnTo>
                          <a:pt x="1145" y="458"/>
                        </a:lnTo>
                        <a:lnTo>
                          <a:pt x="1136" y="469"/>
                        </a:lnTo>
                        <a:lnTo>
                          <a:pt x="1127" y="479"/>
                        </a:lnTo>
                        <a:lnTo>
                          <a:pt x="1116" y="490"/>
                        </a:lnTo>
                        <a:lnTo>
                          <a:pt x="1105" y="500"/>
                        </a:lnTo>
                        <a:lnTo>
                          <a:pt x="1092" y="509"/>
                        </a:lnTo>
                        <a:lnTo>
                          <a:pt x="1079" y="518"/>
                        </a:lnTo>
                        <a:lnTo>
                          <a:pt x="1064" y="527"/>
                        </a:lnTo>
                        <a:lnTo>
                          <a:pt x="1049" y="536"/>
                        </a:lnTo>
                        <a:lnTo>
                          <a:pt x="1031" y="544"/>
                        </a:lnTo>
                        <a:lnTo>
                          <a:pt x="1013" y="552"/>
                        </a:lnTo>
                        <a:lnTo>
                          <a:pt x="993" y="558"/>
                        </a:lnTo>
                        <a:lnTo>
                          <a:pt x="972" y="565"/>
                        </a:lnTo>
                        <a:lnTo>
                          <a:pt x="950" y="572"/>
                        </a:lnTo>
                        <a:lnTo>
                          <a:pt x="926" y="577"/>
                        </a:lnTo>
                        <a:lnTo>
                          <a:pt x="901" y="583"/>
                        </a:lnTo>
                        <a:lnTo>
                          <a:pt x="874" y="587"/>
                        </a:lnTo>
                        <a:lnTo>
                          <a:pt x="845" y="592"/>
                        </a:lnTo>
                        <a:lnTo>
                          <a:pt x="815" y="595"/>
                        </a:lnTo>
                        <a:lnTo>
                          <a:pt x="783" y="598"/>
                        </a:lnTo>
                        <a:lnTo>
                          <a:pt x="750" y="601"/>
                        </a:lnTo>
                        <a:lnTo>
                          <a:pt x="714" y="603"/>
                        </a:lnTo>
                        <a:lnTo>
                          <a:pt x="677" y="604"/>
                        </a:lnTo>
                        <a:lnTo>
                          <a:pt x="638" y="605"/>
                        </a:lnTo>
                        <a:lnTo>
                          <a:pt x="597" y="605"/>
                        </a:lnTo>
                        <a:lnTo>
                          <a:pt x="550" y="605"/>
                        </a:lnTo>
                        <a:lnTo>
                          <a:pt x="506" y="603"/>
                        </a:lnTo>
                        <a:lnTo>
                          <a:pt x="463" y="601"/>
                        </a:lnTo>
                        <a:lnTo>
                          <a:pt x="425" y="597"/>
                        </a:lnTo>
                        <a:lnTo>
                          <a:pt x="387" y="594"/>
                        </a:lnTo>
                        <a:lnTo>
                          <a:pt x="352" y="588"/>
                        </a:lnTo>
                        <a:lnTo>
                          <a:pt x="319" y="583"/>
                        </a:lnTo>
                        <a:lnTo>
                          <a:pt x="288" y="576"/>
                        </a:lnTo>
                        <a:lnTo>
                          <a:pt x="259" y="569"/>
                        </a:lnTo>
                        <a:lnTo>
                          <a:pt x="232" y="560"/>
                        </a:lnTo>
                        <a:lnTo>
                          <a:pt x="206" y="552"/>
                        </a:lnTo>
                        <a:lnTo>
                          <a:pt x="184" y="543"/>
                        </a:lnTo>
                        <a:lnTo>
                          <a:pt x="162" y="533"/>
                        </a:lnTo>
                        <a:lnTo>
                          <a:pt x="142" y="522"/>
                        </a:lnTo>
                        <a:lnTo>
                          <a:pt x="124" y="509"/>
                        </a:lnTo>
                        <a:lnTo>
                          <a:pt x="107" y="497"/>
                        </a:lnTo>
                        <a:lnTo>
                          <a:pt x="92" y="485"/>
                        </a:lnTo>
                        <a:lnTo>
                          <a:pt x="78" y="471"/>
                        </a:lnTo>
                        <a:lnTo>
                          <a:pt x="66" y="457"/>
                        </a:lnTo>
                        <a:lnTo>
                          <a:pt x="55" y="443"/>
                        </a:lnTo>
                        <a:lnTo>
                          <a:pt x="45" y="428"/>
                        </a:lnTo>
                        <a:lnTo>
                          <a:pt x="36" y="412"/>
                        </a:lnTo>
                        <a:lnTo>
                          <a:pt x="28" y="397"/>
                        </a:lnTo>
                        <a:lnTo>
                          <a:pt x="22" y="380"/>
                        </a:lnTo>
                        <a:lnTo>
                          <a:pt x="16" y="364"/>
                        </a:lnTo>
                        <a:lnTo>
                          <a:pt x="12" y="347"/>
                        </a:lnTo>
                        <a:lnTo>
                          <a:pt x="8" y="329"/>
                        </a:lnTo>
                        <a:lnTo>
                          <a:pt x="5" y="311"/>
                        </a:lnTo>
                        <a:lnTo>
                          <a:pt x="3" y="293"/>
                        </a:lnTo>
                        <a:lnTo>
                          <a:pt x="2" y="274"/>
                        </a:lnTo>
                        <a:lnTo>
                          <a:pt x="0" y="256"/>
                        </a:lnTo>
                        <a:lnTo>
                          <a:pt x="0" y="237"/>
                        </a:lnTo>
                        <a:lnTo>
                          <a:pt x="2" y="226"/>
                        </a:lnTo>
                        <a:lnTo>
                          <a:pt x="4" y="212"/>
                        </a:lnTo>
                        <a:lnTo>
                          <a:pt x="7" y="198"/>
                        </a:lnTo>
                        <a:lnTo>
                          <a:pt x="12" y="182"/>
                        </a:lnTo>
                        <a:lnTo>
                          <a:pt x="24" y="150"/>
                        </a:lnTo>
                        <a:lnTo>
                          <a:pt x="38" y="115"/>
                        </a:lnTo>
                        <a:lnTo>
                          <a:pt x="55" y="81"/>
                        </a:lnTo>
                        <a:lnTo>
                          <a:pt x="73" y="49"/>
                        </a:lnTo>
                        <a:lnTo>
                          <a:pt x="89" y="21"/>
                        </a:lnTo>
                        <a:lnTo>
                          <a:pt x="105" y="0"/>
                        </a:lnTo>
                        <a:close/>
                      </a:path>
                    </a:pathLst>
                  </a:custGeom>
                  <a:solidFill>
                    <a:srgbClr val="242B53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83" name="Freeform 180"/>
                  <p:cNvSpPr>
                    <a:spLocks/>
                  </p:cNvSpPr>
                  <p:nvPr/>
                </p:nvSpPr>
                <p:spPr bwMode="auto">
                  <a:xfrm>
                    <a:off x="3443" y="4127"/>
                    <a:ext cx="168" cy="38"/>
                  </a:xfrm>
                  <a:custGeom>
                    <a:avLst/>
                    <a:gdLst>
                      <a:gd name="T0" fmla="*/ 0 w 1174"/>
                      <a:gd name="T1" fmla="*/ 0 h 264"/>
                      <a:gd name="T2" fmla="*/ 0 w 1174"/>
                      <a:gd name="T3" fmla="*/ 0 h 264"/>
                      <a:gd name="T4" fmla="*/ 0 w 1174"/>
                      <a:gd name="T5" fmla="*/ 0 h 264"/>
                      <a:gd name="T6" fmla="*/ 0 w 1174"/>
                      <a:gd name="T7" fmla="*/ 0 h 264"/>
                      <a:gd name="T8" fmla="*/ 0 w 1174"/>
                      <a:gd name="T9" fmla="*/ 0 h 264"/>
                      <a:gd name="T10" fmla="*/ 0 w 1174"/>
                      <a:gd name="T11" fmla="*/ 0 h 264"/>
                      <a:gd name="T12" fmla="*/ 0 w 1174"/>
                      <a:gd name="T13" fmla="*/ 0 h 264"/>
                      <a:gd name="T14" fmla="*/ 0 w 1174"/>
                      <a:gd name="T15" fmla="*/ 0 h 264"/>
                      <a:gd name="T16" fmla="*/ 0 w 1174"/>
                      <a:gd name="T17" fmla="*/ 0 h 264"/>
                      <a:gd name="T18" fmla="*/ 0 w 1174"/>
                      <a:gd name="T19" fmla="*/ 0 h 264"/>
                      <a:gd name="T20" fmla="*/ 0 w 1174"/>
                      <a:gd name="T21" fmla="*/ 0 h 264"/>
                      <a:gd name="T22" fmla="*/ 0 w 1174"/>
                      <a:gd name="T23" fmla="*/ 0 h 264"/>
                      <a:gd name="T24" fmla="*/ 0 w 1174"/>
                      <a:gd name="T25" fmla="*/ 0 h 264"/>
                      <a:gd name="T26" fmla="*/ 0 w 1174"/>
                      <a:gd name="T27" fmla="*/ 0 h 264"/>
                      <a:gd name="T28" fmla="*/ 0 w 1174"/>
                      <a:gd name="T29" fmla="*/ 0 h 264"/>
                      <a:gd name="T30" fmla="*/ 0 w 1174"/>
                      <a:gd name="T31" fmla="*/ 0 h 264"/>
                      <a:gd name="T32" fmla="*/ 0 w 1174"/>
                      <a:gd name="T33" fmla="*/ 0 h 264"/>
                      <a:gd name="T34" fmla="*/ 0 w 1174"/>
                      <a:gd name="T35" fmla="*/ 0 h 264"/>
                      <a:gd name="T36" fmla="*/ 0 w 1174"/>
                      <a:gd name="T37" fmla="*/ 0 h 264"/>
                      <a:gd name="T38" fmla="*/ 0 w 1174"/>
                      <a:gd name="T39" fmla="*/ 0 h 264"/>
                      <a:gd name="T40" fmla="*/ 0 w 1174"/>
                      <a:gd name="T41" fmla="*/ 0 h 264"/>
                      <a:gd name="T42" fmla="*/ 0 w 1174"/>
                      <a:gd name="T43" fmla="*/ 0 h 264"/>
                      <a:gd name="T44" fmla="*/ 0 w 1174"/>
                      <a:gd name="T45" fmla="*/ 0 h 264"/>
                      <a:gd name="T46" fmla="*/ 0 w 1174"/>
                      <a:gd name="T47" fmla="*/ 0 h 264"/>
                      <a:gd name="T48" fmla="*/ 0 w 1174"/>
                      <a:gd name="T49" fmla="*/ 0 h 264"/>
                      <a:gd name="T50" fmla="*/ 0 w 1174"/>
                      <a:gd name="T51" fmla="*/ 0 h 264"/>
                      <a:gd name="T52" fmla="*/ 0 w 1174"/>
                      <a:gd name="T53" fmla="*/ 0 h 264"/>
                      <a:gd name="T54" fmla="*/ 0 w 1174"/>
                      <a:gd name="T55" fmla="*/ 0 h 264"/>
                      <a:gd name="T56" fmla="*/ 0 w 1174"/>
                      <a:gd name="T57" fmla="*/ 0 h 264"/>
                      <a:gd name="T58" fmla="*/ 0 w 1174"/>
                      <a:gd name="T59" fmla="*/ 0 h 264"/>
                      <a:gd name="T60" fmla="*/ 0 w 1174"/>
                      <a:gd name="T61" fmla="*/ 0 h 264"/>
                      <a:gd name="T62" fmla="*/ 0 w 1174"/>
                      <a:gd name="T63" fmla="*/ 0 h 264"/>
                      <a:gd name="T64" fmla="*/ 0 w 1174"/>
                      <a:gd name="T65" fmla="*/ 0 h 264"/>
                      <a:gd name="T66" fmla="*/ 0 w 1174"/>
                      <a:gd name="T67" fmla="*/ 0 h 264"/>
                      <a:gd name="T68" fmla="*/ 0 w 1174"/>
                      <a:gd name="T69" fmla="*/ 0 h 264"/>
                      <a:gd name="T70" fmla="*/ 0 w 1174"/>
                      <a:gd name="T71" fmla="*/ 0 h 264"/>
                      <a:gd name="T72" fmla="*/ 0 w 1174"/>
                      <a:gd name="T73" fmla="*/ 0 h 264"/>
                      <a:gd name="T74" fmla="*/ 0 w 1174"/>
                      <a:gd name="T75" fmla="*/ 0 h 264"/>
                      <a:gd name="T76" fmla="*/ 0 w 1174"/>
                      <a:gd name="T77" fmla="*/ 0 h 264"/>
                      <a:gd name="T78" fmla="*/ 0 w 1174"/>
                      <a:gd name="T79" fmla="*/ 0 h 264"/>
                      <a:gd name="T80" fmla="*/ 0 w 1174"/>
                      <a:gd name="T81" fmla="*/ 0 h 264"/>
                      <a:gd name="T82" fmla="*/ 0 w 1174"/>
                      <a:gd name="T83" fmla="*/ 0 h 264"/>
                      <a:gd name="T84" fmla="*/ 0 w 1174"/>
                      <a:gd name="T85" fmla="*/ 0 h 264"/>
                      <a:gd name="T86" fmla="*/ 0 w 1174"/>
                      <a:gd name="T87" fmla="*/ 0 h 264"/>
                      <a:gd name="T88" fmla="*/ 0 w 1174"/>
                      <a:gd name="T89" fmla="*/ 0 h 264"/>
                      <a:gd name="T90" fmla="*/ 0 w 1174"/>
                      <a:gd name="T91" fmla="*/ 0 h 264"/>
                      <a:gd name="T92" fmla="*/ 0 w 1174"/>
                      <a:gd name="T93" fmla="*/ 0 h 264"/>
                      <a:gd name="T94" fmla="*/ 0 w 1174"/>
                      <a:gd name="T95" fmla="*/ 0 h 264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w 1174"/>
                      <a:gd name="T145" fmla="*/ 0 h 264"/>
                      <a:gd name="T146" fmla="*/ 1174 w 1174"/>
                      <a:gd name="T147" fmla="*/ 264 h 264"/>
                    </a:gdLst>
                    <a:ahLst/>
                    <a:cxnLst>
                      <a:cxn ang="T96">
                        <a:pos x="T0" y="T1"/>
                      </a:cxn>
                      <a:cxn ang="T97">
                        <a:pos x="T2" y="T3"/>
                      </a:cxn>
                      <a:cxn ang="T98">
                        <a:pos x="T4" y="T5"/>
                      </a:cxn>
                      <a:cxn ang="T99">
                        <a:pos x="T6" y="T7"/>
                      </a:cxn>
                      <a:cxn ang="T100">
                        <a:pos x="T8" y="T9"/>
                      </a:cxn>
                      <a:cxn ang="T101">
                        <a:pos x="T10" y="T11"/>
                      </a:cxn>
                      <a:cxn ang="T102">
                        <a:pos x="T12" y="T13"/>
                      </a:cxn>
                      <a:cxn ang="T103">
                        <a:pos x="T14" y="T15"/>
                      </a:cxn>
                      <a:cxn ang="T104">
                        <a:pos x="T16" y="T17"/>
                      </a:cxn>
                      <a:cxn ang="T105">
                        <a:pos x="T18" y="T19"/>
                      </a:cxn>
                      <a:cxn ang="T106">
                        <a:pos x="T20" y="T21"/>
                      </a:cxn>
                      <a:cxn ang="T107">
                        <a:pos x="T22" y="T23"/>
                      </a:cxn>
                      <a:cxn ang="T108">
                        <a:pos x="T24" y="T25"/>
                      </a:cxn>
                      <a:cxn ang="T109">
                        <a:pos x="T26" y="T27"/>
                      </a:cxn>
                      <a:cxn ang="T110">
                        <a:pos x="T28" y="T29"/>
                      </a:cxn>
                      <a:cxn ang="T111">
                        <a:pos x="T30" y="T31"/>
                      </a:cxn>
                      <a:cxn ang="T112">
                        <a:pos x="T32" y="T33"/>
                      </a:cxn>
                      <a:cxn ang="T113">
                        <a:pos x="T34" y="T35"/>
                      </a:cxn>
                      <a:cxn ang="T114">
                        <a:pos x="T36" y="T37"/>
                      </a:cxn>
                      <a:cxn ang="T115">
                        <a:pos x="T38" y="T39"/>
                      </a:cxn>
                      <a:cxn ang="T116">
                        <a:pos x="T40" y="T41"/>
                      </a:cxn>
                      <a:cxn ang="T117">
                        <a:pos x="T42" y="T43"/>
                      </a:cxn>
                      <a:cxn ang="T118">
                        <a:pos x="T44" y="T45"/>
                      </a:cxn>
                      <a:cxn ang="T119">
                        <a:pos x="T46" y="T47"/>
                      </a:cxn>
                      <a:cxn ang="T120">
                        <a:pos x="T48" y="T49"/>
                      </a:cxn>
                      <a:cxn ang="T121">
                        <a:pos x="T50" y="T51"/>
                      </a:cxn>
                      <a:cxn ang="T122">
                        <a:pos x="T52" y="T53"/>
                      </a:cxn>
                      <a:cxn ang="T123">
                        <a:pos x="T54" y="T55"/>
                      </a:cxn>
                      <a:cxn ang="T124">
                        <a:pos x="T56" y="T57"/>
                      </a:cxn>
                      <a:cxn ang="T125">
                        <a:pos x="T58" y="T59"/>
                      </a:cxn>
                      <a:cxn ang="T126">
                        <a:pos x="T60" y="T61"/>
                      </a:cxn>
                      <a:cxn ang="T127">
                        <a:pos x="T62" y="T63"/>
                      </a:cxn>
                      <a:cxn ang="T128">
                        <a:pos x="T64" y="T65"/>
                      </a:cxn>
                      <a:cxn ang="T129">
                        <a:pos x="T66" y="T67"/>
                      </a:cxn>
                      <a:cxn ang="T130">
                        <a:pos x="T68" y="T69"/>
                      </a:cxn>
                      <a:cxn ang="T131">
                        <a:pos x="T70" y="T71"/>
                      </a:cxn>
                      <a:cxn ang="T132">
                        <a:pos x="T72" y="T73"/>
                      </a:cxn>
                      <a:cxn ang="T133">
                        <a:pos x="T74" y="T75"/>
                      </a:cxn>
                      <a:cxn ang="T134">
                        <a:pos x="T76" y="T77"/>
                      </a:cxn>
                      <a:cxn ang="T135">
                        <a:pos x="T78" y="T79"/>
                      </a:cxn>
                      <a:cxn ang="T136">
                        <a:pos x="T80" y="T81"/>
                      </a:cxn>
                      <a:cxn ang="T137">
                        <a:pos x="T82" y="T83"/>
                      </a:cxn>
                      <a:cxn ang="T138">
                        <a:pos x="T84" y="T85"/>
                      </a:cxn>
                      <a:cxn ang="T139">
                        <a:pos x="T86" y="T87"/>
                      </a:cxn>
                      <a:cxn ang="T140">
                        <a:pos x="T88" y="T89"/>
                      </a:cxn>
                      <a:cxn ang="T141">
                        <a:pos x="T90" y="T91"/>
                      </a:cxn>
                      <a:cxn ang="T142">
                        <a:pos x="T92" y="T93"/>
                      </a:cxn>
                      <a:cxn ang="T143">
                        <a:pos x="T94" y="T95"/>
                      </a:cxn>
                    </a:cxnLst>
                    <a:rect l="T144" t="T145" r="T146" b="T147"/>
                    <a:pathLst>
                      <a:path w="1174" h="264">
                        <a:moveTo>
                          <a:pt x="587" y="142"/>
                        </a:moveTo>
                        <a:lnTo>
                          <a:pt x="648" y="142"/>
                        </a:lnTo>
                        <a:lnTo>
                          <a:pt x="706" y="139"/>
                        </a:lnTo>
                        <a:lnTo>
                          <a:pt x="760" y="137"/>
                        </a:lnTo>
                        <a:lnTo>
                          <a:pt x="811" y="133"/>
                        </a:lnTo>
                        <a:lnTo>
                          <a:pt x="857" y="128"/>
                        </a:lnTo>
                        <a:lnTo>
                          <a:pt x="900" y="123"/>
                        </a:lnTo>
                        <a:lnTo>
                          <a:pt x="940" y="116"/>
                        </a:lnTo>
                        <a:lnTo>
                          <a:pt x="978" y="108"/>
                        </a:lnTo>
                        <a:lnTo>
                          <a:pt x="1011" y="100"/>
                        </a:lnTo>
                        <a:lnTo>
                          <a:pt x="1042" y="90"/>
                        </a:lnTo>
                        <a:lnTo>
                          <a:pt x="1070" y="80"/>
                        </a:lnTo>
                        <a:lnTo>
                          <a:pt x="1096" y="70"/>
                        </a:lnTo>
                        <a:lnTo>
                          <a:pt x="1119" y="58"/>
                        </a:lnTo>
                        <a:lnTo>
                          <a:pt x="1139" y="46"/>
                        </a:lnTo>
                        <a:lnTo>
                          <a:pt x="1158" y="33"/>
                        </a:lnTo>
                        <a:lnTo>
                          <a:pt x="1174" y="19"/>
                        </a:lnTo>
                        <a:lnTo>
                          <a:pt x="1171" y="33"/>
                        </a:lnTo>
                        <a:lnTo>
                          <a:pt x="1168" y="46"/>
                        </a:lnTo>
                        <a:lnTo>
                          <a:pt x="1164" y="58"/>
                        </a:lnTo>
                        <a:lnTo>
                          <a:pt x="1159" y="70"/>
                        </a:lnTo>
                        <a:lnTo>
                          <a:pt x="1154" y="83"/>
                        </a:lnTo>
                        <a:lnTo>
                          <a:pt x="1148" y="95"/>
                        </a:lnTo>
                        <a:lnTo>
                          <a:pt x="1141" y="106"/>
                        </a:lnTo>
                        <a:lnTo>
                          <a:pt x="1134" y="117"/>
                        </a:lnTo>
                        <a:lnTo>
                          <a:pt x="1125" y="128"/>
                        </a:lnTo>
                        <a:lnTo>
                          <a:pt x="1116" y="139"/>
                        </a:lnTo>
                        <a:lnTo>
                          <a:pt x="1106" y="149"/>
                        </a:lnTo>
                        <a:lnTo>
                          <a:pt x="1095" y="159"/>
                        </a:lnTo>
                        <a:lnTo>
                          <a:pt x="1081" y="169"/>
                        </a:lnTo>
                        <a:lnTo>
                          <a:pt x="1068" y="178"/>
                        </a:lnTo>
                        <a:lnTo>
                          <a:pt x="1053" y="187"/>
                        </a:lnTo>
                        <a:lnTo>
                          <a:pt x="1038" y="195"/>
                        </a:lnTo>
                        <a:lnTo>
                          <a:pt x="1021" y="203"/>
                        </a:lnTo>
                        <a:lnTo>
                          <a:pt x="1002" y="211"/>
                        </a:lnTo>
                        <a:lnTo>
                          <a:pt x="983" y="218"/>
                        </a:lnTo>
                        <a:lnTo>
                          <a:pt x="962" y="224"/>
                        </a:lnTo>
                        <a:lnTo>
                          <a:pt x="940" y="231"/>
                        </a:lnTo>
                        <a:lnTo>
                          <a:pt x="915" y="236"/>
                        </a:lnTo>
                        <a:lnTo>
                          <a:pt x="890" y="242"/>
                        </a:lnTo>
                        <a:lnTo>
                          <a:pt x="863" y="246"/>
                        </a:lnTo>
                        <a:lnTo>
                          <a:pt x="835" y="251"/>
                        </a:lnTo>
                        <a:lnTo>
                          <a:pt x="805" y="254"/>
                        </a:lnTo>
                        <a:lnTo>
                          <a:pt x="773" y="257"/>
                        </a:lnTo>
                        <a:lnTo>
                          <a:pt x="740" y="260"/>
                        </a:lnTo>
                        <a:lnTo>
                          <a:pt x="704" y="262"/>
                        </a:lnTo>
                        <a:lnTo>
                          <a:pt x="667" y="263"/>
                        </a:lnTo>
                        <a:lnTo>
                          <a:pt x="628" y="264"/>
                        </a:lnTo>
                        <a:lnTo>
                          <a:pt x="587" y="264"/>
                        </a:lnTo>
                        <a:lnTo>
                          <a:pt x="548" y="264"/>
                        </a:lnTo>
                        <a:lnTo>
                          <a:pt x="511" y="263"/>
                        </a:lnTo>
                        <a:lnTo>
                          <a:pt x="476" y="262"/>
                        </a:lnTo>
                        <a:lnTo>
                          <a:pt x="442" y="260"/>
                        </a:lnTo>
                        <a:lnTo>
                          <a:pt x="410" y="256"/>
                        </a:lnTo>
                        <a:lnTo>
                          <a:pt x="380" y="253"/>
                        </a:lnTo>
                        <a:lnTo>
                          <a:pt x="350" y="250"/>
                        </a:lnTo>
                        <a:lnTo>
                          <a:pt x="323" y="245"/>
                        </a:lnTo>
                        <a:lnTo>
                          <a:pt x="297" y="240"/>
                        </a:lnTo>
                        <a:lnTo>
                          <a:pt x="271" y="234"/>
                        </a:lnTo>
                        <a:lnTo>
                          <a:pt x="248" y="227"/>
                        </a:lnTo>
                        <a:lnTo>
                          <a:pt x="225" y="221"/>
                        </a:lnTo>
                        <a:lnTo>
                          <a:pt x="204" y="214"/>
                        </a:lnTo>
                        <a:lnTo>
                          <a:pt x="185" y="206"/>
                        </a:lnTo>
                        <a:lnTo>
                          <a:pt x="166" y="198"/>
                        </a:lnTo>
                        <a:lnTo>
                          <a:pt x="149" y="189"/>
                        </a:lnTo>
                        <a:lnTo>
                          <a:pt x="133" y="181"/>
                        </a:lnTo>
                        <a:lnTo>
                          <a:pt x="117" y="172"/>
                        </a:lnTo>
                        <a:lnTo>
                          <a:pt x="103" y="162"/>
                        </a:lnTo>
                        <a:lnTo>
                          <a:pt x="91" y="150"/>
                        </a:lnTo>
                        <a:lnTo>
                          <a:pt x="78" y="140"/>
                        </a:lnTo>
                        <a:lnTo>
                          <a:pt x="67" y="129"/>
                        </a:lnTo>
                        <a:lnTo>
                          <a:pt x="57" y="118"/>
                        </a:lnTo>
                        <a:lnTo>
                          <a:pt x="47" y="106"/>
                        </a:lnTo>
                        <a:lnTo>
                          <a:pt x="39" y="94"/>
                        </a:lnTo>
                        <a:lnTo>
                          <a:pt x="32" y="81"/>
                        </a:lnTo>
                        <a:lnTo>
                          <a:pt x="25" y="68"/>
                        </a:lnTo>
                        <a:lnTo>
                          <a:pt x="18" y="56"/>
                        </a:lnTo>
                        <a:lnTo>
                          <a:pt x="13" y="43"/>
                        </a:lnTo>
                        <a:lnTo>
                          <a:pt x="8" y="28"/>
                        </a:lnTo>
                        <a:lnTo>
                          <a:pt x="4" y="15"/>
                        </a:lnTo>
                        <a:lnTo>
                          <a:pt x="0" y="0"/>
                        </a:lnTo>
                        <a:lnTo>
                          <a:pt x="18" y="16"/>
                        </a:lnTo>
                        <a:lnTo>
                          <a:pt x="37" y="31"/>
                        </a:lnTo>
                        <a:lnTo>
                          <a:pt x="58" y="45"/>
                        </a:lnTo>
                        <a:lnTo>
                          <a:pt x="82" y="58"/>
                        </a:lnTo>
                        <a:lnTo>
                          <a:pt x="107" y="71"/>
                        </a:lnTo>
                        <a:lnTo>
                          <a:pt x="136" y="83"/>
                        </a:lnTo>
                        <a:lnTo>
                          <a:pt x="167" y="94"/>
                        </a:lnTo>
                        <a:lnTo>
                          <a:pt x="202" y="103"/>
                        </a:lnTo>
                        <a:lnTo>
                          <a:pt x="239" y="112"/>
                        </a:lnTo>
                        <a:lnTo>
                          <a:pt x="279" y="119"/>
                        </a:lnTo>
                        <a:lnTo>
                          <a:pt x="322" y="126"/>
                        </a:lnTo>
                        <a:lnTo>
                          <a:pt x="368" y="132"/>
                        </a:lnTo>
                        <a:lnTo>
                          <a:pt x="418" y="136"/>
                        </a:lnTo>
                        <a:lnTo>
                          <a:pt x="470" y="139"/>
                        </a:lnTo>
                        <a:lnTo>
                          <a:pt x="527" y="140"/>
                        </a:lnTo>
                        <a:lnTo>
                          <a:pt x="587" y="142"/>
                        </a:lnTo>
                        <a:close/>
                      </a:path>
                    </a:pathLst>
                  </a:custGeom>
                  <a:solidFill>
                    <a:srgbClr val="1F1A17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84" name="Freeform 181"/>
                  <p:cNvSpPr>
                    <a:spLocks/>
                  </p:cNvSpPr>
                  <p:nvPr/>
                </p:nvSpPr>
                <p:spPr bwMode="auto">
                  <a:xfrm>
                    <a:off x="3160" y="3573"/>
                    <a:ext cx="570" cy="481"/>
                  </a:xfrm>
                  <a:custGeom>
                    <a:avLst/>
                    <a:gdLst>
                      <a:gd name="T0" fmla="*/ 0 w 3992"/>
                      <a:gd name="T1" fmla="*/ 0 h 3371"/>
                      <a:gd name="T2" fmla="*/ 0 w 3992"/>
                      <a:gd name="T3" fmla="*/ 0 h 3371"/>
                      <a:gd name="T4" fmla="*/ 0 w 3992"/>
                      <a:gd name="T5" fmla="*/ 0 h 3371"/>
                      <a:gd name="T6" fmla="*/ 0 w 3992"/>
                      <a:gd name="T7" fmla="*/ 0 h 3371"/>
                      <a:gd name="T8" fmla="*/ 0 w 3992"/>
                      <a:gd name="T9" fmla="*/ 0 h 3371"/>
                      <a:gd name="T10" fmla="*/ 0 w 3992"/>
                      <a:gd name="T11" fmla="*/ 0 h 3371"/>
                      <a:gd name="T12" fmla="*/ 0 w 3992"/>
                      <a:gd name="T13" fmla="*/ 0 h 3371"/>
                      <a:gd name="T14" fmla="*/ 0 w 3992"/>
                      <a:gd name="T15" fmla="*/ 0 h 3371"/>
                      <a:gd name="T16" fmla="*/ 0 w 3992"/>
                      <a:gd name="T17" fmla="*/ 0 h 3371"/>
                      <a:gd name="T18" fmla="*/ 0 w 3992"/>
                      <a:gd name="T19" fmla="*/ 0 h 3371"/>
                      <a:gd name="T20" fmla="*/ 0 w 3992"/>
                      <a:gd name="T21" fmla="*/ 0 h 3371"/>
                      <a:gd name="T22" fmla="*/ 0 w 3992"/>
                      <a:gd name="T23" fmla="*/ 0 h 3371"/>
                      <a:gd name="T24" fmla="*/ 0 w 3992"/>
                      <a:gd name="T25" fmla="*/ 0 h 3371"/>
                      <a:gd name="T26" fmla="*/ 0 w 3992"/>
                      <a:gd name="T27" fmla="*/ 0 h 3371"/>
                      <a:gd name="T28" fmla="*/ 0 w 3992"/>
                      <a:gd name="T29" fmla="*/ 0 h 3371"/>
                      <a:gd name="T30" fmla="*/ 0 w 3992"/>
                      <a:gd name="T31" fmla="*/ 0 h 3371"/>
                      <a:gd name="T32" fmla="*/ 0 w 3992"/>
                      <a:gd name="T33" fmla="*/ 0 h 3371"/>
                      <a:gd name="T34" fmla="*/ 0 w 3992"/>
                      <a:gd name="T35" fmla="*/ 0 h 3371"/>
                      <a:gd name="T36" fmla="*/ 0 w 3992"/>
                      <a:gd name="T37" fmla="*/ 0 h 3371"/>
                      <a:gd name="T38" fmla="*/ 0 w 3992"/>
                      <a:gd name="T39" fmla="*/ 0 h 3371"/>
                      <a:gd name="T40" fmla="*/ 0 w 3992"/>
                      <a:gd name="T41" fmla="*/ 0 h 3371"/>
                      <a:gd name="T42" fmla="*/ 0 w 3992"/>
                      <a:gd name="T43" fmla="*/ 0 h 3371"/>
                      <a:gd name="T44" fmla="*/ 0 w 3992"/>
                      <a:gd name="T45" fmla="*/ 0 h 3371"/>
                      <a:gd name="T46" fmla="*/ 0 w 3992"/>
                      <a:gd name="T47" fmla="*/ 0 h 3371"/>
                      <a:gd name="T48" fmla="*/ 0 w 3992"/>
                      <a:gd name="T49" fmla="*/ 0 h 3371"/>
                      <a:gd name="T50" fmla="*/ 0 w 3992"/>
                      <a:gd name="T51" fmla="*/ 0 h 3371"/>
                      <a:gd name="T52" fmla="*/ 0 w 3992"/>
                      <a:gd name="T53" fmla="*/ 0 h 3371"/>
                      <a:gd name="T54" fmla="*/ 0 w 3992"/>
                      <a:gd name="T55" fmla="*/ 0 h 3371"/>
                      <a:gd name="T56" fmla="*/ 0 w 3992"/>
                      <a:gd name="T57" fmla="*/ 0 h 3371"/>
                      <a:gd name="T58" fmla="*/ 0 w 3992"/>
                      <a:gd name="T59" fmla="*/ 0 h 3371"/>
                      <a:gd name="T60" fmla="*/ 0 w 3992"/>
                      <a:gd name="T61" fmla="*/ 0 h 3371"/>
                      <a:gd name="T62" fmla="*/ 0 w 3992"/>
                      <a:gd name="T63" fmla="*/ 0 h 3371"/>
                      <a:gd name="T64" fmla="*/ 0 w 3992"/>
                      <a:gd name="T65" fmla="*/ 0 h 3371"/>
                      <a:gd name="T66" fmla="*/ 0 w 3992"/>
                      <a:gd name="T67" fmla="*/ 0 h 3371"/>
                      <a:gd name="T68" fmla="*/ 0 w 3992"/>
                      <a:gd name="T69" fmla="*/ 0 h 3371"/>
                      <a:gd name="T70" fmla="*/ 0 w 3992"/>
                      <a:gd name="T71" fmla="*/ 0 h 3371"/>
                      <a:gd name="T72" fmla="*/ 0 w 3992"/>
                      <a:gd name="T73" fmla="*/ 0 h 3371"/>
                      <a:gd name="T74" fmla="*/ 0 w 3992"/>
                      <a:gd name="T75" fmla="*/ 0 h 3371"/>
                      <a:gd name="T76" fmla="*/ 0 w 3992"/>
                      <a:gd name="T77" fmla="*/ 0 h 3371"/>
                      <a:gd name="T78" fmla="*/ 0 w 3992"/>
                      <a:gd name="T79" fmla="*/ 0 h 3371"/>
                      <a:gd name="T80" fmla="*/ 0 w 3992"/>
                      <a:gd name="T81" fmla="*/ 0 h 3371"/>
                      <a:gd name="T82" fmla="*/ 0 w 3992"/>
                      <a:gd name="T83" fmla="*/ 0 h 3371"/>
                      <a:gd name="T84" fmla="*/ 0 w 3992"/>
                      <a:gd name="T85" fmla="*/ 0 h 3371"/>
                      <a:gd name="T86" fmla="*/ 0 w 3992"/>
                      <a:gd name="T87" fmla="*/ 0 h 3371"/>
                      <a:gd name="T88" fmla="*/ 0 w 3992"/>
                      <a:gd name="T89" fmla="*/ 0 h 3371"/>
                      <a:gd name="T90" fmla="*/ 0 w 3992"/>
                      <a:gd name="T91" fmla="*/ 0 h 3371"/>
                      <a:gd name="T92" fmla="*/ 0 w 3992"/>
                      <a:gd name="T93" fmla="*/ 0 h 3371"/>
                      <a:gd name="T94" fmla="*/ 0 w 3992"/>
                      <a:gd name="T95" fmla="*/ 0 h 3371"/>
                      <a:gd name="T96" fmla="*/ 0 w 3992"/>
                      <a:gd name="T97" fmla="*/ 0 h 3371"/>
                      <a:gd name="T98" fmla="*/ 0 w 3992"/>
                      <a:gd name="T99" fmla="*/ 0 h 3371"/>
                      <a:gd name="T100" fmla="*/ 0 w 3992"/>
                      <a:gd name="T101" fmla="*/ 0 h 3371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w 3992"/>
                      <a:gd name="T154" fmla="*/ 0 h 3371"/>
                      <a:gd name="T155" fmla="*/ 3992 w 3992"/>
                      <a:gd name="T156" fmla="*/ 3371 h 3371"/>
                    </a:gdLst>
                    <a:ahLst/>
                    <a:cxnLst>
                      <a:cxn ang="T102">
                        <a:pos x="T0" y="T1"/>
                      </a:cxn>
                      <a:cxn ang="T103">
                        <a:pos x="T2" y="T3"/>
                      </a:cxn>
                      <a:cxn ang="T104">
                        <a:pos x="T4" y="T5"/>
                      </a:cxn>
                      <a:cxn ang="T105">
                        <a:pos x="T6" y="T7"/>
                      </a:cxn>
                      <a:cxn ang="T106">
                        <a:pos x="T8" y="T9"/>
                      </a:cxn>
                      <a:cxn ang="T107">
                        <a:pos x="T10" y="T11"/>
                      </a:cxn>
                      <a:cxn ang="T108">
                        <a:pos x="T12" y="T13"/>
                      </a:cxn>
                      <a:cxn ang="T109">
                        <a:pos x="T14" y="T15"/>
                      </a:cxn>
                      <a:cxn ang="T110">
                        <a:pos x="T16" y="T17"/>
                      </a:cxn>
                      <a:cxn ang="T111">
                        <a:pos x="T18" y="T19"/>
                      </a:cxn>
                      <a:cxn ang="T112">
                        <a:pos x="T20" y="T21"/>
                      </a:cxn>
                      <a:cxn ang="T113">
                        <a:pos x="T22" y="T23"/>
                      </a:cxn>
                      <a:cxn ang="T114">
                        <a:pos x="T24" y="T25"/>
                      </a:cxn>
                      <a:cxn ang="T115">
                        <a:pos x="T26" y="T27"/>
                      </a:cxn>
                      <a:cxn ang="T116">
                        <a:pos x="T28" y="T29"/>
                      </a:cxn>
                      <a:cxn ang="T117">
                        <a:pos x="T30" y="T31"/>
                      </a:cxn>
                      <a:cxn ang="T118">
                        <a:pos x="T32" y="T33"/>
                      </a:cxn>
                      <a:cxn ang="T119">
                        <a:pos x="T34" y="T35"/>
                      </a:cxn>
                      <a:cxn ang="T120">
                        <a:pos x="T36" y="T37"/>
                      </a:cxn>
                      <a:cxn ang="T121">
                        <a:pos x="T38" y="T39"/>
                      </a:cxn>
                      <a:cxn ang="T122">
                        <a:pos x="T40" y="T41"/>
                      </a:cxn>
                      <a:cxn ang="T123">
                        <a:pos x="T42" y="T43"/>
                      </a:cxn>
                      <a:cxn ang="T124">
                        <a:pos x="T44" y="T45"/>
                      </a:cxn>
                      <a:cxn ang="T125">
                        <a:pos x="T46" y="T47"/>
                      </a:cxn>
                      <a:cxn ang="T126">
                        <a:pos x="T48" y="T49"/>
                      </a:cxn>
                      <a:cxn ang="T127">
                        <a:pos x="T50" y="T51"/>
                      </a:cxn>
                      <a:cxn ang="T128">
                        <a:pos x="T52" y="T53"/>
                      </a:cxn>
                      <a:cxn ang="T129">
                        <a:pos x="T54" y="T55"/>
                      </a:cxn>
                      <a:cxn ang="T130">
                        <a:pos x="T56" y="T57"/>
                      </a:cxn>
                      <a:cxn ang="T131">
                        <a:pos x="T58" y="T59"/>
                      </a:cxn>
                      <a:cxn ang="T132">
                        <a:pos x="T60" y="T61"/>
                      </a:cxn>
                      <a:cxn ang="T133">
                        <a:pos x="T62" y="T63"/>
                      </a:cxn>
                      <a:cxn ang="T134">
                        <a:pos x="T64" y="T65"/>
                      </a:cxn>
                      <a:cxn ang="T135">
                        <a:pos x="T66" y="T67"/>
                      </a:cxn>
                      <a:cxn ang="T136">
                        <a:pos x="T68" y="T69"/>
                      </a:cxn>
                      <a:cxn ang="T137">
                        <a:pos x="T70" y="T71"/>
                      </a:cxn>
                      <a:cxn ang="T138">
                        <a:pos x="T72" y="T73"/>
                      </a:cxn>
                      <a:cxn ang="T139">
                        <a:pos x="T74" y="T75"/>
                      </a:cxn>
                      <a:cxn ang="T140">
                        <a:pos x="T76" y="T77"/>
                      </a:cxn>
                      <a:cxn ang="T141">
                        <a:pos x="T78" y="T79"/>
                      </a:cxn>
                      <a:cxn ang="T142">
                        <a:pos x="T80" y="T81"/>
                      </a:cxn>
                      <a:cxn ang="T143">
                        <a:pos x="T82" y="T83"/>
                      </a:cxn>
                      <a:cxn ang="T144">
                        <a:pos x="T84" y="T85"/>
                      </a:cxn>
                      <a:cxn ang="T145">
                        <a:pos x="T86" y="T87"/>
                      </a:cxn>
                      <a:cxn ang="T146">
                        <a:pos x="T88" y="T89"/>
                      </a:cxn>
                      <a:cxn ang="T147">
                        <a:pos x="T90" y="T91"/>
                      </a:cxn>
                      <a:cxn ang="T148">
                        <a:pos x="T92" y="T93"/>
                      </a:cxn>
                      <a:cxn ang="T149">
                        <a:pos x="T94" y="T95"/>
                      </a:cxn>
                      <a:cxn ang="T150">
                        <a:pos x="T96" y="T97"/>
                      </a:cxn>
                      <a:cxn ang="T151">
                        <a:pos x="T98" y="T99"/>
                      </a:cxn>
                      <a:cxn ang="T152">
                        <a:pos x="T100" y="T101"/>
                      </a:cxn>
                    </a:cxnLst>
                    <a:rect l="T153" t="T154" r="T155" b="T156"/>
                    <a:pathLst>
                      <a:path w="3992" h="3371">
                        <a:moveTo>
                          <a:pt x="2681" y="32"/>
                        </a:moveTo>
                        <a:lnTo>
                          <a:pt x="2664" y="27"/>
                        </a:lnTo>
                        <a:lnTo>
                          <a:pt x="2647" y="21"/>
                        </a:lnTo>
                        <a:lnTo>
                          <a:pt x="2629" y="17"/>
                        </a:lnTo>
                        <a:lnTo>
                          <a:pt x="2611" y="12"/>
                        </a:lnTo>
                        <a:lnTo>
                          <a:pt x="2574" y="7"/>
                        </a:lnTo>
                        <a:lnTo>
                          <a:pt x="2539" y="3"/>
                        </a:lnTo>
                        <a:lnTo>
                          <a:pt x="2502" y="1"/>
                        </a:lnTo>
                        <a:lnTo>
                          <a:pt x="2464" y="0"/>
                        </a:lnTo>
                        <a:lnTo>
                          <a:pt x="2428" y="1"/>
                        </a:lnTo>
                        <a:lnTo>
                          <a:pt x="2390" y="3"/>
                        </a:lnTo>
                        <a:lnTo>
                          <a:pt x="2315" y="8"/>
                        </a:lnTo>
                        <a:lnTo>
                          <a:pt x="2241" y="13"/>
                        </a:lnTo>
                        <a:lnTo>
                          <a:pt x="2204" y="16"/>
                        </a:lnTo>
                        <a:lnTo>
                          <a:pt x="2166" y="17"/>
                        </a:lnTo>
                        <a:lnTo>
                          <a:pt x="2129" y="17"/>
                        </a:lnTo>
                        <a:lnTo>
                          <a:pt x="2094" y="16"/>
                        </a:lnTo>
                        <a:lnTo>
                          <a:pt x="2027" y="12"/>
                        </a:lnTo>
                        <a:lnTo>
                          <a:pt x="1961" y="9"/>
                        </a:lnTo>
                        <a:lnTo>
                          <a:pt x="1894" y="7"/>
                        </a:lnTo>
                        <a:lnTo>
                          <a:pt x="1829" y="6"/>
                        </a:lnTo>
                        <a:lnTo>
                          <a:pt x="1763" y="7"/>
                        </a:lnTo>
                        <a:lnTo>
                          <a:pt x="1696" y="9"/>
                        </a:lnTo>
                        <a:lnTo>
                          <a:pt x="1664" y="11"/>
                        </a:lnTo>
                        <a:lnTo>
                          <a:pt x="1631" y="14"/>
                        </a:lnTo>
                        <a:lnTo>
                          <a:pt x="1598" y="18"/>
                        </a:lnTo>
                        <a:lnTo>
                          <a:pt x="1566" y="22"/>
                        </a:lnTo>
                        <a:lnTo>
                          <a:pt x="1534" y="27"/>
                        </a:lnTo>
                        <a:lnTo>
                          <a:pt x="1502" y="32"/>
                        </a:lnTo>
                        <a:lnTo>
                          <a:pt x="1469" y="39"/>
                        </a:lnTo>
                        <a:lnTo>
                          <a:pt x="1437" y="46"/>
                        </a:lnTo>
                        <a:lnTo>
                          <a:pt x="1405" y="55"/>
                        </a:lnTo>
                        <a:lnTo>
                          <a:pt x="1374" y="63"/>
                        </a:lnTo>
                        <a:lnTo>
                          <a:pt x="1342" y="73"/>
                        </a:lnTo>
                        <a:lnTo>
                          <a:pt x="1311" y="85"/>
                        </a:lnTo>
                        <a:lnTo>
                          <a:pt x="1280" y="97"/>
                        </a:lnTo>
                        <a:lnTo>
                          <a:pt x="1249" y="110"/>
                        </a:lnTo>
                        <a:lnTo>
                          <a:pt x="1219" y="125"/>
                        </a:lnTo>
                        <a:lnTo>
                          <a:pt x="1189" y="140"/>
                        </a:lnTo>
                        <a:lnTo>
                          <a:pt x="1159" y="157"/>
                        </a:lnTo>
                        <a:lnTo>
                          <a:pt x="1129" y="175"/>
                        </a:lnTo>
                        <a:lnTo>
                          <a:pt x="1100" y="194"/>
                        </a:lnTo>
                        <a:lnTo>
                          <a:pt x="1071" y="215"/>
                        </a:lnTo>
                        <a:lnTo>
                          <a:pt x="990" y="278"/>
                        </a:lnTo>
                        <a:lnTo>
                          <a:pt x="913" y="348"/>
                        </a:lnTo>
                        <a:lnTo>
                          <a:pt x="839" y="422"/>
                        </a:lnTo>
                        <a:lnTo>
                          <a:pt x="769" y="501"/>
                        </a:lnTo>
                        <a:lnTo>
                          <a:pt x="702" y="583"/>
                        </a:lnTo>
                        <a:lnTo>
                          <a:pt x="640" y="669"/>
                        </a:lnTo>
                        <a:lnTo>
                          <a:pt x="580" y="758"/>
                        </a:lnTo>
                        <a:lnTo>
                          <a:pt x="524" y="849"/>
                        </a:lnTo>
                        <a:lnTo>
                          <a:pt x="471" y="943"/>
                        </a:lnTo>
                        <a:lnTo>
                          <a:pt x="422" y="1038"/>
                        </a:lnTo>
                        <a:lnTo>
                          <a:pt x="375" y="1134"/>
                        </a:lnTo>
                        <a:lnTo>
                          <a:pt x="332" y="1232"/>
                        </a:lnTo>
                        <a:lnTo>
                          <a:pt x="291" y="1329"/>
                        </a:lnTo>
                        <a:lnTo>
                          <a:pt x="254" y="1427"/>
                        </a:lnTo>
                        <a:lnTo>
                          <a:pt x="219" y="1522"/>
                        </a:lnTo>
                        <a:lnTo>
                          <a:pt x="187" y="1618"/>
                        </a:lnTo>
                        <a:lnTo>
                          <a:pt x="158" y="1713"/>
                        </a:lnTo>
                        <a:lnTo>
                          <a:pt x="131" y="1804"/>
                        </a:lnTo>
                        <a:lnTo>
                          <a:pt x="108" y="1894"/>
                        </a:lnTo>
                        <a:lnTo>
                          <a:pt x="87" y="1981"/>
                        </a:lnTo>
                        <a:lnTo>
                          <a:pt x="68" y="2063"/>
                        </a:lnTo>
                        <a:lnTo>
                          <a:pt x="51" y="2143"/>
                        </a:lnTo>
                        <a:lnTo>
                          <a:pt x="38" y="2218"/>
                        </a:lnTo>
                        <a:lnTo>
                          <a:pt x="26" y="2288"/>
                        </a:lnTo>
                        <a:lnTo>
                          <a:pt x="17" y="2354"/>
                        </a:lnTo>
                        <a:lnTo>
                          <a:pt x="9" y="2413"/>
                        </a:lnTo>
                        <a:lnTo>
                          <a:pt x="5" y="2466"/>
                        </a:lnTo>
                        <a:lnTo>
                          <a:pt x="1" y="2513"/>
                        </a:lnTo>
                        <a:lnTo>
                          <a:pt x="0" y="2553"/>
                        </a:lnTo>
                        <a:lnTo>
                          <a:pt x="0" y="2585"/>
                        </a:lnTo>
                        <a:lnTo>
                          <a:pt x="2" y="2610"/>
                        </a:lnTo>
                        <a:lnTo>
                          <a:pt x="7" y="2625"/>
                        </a:lnTo>
                        <a:lnTo>
                          <a:pt x="20" y="2652"/>
                        </a:lnTo>
                        <a:lnTo>
                          <a:pt x="32" y="2679"/>
                        </a:lnTo>
                        <a:lnTo>
                          <a:pt x="46" y="2704"/>
                        </a:lnTo>
                        <a:lnTo>
                          <a:pt x="60" y="2729"/>
                        </a:lnTo>
                        <a:lnTo>
                          <a:pt x="75" y="2752"/>
                        </a:lnTo>
                        <a:lnTo>
                          <a:pt x="89" y="2774"/>
                        </a:lnTo>
                        <a:lnTo>
                          <a:pt x="105" y="2797"/>
                        </a:lnTo>
                        <a:lnTo>
                          <a:pt x="120" y="2817"/>
                        </a:lnTo>
                        <a:lnTo>
                          <a:pt x="136" y="2837"/>
                        </a:lnTo>
                        <a:lnTo>
                          <a:pt x="153" y="2856"/>
                        </a:lnTo>
                        <a:lnTo>
                          <a:pt x="169" y="2873"/>
                        </a:lnTo>
                        <a:lnTo>
                          <a:pt x="186" y="2891"/>
                        </a:lnTo>
                        <a:lnTo>
                          <a:pt x="203" y="2908"/>
                        </a:lnTo>
                        <a:lnTo>
                          <a:pt x="219" y="2923"/>
                        </a:lnTo>
                        <a:lnTo>
                          <a:pt x="236" y="2938"/>
                        </a:lnTo>
                        <a:lnTo>
                          <a:pt x="254" y="2952"/>
                        </a:lnTo>
                        <a:lnTo>
                          <a:pt x="271" y="2966"/>
                        </a:lnTo>
                        <a:lnTo>
                          <a:pt x="288" y="2979"/>
                        </a:lnTo>
                        <a:lnTo>
                          <a:pt x="305" y="2991"/>
                        </a:lnTo>
                        <a:lnTo>
                          <a:pt x="323" y="3002"/>
                        </a:lnTo>
                        <a:lnTo>
                          <a:pt x="357" y="3022"/>
                        </a:lnTo>
                        <a:lnTo>
                          <a:pt x="391" y="3041"/>
                        </a:lnTo>
                        <a:lnTo>
                          <a:pt x="424" y="3057"/>
                        </a:lnTo>
                        <a:lnTo>
                          <a:pt x="456" y="3070"/>
                        </a:lnTo>
                        <a:lnTo>
                          <a:pt x="486" y="3081"/>
                        </a:lnTo>
                        <a:lnTo>
                          <a:pt x="517" y="3090"/>
                        </a:lnTo>
                        <a:lnTo>
                          <a:pt x="550" y="3100"/>
                        </a:lnTo>
                        <a:lnTo>
                          <a:pt x="586" y="3111"/>
                        </a:lnTo>
                        <a:lnTo>
                          <a:pt x="622" y="3125"/>
                        </a:lnTo>
                        <a:lnTo>
                          <a:pt x="660" y="3138"/>
                        </a:lnTo>
                        <a:lnTo>
                          <a:pt x="740" y="3169"/>
                        </a:lnTo>
                        <a:lnTo>
                          <a:pt x="825" y="3201"/>
                        </a:lnTo>
                        <a:lnTo>
                          <a:pt x="868" y="3216"/>
                        </a:lnTo>
                        <a:lnTo>
                          <a:pt x="913" y="3232"/>
                        </a:lnTo>
                        <a:lnTo>
                          <a:pt x="957" y="3246"/>
                        </a:lnTo>
                        <a:lnTo>
                          <a:pt x="1003" y="3260"/>
                        </a:lnTo>
                        <a:lnTo>
                          <a:pt x="1049" y="3272"/>
                        </a:lnTo>
                        <a:lnTo>
                          <a:pt x="1094" y="3282"/>
                        </a:lnTo>
                        <a:lnTo>
                          <a:pt x="1140" y="3291"/>
                        </a:lnTo>
                        <a:lnTo>
                          <a:pt x="1185" y="3296"/>
                        </a:lnTo>
                        <a:lnTo>
                          <a:pt x="1264" y="3306"/>
                        </a:lnTo>
                        <a:lnTo>
                          <a:pt x="1350" y="3316"/>
                        </a:lnTo>
                        <a:lnTo>
                          <a:pt x="1439" y="3327"/>
                        </a:lnTo>
                        <a:lnTo>
                          <a:pt x="1532" y="3339"/>
                        </a:lnTo>
                        <a:lnTo>
                          <a:pt x="1624" y="3350"/>
                        </a:lnTo>
                        <a:lnTo>
                          <a:pt x="1716" y="3359"/>
                        </a:lnTo>
                        <a:lnTo>
                          <a:pt x="1761" y="3363"/>
                        </a:lnTo>
                        <a:lnTo>
                          <a:pt x="1805" y="3366"/>
                        </a:lnTo>
                        <a:lnTo>
                          <a:pt x="1849" y="3369"/>
                        </a:lnTo>
                        <a:lnTo>
                          <a:pt x="1890" y="3371"/>
                        </a:lnTo>
                        <a:lnTo>
                          <a:pt x="1933" y="3371"/>
                        </a:lnTo>
                        <a:lnTo>
                          <a:pt x="1978" y="3370"/>
                        </a:lnTo>
                        <a:lnTo>
                          <a:pt x="2021" y="3367"/>
                        </a:lnTo>
                        <a:lnTo>
                          <a:pt x="2065" y="3364"/>
                        </a:lnTo>
                        <a:lnTo>
                          <a:pt x="2108" y="3359"/>
                        </a:lnTo>
                        <a:lnTo>
                          <a:pt x="2152" y="3353"/>
                        </a:lnTo>
                        <a:lnTo>
                          <a:pt x="2195" y="3346"/>
                        </a:lnTo>
                        <a:lnTo>
                          <a:pt x="2238" y="3340"/>
                        </a:lnTo>
                        <a:lnTo>
                          <a:pt x="2324" y="3325"/>
                        </a:lnTo>
                        <a:lnTo>
                          <a:pt x="2410" y="3313"/>
                        </a:lnTo>
                        <a:lnTo>
                          <a:pt x="2452" y="3307"/>
                        </a:lnTo>
                        <a:lnTo>
                          <a:pt x="2494" y="3302"/>
                        </a:lnTo>
                        <a:lnTo>
                          <a:pt x="2536" y="3298"/>
                        </a:lnTo>
                        <a:lnTo>
                          <a:pt x="2578" y="3296"/>
                        </a:lnTo>
                        <a:lnTo>
                          <a:pt x="2615" y="3294"/>
                        </a:lnTo>
                        <a:lnTo>
                          <a:pt x="2655" y="3291"/>
                        </a:lnTo>
                        <a:lnTo>
                          <a:pt x="2698" y="3285"/>
                        </a:lnTo>
                        <a:lnTo>
                          <a:pt x="2745" y="3278"/>
                        </a:lnTo>
                        <a:lnTo>
                          <a:pt x="2793" y="3270"/>
                        </a:lnTo>
                        <a:lnTo>
                          <a:pt x="2842" y="3261"/>
                        </a:lnTo>
                        <a:lnTo>
                          <a:pt x="2892" y="3251"/>
                        </a:lnTo>
                        <a:lnTo>
                          <a:pt x="2942" y="3239"/>
                        </a:lnTo>
                        <a:lnTo>
                          <a:pt x="3040" y="3218"/>
                        </a:lnTo>
                        <a:lnTo>
                          <a:pt x="3133" y="3196"/>
                        </a:lnTo>
                        <a:lnTo>
                          <a:pt x="3214" y="3175"/>
                        </a:lnTo>
                        <a:lnTo>
                          <a:pt x="3282" y="3158"/>
                        </a:lnTo>
                        <a:lnTo>
                          <a:pt x="3327" y="3146"/>
                        </a:lnTo>
                        <a:lnTo>
                          <a:pt x="3375" y="3132"/>
                        </a:lnTo>
                        <a:lnTo>
                          <a:pt x="3425" y="3115"/>
                        </a:lnTo>
                        <a:lnTo>
                          <a:pt x="3477" y="3096"/>
                        </a:lnTo>
                        <a:lnTo>
                          <a:pt x="3531" y="3075"/>
                        </a:lnTo>
                        <a:lnTo>
                          <a:pt x="3584" y="3053"/>
                        </a:lnTo>
                        <a:lnTo>
                          <a:pt x="3637" y="3027"/>
                        </a:lnTo>
                        <a:lnTo>
                          <a:pt x="3689" y="3000"/>
                        </a:lnTo>
                        <a:lnTo>
                          <a:pt x="3714" y="2986"/>
                        </a:lnTo>
                        <a:lnTo>
                          <a:pt x="3740" y="2971"/>
                        </a:lnTo>
                        <a:lnTo>
                          <a:pt x="3764" y="2957"/>
                        </a:lnTo>
                        <a:lnTo>
                          <a:pt x="3788" y="2941"/>
                        </a:lnTo>
                        <a:lnTo>
                          <a:pt x="3810" y="2926"/>
                        </a:lnTo>
                        <a:lnTo>
                          <a:pt x="3832" y="2909"/>
                        </a:lnTo>
                        <a:lnTo>
                          <a:pt x="3853" y="2892"/>
                        </a:lnTo>
                        <a:lnTo>
                          <a:pt x="3873" y="2874"/>
                        </a:lnTo>
                        <a:lnTo>
                          <a:pt x="3892" y="2858"/>
                        </a:lnTo>
                        <a:lnTo>
                          <a:pt x="3910" y="2840"/>
                        </a:lnTo>
                        <a:lnTo>
                          <a:pt x="3927" y="2821"/>
                        </a:lnTo>
                        <a:lnTo>
                          <a:pt x="3941" y="2802"/>
                        </a:lnTo>
                        <a:lnTo>
                          <a:pt x="3955" y="2783"/>
                        </a:lnTo>
                        <a:lnTo>
                          <a:pt x="3967" y="2764"/>
                        </a:lnTo>
                        <a:lnTo>
                          <a:pt x="3977" y="2744"/>
                        </a:lnTo>
                        <a:lnTo>
                          <a:pt x="3986" y="2724"/>
                        </a:lnTo>
                        <a:lnTo>
                          <a:pt x="3990" y="2703"/>
                        </a:lnTo>
                        <a:lnTo>
                          <a:pt x="3992" y="2671"/>
                        </a:lnTo>
                        <a:lnTo>
                          <a:pt x="3991" y="2627"/>
                        </a:lnTo>
                        <a:lnTo>
                          <a:pt x="3988" y="2575"/>
                        </a:lnTo>
                        <a:lnTo>
                          <a:pt x="3982" y="2514"/>
                        </a:lnTo>
                        <a:lnTo>
                          <a:pt x="3974" y="2445"/>
                        </a:lnTo>
                        <a:lnTo>
                          <a:pt x="3962" y="2368"/>
                        </a:lnTo>
                        <a:lnTo>
                          <a:pt x="3948" y="2284"/>
                        </a:lnTo>
                        <a:lnTo>
                          <a:pt x="3931" y="2195"/>
                        </a:lnTo>
                        <a:lnTo>
                          <a:pt x="3911" y="2099"/>
                        </a:lnTo>
                        <a:lnTo>
                          <a:pt x="3888" y="1999"/>
                        </a:lnTo>
                        <a:lnTo>
                          <a:pt x="3862" y="1894"/>
                        </a:lnTo>
                        <a:lnTo>
                          <a:pt x="3833" y="1787"/>
                        </a:lnTo>
                        <a:lnTo>
                          <a:pt x="3802" y="1677"/>
                        </a:lnTo>
                        <a:lnTo>
                          <a:pt x="3768" y="1565"/>
                        </a:lnTo>
                        <a:lnTo>
                          <a:pt x="3730" y="1451"/>
                        </a:lnTo>
                        <a:lnTo>
                          <a:pt x="3689" y="1338"/>
                        </a:lnTo>
                        <a:lnTo>
                          <a:pt x="3644" y="1223"/>
                        </a:lnTo>
                        <a:lnTo>
                          <a:pt x="3597" y="1111"/>
                        </a:lnTo>
                        <a:lnTo>
                          <a:pt x="3547" y="999"/>
                        </a:lnTo>
                        <a:lnTo>
                          <a:pt x="3494" y="889"/>
                        </a:lnTo>
                        <a:lnTo>
                          <a:pt x="3437" y="783"/>
                        </a:lnTo>
                        <a:lnTo>
                          <a:pt x="3377" y="680"/>
                        </a:lnTo>
                        <a:lnTo>
                          <a:pt x="3314" y="582"/>
                        </a:lnTo>
                        <a:lnTo>
                          <a:pt x="3247" y="489"/>
                        </a:lnTo>
                        <a:lnTo>
                          <a:pt x="3175" y="401"/>
                        </a:lnTo>
                        <a:lnTo>
                          <a:pt x="3102" y="319"/>
                        </a:lnTo>
                        <a:lnTo>
                          <a:pt x="3025" y="245"/>
                        </a:lnTo>
                        <a:lnTo>
                          <a:pt x="2945" y="178"/>
                        </a:lnTo>
                        <a:lnTo>
                          <a:pt x="2861" y="120"/>
                        </a:lnTo>
                        <a:lnTo>
                          <a:pt x="2773" y="71"/>
                        </a:lnTo>
                        <a:lnTo>
                          <a:pt x="2681" y="32"/>
                        </a:lnTo>
                        <a:close/>
                      </a:path>
                    </a:pathLst>
                  </a:custGeom>
                  <a:solidFill>
                    <a:srgbClr val="311F74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85" name="Freeform 182"/>
                  <p:cNvSpPr>
                    <a:spLocks noEditPoints="1"/>
                  </p:cNvSpPr>
                  <p:nvPr/>
                </p:nvSpPr>
                <p:spPr bwMode="auto">
                  <a:xfrm>
                    <a:off x="3333" y="3710"/>
                    <a:ext cx="230" cy="174"/>
                  </a:xfrm>
                  <a:custGeom>
                    <a:avLst/>
                    <a:gdLst>
                      <a:gd name="T0" fmla="*/ 0 w 1608"/>
                      <a:gd name="T1" fmla="*/ 0 h 1215"/>
                      <a:gd name="T2" fmla="*/ 0 w 1608"/>
                      <a:gd name="T3" fmla="*/ 0 h 1215"/>
                      <a:gd name="T4" fmla="*/ 0 w 1608"/>
                      <a:gd name="T5" fmla="*/ 0 h 1215"/>
                      <a:gd name="T6" fmla="*/ 0 w 1608"/>
                      <a:gd name="T7" fmla="*/ 0 h 1215"/>
                      <a:gd name="T8" fmla="*/ 0 w 1608"/>
                      <a:gd name="T9" fmla="*/ 0 h 1215"/>
                      <a:gd name="T10" fmla="*/ 0 w 1608"/>
                      <a:gd name="T11" fmla="*/ 0 h 1215"/>
                      <a:gd name="T12" fmla="*/ 0 w 1608"/>
                      <a:gd name="T13" fmla="*/ 0 h 1215"/>
                      <a:gd name="T14" fmla="*/ 0 w 1608"/>
                      <a:gd name="T15" fmla="*/ 0 h 1215"/>
                      <a:gd name="T16" fmla="*/ 0 w 1608"/>
                      <a:gd name="T17" fmla="*/ 0 h 1215"/>
                      <a:gd name="T18" fmla="*/ 0 w 1608"/>
                      <a:gd name="T19" fmla="*/ 0 h 1215"/>
                      <a:gd name="T20" fmla="*/ 0 w 1608"/>
                      <a:gd name="T21" fmla="*/ 0 h 1215"/>
                      <a:gd name="T22" fmla="*/ 0 w 1608"/>
                      <a:gd name="T23" fmla="*/ 0 h 1215"/>
                      <a:gd name="T24" fmla="*/ 0 w 1608"/>
                      <a:gd name="T25" fmla="*/ 0 h 1215"/>
                      <a:gd name="T26" fmla="*/ 0 w 1608"/>
                      <a:gd name="T27" fmla="*/ 0 h 1215"/>
                      <a:gd name="T28" fmla="*/ 0 w 1608"/>
                      <a:gd name="T29" fmla="*/ 0 h 1215"/>
                      <a:gd name="T30" fmla="*/ 0 w 1608"/>
                      <a:gd name="T31" fmla="*/ 0 h 1215"/>
                      <a:gd name="T32" fmla="*/ 0 w 1608"/>
                      <a:gd name="T33" fmla="*/ 0 h 1215"/>
                      <a:gd name="T34" fmla="*/ 0 w 1608"/>
                      <a:gd name="T35" fmla="*/ 0 h 1215"/>
                      <a:gd name="T36" fmla="*/ 0 w 1608"/>
                      <a:gd name="T37" fmla="*/ 0 h 1215"/>
                      <a:gd name="T38" fmla="*/ 0 w 1608"/>
                      <a:gd name="T39" fmla="*/ 0 h 1215"/>
                      <a:gd name="T40" fmla="*/ 0 w 1608"/>
                      <a:gd name="T41" fmla="*/ 0 h 1215"/>
                      <a:gd name="T42" fmla="*/ 0 w 1608"/>
                      <a:gd name="T43" fmla="*/ 0 h 1215"/>
                      <a:gd name="T44" fmla="*/ 0 w 1608"/>
                      <a:gd name="T45" fmla="*/ 0 h 1215"/>
                      <a:gd name="T46" fmla="*/ 0 w 1608"/>
                      <a:gd name="T47" fmla="*/ 0 h 1215"/>
                      <a:gd name="T48" fmla="*/ 0 w 1608"/>
                      <a:gd name="T49" fmla="*/ 0 h 1215"/>
                      <a:gd name="T50" fmla="*/ 0 w 1608"/>
                      <a:gd name="T51" fmla="*/ 0 h 1215"/>
                      <a:gd name="T52" fmla="*/ 0 w 1608"/>
                      <a:gd name="T53" fmla="*/ 0 h 1215"/>
                      <a:gd name="T54" fmla="*/ 0 w 1608"/>
                      <a:gd name="T55" fmla="*/ 0 h 1215"/>
                      <a:gd name="T56" fmla="*/ 0 w 1608"/>
                      <a:gd name="T57" fmla="*/ 0 h 1215"/>
                      <a:gd name="T58" fmla="*/ 0 w 1608"/>
                      <a:gd name="T59" fmla="*/ 0 h 1215"/>
                      <a:gd name="T60" fmla="*/ 0 w 1608"/>
                      <a:gd name="T61" fmla="*/ 0 h 1215"/>
                      <a:gd name="T62" fmla="*/ 0 w 1608"/>
                      <a:gd name="T63" fmla="*/ 0 h 1215"/>
                      <a:gd name="T64" fmla="*/ 0 w 1608"/>
                      <a:gd name="T65" fmla="*/ 0 h 1215"/>
                      <a:gd name="T66" fmla="*/ 0 w 1608"/>
                      <a:gd name="T67" fmla="*/ 0 h 1215"/>
                      <a:gd name="T68" fmla="*/ 0 w 1608"/>
                      <a:gd name="T69" fmla="*/ 0 h 1215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w 1608"/>
                      <a:gd name="T106" fmla="*/ 0 h 1215"/>
                      <a:gd name="T107" fmla="*/ 1608 w 1608"/>
                      <a:gd name="T108" fmla="*/ 1215 h 1215"/>
                    </a:gdLst>
                    <a:ahLst/>
                    <a:cxnLst>
                      <a:cxn ang="T70">
                        <a:pos x="T0" y="T1"/>
                      </a:cxn>
                      <a:cxn ang="T71">
                        <a:pos x="T2" y="T3"/>
                      </a:cxn>
                      <a:cxn ang="T72">
                        <a:pos x="T4" y="T5"/>
                      </a:cxn>
                      <a:cxn ang="T73">
                        <a:pos x="T6" y="T7"/>
                      </a:cxn>
                      <a:cxn ang="T74">
                        <a:pos x="T8" y="T9"/>
                      </a:cxn>
                      <a:cxn ang="T75">
                        <a:pos x="T10" y="T11"/>
                      </a:cxn>
                      <a:cxn ang="T76">
                        <a:pos x="T12" y="T13"/>
                      </a:cxn>
                      <a:cxn ang="T77">
                        <a:pos x="T14" y="T15"/>
                      </a:cxn>
                      <a:cxn ang="T78">
                        <a:pos x="T16" y="T17"/>
                      </a:cxn>
                      <a:cxn ang="T79">
                        <a:pos x="T18" y="T19"/>
                      </a:cxn>
                      <a:cxn ang="T80">
                        <a:pos x="T20" y="T21"/>
                      </a:cxn>
                      <a:cxn ang="T81">
                        <a:pos x="T22" y="T23"/>
                      </a:cxn>
                      <a:cxn ang="T82">
                        <a:pos x="T24" y="T25"/>
                      </a:cxn>
                      <a:cxn ang="T83">
                        <a:pos x="T26" y="T27"/>
                      </a:cxn>
                      <a:cxn ang="T84">
                        <a:pos x="T28" y="T29"/>
                      </a:cxn>
                      <a:cxn ang="T85">
                        <a:pos x="T30" y="T31"/>
                      </a:cxn>
                      <a:cxn ang="T86">
                        <a:pos x="T32" y="T33"/>
                      </a:cxn>
                      <a:cxn ang="T87">
                        <a:pos x="T34" y="T35"/>
                      </a:cxn>
                      <a:cxn ang="T88">
                        <a:pos x="T36" y="T37"/>
                      </a:cxn>
                      <a:cxn ang="T89">
                        <a:pos x="T38" y="T39"/>
                      </a:cxn>
                      <a:cxn ang="T90">
                        <a:pos x="T40" y="T41"/>
                      </a:cxn>
                      <a:cxn ang="T91">
                        <a:pos x="T42" y="T43"/>
                      </a:cxn>
                      <a:cxn ang="T92">
                        <a:pos x="T44" y="T45"/>
                      </a:cxn>
                      <a:cxn ang="T93">
                        <a:pos x="T46" y="T47"/>
                      </a:cxn>
                      <a:cxn ang="T94">
                        <a:pos x="T48" y="T49"/>
                      </a:cxn>
                      <a:cxn ang="T95">
                        <a:pos x="T50" y="T51"/>
                      </a:cxn>
                      <a:cxn ang="T96">
                        <a:pos x="T52" y="T53"/>
                      </a:cxn>
                      <a:cxn ang="T97">
                        <a:pos x="T54" y="T55"/>
                      </a:cxn>
                      <a:cxn ang="T98">
                        <a:pos x="T56" y="T57"/>
                      </a:cxn>
                      <a:cxn ang="T99">
                        <a:pos x="T58" y="T59"/>
                      </a:cxn>
                      <a:cxn ang="T100">
                        <a:pos x="T60" y="T61"/>
                      </a:cxn>
                      <a:cxn ang="T101">
                        <a:pos x="T62" y="T63"/>
                      </a:cxn>
                      <a:cxn ang="T102">
                        <a:pos x="T64" y="T65"/>
                      </a:cxn>
                      <a:cxn ang="T103">
                        <a:pos x="T66" y="T67"/>
                      </a:cxn>
                      <a:cxn ang="T104">
                        <a:pos x="T68" y="T69"/>
                      </a:cxn>
                    </a:cxnLst>
                    <a:rect l="T105" t="T106" r="T107" b="T108"/>
                    <a:pathLst>
                      <a:path w="1608" h="1215">
                        <a:moveTo>
                          <a:pt x="1573" y="0"/>
                        </a:moveTo>
                        <a:lnTo>
                          <a:pt x="0" y="0"/>
                        </a:lnTo>
                        <a:lnTo>
                          <a:pt x="1" y="1215"/>
                        </a:lnTo>
                        <a:lnTo>
                          <a:pt x="1596" y="1215"/>
                        </a:lnTo>
                        <a:lnTo>
                          <a:pt x="1608" y="0"/>
                        </a:lnTo>
                        <a:lnTo>
                          <a:pt x="1573" y="0"/>
                        </a:lnTo>
                        <a:close/>
                        <a:moveTo>
                          <a:pt x="1537" y="54"/>
                        </a:moveTo>
                        <a:lnTo>
                          <a:pt x="1537" y="75"/>
                        </a:lnTo>
                        <a:lnTo>
                          <a:pt x="1537" y="115"/>
                        </a:lnTo>
                        <a:lnTo>
                          <a:pt x="1536" y="171"/>
                        </a:lnTo>
                        <a:lnTo>
                          <a:pt x="1535" y="241"/>
                        </a:lnTo>
                        <a:lnTo>
                          <a:pt x="1535" y="324"/>
                        </a:lnTo>
                        <a:lnTo>
                          <a:pt x="1534" y="414"/>
                        </a:lnTo>
                        <a:lnTo>
                          <a:pt x="1533" y="510"/>
                        </a:lnTo>
                        <a:lnTo>
                          <a:pt x="1532" y="609"/>
                        </a:lnTo>
                        <a:lnTo>
                          <a:pt x="1530" y="708"/>
                        </a:lnTo>
                        <a:lnTo>
                          <a:pt x="1529" y="803"/>
                        </a:lnTo>
                        <a:lnTo>
                          <a:pt x="1529" y="894"/>
                        </a:lnTo>
                        <a:lnTo>
                          <a:pt x="1528" y="975"/>
                        </a:lnTo>
                        <a:lnTo>
                          <a:pt x="1527" y="1046"/>
                        </a:lnTo>
                        <a:lnTo>
                          <a:pt x="1527" y="1103"/>
                        </a:lnTo>
                        <a:lnTo>
                          <a:pt x="1526" y="1142"/>
                        </a:lnTo>
                        <a:lnTo>
                          <a:pt x="1526" y="1162"/>
                        </a:lnTo>
                        <a:lnTo>
                          <a:pt x="1500" y="1162"/>
                        </a:lnTo>
                        <a:lnTo>
                          <a:pt x="1448" y="1162"/>
                        </a:lnTo>
                        <a:lnTo>
                          <a:pt x="1373" y="1162"/>
                        </a:lnTo>
                        <a:lnTo>
                          <a:pt x="1281" y="1162"/>
                        </a:lnTo>
                        <a:lnTo>
                          <a:pt x="1173" y="1162"/>
                        </a:lnTo>
                        <a:lnTo>
                          <a:pt x="1054" y="1162"/>
                        </a:lnTo>
                        <a:lnTo>
                          <a:pt x="928" y="1162"/>
                        </a:lnTo>
                        <a:lnTo>
                          <a:pt x="799" y="1162"/>
                        </a:lnTo>
                        <a:lnTo>
                          <a:pt x="669" y="1162"/>
                        </a:lnTo>
                        <a:lnTo>
                          <a:pt x="543" y="1162"/>
                        </a:lnTo>
                        <a:lnTo>
                          <a:pt x="425" y="1162"/>
                        </a:lnTo>
                        <a:lnTo>
                          <a:pt x="317" y="1162"/>
                        </a:lnTo>
                        <a:lnTo>
                          <a:pt x="225" y="1162"/>
                        </a:lnTo>
                        <a:lnTo>
                          <a:pt x="150" y="1162"/>
                        </a:lnTo>
                        <a:lnTo>
                          <a:pt x="98" y="1162"/>
                        </a:lnTo>
                        <a:lnTo>
                          <a:pt x="71" y="1162"/>
                        </a:lnTo>
                        <a:lnTo>
                          <a:pt x="71" y="1142"/>
                        </a:lnTo>
                        <a:lnTo>
                          <a:pt x="71" y="1103"/>
                        </a:lnTo>
                        <a:lnTo>
                          <a:pt x="71" y="1046"/>
                        </a:lnTo>
                        <a:lnTo>
                          <a:pt x="71" y="975"/>
                        </a:lnTo>
                        <a:lnTo>
                          <a:pt x="71" y="894"/>
                        </a:lnTo>
                        <a:lnTo>
                          <a:pt x="71" y="803"/>
                        </a:lnTo>
                        <a:lnTo>
                          <a:pt x="71" y="708"/>
                        </a:lnTo>
                        <a:lnTo>
                          <a:pt x="71" y="609"/>
                        </a:lnTo>
                        <a:lnTo>
                          <a:pt x="71" y="510"/>
                        </a:lnTo>
                        <a:lnTo>
                          <a:pt x="71" y="414"/>
                        </a:lnTo>
                        <a:lnTo>
                          <a:pt x="71" y="324"/>
                        </a:lnTo>
                        <a:lnTo>
                          <a:pt x="71" y="241"/>
                        </a:lnTo>
                        <a:lnTo>
                          <a:pt x="71" y="171"/>
                        </a:lnTo>
                        <a:lnTo>
                          <a:pt x="71" y="115"/>
                        </a:lnTo>
                        <a:lnTo>
                          <a:pt x="71" y="75"/>
                        </a:lnTo>
                        <a:lnTo>
                          <a:pt x="71" y="54"/>
                        </a:lnTo>
                        <a:lnTo>
                          <a:pt x="98" y="54"/>
                        </a:lnTo>
                        <a:lnTo>
                          <a:pt x="150" y="54"/>
                        </a:lnTo>
                        <a:lnTo>
                          <a:pt x="225" y="54"/>
                        </a:lnTo>
                        <a:lnTo>
                          <a:pt x="318" y="54"/>
                        </a:lnTo>
                        <a:lnTo>
                          <a:pt x="427" y="54"/>
                        </a:lnTo>
                        <a:lnTo>
                          <a:pt x="547" y="54"/>
                        </a:lnTo>
                        <a:lnTo>
                          <a:pt x="673" y="54"/>
                        </a:lnTo>
                        <a:lnTo>
                          <a:pt x="804" y="54"/>
                        </a:lnTo>
                        <a:lnTo>
                          <a:pt x="935" y="54"/>
                        </a:lnTo>
                        <a:lnTo>
                          <a:pt x="1062" y="54"/>
                        </a:lnTo>
                        <a:lnTo>
                          <a:pt x="1181" y="54"/>
                        </a:lnTo>
                        <a:lnTo>
                          <a:pt x="1289" y="54"/>
                        </a:lnTo>
                        <a:lnTo>
                          <a:pt x="1382" y="54"/>
                        </a:lnTo>
                        <a:lnTo>
                          <a:pt x="1458" y="54"/>
                        </a:lnTo>
                        <a:lnTo>
                          <a:pt x="1510" y="54"/>
                        </a:lnTo>
                        <a:lnTo>
                          <a:pt x="1537" y="54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86" name="Freeform 183"/>
                  <p:cNvSpPr>
                    <a:spLocks noEditPoints="1"/>
                  </p:cNvSpPr>
                  <p:nvPr/>
                </p:nvSpPr>
                <p:spPr bwMode="auto">
                  <a:xfrm>
                    <a:off x="3359" y="3730"/>
                    <a:ext cx="178" cy="134"/>
                  </a:xfrm>
                  <a:custGeom>
                    <a:avLst/>
                    <a:gdLst>
                      <a:gd name="T0" fmla="*/ 0 w 1245"/>
                      <a:gd name="T1" fmla="*/ 0 h 941"/>
                      <a:gd name="T2" fmla="*/ 0 w 1245"/>
                      <a:gd name="T3" fmla="*/ 0 h 941"/>
                      <a:gd name="T4" fmla="*/ 0 w 1245"/>
                      <a:gd name="T5" fmla="*/ 0 h 941"/>
                      <a:gd name="T6" fmla="*/ 0 w 1245"/>
                      <a:gd name="T7" fmla="*/ 0 h 941"/>
                      <a:gd name="T8" fmla="*/ 0 w 1245"/>
                      <a:gd name="T9" fmla="*/ 0 h 941"/>
                      <a:gd name="T10" fmla="*/ 0 w 1245"/>
                      <a:gd name="T11" fmla="*/ 0 h 941"/>
                      <a:gd name="T12" fmla="*/ 0 w 1245"/>
                      <a:gd name="T13" fmla="*/ 0 h 941"/>
                      <a:gd name="T14" fmla="*/ 0 w 1245"/>
                      <a:gd name="T15" fmla="*/ 0 h 941"/>
                      <a:gd name="T16" fmla="*/ 0 w 1245"/>
                      <a:gd name="T17" fmla="*/ 0 h 941"/>
                      <a:gd name="T18" fmla="*/ 0 w 1245"/>
                      <a:gd name="T19" fmla="*/ 0 h 941"/>
                      <a:gd name="T20" fmla="*/ 0 w 1245"/>
                      <a:gd name="T21" fmla="*/ 0 h 941"/>
                      <a:gd name="T22" fmla="*/ 0 w 1245"/>
                      <a:gd name="T23" fmla="*/ 0 h 941"/>
                      <a:gd name="T24" fmla="*/ 0 w 1245"/>
                      <a:gd name="T25" fmla="*/ 0 h 941"/>
                      <a:gd name="T26" fmla="*/ 0 w 1245"/>
                      <a:gd name="T27" fmla="*/ 0 h 941"/>
                      <a:gd name="T28" fmla="*/ 0 w 1245"/>
                      <a:gd name="T29" fmla="*/ 0 h 941"/>
                      <a:gd name="T30" fmla="*/ 0 w 1245"/>
                      <a:gd name="T31" fmla="*/ 0 h 941"/>
                      <a:gd name="T32" fmla="*/ 0 w 1245"/>
                      <a:gd name="T33" fmla="*/ 0 h 941"/>
                      <a:gd name="T34" fmla="*/ 0 w 1245"/>
                      <a:gd name="T35" fmla="*/ 0 h 941"/>
                      <a:gd name="T36" fmla="*/ 0 w 1245"/>
                      <a:gd name="T37" fmla="*/ 0 h 941"/>
                      <a:gd name="T38" fmla="*/ 0 w 1245"/>
                      <a:gd name="T39" fmla="*/ 0 h 941"/>
                      <a:gd name="T40" fmla="*/ 0 w 1245"/>
                      <a:gd name="T41" fmla="*/ 0 h 941"/>
                      <a:gd name="T42" fmla="*/ 0 w 1245"/>
                      <a:gd name="T43" fmla="*/ 0 h 941"/>
                      <a:gd name="T44" fmla="*/ 0 w 1245"/>
                      <a:gd name="T45" fmla="*/ 0 h 941"/>
                      <a:gd name="T46" fmla="*/ 0 w 1245"/>
                      <a:gd name="T47" fmla="*/ 0 h 941"/>
                      <a:gd name="T48" fmla="*/ 0 w 1245"/>
                      <a:gd name="T49" fmla="*/ 0 h 941"/>
                      <a:gd name="T50" fmla="*/ 0 w 1245"/>
                      <a:gd name="T51" fmla="*/ 0 h 941"/>
                      <a:gd name="T52" fmla="*/ 0 w 1245"/>
                      <a:gd name="T53" fmla="*/ 0 h 941"/>
                      <a:gd name="T54" fmla="*/ 0 w 1245"/>
                      <a:gd name="T55" fmla="*/ 0 h 941"/>
                      <a:gd name="T56" fmla="*/ 0 w 1245"/>
                      <a:gd name="T57" fmla="*/ 0 h 941"/>
                      <a:gd name="T58" fmla="*/ 0 w 1245"/>
                      <a:gd name="T59" fmla="*/ 0 h 941"/>
                      <a:gd name="T60" fmla="*/ 0 w 1245"/>
                      <a:gd name="T61" fmla="*/ 0 h 941"/>
                      <a:gd name="T62" fmla="*/ 0 w 1245"/>
                      <a:gd name="T63" fmla="*/ 0 h 941"/>
                      <a:gd name="T64" fmla="*/ 0 w 1245"/>
                      <a:gd name="T65" fmla="*/ 0 h 941"/>
                      <a:gd name="T66" fmla="*/ 0 w 1245"/>
                      <a:gd name="T67" fmla="*/ 0 h 941"/>
                      <a:gd name="T68" fmla="*/ 0 w 1245"/>
                      <a:gd name="T69" fmla="*/ 0 h 941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w 1245"/>
                      <a:gd name="T106" fmla="*/ 0 h 941"/>
                      <a:gd name="T107" fmla="*/ 1245 w 1245"/>
                      <a:gd name="T108" fmla="*/ 941 h 941"/>
                    </a:gdLst>
                    <a:ahLst/>
                    <a:cxnLst>
                      <a:cxn ang="T70">
                        <a:pos x="T0" y="T1"/>
                      </a:cxn>
                      <a:cxn ang="T71">
                        <a:pos x="T2" y="T3"/>
                      </a:cxn>
                      <a:cxn ang="T72">
                        <a:pos x="T4" y="T5"/>
                      </a:cxn>
                      <a:cxn ang="T73">
                        <a:pos x="T6" y="T7"/>
                      </a:cxn>
                      <a:cxn ang="T74">
                        <a:pos x="T8" y="T9"/>
                      </a:cxn>
                      <a:cxn ang="T75">
                        <a:pos x="T10" y="T11"/>
                      </a:cxn>
                      <a:cxn ang="T76">
                        <a:pos x="T12" y="T13"/>
                      </a:cxn>
                      <a:cxn ang="T77">
                        <a:pos x="T14" y="T15"/>
                      </a:cxn>
                      <a:cxn ang="T78">
                        <a:pos x="T16" y="T17"/>
                      </a:cxn>
                      <a:cxn ang="T79">
                        <a:pos x="T18" y="T19"/>
                      </a:cxn>
                      <a:cxn ang="T80">
                        <a:pos x="T20" y="T21"/>
                      </a:cxn>
                      <a:cxn ang="T81">
                        <a:pos x="T22" y="T23"/>
                      </a:cxn>
                      <a:cxn ang="T82">
                        <a:pos x="T24" y="T25"/>
                      </a:cxn>
                      <a:cxn ang="T83">
                        <a:pos x="T26" y="T27"/>
                      </a:cxn>
                      <a:cxn ang="T84">
                        <a:pos x="T28" y="T29"/>
                      </a:cxn>
                      <a:cxn ang="T85">
                        <a:pos x="T30" y="T31"/>
                      </a:cxn>
                      <a:cxn ang="T86">
                        <a:pos x="T32" y="T33"/>
                      </a:cxn>
                      <a:cxn ang="T87">
                        <a:pos x="T34" y="T35"/>
                      </a:cxn>
                      <a:cxn ang="T88">
                        <a:pos x="T36" y="T37"/>
                      </a:cxn>
                      <a:cxn ang="T89">
                        <a:pos x="T38" y="T39"/>
                      </a:cxn>
                      <a:cxn ang="T90">
                        <a:pos x="T40" y="T41"/>
                      </a:cxn>
                      <a:cxn ang="T91">
                        <a:pos x="T42" y="T43"/>
                      </a:cxn>
                      <a:cxn ang="T92">
                        <a:pos x="T44" y="T45"/>
                      </a:cxn>
                      <a:cxn ang="T93">
                        <a:pos x="T46" y="T47"/>
                      </a:cxn>
                      <a:cxn ang="T94">
                        <a:pos x="T48" y="T49"/>
                      </a:cxn>
                      <a:cxn ang="T95">
                        <a:pos x="T50" y="T51"/>
                      </a:cxn>
                      <a:cxn ang="T96">
                        <a:pos x="T52" y="T53"/>
                      </a:cxn>
                      <a:cxn ang="T97">
                        <a:pos x="T54" y="T55"/>
                      </a:cxn>
                      <a:cxn ang="T98">
                        <a:pos x="T56" y="T57"/>
                      </a:cxn>
                      <a:cxn ang="T99">
                        <a:pos x="T58" y="T59"/>
                      </a:cxn>
                      <a:cxn ang="T100">
                        <a:pos x="T60" y="T61"/>
                      </a:cxn>
                      <a:cxn ang="T101">
                        <a:pos x="T62" y="T63"/>
                      </a:cxn>
                      <a:cxn ang="T102">
                        <a:pos x="T64" y="T65"/>
                      </a:cxn>
                      <a:cxn ang="T103">
                        <a:pos x="T66" y="T67"/>
                      </a:cxn>
                      <a:cxn ang="T104">
                        <a:pos x="T68" y="T69"/>
                      </a:cxn>
                    </a:cxnLst>
                    <a:rect l="T105" t="T106" r="T107" b="T108"/>
                    <a:pathLst>
                      <a:path w="1245" h="941">
                        <a:moveTo>
                          <a:pt x="1210" y="0"/>
                        </a:moveTo>
                        <a:lnTo>
                          <a:pt x="0" y="0"/>
                        </a:lnTo>
                        <a:lnTo>
                          <a:pt x="0" y="941"/>
                        </a:lnTo>
                        <a:lnTo>
                          <a:pt x="1237" y="941"/>
                        </a:lnTo>
                        <a:lnTo>
                          <a:pt x="1245" y="0"/>
                        </a:lnTo>
                        <a:lnTo>
                          <a:pt x="1210" y="0"/>
                        </a:lnTo>
                        <a:close/>
                        <a:moveTo>
                          <a:pt x="1174" y="54"/>
                        </a:moveTo>
                        <a:lnTo>
                          <a:pt x="1174" y="71"/>
                        </a:lnTo>
                        <a:lnTo>
                          <a:pt x="1174" y="102"/>
                        </a:lnTo>
                        <a:lnTo>
                          <a:pt x="1174" y="145"/>
                        </a:lnTo>
                        <a:lnTo>
                          <a:pt x="1172" y="198"/>
                        </a:lnTo>
                        <a:lnTo>
                          <a:pt x="1172" y="259"/>
                        </a:lnTo>
                        <a:lnTo>
                          <a:pt x="1171" y="327"/>
                        </a:lnTo>
                        <a:lnTo>
                          <a:pt x="1171" y="398"/>
                        </a:lnTo>
                        <a:lnTo>
                          <a:pt x="1170" y="472"/>
                        </a:lnTo>
                        <a:lnTo>
                          <a:pt x="1170" y="545"/>
                        </a:lnTo>
                        <a:lnTo>
                          <a:pt x="1169" y="616"/>
                        </a:lnTo>
                        <a:lnTo>
                          <a:pt x="1168" y="683"/>
                        </a:lnTo>
                        <a:lnTo>
                          <a:pt x="1168" y="744"/>
                        </a:lnTo>
                        <a:lnTo>
                          <a:pt x="1168" y="798"/>
                        </a:lnTo>
                        <a:lnTo>
                          <a:pt x="1167" y="840"/>
                        </a:lnTo>
                        <a:lnTo>
                          <a:pt x="1167" y="871"/>
                        </a:lnTo>
                        <a:lnTo>
                          <a:pt x="1167" y="888"/>
                        </a:lnTo>
                        <a:lnTo>
                          <a:pt x="1146" y="888"/>
                        </a:lnTo>
                        <a:lnTo>
                          <a:pt x="1106" y="888"/>
                        </a:lnTo>
                        <a:lnTo>
                          <a:pt x="1049" y="888"/>
                        </a:lnTo>
                        <a:lnTo>
                          <a:pt x="980" y="888"/>
                        </a:lnTo>
                        <a:lnTo>
                          <a:pt x="900" y="888"/>
                        </a:lnTo>
                        <a:lnTo>
                          <a:pt x="812" y="888"/>
                        </a:lnTo>
                        <a:lnTo>
                          <a:pt x="718" y="888"/>
                        </a:lnTo>
                        <a:lnTo>
                          <a:pt x="623" y="888"/>
                        </a:lnTo>
                        <a:lnTo>
                          <a:pt x="526" y="888"/>
                        </a:lnTo>
                        <a:lnTo>
                          <a:pt x="432" y="888"/>
                        </a:lnTo>
                        <a:lnTo>
                          <a:pt x="343" y="888"/>
                        </a:lnTo>
                        <a:lnTo>
                          <a:pt x="262" y="888"/>
                        </a:lnTo>
                        <a:lnTo>
                          <a:pt x="192" y="888"/>
                        </a:lnTo>
                        <a:lnTo>
                          <a:pt x="135" y="888"/>
                        </a:lnTo>
                        <a:lnTo>
                          <a:pt x="94" y="888"/>
                        </a:lnTo>
                        <a:lnTo>
                          <a:pt x="71" y="888"/>
                        </a:lnTo>
                        <a:lnTo>
                          <a:pt x="71" y="871"/>
                        </a:lnTo>
                        <a:lnTo>
                          <a:pt x="71" y="840"/>
                        </a:lnTo>
                        <a:lnTo>
                          <a:pt x="71" y="798"/>
                        </a:lnTo>
                        <a:lnTo>
                          <a:pt x="71" y="744"/>
                        </a:lnTo>
                        <a:lnTo>
                          <a:pt x="71" y="683"/>
                        </a:lnTo>
                        <a:lnTo>
                          <a:pt x="71" y="615"/>
                        </a:lnTo>
                        <a:lnTo>
                          <a:pt x="71" y="544"/>
                        </a:lnTo>
                        <a:lnTo>
                          <a:pt x="71" y="472"/>
                        </a:lnTo>
                        <a:lnTo>
                          <a:pt x="71" y="398"/>
                        </a:lnTo>
                        <a:lnTo>
                          <a:pt x="71" y="327"/>
                        </a:lnTo>
                        <a:lnTo>
                          <a:pt x="71" y="259"/>
                        </a:lnTo>
                        <a:lnTo>
                          <a:pt x="71" y="198"/>
                        </a:lnTo>
                        <a:lnTo>
                          <a:pt x="71" y="145"/>
                        </a:lnTo>
                        <a:lnTo>
                          <a:pt x="72" y="102"/>
                        </a:lnTo>
                        <a:lnTo>
                          <a:pt x="72" y="71"/>
                        </a:lnTo>
                        <a:lnTo>
                          <a:pt x="72" y="53"/>
                        </a:lnTo>
                        <a:lnTo>
                          <a:pt x="94" y="53"/>
                        </a:lnTo>
                        <a:lnTo>
                          <a:pt x="134" y="53"/>
                        </a:lnTo>
                        <a:lnTo>
                          <a:pt x="192" y="53"/>
                        </a:lnTo>
                        <a:lnTo>
                          <a:pt x="262" y="53"/>
                        </a:lnTo>
                        <a:lnTo>
                          <a:pt x="342" y="53"/>
                        </a:lnTo>
                        <a:lnTo>
                          <a:pt x="431" y="53"/>
                        </a:lnTo>
                        <a:lnTo>
                          <a:pt x="526" y="53"/>
                        </a:lnTo>
                        <a:lnTo>
                          <a:pt x="623" y="53"/>
                        </a:lnTo>
                        <a:lnTo>
                          <a:pt x="719" y="53"/>
                        </a:lnTo>
                        <a:lnTo>
                          <a:pt x="814" y="53"/>
                        </a:lnTo>
                        <a:lnTo>
                          <a:pt x="902" y="53"/>
                        </a:lnTo>
                        <a:lnTo>
                          <a:pt x="983" y="53"/>
                        </a:lnTo>
                        <a:lnTo>
                          <a:pt x="1053" y="54"/>
                        </a:lnTo>
                        <a:lnTo>
                          <a:pt x="1110" y="54"/>
                        </a:lnTo>
                        <a:lnTo>
                          <a:pt x="1151" y="54"/>
                        </a:lnTo>
                        <a:lnTo>
                          <a:pt x="1174" y="54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87" name="Freeform 184"/>
                  <p:cNvSpPr>
                    <a:spLocks noEditPoints="1"/>
                  </p:cNvSpPr>
                  <p:nvPr/>
                </p:nvSpPr>
                <p:spPr bwMode="auto">
                  <a:xfrm>
                    <a:off x="3382" y="3748"/>
                    <a:ext cx="132" cy="103"/>
                  </a:xfrm>
                  <a:custGeom>
                    <a:avLst/>
                    <a:gdLst>
                      <a:gd name="T0" fmla="*/ 0 w 926"/>
                      <a:gd name="T1" fmla="*/ 0 h 700"/>
                      <a:gd name="T2" fmla="*/ 0 w 926"/>
                      <a:gd name="T3" fmla="*/ 0 h 700"/>
                      <a:gd name="T4" fmla="*/ 0 w 926"/>
                      <a:gd name="T5" fmla="*/ 0 h 700"/>
                      <a:gd name="T6" fmla="*/ 0 w 926"/>
                      <a:gd name="T7" fmla="*/ 0 h 700"/>
                      <a:gd name="T8" fmla="*/ 0 w 926"/>
                      <a:gd name="T9" fmla="*/ 0 h 700"/>
                      <a:gd name="T10" fmla="*/ 0 w 926"/>
                      <a:gd name="T11" fmla="*/ 0 h 700"/>
                      <a:gd name="T12" fmla="*/ 0 w 926"/>
                      <a:gd name="T13" fmla="*/ 0 h 700"/>
                      <a:gd name="T14" fmla="*/ 0 w 926"/>
                      <a:gd name="T15" fmla="*/ 0 h 700"/>
                      <a:gd name="T16" fmla="*/ 0 w 926"/>
                      <a:gd name="T17" fmla="*/ 0 h 700"/>
                      <a:gd name="T18" fmla="*/ 0 w 926"/>
                      <a:gd name="T19" fmla="*/ 0 h 700"/>
                      <a:gd name="T20" fmla="*/ 0 w 926"/>
                      <a:gd name="T21" fmla="*/ 0 h 700"/>
                      <a:gd name="T22" fmla="*/ 0 w 926"/>
                      <a:gd name="T23" fmla="*/ 0 h 700"/>
                      <a:gd name="T24" fmla="*/ 0 w 926"/>
                      <a:gd name="T25" fmla="*/ 0 h 700"/>
                      <a:gd name="T26" fmla="*/ 0 w 926"/>
                      <a:gd name="T27" fmla="*/ 0 h 700"/>
                      <a:gd name="T28" fmla="*/ 0 w 926"/>
                      <a:gd name="T29" fmla="*/ 0 h 700"/>
                      <a:gd name="T30" fmla="*/ 0 w 926"/>
                      <a:gd name="T31" fmla="*/ 0 h 700"/>
                      <a:gd name="T32" fmla="*/ 0 w 926"/>
                      <a:gd name="T33" fmla="*/ 0 h 700"/>
                      <a:gd name="T34" fmla="*/ 0 w 926"/>
                      <a:gd name="T35" fmla="*/ 0 h 700"/>
                      <a:gd name="T36" fmla="*/ 0 w 926"/>
                      <a:gd name="T37" fmla="*/ 0 h 700"/>
                      <a:gd name="T38" fmla="*/ 0 w 926"/>
                      <a:gd name="T39" fmla="*/ 0 h 700"/>
                      <a:gd name="T40" fmla="*/ 0 w 926"/>
                      <a:gd name="T41" fmla="*/ 0 h 700"/>
                      <a:gd name="T42" fmla="*/ 0 w 926"/>
                      <a:gd name="T43" fmla="*/ 0 h 700"/>
                      <a:gd name="T44" fmla="*/ 0 w 926"/>
                      <a:gd name="T45" fmla="*/ 0 h 700"/>
                      <a:gd name="T46" fmla="*/ 0 w 926"/>
                      <a:gd name="T47" fmla="*/ 0 h 700"/>
                      <a:gd name="T48" fmla="*/ 0 w 926"/>
                      <a:gd name="T49" fmla="*/ 0 h 700"/>
                      <a:gd name="T50" fmla="*/ 0 w 926"/>
                      <a:gd name="T51" fmla="*/ 0 h 700"/>
                      <a:gd name="T52" fmla="*/ 0 w 926"/>
                      <a:gd name="T53" fmla="*/ 0 h 700"/>
                      <a:gd name="T54" fmla="*/ 0 w 926"/>
                      <a:gd name="T55" fmla="*/ 0 h 700"/>
                      <a:gd name="T56" fmla="*/ 0 w 926"/>
                      <a:gd name="T57" fmla="*/ 0 h 700"/>
                      <a:gd name="T58" fmla="*/ 0 w 926"/>
                      <a:gd name="T59" fmla="*/ 0 h 700"/>
                      <a:gd name="T60" fmla="*/ 0 w 926"/>
                      <a:gd name="T61" fmla="*/ 0 h 700"/>
                      <a:gd name="T62" fmla="*/ 0 w 926"/>
                      <a:gd name="T63" fmla="*/ 0 h 700"/>
                      <a:gd name="T64" fmla="*/ 0 w 926"/>
                      <a:gd name="T65" fmla="*/ 0 h 700"/>
                      <a:gd name="T66" fmla="*/ 0 w 926"/>
                      <a:gd name="T67" fmla="*/ 0 h 700"/>
                      <a:gd name="T68" fmla="*/ 0 w 926"/>
                      <a:gd name="T69" fmla="*/ 0 h 700"/>
                      <a:gd name="T70" fmla="*/ 0 w 926"/>
                      <a:gd name="T71" fmla="*/ 0 h 700"/>
                      <a:gd name="T72" fmla="*/ 0 w 926"/>
                      <a:gd name="T73" fmla="*/ 0 h 700"/>
                      <a:gd name="T74" fmla="*/ 0 w 926"/>
                      <a:gd name="T75" fmla="*/ 0 h 700"/>
                      <a:gd name="T76" fmla="*/ 0 w 926"/>
                      <a:gd name="T77" fmla="*/ 0 h 700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w 926"/>
                      <a:gd name="T118" fmla="*/ 0 h 700"/>
                      <a:gd name="T119" fmla="*/ 926 w 926"/>
                      <a:gd name="T120" fmla="*/ 700 h 700"/>
                    </a:gdLst>
                    <a:ahLst/>
                    <a:cxnLst>
                      <a:cxn ang="T78">
                        <a:pos x="T0" y="T1"/>
                      </a:cxn>
                      <a:cxn ang="T79">
                        <a:pos x="T2" y="T3"/>
                      </a:cxn>
                      <a:cxn ang="T80">
                        <a:pos x="T4" y="T5"/>
                      </a:cxn>
                      <a:cxn ang="T81">
                        <a:pos x="T6" y="T7"/>
                      </a:cxn>
                      <a:cxn ang="T82">
                        <a:pos x="T8" y="T9"/>
                      </a:cxn>
                      <a:cxn ang="T83">
                        <a:pos x="T10" y="T11"/>
                      </a:cxn>
                      <a:cxn ang="T84">
                        <a:pos x="T12" y="T13"/>
                      </a:cxn>
                      <a:cxn ang="T85">
                        <a:pos x="T14" y="T15"/>
                      </a:cxn>
                      <a:cxn ang="T86">
                        <a:pos x="T16" y="T17"/>
                      </a:cxn>
                      <a:cxn ang="T87">
                        <a:pos x="T18" y="T19"/>
                      </a:cxn>
                      <a:cxn ang="T88">
                        <a:pos x="T20" y="T21"/>
                      </a:cxn>
                      <a:cxn ang="T89">
                        <a:pos x="T22" y="T23"/>
                      </a:cxn>
                      <a:cxn ang="T90">
                        <a:pos x="T24" y="T25"/>
                      </a:cxn>
                      <a:cxn ang="T91">
                        <a:pos x="T26" y="T27"/>
                      </a:cxn>
                      <a:cxn ang="T92">
                        <a:pos x="T28" y="T29"/>
                      </a:cxn>
                      <a:cxn ang="T93">
                        <a:pos x="T30" y="T31"/>
                      </a:cxn>
                      <a:cxn ang="T94">
                        <a:pos x="T32" y="T33"/>
                      </a:cxn>
                      <a:cxn ang="T95">
                        <a:pos x="T34" y="T35"/>
                      </a:cxn>
                      <a:cxn ang="T96">
                        <a:pos x="T36" y="T37"/>
                      </a:cxn>
                      <a:cxn ang="T97">
                        <a:pos x="T38" y="T39"/>
                      </a:cxn>
                      <a:cxn ang="T98">
                        <a:pos x="T40" y="T41"/>
                      </a:cxn>
                      <a:cxn ang="T99">
                        <a:pos x="T42" y="T43"/>
                      </a:cxn>
                      <a:cxn ang="T100">
                        <a:pos x="T44" y="T45"/>
                      </a:cxn>
                      <a:cxn ang="T101">
                        <a:pos x="T46" y="T47"/>
                      </a:cxn>
                      <a:cxn ang="T102">
                        <a:pos x="T48" y="T49"/>
                      </a:cxn>
                      <a:cxn ang="T103">
                        <a:pos x="T50" y="T51"/>
                      </a:cxn>
                      <a:cxn ang="T104">
                        <a:pos x="T52" y="T53"/>
                      </a:cxn>
                      <a:cxn ang="T105">
                        <a:pos x="T54" y="T55"/>
                      </a:cxn>
                      <a:cxn ang="T106">
                        <a:pos x="T56" y="T57"/>
                      </a:cxn>
                      <a:cxn ang="T107">
                        <a:pos x="T58" y="T59"/>
                      </a:cxn>
                      <a:cxn ang="T108">
                        <a:pos x="T60" y="T61"/>
                      </a:cxn>
                      <a:cxn ang="T109">
                        <a:pos x="T62" y="T63"/>
                      </a:cxn>
                      <a:cxn ang="T110">
                        <a:pos x="T64" y="T65"/>
                      </a:cxn>
                      <a:cxn ang="T111">
                        <a:pos x="T66" y="T67"/>
                      </a:cxn>
                      <a:cxn ang="T112">
                        <a:pos x="T68" y="T69"/>
                      </a:cxn>
                      <a:cxn ang="T113">
                        <a:pos x="T70" y="T71"/>
                      </a:cxn>
                      <a:cxn ang="T114">
                        <a:pos x="T72" y="T73"/>
                      </a:cxn>
                      <a:cxn ang="T115">
                        <a:pos x="T74" y="T75"/>
                      </a:cxn>
                      <a:cxn ang="T116">
                        <a:pos x="T76" y="T77"/>
                      </a:cxn>
                    </a:cxnLst>
                    <a:rect l="T117" t="T118" r="T119" b="T120"/>
                    <a:pathLst>
                      <a:path w="926" h="700">
                        <a:moveTo>
                          <a:pt x="890" y="0"/>
                        </a:moveTo>
                        <a:lnTo>
                          <a:pt x="1" y="0"/>
                        </a:lnTo>
                        <a:lnTo>
                          <a:pt x="0" y="700"/>
                        </a:lnTo>
                        <a:lnTo>
                          <a:pt x="920" y="700"/>
                        </a:lnTo>
                        <a:lnTo>
                          <a:pt x="926" y="0"/>
                        </a:lnTo>
                        <a:lnTo>
                          <a:pt x="890" y="0"/>
                        </a:lnTo>
                        <a:close/>
                        <a:moveTo>
                          <a:pt x="854" y="54"/>
                        </a:moveTo>
                        <a:lnTo>
                          <a:pt x="854" y="91"/>
                        </a:lnTo>
                        <a:lnTo>
                          <a:pt x="853" y="160"/>
                        </a:lnTo>
                        <a:lnTo>
                          <a:pt x="853" y="251"/>
                        </a:lnTo>
                        <a:lnTo>
                          <a:pt x="852" y="351"/>
                        </a:lnTo>
                        <a:lnTo>
                          <a:pt x="852" y="451"/>
                        </a:lnTo>
                        <a:lnTo>
                          <a:pt x="851" y="541"/>
                        </a:lnTo>
                        <a:lnTo>
                          <a:pt x="851" y="610"/>
                        </a:lnTo>
                        <a:lnTo>
                          <a:pt x="850" y="647"/>
                        </a:lnTo>
                        <a:lnTo>
                          <a:pt x="801" y="647"/>
                        </a:lnTo>
                        <a:lnTo>
                          <a:pt x="711" y="647"/>
                        </a:lnTo>
                        <a:lnTo>
                          <a:pt x="593" y="647"/>
                        </a:lnTo>
                        <a:lnTo>
                          <a:pt x="460" y="647"/>
                        </a:lnTo>
                        <a:lnTo>
                          <a:pt x="328" y="647"/>
                        </a:lnTo>
                        <a:lnTo>
                          <a:pt x="210" y="647"/>
                        </a:lnTo>
                        <a:lnTo>
                          <a:pt x="119" y="647"/>
                        </a:lnTo>
                        <a:lnTo>
                          <a:pt x="71" y="647"/>
                        </a:lnTo>
                        <a:lnTo>
                          <a:pt x="71" y="610"/>
                        </a:lnTo>
                        <a:lnTo>
                          <a:pt x="71" y="541"/>
                        </a:lnTo>
                        <a:lnTo>
                          <a:pt x="71" y="451"/>
                        </a:lnTo>
                        <a:lnTo>
                          <a:pt x="71" y="351"/>
                        </a:lnTo>
                        <a:lnTo>
                          <a:pt x="71" y="251"/>
                        </a:lnTo>
                        <a:lnTo>
                          <a:pt x="71" y="160"/>
                        </a:lnTo>
                        <a:lnTo>
                          <a:pt x="72" y="91"/>
                        </a:lnTo>
                        <a:lnTo>
                          <a:pt x="72" y="54"/>
                        </a:lnTo>
                        <a:lnTo>
                          <a:pt x="121" y="54"/>
                        </a:lnTo>
                        <a:lnTo>
                          <a:pt x="211" y="54"/>
                        </a:lnTo>
                        <a:lnTo>
                          <a:pt x="330" y="54"/>
                        </a:lnTo>
                        <a:lnTo>
                          <a:pt x="463" y="54"/>
                        </a:lnTo>
                        <a:lnTo>
                          <a:pt x="596" y="54"/>
                        </a:lnTo>
                        <a:lnTo>
                          <a:pt x="714" y="54"/>
                        </a:lnTo>
                        <a:lnTo>
                          <a:pt x="805" y="54"/>
                        </a:lnTo>
                        <a:lnTo>
                          <a:pt x="854" y="54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88" name="Freeform 185"/>
                  <p:cNvSpPr>
                    <a:spLocks noEditPoints="1"/>
                  </p:cNvSpPr>
                  <p:nvPr/>
                </p:nvSpPr>
                <p:spPr bwMode="auto">
                  <a:xfrm>
                    <a:off x="3403" y="3763"/>
                    <a:ext cx="89" cy="68"/>
                  </a:xfrm>
                  <a:custGeom>
                    <a:avLst/>
                    <a:gdLst>
                      <a:gd name="T0" fmla="*/ 0 w 624"/>
                      <a:gd name="T1" fmla="*/ 0 h 472"/>
                      <a:gd name="T2" fmla="*/ 0 w 624"/>
                      <a:gd name="T3" fmla="*/ 0 h 472"/>
                      <a:gd name="T4" fmla="*/ 0 w 624"/>
                      <a:gd name="T5" fmla="*/ 0 h 472"/>
                      <a:gd name="T6" fmla="*/ 0 w 624"/>
                      <a:gd name="T7" fmla="*/ 0 h 472"/>
                      <a:gd name="T8" fmla="*/ 0 w 624"/>
                      <a:gd name="T9" fmla="*/ 0 h 472"/>
                      <a:gd name="T10" fmla="*/ 0 w 624"/>
                      <a:gd name="T11" fmla="*/ 0 h 472"/>
                      <a:gd name="T12" fmla="*/ 0 w 624"/>
                      <a:gd name="T13" fmla="*/ 0 h 472"/>
                      <a:gd name="T14" fmla="*/ 0 w 624"/>
                      <a:gd name="T15" fmla="*/ 0 h 472"/>
                      <a:gd name="T16" fmla="*/ 0 w 624"/>
                      <a:gd name="T17" fmla="*/ 0 h 472"/>
                      <a:gd name="T18" fmla="*/ 0 w 624"/>
                      <a:gd name="T19" fmla="*/ 0 h 472"/>
                      <a:gd name="T20" fmla="*/ 0 w 624"/>
                      <a:gd name="T21" fmla="*/ 0 h 472"/>
                      <a:gd name="T22" fmla="*/ 0 w 624"/>
                      <a:gd name="T23" fmla="*/ 0 h 472"/>
                      <a:gd name="T24" fmla="*/ 0 w 624"/>
                      <a:gd name="T25" fmla="*/ 0 h 472"/>
                      <a:gd name="T26" fmla="*/ 0 w 624"/>
                      <a:gd name="T27" fmla="*/ 0 h 472"/>
                      <a:gd name="T28" fmla="*/ 0 w 624"/>
                      <a:gd name="T29" fmla="*/ 0 h 472"/>
                      <a:gd name="T30" fmla="*/ 0 w 624"/>
                      <a:gd name="T31" fmla="*/ 0 h 472"/>
                      <a:gd name="T32" fmla="*/ 0 w 624"/>
                      <a:gd name="T33" fmla="*/ 0 h 472"/>
                      <a:gd name="T34" fmla="*/ 0 w 624"/>
                      <a:gd name="T35" fmla="*/ 0 h 472"/>
                      <a:gd name="T36" fmla="*/ 0 w 624"/>
                      <a:gd name="T37" fmla="*/ 0 h 472"/>
                      <a:gd name="T38" fmla="*/ 0 w 624"/>
                      <a:gd name="T39" fmla="*/ 0 h 472"/>
                      <a:gd name="T40" fmla="*/ 0 w 624"/>
                      <a:gd name="T41" fmla="*/ 0 h 472"/>
                      <a:gd name="T42" fmla="*/ 0 w 624"/>
                      <a:gd name="T43" fmla="*/ 0 h 472"/>
                      <a:gd name="T44" fmla="*/ 0 w 624"/>
                      <a:gd name="T45" fmla="*/ 0 h 472"/>
                      <a:gd name="T46" fmla="*/ 0 w 624"/>
                      <a:gd name="T47" fmla="*/ 0 h 472"/>
                      <a:gd name="T48" fmla="*/ 0 w 624"/>
                      <a:gd name="T49" fmla="*/ 0 h 472"/>
                      <a:gd name="T50" fmla="*/ 0 w 624"/>
                      <a:gd name="T51" fmla="*/ 0 h 472"/>
                      <a:gd name="T52" fmla="*/ 0 w 624"/>
                      <a:gd name="T53" fmla="*/ 0 h 472"/>
                      <a:gd name="T54" fmla="*/ 0 w 624"/>
                      <a:gd name="T55" fmla="*/ 0 h 472"/>
                      <a:gd name="T56" fmla="*/ 0 w 624"/>
                      <a:gd name="T57" fmla="*/ 0 h 472"/>
                      <a:gd name="T58" fmla="*/ 0 w 624"/>
                      <a:gd name="T59" fmla="*/ 0 h 472"/>
                      <a:gd name="T60" fmla="*/ 0 w 624"/>
                      <a:gd name="T61" fmla="*/ 0 h 472"/>
                      <a:gd name="T62" fmla="*/ 0 w 624"/>
                      <a:gd name="T63" fmla="*/ 0 h 472"/>
                      <a:gd name="T64" fmla="*/ 0 w 624"/>
                      <a:gd name="T65" fmla="*/ 0 h 472"/>
                      <a:gd name="T66" fmla="*/ 0 w 624"/>
                      <a:gd name="T67" fmla="*/ 0 h 472"/>
                      <a:gd name="T68" fmla="*/ 0 w 624"/>
                      <a:gd name="T69" fmla="*/ 0 h 472"/>
                      <a:gd name="T70" fmla="*/ 0 w 624"/>
                      <a:gd name="T71" fmla="*/ 0 h 472"/>
                      <a:gd name="T72" fmla="*/ 0 w 624"/>
                      <a:gd name="T73" fmla="*/ 0 h 472"/>
                      <a:gd name="T74" fmla="*/ 0 w 624"/>
                      <a:gd name="T75" fmla="*/ 0 h 472"/>
                      <a:gd name="T76" fmla="*/ 0 w 624"/>
                      <a:gd name="T77" fmla="*/ 0 h 472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w 624"/>
                      <a:gd name="T118" fmla="*/ 0 h 472"/>
                      <a:gd name="T119" fmla="*/ 624 w 624"/>
                      <a:gd name="T120" fmla="*/ 472 h 472"/>
                    </a:gdLst>
                    <a:ahLst/>
                    <a:cxnLst>
                      <a:cxn ang="T78">
                        <a:pos x="T0" y="T1"/>
                      </a:cxn>
                      <a:cxn ang="T79">
                        <a:pos x="T2" y="T3"/>
                      </a:cxn>
                      <a:cxn ang="T80">
                        <a:pos x="T4" y="T5"/>
                      </a:cxn>
                      <a:cxn ang="T81">
                        <a:pos x="T6" y="T7"/>
                      </a:cxn>
                      <a:cxn ang="T82">
                        <a:pos x="T8" y="T9"/>
                      </a:cxn>
                      <a:cxn ang="T83">
                        <a:pos x="T10" y="T11"/>
                      </a:cxn>
                      <a:cxn ang="T84">
                        <a:pos x="T12" y="T13"/>
                      </a:cxn>
                      <a:cxn ang="T85">
                        <a:pos x="T14" y="T15"/>
                      </a:cxn>
                      <a:cxn ang="T86">
                        <a:pos x="T16" y="T17"/>
                      </a:cxn>
                      <a:cxn ang="T87">
                        <a:pos x="T18" y="T19"/>
                      </a:cxn>
                      <a:cxn ang="T88">
                        <a:pos x="T20" y="T21"/>
                      </a:cxn>
                      <a:cxn ang="T89">
                        <a:pos x="T22" y="T23"/>
                      </a:cxn>
                      <a:cxn ang="T90">
                        <a:pos x="T24" y="T25"/>
                      </a:cxn>
                      <a:cxn ang="T91">
                        <a:pos x="T26" y="T27"/>
                      </a:cxn>
                      <a:cxn ang="T92">
                        <a:pos x="T28" y="T29"/>
                      </a:cxn>
                      <a:cxn ang="T93">
                        <a:pos x="T30" y="T31"/>
                      </a:cxn>
                      <a:cxn ang="T94">
                        <a:pos x="T32" y="T33"/>
                      </a:cxn>
                      <a:cxn ang="T95">
                        <a:pos x="T34" y="T35"/>
                      </a:cxn>
                      <a:cxn ang="T96">
                        <a:pos x="T36" y="T37"/>
                      </a:cxn>
                      <a:cxn ang="T97">
                        <a:pos x="T38" y="T39"/>
                      </a:cxn>
                      <a:cxn ang="T98">
                        <a:pos x="T40" y="T41"/>
                      </a:cxn>
                      <a:cxn ang="T99">
                        <a:pos x="T42" y="T43"/>
                      </a:cxn>
                      <a:cxn ang="T100">
                        <a:pos x="T44" y="T45"/>
                      </a:cxn>
                      <a:cxn ang="T101">
                        <a:pos x="T46" y="T47"/>
                      </a:cxn>
                      <a:cxn ang="T102">
                        <a:pos x="T48" y="T49"/>
                      </a:cxn>
                      <a:cxn ang="T103">
                        <a:pos x="T50" y="T51"/>
                      </a:cxn>
                      <a:cxn ang="T104">
                        <a:pos x="T52" y="T53"/>
                      </a:cxn>
                      <a:cxn ang="T105">
                        <a:pos x="T54" y="T55"/>
                      </a:cxn>
                      <a:cxn ang="T106">
                        <a:pos x="T56" y="T57"/>
                      </a:cxn>
                      <a:cxn ang="T107">
                        <a:pos x="T58" y="T59"/>
                      </a:cxn>
                      <a:cxn ang="T108">
                        <a:pos x="T60" y="T61"/>
                      </a:cxn>
                      <a:cxn ang="T109">
                        <a:pos x="T62" y="T63"/>
                      </a:cxn>
                      <a:cxn ang="T110">
                        <a:pos x="T64" y="T65"/>
                      </a:cxn>
                      <a:cxn ang="T111">
                        <a:pos x="T66" y="T67"/>
                      </a:cxn>
                      <a:cxn ang="T112">
                        <a:pos x="T68" y="T69"/>
                      </a:cxn>
                      <a:cxn ang="T113">
                        <a:pos x="T70" y="T71"/>
                      </a:cxn>
                      <a:cxn ang="T114">
                        <a:pos x="T72" y="T73"/>
                      </a:cxn>
                      <a:cxn ang="T115">
                        <a:pos x="T74" y="T75"/>
                      </a:cxn>
                      <a:cxn ang="T116">
                        <a:pos x="T76" y="T77"/>
                      </a:cxn>
                    </a:cxnLst>
                    <a:rect l="T117" t="T118" r="T119" b="T120"/>
                    <a:pathLst>
                      <a:path w="624" h="472">
                        <a:moveTo>
                          <a:pt x="589" y="0"/>
                        </a:moveTo>
                        <a:lnTo>
                          <a:pt x="1" y="0"/>
                        </a:lnTo>
                        <a:lnTo>
                          <a:pt x="0" y="472"/>
                        </a:lnTo>
                        <a:lnTo>
                          <a:pt x="621" y="472"/>
                        </a:lnTo>
                        <a:lnTo>
                          <a:pt x="624" y="0"/>
                        </a:lnTo>
                        <a:lnTo>
                          <a:pt x="589" y="0"/>
                        </a:lnTo>
                        <a:close/>
                        <a:moveTo>
                          <a:pt x="553" y="53"/>
                        </a:moveTo>
                        <a:lnTo>
                          <a:pt x="553" y="80"/>
                        </a:lnTo>
                        <a:lnTo>
                          <a:pt x="553" y="123"/>
                        </a:lnTo>
                        <a:lnTo>
                          <a:pt x="552" y="177"/>
                        </a:lnTo>
                        <a:lnTo>
                          <a:pt x="552" y="236"/>
                        </a:lnTo>
                        <a:lnTo>
                          <a:pt x="552" y="296"/>
                        </a:lnTo>
                        <a:lnTo>
                          <a:pt x="552" y="349"/>
                        </a:lnTo>
                        <a:lnTo>
                          <a:pt x="551" y="392"/>
                        </a:lnTo>
                        <a:lnTo>
                          <a:pt x="551" y="418"/>
                        </a:lnTo>
                        <a:lnTo>
                          <a:pt x="516" y="418"/>
                        </a:lnTo>
                        <a:lnTo>
                          <a:pt x="459" y="418"/>
                        </a:lnTo>
                        <a:lnTo>
                          <a:pt x="388" y="418"/>
                        </a:lnTo>
                        <a:lnTo>
                          <a:pt x="310" y="418"/>
                        </a:lnTo>
                        <a:lnTo>
                          <a:pt x="232" y="418"/>
                        </a:lnTo>
                        <a:lnTo>
                          <a:pt x="162" y="418"/>
                        </a:lnTo>
                        <a:lnTo>
                          <a:pt x="106" y="418"/>
                        </a:lnTo>
                        <a:lnTo>
                          <a:pt x="71" y="418"/>
                        </a:lnTo>
                        <a:lnTo>
                          <a:pt x="71" y="392"/>
                        </a:lnTo>
                        <a:lnTo>
                          <a:pt x="71" y="349"/>
                        </a:lnTo>
                        <a:lnTo>
                          <a:pt x="71" y="296"/>
                        </a:lnTo>
                        <a:lnTo>
                          <a:pt x="71" y="236"/>
                        </a:lnTo>
                        <a:lnTo>
                          <a:pt x="71" y="177"/>
                        </a:lnTo>
                        <a:lnTo>
                          <a:pt x="72" y="123"/>
                        </a:lnTo>
                        <a:lnTo>
                          <a:pt x="72" y="80"/>
                        </a:lnTo>
                        <a:lnTo>
                          <a:pt x="72" y="53"/>
                        </a:lnTo>
                        <a:lnTo>
                          <a:pt x="107" y="53"/>
                        </a:lnTo>
                        <a:lnTo>
                          <a:pt x="163" y="53"/>
                        </a:lnTo>
                        <a:lnTo>
                          <a:pt x="235" y="53"/>
                        </a:lnTo>
                        <a:lnTo>
                          <a:pt x="313" y="53"/>
                        </a:lnTo>
                        <a:lnTo>
                          <a:pt x="390" y="53"/>
                        </a:lnTo>
                        <a:lnTo>
                          <a:pt x="462" y="53"/>
                        </a:lnTo>
                        <a:lnTo>
                          <a:pt x="518" y="53"/>
                        </a:lnTo>
                        <a:lnTo>
                          <a:pt x="553" y="53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89" name="Freeform 186"/>
                  <p:cNvSpPr>
                    <a:spLocks/>
                  </p:cNvSpPr>
                  <p:nvPr/>
                </p:nvSpPr>
                <p:spPr bwMode="auto">
                  <a:xfrm>
                    <a:off x="3408" y="3768"/>
                    <a:ext cx="79" cy="62"/>
                  </a:xfrm>
                  <a:custGeom>
                    <a:avLst/>
                    <a:gdLst>
                      <a:gd name="T0" fmla="*/ 0 w 556"/>
                      <a:gd name="T1" fmla="*/ 0 h 421"/>
                      <a:gd name="T2" fmla="*/ 0 w 556"/>
                      <a:gd name="T3" fmla="*/ 0 h 421"/>
                      <a:gd name="T4" fmla="*/ 0 w 556"/>
                      <a:gd name="T5" fmla="*/ 0 h 421"/>
                      <a:gd name="T6" fmla="*/ 0 w 556"/>
                      <a:gd name="T7" fmla="*/ 0 h 421"/>
                      <a:gd name="T8" fmla="*/ 0 w 556"/>
                      <a:gd name="T9" fmla="*/ 0 h 421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556"/>
                      <a:gd name="T16" fmla="*/ 0 h 421"/>
                      <a:gd name="T17" fmla="*/ 556 w 556"/>
                      <a:gd name="T18" fmla="*/ 421 h 421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556" h="421">
                        <a:moveTo>
                          <a:pt x="0" y="421"/>
                        </a:moveTo>
                        <a:lnTo>
                          <a:pt x="1" y="0"/>
                        </a:lnTo>
                        <a:lnTo>
                          <a:pt x="556" y="0"/>
                        </a:lnTo>
                        <a:lnTo>
                          <a:pt x="553" y="421"/>
                        </a:lnTo>
                        <a:lnTo>
                          <a:pt x="0" y="421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90" name="Freeform 187"/>
                  <p:cNvSpPr>
                    <a:spLocks/>
                  </p:cNvSpPr>
                  <p:nvPr/>
                </p:nvSpPr>
                <p:spPr bwMode="auto">
                  <a:xfrm>
                    <a:off x="3189" y="3727"/>
                    <a:ext cx="508" cy="134"/>
                  </a:xfrm>
                  <a:custGeom>
                    <a:avLst/>
                    <a:gdLst>
                      <a:gd name="T0" fmla="*/ 0 w 3561"/>
                      <a:gd name="T1" fmla="*/ 0 h 941"/>
                      <a:gd name="T2" fmla="*/ 0 w 3561"/>
                      <a:gd name="T3" fmla="*/ 0 h 941"/>
                      <a:gd name="T4" fmla="*/ 0 w 3561"/>
                      <a:gd name="T5" fmla="*/ 0 h 941"/>
                      <a:gd name="T6" fmla="*/ 0 w 3561"/>
                      <a:gd name="T7" fmla="*/ 0 h 941"/>
                      <a:gd name="T8" fmla="*/ 0 w 3561"/>
                      <a:gd name="T9" fmla="*/ 0 h 941"/>
                      <a:gd name="T10" fmla="*/ 0 w 3561"/>
                      <a:gd name="T11" fmla="*/ 0 h 941"/>
                      <a:gd name="T12" fmla="*/ 0 w 3561"/>
                      <a:gd name="T13" fmla="*/ 0 h 941"/>
                      <a:gd name="T14" fmla="*/ 0 w 3561"/>
                      <a:gd name="T15" fmla="*/ 0 h 941"/>
                      <a:gd name="T16" fmla="*/ 0 w 3561"/>
                      <a:gd name="T17" fmla="*/ 0 h 941"/>
                      <a:gd name="T18" fmla="*/ 0 w 3561"/>
                      <a:gd name="T19" fmla="*/ 0 h 941"/>
                      <a:gd name="T20" fmla="*/ 0 w 3561"/>
                      <a:gd name="T21" fmla="*/ 0 h 941"/>
                      <a:gd name="T22" fmla="*/ 0 w 3561"/>
                      <a:gd name="T23" fmla="*/ 0 h 941"/>
                      <a:gd name="T24" fmla="*/ 0 w 3561"/>
                      <a:gd name="T25" fmla="*/ 0 h 941"/>
                      <a:gd name="T26" fmla="*/ 0 w 3561"/>
                      <a:gd name="T27" fmla="*/ 0 h 941"/>
                      <a:gd name="T28" fmla="*/ 0 w 3561"/>
                      <a:gd name="T29" fmla="*/ 0 h 941"/>
                      <a:gd name="T30" fmla="*/ 0 w 3561"/>
                      <a:gd name="T31" fmla="*/ 0 h 941"/>
                      <a:gd name="T32" fmla="*/ 0 w 3561"/>
                      <a:gd name="T33" fmla="*/ 0 h 941"/>
                      <a:gd name="T34" fmla="*/ 0 w 3561"/>
                      <a:gd name="T35" fmla="*/ 0 h 941"/>
                      <a:gd name="T36" fmla="*/ 0 w 3561"/>
                      <a:gd name="T37" fmla="*/ 0 h 941"/>
                      <a:gd name="T38" fmla="*/ 0 w 3561"/>
                      <a:gd name="T39" fmla="*/ 0 h 941"/>
                      <a:gd name="T40" fmla="*/ 0 w 3561"/>
                      <a:gd name="T41" fmla="*/ 0 h 941"/>
                      <a:gd name="T42" fmla="*/ 0 w 3561"/>
                      <a:gd name="T43" fmla="*/ 0 h 941"/>
                      <a:gd name="T44" fmla="*/ 0 w 3561"/>
                      <a:gd name="T45" fmla="*/ 0 h 941"/>
                      <a:gd name="T46" fmla="*/ 0 w 3561"/>
                      <a:gd name="T47" fmla="*/ 0 h 941"/>
                      <a:gd name="T48" fmla="*/ 0 w 3561"/>
                      <a:gd name="T49" fmla="*/ 0 h 941"/>
                      <a:gd name="T50" fmla="*/ 0 w 3561"/>
                      <a:gd name="T51" fmla="*/ 0 h 941"/>
                      <a:gd name="T52" fmla="*/ 0 w 3561"/>
                      <a:gd name="T53" fmla="*/ 0 h 941"/>
                      <a:gd name="T54" fmla="*/ 0 w 3561"/>
                      <a:gd name="T55" fmla="*/ 0 h 941"/>
                      <a:gd name="T56" fmla="*/ 0 w 3561"/>
                      <a:gd name="T57" fmla="*/ 0 h 941"/>
                      <a:gd name="T58" fmla="*/ 0 w 3561"/>
                      <a:gd name="T59" fmla="*/ 0 h 941"/>
                      <a:gd name="T60" fmla="*/ 0 w 3561"/>
                      <a:gd name="T61" fmla="*/ 0 h 941"/>
                      <a:gd name="T62" fmla="*/ 0 w 3561"/>
                      <a:gd name="T63" fmla="*/ 0 h 941"/>
                      <a:gd name="T64" fmla="*/ 0 w 3561"/>
                      <a:gd name="T65" fmla="*/ 0 h 941"/>
                      <a:gd name="T66" fmla="*/ 0 w 3561"/>
                      <a:gd name="T67" fmla="*/ 0 h 941"/>
                      <a:gd name="T68" fmla="*/ 0 w 3561"/>
                      <a:gd name="T69" fmla="*/ 0 h 941"/>
                      <a:gd name="T70" fmla="*/ 0 w 3561"/>
                      <a:gd name="T71" fmla="*/ 0 h 941"/>
                      <a:gd name="T72" fmla="*/ 0 w 3561"/>
                      <a:gd name="T73" fmla="*/ 0 h 941"/>
                      <a:gd name="T74" fmla="*/ 0 w 3561"/>
                      <a:gd name="T75" fmla="*/ 0 h 941"/>
                      <a:gd name="T76" fmla="*/ 0 w 3561"/>
                      <a:gd name="T77" fmla="*/ 0 h 941"/>
                      <a:gd name="T78" fmla="*/ 0 w 3561"/>
                      <a:gd name="T79" fmla="*/ 0 h 941"/>
                      <a:gd name="T80" fmla="*/ 0 w 3561"/>
                      <a:gd name="T81" fmla="*/ 0 h 941"/>
                      <a:gd name="T82" fmla="*/ 0 w 3561"/>
                      <a:gd name="T83" fmla="*/ 0 h 941"/>
                      <a:gd name="T84" fmla="*/ 0 w 3561"/>
                      <a:gd name="T85" fmla="*/ 0 h 941"/>
                      <a:gd name="T86" fmla="*/ 0 w 3561"/>
                      <a:gd name="T87" fmla="*/ 0 h 941"/>
                      <a:gd name="T88" fmla="*/ 0 w 3561"/>
                      <a:gd name="T89" fmla="*/ 0 h 941"/>
                      <a:gd name="T90" fmla="*/ 0 w 3561"/>
                      <a:gd name="T91" fmla="*/ 0 h 941"/>
                      <a:gd name="T92" fmla="*/ 0 w 3561"/>
                      <a:gd name="T93" fmla="*/ 0 h 941"/>
                      <a:gd name="T94" fmla="*/ 0 w 3561"/>
                      <a:gd name="T95" fmla="*/ 0 h 941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w 3561"/>
                      <a:gd name="T145" fmla="*/ 0 h 941"/>
                      <a:gd name="T146" fmla="*/ 3561 w 3561"/>
                      <a:gd name="T147" fmla="*/ 941 h 941"/>
                    </a:gdLst>
                    <a:ahLst/>
                    <a:cxnLst>
                      <a:cxn ang="T96">
                        <a:pos x="T0" y="T1"/>
                      </a:cxn>
                      <a:cxn ang="T97">
                        <a:pos x="T2" y="T3"/>
                      </a:cxn>
                      <a:cxn ang="T98">
                        <a:pos x="T4" y="T5"/>
                      </a:cxn>
                      <a:cxn ang="T99">
                        <a:pos x="T6" y="T7"/>
                      </a:cxn>
                      <a:cxn ang="T100">
                        <a:pos x="T8" y="T9"/>
                      </a:cxn>
                      <a:cxn ang="T101">
                        <a:pos x="T10" y="T11"/>
                      </a:cxn>
                      <a:cxn ang="T102">
                        <a:pos x="T12" y="T13"/>
                      </a:cxn>
                      <a:cxn ang="T103">
                        <a:pos x="T14" y="T15"/>
                      </a:cxn>
                      <a:cxn ang="T104">
                        <a:pos x="T16" y="T17"/>
                      </a:cxn>
                      <a:cxn ang="T105">
                        <a:pos x="T18" y="T19"/>
                      </a:cxn>
                      <a:cxn ang="T106">
                        <a:pos x="T20" y="T21"/>
                      </a:cxn>
                      <a:cxn ang="T107">
                        <a:pos x="T22" y="T23"/>
                      </a:cxn>
                      <a:cxn ang="T108">
                        <a:pos x="T24" y="T25"/>
                      </a:cxn>
                      <a:cxn ang="T109">
                        <a:pos x="T26" y="T27"/>
                      </a:cxn>
                      <a:cxn ang="T110">
                        <a:pos x="T28" y="T29"/>
                      </a:cxn>
                      <a:cxn ang="T111">
                        <a:pos x="T30" y="T31"/>
                      </a:cxn>
                      <a:cxn ang="T112">
                        <a:pos x="T32" y="T33"/>
                      </a:cxn>
                      <a:cxn ang="T113">
                        <a:pos x="T34" y="T35"/>
                      </a:cxn>
                      <a:cxn ang="T114">
                        <a:pos x="T36" y="T37"/>
                      </a:cxn>
                      <a:cxn ang="T115">
                        <a:pos x="T38" y="T39"/>
                      </a:cxn>
                      <a:cxn ang="T116">
                        <a:pos x="T40" y="T41"/>
                      </a:cxn>
                      <a:cxn ang="T117">
                        <a:pos x="T42" y="T43"/>
                      </a:cxn>
                      <a:cxn ang="T118">
                        <a:pos x="T44" y="T45"/>
                      </a:cxn>
                      <a:cxn ang="T119">
                        <a:pos x="T46" y="T47"/>
                      </a:cxn>
                      <a:cxn ang="T120">
                        <a:pos x="T48" y="T49"/>
                      </a:cxn>
                      <a:cxn ang="T121">
                        <a:pos x="T50" y="T51"/>
                      </a:cxn>
                      <a:cxn ang="T122">
                        <a:pos x="T52" y="T53"/>
                      </a:cxn>
                      <a:cxn ang="T123">
                        <a:pos x="T54" y="T55"/>
                      </a:cxn>
                      <a:cxn ang="T124">
                        <a:pos x="T56" y="T57"/>
                      </a:cxn>
                      <a:cxn ang="T125">
                        <a:pos x="T58" y="T59"/>
                      </a:cxn>
                      <a:cxn ang="T126">
                        <a:pos x="T60" y="T61"/>
                      </a:cxn>
                      <a:cxn ang="T127">
                        <a:pos x="T62" y="T63"/>
                      </a:cxn>
                      <a:cxn ang="T128">
                        <a:pos x="T64" y="T65"/>
                      </a:cxn>
                      <a:cxn ang="T129">
                        <a:pos x="T66" y="T67"/>
                      </a:cxn>
                      <a:cxn ang="T130">
                        <a:pos x="T68" y="T69"/>
                      </a:cxn>
                      <a:cxn ang="T131">
                        <a:pos x="T70" y="T71"/>
                      </a:cxn>
                      <a:cxn ang="T132">
                        <a:pos x="T72" y="T73"/>
                      </a:cxn>
                      <a:cxn ang="T133">
                        <a:pos x="T74" y="T75"/>
                      </a:cxn>
                      <a:cxn ang="T134">
                        <a:pos x="T76" y="T77"/>
                      </a:cxn>
                      <a:cxn ang="T135">
                        <a:pos x="T78" y="T79"/>
                      </a:cxn>
                      <a:cxn ang="T136">
                        <a:pos x="T80" y="T81"/>
                      </a:cxn>
                      <a:cxn ang="T137">
                        <a:pos x="T82" y="T83"/>
                      </a:cxn>
                      <a:cxn ang="T138">
                        <a:pos x="T84" y="T85"/>
                      </a:cxn>
                      <a:cxn ang="T139">
                        <a:pos x="T86" y="T87"/>
                      </a:cxn>
                      <a:cxn ang="T140">
                        <a:pos x="T88" y="T89"/>
                      </a:cxn>
                      <a:cxn ang="T141">
                        <a:pos x="T90" y="T91"/>
                      </a:cxn>
                      <a:cxn ang="T142">
                        <a:pos x="T92" y="T93"/>
                      </a:cxn>
                      <a:cxn ang="T143">
                        <a:pos x="T94" y="T95"/>
                      </a:cxn>
                    </a:cxnLst>
                    <a:rect l="T144" t="T145" r="T146" b="T147"/>
                    <a:pathLst>
                      <a:path w="3561" h="941">
                        <a:moveTo>
                          <a:pt x="3519" y="41"/>
                        </a:moveTo>
                        <a:lnTo>
                          <a:pt x="3462" y="83"/>
                        </a:lnTo>
                        <a:lnTo>
                          <a:pt x="3404" y="123"/>
                        </a:lnTo>
                        <a:lnTo>
                          <a:pt x="3347" y="160"/>
                        </a:lnTo>
                        <a:lnTo>
                          <a:pt x="3289" y="194"/>
                        </a:lnTo>
                        <a:lnTo>
                          <a:pt x="3231" y="226"/>
                        </a:lnTo>
                        <a:lnTo>
                          <a:pt x="3172" y="255"/>
                        </a:lnTo>
                        <a:lnTo>
                          <a:pt x="3115" y="283"/>
                        </a:lnTo>
                        <a:lnTo>
                          <a:pt x="3056" y="308"/>
                        </a:lnTo>
                        <a:lnTo>
                          <a:pt x="2997" y="330"/>
                        </a:lnTo>
                        <a:lnTo>
                          <a:pt x="2936" y="351"/>
                        </a:lnTo>
                        <a:lnTo>
                          <a:pt x="2876" y="370"/>
                        </a:lnTo>
                        <a:lnTo>
                          <a:pt x="2816" y="387"/>
                        </a:lnTo>
                        <a:lnTo>
                          <a:pt x="2756" y="401"/>
                        </a:lnTo>
                        <a:lnTo>
                          <a:pt x="2695" y="414"/>
                        </a:lnTo>
                        <a:lnTo>
                          <a:pt x="2635" y="427"/>
                        </a:lnTo>
                        <a:lnTo>
                          <a:pt x="2572" y="437"/>
                        </a:lnTo>
                        <a:lnTo>
                          <a:pt x="2511" y="446"/>
                        </a:lnTo>
                        <a:lnTo>
                          <a:pt x="2449" y="453"/>
                        </a:lnTo>
                        <a:lnTo>
                          <a:pt x="2387" y="460"/>
                        </a:lnTo>
                        <a:lnTo>
                          <a:pt x="2323" y="464"/>
                        </a:lnTo>
                        <a:lnTo>
                          <a:pt x="2260" y="469"/>
                        </a:lnTo>
                        <a:lnTo>
                          <a:pt x="2196" y="472"/>
                        </a:lnTo>
                        <a:lnTo>
                          <a:pt x="2132" y="475"/>
                        </a:lnTo>
                        <a:lnTo>
                          <a:pt x="2068" y="476"/>
                        </a:lnTo>
                        <a:lnTo>
                          <a:pt x="1937" y="478"/>
                        </a:lnTo>
                        <a:lnTo>
                          <a:pt x="1806" y="477"/>
                        </a:lnTo>
                        <a:lnTo>
                          <a:pt x="1672" y="475"/>
                        </a:lnTo>
                        <a:lnTo>
                          <a:pt x="1536" y="472"/>
                        </a:lnTo>
                        <a:lnTo>
                          <a:pt x="1468" y="470"/>
                        </a:lnTo>
                        <a:lnTo>
                          <a:pt x="1400" y="466"/>
                        </a:lnTo>
                        <a:lnTo>
                          <a:pt x="1334" y="458"/>
                        </a:lnTo>
                        <a:lnTo>
                          <a:pt x="1267" y="449"/>
                        </a:lnTo>
                        <a:lnTo>
                          <a:pt x="1202" y="438"/>
                        </a:lnTo>
                        <a:lnTo>
                          <a:pt x="1137" y="424"/>
                        </a:lnTo>
                        <a:lnTo>
                          <a:pt x="1073" y="410"/>
                        </a:lnTo>
                        <a:lnTo>
                          <a:pt x="1011" y="393"/>
                        </a:lnTo>
                        <a:lnTo>
                          <a:pt x="950" y="375"/>
                        </a:lnTo>
                        <a:lnTo>
                          <a:pt x="890" y="358"/>
                        </a:lnTo>
                        <a:lnTo>
                          <a:pt x="831" y="338"/>
                        </a:lnTo>
                        <a:lnTo>
                          <a:pt x="774" y="318"/>
                        </a:lnTo>
                        <a:lnTo>
                          <a:pt x="719" y="296"/>
                        </a:lnTo>
                        <a:lnTo>
                          <a:pt x="666" y="275"/>
                        </a:lnTo>
                        <a:lnTo>
                          <a:pt x="614" y="253"/>
                        </a:lnTo>
                        <a:lnTo>
                          <a:pt x="565" y="232"/>
                        </a:lnTo>
                        <a:lnTo>
                          <a:pt x="517" y="210"/>
                        </a:lnTo>
                        <a:lnTo>
                          <a:pt x="471" y="189"/>
                        </a:lnTo>
                        <a:lnTo>
                          <a:pt x="429" y="167"/>
                        </a:lnTo>
                        <a:lnTo>
                          <a:pt x="389" y="146"/>
                        </a:lnTo>
                        <a:lnTo>
                          <a:pt x="315" y="107"/>
                        </a:lnTo>
                        <a:lnTo>
                          <a:pt x="254" y="72"/>
                        </a:lnTo>
                        <a:lnTo>
                          <a:pt x="204" y="43"/>
                        </a:lnTo>
                        <a:lnTo>
                          <a:pt x="168" y="19"/>
                        </a:lnTo>
                        <a:lnTo>
                          <a:pt x="145" y="5"/>
                        </a:lnTo>
                        <a:lnTo>
                          <a:pt x="137" y="0"/>
                        </a:lnTo>
                        <a:lnTo>
                          <a:pt x="122" y="34"/>
                        </a:lnTo>
                        <a:lnTo>
                          <a:pt x="107" y="65"/>
                        </a:lnTo>
                        <a:lnTo>
                          <a:pt x="93" y="93"/>
                        </a:lnTo>
                        <a:lnTo>
                          <a:pt x="78" y="118"/>
                        </a:lnTo>
                        <a:lnTo>
                          <a:pt x="53" y="164"/>
                        </a:lnTo>
                        <a:lnTo>
                          <a:pt x="31" y="202"/>
                        </a:lnTo>
                        <a:lnTo>
                          <a:pt x="23" y="220"/>
                        </a:lnTo>
                        <a:lnTo>
                          <a:pt x="15" y="236"/>
                        </a:lnTo>
                        <a:lnTo>
                          <a:pt x="8" y="252"/>
                        </a:lnTo>
                        <a:lnTo>
                          <a:pt x="4" y="268"/>
                        </a:lnTo>
                        <a:lnTo>
                          <a:pt x="1" y="283"/>
                        </a:lnTo>
                        <a:lnTo>
                          <a:pt x="0" y="299"/>
                        </a:lnTo>
                        <a:lnTo>
                          <a:pt x="0" y="314"/>
                        </a:lnTo>
                        <a:lnTo>
                          <a:pt x="4" y="331"/>
                        </a:lnTo>
                        <a:lnTo>
                          <a:pt x="9" y="348"/>
                        </a:lnTo>
                        <a:lnTo>
                          <a:pt x="19" y="365"/>
                        </a:lnTo>
                        <a:lnTo>
                          <a:pt x="33" y="385"/>
                        </a:lnTo>
                        <a:lnTo>
                          <a:pt x="49" y="406"/>
                        </a:lnTo>
                        <a:lnTo>
                          <a:pt x="70" y="427"/>
                        </a:lnTo>
                        <a:lnTo>
                          <a:pt x="94" y="450"/>
                        </a:lnTo>
                        <a:lnTo>
                          <a:pt x="122" y="472"/>
                        </a:lnTo>
                        <a:lnTo>
                          <a:pt x="152" y="497"/>
                        </a:lnTo>
                        <a:lnTo>
                          <a:pt x="185" y="521"/>
                        </a:lnTo>
                        <a:lnTo>
                          <a:pt x="222" y="546"/>
                        </a:lnTo>
                        <a:lnTo>
                          <a:pt x="261" y="570"/>
                        </a:lnTo>
                        <a:lnTo>
                          <a:pt x="303" y="596"/>
                        </a:lnTo>
                        <a:lnTo>
                          <a:pt x="348" y="620"/>
                        </a:lnTo>
                        <a:lnTo>
                          <a:pt x="395" y="646"/>
                        </a:lnTo>
                        <a:lnTo>
                          <a:pt x="444" y="670"/>
                        </a:lnTo>
                        <a:lnTo>
                          <a:pt x="497" y="695"/>
                        </a:lnTo>
                        <a:lnTo>
                          <a:pt x="550" y="718"/>
                        </a:lnTo>
                        <a:lnTo>
                          <a:pt x="606" y="742"/>
                        </a:lnTo>
                        <a:lnTo>
                          <a:pt x="664" y="765"/>
                        </a:lnTo>
                        <a:lnTo>
                          <a:pt x="724" y="786"/>
                        </a:lnTo>
                        <a:lnTo>
                          <a:pt x="785" y="807"/>
                        </a:lnTo>
                        <a:lnTo>
                          <a:pt x="847" y="827"/>
                        </a:lnTo>
                        <a:lnTo>
                          <a:pt x="912" y="846"/>
                        </a:lnTo>
                        <a:lnTo>
                          <a:pt x="978" y="863"/>
                        </a:lnTo>
                        <a:lnTo>
                          <a:pt x="1044" y="878"/>
                        </a:lnTo>
                        <a:lnTo>
                          <a:pt x="1112" y="893"/>
                        </a:lnTo>
                        <a:lnTo>
                          <a:pt x="1181" y="906"/>
                        </a:lnTo>
                        <a:lnTo>
                          <a:pt x="1250" y="916"/>
                        </a:lnTo>
                        <a:lnTo>
                          <a:pt x="1321" y="926"/>
                        </a:lnTo>
                        <a:lnTo>
                          <a:pt x="1393" y="933"/>
                        </a:lnTo>
                        <a:lnTo>
                          <a:pt x="1464" y="937"/>
                        </a:lnTo>
                        <a:lnTo>
                          <a:pt x="1536" y="940"/>
                        </a:lnTo>
                        <a:lnTo>
                          <a:pt x="1608" y="941"/>
                        </a:lnTo>
                        <a:lnTo>
                          <a:pt x="1679" y="941"/>
                        </a:lnTo>
                        <a:lnTo>
                          <a:pt x="1749" y="941"/>
                        </a:lnTo>
                        <a:lnTo>
                          <a:pt x="1819" y="940"/>
                        </a:lnTo>
                        <a:lnTo>
                          <a:pt x="1888" y="937"/>
                        </a:lnTo>
                        <a:lnTo>
                          <a:pt x="1957" y="935"/>
                        </a:lnTo>
                        <a:lnTo>
                          <a:pt x="2025" y="932"/>
                        </a:lnTo>
                        <a:lnTo>
                          <a:pt x="2093" y="927"/>
                        </a:lnTo>
                        <a:lnTo>
                          <a:pt x="2160" y="922"/>
                        </a:lnTo>
                        <a:lnTo>
                          <a:pt x="2225" y="915"/>
                        </a:lnTo>
                        <a:lnTo>
                          <a:pt x="2291" y="909"/>
                        </a:lnTo>
                        <a:lnTo>
                          <a:pt x="2357" y="900"/>
                        </a:lnTo>
                        <a:lnTo>
                          <a:pt x="2421" y="890"/>
                        </a:lnTo>
                        <a:lnTo>
                          <a:pt x="2485" y="880"/>
                        </a:lnTo>
                        <a:lnTo>
                          <a:pt x="2549" y="867"/>
                        </a:lnTo>
                        <a:lnTo>
                          <a:pt x="2611" y="854"/>
                        </a:lnTo>
                        <a:lnTo>
                          <a:pt x="2674" y="841"/>
                        </a:lnTo>
                        <a:lnTo>
                          <a:pt x="2736" y="825"/>
                        </a:lnTo>
                        <a:lnTo>
                          <a:pt x="2797" y="808"/>
                        </a:lnTo>
                        <a:lnTo>
                          <a:pt x="2859" y="789"/>
                        </a:lnTo>
                        <a:lnTo>
                          <a:pt x="2919" y="771"/>
                        </a:lnTo>
                        <a:lnTo>
                          <a:pt x="2979" y="749"/>
                        </a:lnTo>
                        <a:lnTo>
                          <a:pt x="3039" y="727"/>
                        </a:lnTo>
                        <a:lnTo>
                          <a:pt x="3098" y="703"/>
                        </a:lnTo>
                        <a:lnTo>
                          <a:pt x="3157" y="678"/>
                        </a:lnTo>
                        <a:lnTo>
                          <a:pt x="3216" y="650"/>
                        </a:lnTo>
                        <a:lnTo>
                          <a:pt x="3274" y="623"/>
                        </a:lnTo>
                        <a:lnTo>
                          <a:pt x="3330" y="592"/>
                        </a:lnTo>
                        <a:lnTo>
                          <a:pt x="3388" y="560"/>
                        </a:lnTo>
                        <a:lnTo>
                          <a:pt x="3445" y="527"/>
                        </a:lnTo>
                        <a:lnTo>
                          <a:pt x="3502" y="491"/>
                        </a:lnTo>
                        <a:lnTo>
                          <a:pt x="3557" y="453"/>
                        </a:lnTo>
                        <a:lnTo>
                          <a:pt x="3560" y="437"/>
                        </a:lnTo>
                        <a:lnTo>
                          <a:pt x="3561" y="416"/>
                        </a:lnTo>
                        <a:lnTo>
                          <a:pt x="3561" y="391"/>
                        </a:lnTo>
                        <a:lnTo>
                          <a:pt x="3561" y="364"/>
                        </a:lnTo>
                        <a:lnTo>
                          <a:pt x="3559" y="303"/>
                        </a:lnTo>
                        <a:lnTo>
                          <a:pt x="3553" y="239"/>
                        </a:lnTo>
                        <a:lnTo>
                          <a:pt x="3545" y="174"/>
                        </a:lnTo>
                        <a:lnTo>
                          <a:pt x="3537" y="116"/>
                        </a:lnTo>
                        <a:lnTo>
                          <a:pt x="3533" y="92"/>
                        </a:lnTo>
                        <a:lnTo>
                          <a:pt x="3527" y="71"/>
                        </a:lnTo>
                        <a:lnTo>
                          <a:pt x="3523" y="53"/>
                        </a:lnTo>
                        <a:lnTo>
                          <a:pt x="3519" y="41"/>
                        </a:lnTo>
                        <a:close/>
                      </a:path>
                    </a:pathLst>
                  </a:custGeom>
                  <a:solidFill>
                    <a:srgbClr val="C93A27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91" name="Freeform 188"/>
                  <p:cNvSpPr>
                    <a:spLocks/>
                  </p:cNvSpPr>
                  <p:nvPr/>
                </p:nvSpPr>
                <p:spPr bwMode="auto">
                  <a:xfrm>
                    <a:off x="3186" y="3764"/>
                    <a:ext cx="511" cy="95"/>
                  </a:xfrm>
                  <a:custGeom>
                    <a:avLst/>
                    <a:gdLst>
                      <a:gd name="T0" fmla="*/ 0 w 3561"/>
                      <a:gd name="T1" fmla="*/ 0 h 668"/>
                      <a:gd name="T2" fmla="*/ 0 w 3561"/>
                      <a:gd name="T3" fmla="*/ 0 h 668"/>
                      <a:gd name="T4" fmla="*/ 0 w 3561"/>
                      <a:gd name="T5" fmla="*/ 0 h 668"/>
                      <a:gd name="T6" fmla="*/ 0 w 3561"/>
                      <a:gd name="T7" fmla="*/ 0 h 668"/>
                      <a:gd name="T8" fmla="*/ 0 w 3561"/>
                      <a:gd name="T9" fmla="*/ 0 h 668"/>
                      <a:gd name="T10" fmla="*/ 0 w 3561"/>
                      <a:gd name="T11" fmla="*/ 0 h 668"/>
                      <a:gd name="T12" fmla="*/ 0 w 3561"/>
                      <a:gd name="T13" fmla="*/ 0 h 668"/>
                      <a:gd name="T14" fmla="*/ 0 w 3561"/>
                      <a:gd name="T15" fmla="*/ 0 h 668"/>
                      <a:gd name="T16" fmla="*/ 0 w 3561"/>
                      <a:gd name="T17" fmla="*/ 0 h 668"/>
                      <a:gd name="T18" fmla="*/ 0 w 3561"/>
                      <a:gd name="T19" fmla="*/ 0 h 668"/>
                      <a:gd name="T20" fmla="*/ 0 w 3561"/>
                      <a:gd name="T21" fmla="*/ 0 h 668"/>
                      <a:gd name="T22" fmla="*/ 0 w 3561"/>
                      <a:gd name="T23" fmla="*/ 0 h 668"/>
                      <a:gd name="T24" fmla="*/ 0 w 3561"/>
                      <a:gd name="T25" fmla="*/ 0 h 668"/>
                      <a:gd name="T26" fmla="*/ 0 w 3561"/>
                      <a:gd name="T27" fmla="*/ 0 h 668"/>
                      <a:gd name="T28" fmla="*/ 0 w 3561"/>
                      <a:gd name="T29" fmla="*/ 0 h 668"/>
                      <a:gd name="T30" fmla="*/ 0 w 3561"/>
                      <a:gd name="T31" fmla="*/ 0 h 668"/>
                      <a:gd name="T32" fmla="*/ 0 w 3561"/>
                      <a:gd name="T33" fmla="*/ 0 h 668"/>
                      <a:gd name="T34" fmla="*/ 0 w 3561"/>
                      <a:gd name="T35" fmla="*/ 0 h 668"/>
                      <a:gd name="T36" fmla="*/ 0 w 3561"/>
                      <a:gd name="T37" fmla="*/ 0 h 668"/>
                      <a:gd name="T38" fmla="*/ 0 w 3561"/>
                      <a:gd name="T39" fmla="*/ 0 h 668"/>
                      <a:gd name="T40" fmla="*/ 0 w 3561"/>
                      <a:gd name="T41" fmla="*/ 0 h 668"/>
                      <a:gd name="T42" fmla="*/ 0 w 3561"/>
                      <a:gd name="T43" fmla="*/ 0 h 668"/>
                      <a:gd name="T44" fmla="*/ 0 w 3561"/>
                      <a:gd name="T45" fmla="*/ 0 h 668"/>
                      <a:gd name="T46" fmla="*/ 0 w 3561"/>
                      <a:gd name="T47" fmla="*/ 0 h 668"/>
                      <a:gd name="T48" fmla="*/ 0 w 3561"/>
                      <a:gd name="T49" fmla="*/ 0 h 668"/>
                      <a:gd name="T50" fmla="*/ 0 w 3561"/>
                      <a:gd name="T51" fmla="*/ 0 h 668"/>
                      <a:gd name="T52" fmla="*/ 0 w 3561"/>
                      <a:gd name="T53" fmla="*/ 0 h 668"/>
                      <a:gd name="T54" fmla="*/ 0 w 3561"/>
                      <a:gd name="T55" fmla="*/ 0 h 668"/>
                      <a:gd name="T56" fmla="*/ 0 w 3561"/>
                      <a:gd name="T57" fmla="*/ 0 h 668"/>
                      <a:gd name="T58" fmla="*/ 0 w 3561"/>
                      <a:gd name="T59" fmla="*/ 0 h 668"/>
                      <a:gd name="T60" fmla="*/ 0 w 3561"/>
                      <a:gd name="T61" fmla="*/ 0 h 668"/>
                      <a:gd name="T62" fmla="*/ 0 w 3561"/>
                      <a:gd name="T63" fmla="*/ 0 h 668"/>
                      <a:gd name="T64" fmla="*/ 0 w 3561"/>
                      <a:gd name="T65" fmla="*/ 0 h 668"/>
                      <a:gd name="T66" fmla="*/ 0 w 3561"/>
                      <a:gd name="T67" fmla="*/ 0 h 668"/>
                      <a:gd name="T68" fmla="*/ 0 w 3561"/>
                      <a:gd name="T69" fmla="*/ 0 h 668"/>
                      <a:gd name="T70" fmla="*/ 0 w 3561"/>
                      <a:gd name="T71" fmla="*/ 0 h 668"/>
                      <a:gd name="T72" fmla="*/ 0 w 3561"/>
                      <a:gd name="T73" fmla="*/ 0 h 668"/>
                      <a:gd name="T74" fmla="*/ 0 w 3561"/>
                      <a:gd name="T75" fmla="*/ 0 h 668"/>
                      <a:gd name="T76" fmla="*/ 0 w 3561"/>
                      <a:gd name="T77" fmla="*/ 0 h 668"/>
                      <a:gd name="T78" fmla="*/ 0 w 3561"/>
                      <a:gd name="T79" fmla="*/ 0 h 668"/>
                      <a:gd name="T80" fmla="*/ 0 w 3561"/>
                      <a:gd name="T81" fmla="*/ 0 h 668"/>
                      <a:gd name="T82" fmla="*/ 0 w 3561"/>
                      <a:gd name="T83" fmla="*/ 0 h 668"/>
                      <a:gd name="T84" fmla="*/ 0 w 3561"/>
                      <a:gd name="T85" fmla="*/ 0 h 668"/>
                      <a:gd name="T86" fmla="*/ 0 w 3561"/>
                      <a:gd name="T87" fmla="*/ 0 h 668"/>
                      <a:gd name="T88" fmla="*/ 0 w 3561"/>
                      <a:gd name="T89" fmla="*/ 0 h 668"/>
                      <a:gd name="T90" fmla="*/ 0 w 3561"/>
                      <a:gd name="T91" fmla="*/ 0 h 668"/>
                      <a:gd name="T92" fmla="*/ 0 w 3561"/>
                      <a:gd name="T93" fmla="*/ 0 h 668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w 3561"/>
                      <a:gd name="T142" fmla="*/ 0 h 668"/>
                      <a:gd name="T143" fmla="*/ 3561 w 3561"/>
                      <a:gd name="T144" fmla="*/ 668 h 668"/>
                    </a:gdLst>
                    <a:ahLst/>
                    <a:cxnLst>
                      <a:cxn ang="T94">
                        <a:pos x="T0" y="T1"/>
                      </a:cxn>
                      <a:cxn ang="T95">
                        <a:pos x="T2" y="T3"/>
                      </a:cxn>
                      <a:cxn ang="T96">
                        <a:pos x="T4" y="T5"/>
                      </a:cxn>
                      <a:cxn ang="T97">
                        <a:pos x="T6" y="T7"/>
                      </a:cxn>
                      <a:cxn ang="T98">
                        <a:pos x="T8" y="T9"/>
                      </a:cxn>
                      <a:cxn ang="T99">
                        <a:pos x="T10" y="T11"/>
                      </a:cxn>
                      <a:cxn ang="T100">
                        <a:pos x="T12" y="T13"/>
                      </a:cxn>
                      <a:cxn ang="T101">
                        <a:pos x="T14" y="T15"/>
                      </a:cxn>
                      <a:cxn ang="T102">
                        <a:pos x="T16" y="T17"/>
                      </a:cxn>
                      <a:cxn ang="T103">
                        <a:pos x="T18" y="T19"/>
                      </a:cxn>
                      <a:cxn ang="T104">
                        <a:pos x="T20" y="T21"/>
                      </a:cxn>
                      <a:cxn ang="T105">
                        <a:pos x="T22" y="T23"/>
                      </a:cxn>
                      <a:cxn ang="T106">
                        <a:pos x="T24" y="T25"/>
                      </a:cxn>
                      <a:cxn ang="T107">
                        <a:pos x="T26" y="T27"/>
                      </a:cxn>
                      <a:cxn ang="T108">
                        <a:pos x="T28" y="T29"/>
                      </a:cxn>
                      <a:cxn ang="T109">
                        <a:pos x="T30" y="T31"/>
                      </a:cxn>
                      <a:cxn ang="T110">
                        <a:pos x="T32" y="T33"/>
                      </a:cxn>
                      <a:cxn ang="T111">
                        <a:pos x="T34" y="T35"/>
                      </a:cxn>
                      <a:cxn ang="T112">
                        <a:pos x="T36" y="T37"/>
                      </a:cxn>
                      <a:cxn ang="T113">
                        <a:pos x="T38" y="T39"/>
                      </a:cxn>
                      <a:cxn ang="T114">
                        <a:pos x="T40" y="T41"/>
                      </a:cxn>
                      <a:cxn ang="T115">
                        <a:pos x="T42" y="T43"/>
                      </a:cxn>
                      <a:cxn ang="T116">
                        <a:pos x="T44" y="T45"/>
                      </a:cxn>
                      <a:cxn ang="T117">
                        <a:pos x="T46" y="T47"/>
                      </a:cxn>
                      <a:cxn ang="T118">
                        <a:pos x="T48" y="T49"/>
                      </a:cxn>
                      <a:cxn ang="T119">
                        <a:pos x="T50" y="T51"/>
                      </a:cxn>
                      <a:cxn ang="T120">
                        <a:pos x="T52" y="T53"/>
                      </a:cxn>
                      <a:cxn ang="T121">
                        <a:pos x="T54" y="T55"/>
                      </a:cxn>
                      <a:cxn ang="T122">
                        <a:pos x="T56" y="T57"/>
                      </a:cxn>
                      <a:cxn ang="T123">
                        <a:pos x="T58" y="T59"/>
                      </a:cxn>
                      <a:cxn ang="T124">
                        <a:pos x="T60" y="T61"/>
                      </a:cxn>
                      <a:cxn ang="T125">
                        <a:pos x="T62" y="T63"/>
                      </a:cxn>
                      <a:cxn ang="T126">
                        <a:pos x="T64" y="T65"/>
                      </a:cxn>
                      <a:cxn ang="T127">
                        <a:pos x="T66" y="T67"/>
                      </a:cxn>
                      <a:cxn ang="T128">
                        <a:pos x="T68" y="T69"/>
                      </a:cxn>
                      <a:cxn ang="T129">
                        <a:pos x="T70" y="T71"/>
                      </a:cxn>
                      <a:cxn ang="T130">
                        <a:pos x="T72" y="T73"/>
                      </a:cxn>
                      <a:cxn ang="T131">
                        <a:pos x="T74" y="T75"/>
                      </a:cxn>
                      <a:cxn ang="T132">
                        <a:pos x="T76" y="T77"/>
                      </a:cxn>
                      <a:cxn ang="T133">
                        <a:pos x="T78" y="T79"/>
                      </a:cxn>
                      <a:cxn ang="T134">
                        <a:pos x="T80" y="T81"/>
                      </a:cxn>
                      <a:cxn ang="T135">
                        <a:pos x="T82" y="T83"/>
                      </a:cxn>
                      <a:cxn ang="T136">
                        <a:pos x="T84" y="T85"/>
                      </a:cxn>
                      <a:cxn ang="T137">
                        <a:pos x="T86" y="T87"/>
                      </a:cxn>
                      <a:cxn ang="T138">
                        <a:pos x="T88" y="T89"/>
                      </a:cxn>
                      <a:cxn ang="T139">
                        <a:pos x="T90" y="T91"/>
                      </a:cxn>
                      <a:cxn ang="T140">
                        <a:pos x="T92" y="T93"/>
                      </a:cxn>
                    </a:cxnLst>
                    <a:rect l="T141" t="T142" r="T143" b="T144"/>
                    <a:pathLst>
                      <a:path w="3561" h="668">
                        <a:moveTo>
                          <a:pt x="3557" y="128"/>
                        </a:moveTo>
                        <a:lnTo>
                          <a:pt x="3501" y="165"/>
                        </a:lnTo>
                        <a:lnTo>
                          <a:pt x="3444" y="200"/>
                        </a:lnTo>
                        <a:lnTo>
                          <a:pt x="3388" y="234"/>
                        </a:lnTo>
                        <a:lnTo>
                          <a:pt x="3330" y="266"/>
                        </a:lnTo>
                        <a:lnTo>
                          <a:pt x="3273" y="296"/>
                        </a:lnTo>
                        <a:lnTo>
                          <a:pt x="3215" y="325"/>
                        </a:lnTo>
                        <a:lnTo>
                          <a:pt x="3156" y="352"/>
                        </a:lnTo>
                        <a:lnTo>
                          <a:pt x="3097" y="377"/>
                        </a:lnTo>
                        <a:lnTo>
                          <a:pt x="3038" y="401"/>
                        </a:lnTo>
                        <a:lnTo>
                          <a:pt x="2979" y="424"/>
                        </a:lnTo>
                        <a:lnTo>
                          <a:pt x="2918" y="444"/>
                        </a:lnTo>
                        <a:lnTo>
                          <a:pt x="2858" y="464"/>
                        </a:lnTo>
                        <a:lnTo>
                          <a:pt x="2797" y="482"/>
                        </a:lnTo>
                        <a:lnTo>
                          <a:pt x="2735" y="499"/>
                        </a:lnTo>
                        <a:lnTo>
                          <a:pt x="2673" y="514"/>
                        </a:lnTo>
                        <a:lnTo>
                          <a:pt x="2611" y="529"/>
                        </a:lnTo>
                        <a:lnTo>
                          <a:pt x="2548" y="542"/>
                        </a:lnTo>
                        <a:lnTo>
                          <a:pt x="2485" y="553"/>
                        </a:lnTo>
                        <a:lnTo>
                          <a:pt x="2420" y="564"/>
                        </a:lnTo>
                        <a:lnTo>
                          <a:pt x="2356" y="573"/>
                        </a:lnTo>
                        <a:lnTo>
                          <a:pt x="2290" y="582"/>
                        </a:lnTo>
                        <a:lnTo>
                          <a:pt x="2225" y="590"/>
                        </a:lnTo>
                        <a:lnTo>
                          <a:pt x="2159" y="595"/>
                        </a:lnTo>
                        <a:lnTo>
                          <a:pt x="2092" y="601"/>
                        </a:lnTo>
                        <a:lnTo>
                          <a:pt x="2024" y="605"/>
                        </a:lnTo>
                        <a:lnTo>
                          <a:pt x="1956" y="609"/>
                        </a:lnTo>
                        <a:lnTo>
                          <a:pt x="1888" y="612"/>
                        </a:lnTo>
                        <a:lnTo>
                          <a:pt x="1818" y="614"/>
                        </a:lnTo>
                        <a:lnTo>
                          <a:pt x="1749" y="615"/>
                        </a:lnTo>
                        <a:lnTo>
                          <a:pt x="1678" y="615"/>
                        </a:lnTo>
                        <a:lnTo>
                          <a:pt x="1607" y="615"/>
                        </a:lnTo>
                        <a:lnTo>
                          <a:pt x="1536" y="614"/>
                        </a:lnTo>
                        <a:lnTo>
                          <a:pt x="1463" y="612"/>
                        </a:lnTo>
                        <a:lnTo>
                          <a:pt x="1392" y="607"/>
                        </a:lnTo>
                        <a:lnTo>
                          <a:pt x="1321" y="600"/>
                        </a:lnTo>
                        <a:lnTo>
                          <a:pt x="1250" y="591"/>
                        </a:lnTo>
                        <a:lnTo>
                          <a:pt x="1181" y="580"/>
                        </a:lnTo>
                        <a:lnTo>
                          <a:pt x="1112" y="568"/>
                        </a:lnTo>
                        <a:lnTo>
                          <a:pt x="1044" y="553"/>
                        </a:lnTo>
                        <a:lnTo>
                          <a:pt x="977" y="538"/>
                        </a:lnTo>
                        <a:lnTo>
                          <a:pt x="911" y="520"/>
                        </a:lnTo>
                        <a:lnTo>
                          <a:pt x="847" y="501"/>
                        </a:lnTo>
                        <a:lnTo>
                          <a:pt x="784" y="482"/>
                        </a:lnTo>
                        <a:lnTo>
                          <a:pt x="723" y="461"/>
                        </a:lnTo>
                        <a:lnTo>
                          <a:pt x="663" y="439"/>
                        </a:lnTo>
                        <a:lnTo>
                          <a:pt x="605" y="416"/>
                        </a:lnTo>
                        <a:lnTo>
                          <a:pt x="549" y="393"/>
                        </a:lnTo>
                        <a:lnTo>
                          <a:pt x="496" y="368"/>
                        </a:lnTo>
                        <a:lnTo>
                          <a:pt x="444" y="344"/>
                        </a:lnTo>
                        <a:lnTo>
                          <a:pt x="395" y="319"/>
                        </a:lnTo>
                        <a:lnTo>
                          <a:pt x="347" y="295"/>
                        </a:lnTo>
                        <a:lnTo>
                          <a:pt x="302" y="269"/>
                        </a:lnTo>
                        <a:lnTo>
                          <a:pt x="260" y="245"/>
                        </a:lnTo>
                        <a:lnTo>
                          <a:pt x="221" y="219"/>
                        </a:lnTo>
                        <a:lnTo>
                          <a:pt x="184" y="195"/>
                        </a:lnTo>
                        <a:lnTo>
                          <a:pt x="151" y="170"/>
                        </a:lnTo>
                        <a:lnTo>
                          <a:pt x="121" y="147"/>
                        </a:lnTo>
                        <a:lnTo>
                          <a:pt x="93" y="124"/>
                        </a:lnTo>
                        <a:lnTo>
                          <a:pt x="70" y="101"/>
                        </a:lnTo>
                        <a:lnTo>
                          <a:pt x="49" y="80"/>
                        </a:lnTo>
                        <a:lnTo>
                          <a:pt x="32" y="59"/>
                        </a:lnTo>
                        <a:lnTo>
                          <a:pt x="19" y="40"/>
                        </a:lnTo>
                        <a:lnTo>
                          <a:pt x="9" y="22"/>
                        </a:lnTo>
                        <a:lnTo>
                          <a:pt x="3" y="5"/>
                        </a:lnTo>
                        <a:lnTo>
                          <a:pt x="3" y="2"/>
                        </a:lnTo>
                        <a:lnTo>
                          <a:pt x="2" y="0"/>
                        </a:lnTo>
                        <a:lnTo>
                          <a:pt x="0" y="15"/>
                        </a:lnTo>
                        <a:lnTo>
                          <a:pt x="0" y="28"/>
                        </a:lnTo>
                        <a:lnTo>
                          <a:pt x="1" y="42"/>
                        </a:lnTo>
                        <a:lnTo>
                          <a:pt x="3" y="58"/>
                        </a:lnTo>
                        <a:lnTo>
                          <a:pt x="9" y="75"/>
                        </a:lnTo>
                        <a:lnTo>
                          <a:pt x="19" y="92"/>
                        </a:lnTo>
                        <a:lnTo>
                          <a:pt x="32" y="112"/>
                        </a:lnTo>
                        <a:lnTo>
                          <a:pt x="49" y="133"/>
                        </a:lnTo>
                        <a:lnTo>
                          <a:pt x="70" y="154"/>
                        </a:lnTo>
                        <a:lnTo>
                          <a:pt x="93" y="177"/>
                        </a:lnTo>
                        <a:lnTo>
                          <a:pt x="121" y="199"/>
                        </a:lnTo>
                        <a:lnTo>
                          <a:pt x="151" y="224"/>
                        </a:lnTo>
                        <a:lnTo>
                          <a:pt x="184" y="248"/>
                        </a:lnTo>
                        <a:lnTo>
                          <a:pt x="221" y="273"/>
                        </a:lnTo>
                        <a:lnTo>
                          <a:pt x="260" y="297"/>
                        </a:lnTo>
                        <a:lnTo>
                          <a:pt x="302" y="323"/>
                        </a:lnTo>
                        <a:lnTo>
                          <a:pt x="347" y="347"/>
                        </a:lnTo>
                        <a:lnTo>
                          <a:pt x="395" y="373"/>
                        </a:lnTo>
                        <a:lnTo>
                          <a:pt x="444" y="397"/>
                        </a:lnTo>
                        <a:lnTo>
                          <a:pt x="496" y="422"/>
                        </a:lnTo>
                        <a:lnTo>
                          <a:pt x="549" y="445"/>
                        </a:lnTo>
                        <a:lnTo>
                          <a:pt x="605" y="469"/>
                        </a:lnTo>
                        <a:lnTo>
                          <a:pt x="663" y="492"/>
                        </a:lnTo>
                        <a:lnTo>
                          <a:pt x="723" y="513"/>
                        </a:lnTo>
                        <a:lnTo>
                          <a:pt x="784" y="534"/>
                        </a:lnTo>
                        <a:lnTo>
                          <a:pt x="847" y="554"/>
                        </a:lnTo>
                        <a:lnTo>
                          <a:pt x="911" y="573"/>
                        </a:lnTo>
                        <a:lnTo>
                          <a:pt x="977" y="590"/>
                        </a:lnTo>
                        <a:lnTo>
                          <a:pt x="1044" y="605"/>
                        </a:lnTo>
                        <a:lnTo>
                          <a:pt x="1112" y="620"/>
                        </a:lnTo>
                        <a:lnTo>
                          <a:pt x="1181" y="633"/>
                        </a:lnTo>
                        <a:lnTo>
                          <a:pt x="1250" y="643"/>
                        </a:lnTo>
                        <a:lnTo>
                          <a:pt x="1321" y="653"/>
                        </a:lnTo>
                        <a:lnTo>
                          <a:pt x="1392" y="660"/>
                        </a:lnTo>
                        <a:lnTo>
                          <a:pt x="1463" y="664"/>
                        </a:lnTo>
                        <a:lnTo>
                          <a:pt x="1536" y="667"/>
                        </a:lnTo>
                        <a:lnTo>
                          <a:pt x="1607" y="668"/>
                        </a:lnTo>
                        <a:lnTo>
                          <a:pt x="1678" y="668"/>
                        </a:lnTo>
                        <a:lnTo>
                          <a:pt x="1749" y="668"/>
                        </a:lnTo>
                        <a:lnTo>
                          <a:pt x="1818" y="667"/>
                        </a:lnTo>
                        <a:lnTo>
                          <a:pt x="1888" y="664"/>
                        </a:lnTo>
                        <a:lnTo>
                          <a:pt x="1956" y="662"/>
                        </a:lnTo>
                        <a:lnTo>
                          <a:pt x="2024" y="659"/>
                        </a:lnTo>
                        <a:lnTo>
                          <a:pt x="2092" y="654"/>
                        </a:lnTo>
                        <a:lnTo>
                          <a:pt x="2159" y="649"/>
                        </a:lnTo>
                        <a:lnTo>
                          <a:pt x="2225" y="642"/>
                        </a:lnTo>
                        <a:lnTo>
                          <a:pt x="2290" y="636"/>
                        </a:lnTo>
                        <a:lnTo>
                          <a:pt x="2356" y="627"/>
                        </a:lnTo>
                        <a:lnTo>
                          <a:pt x="2420" y="617"/>
                        </a:lnTo>
                        <a:lnTo>
                          <a:pt x="2485" y="607"/>
                        </a:lnTo>
                        <a:lnTo>
                          <a:pt x="2548" y="594"/>
                        </a:lnTo>
                        <a:lnTo>
                          <a:pt x="2611" y="581"/>
                        </a:lnTo>
                        <a:lnTo>
                          <a:pt x="2673" y="568"/>
                        </a:lnTo>
                        <a:lnTo>
                          <a:pt x="2735" y="552"/>
                        </a:lnTo>
                        <a:lnTo>
                          <a:pt x="2797" y="535"/>
                        </a:lnTo>
                        <a:lnTo>
                          <a:pt x="2858" y="516"/>
                        </a:lnTo>
                        <a:lnTo>
                          <a:pt x="2918" y="498"/>
                        </a:lnTo>
                        <a:lnTo>
                          <a:pt x="2979" y="476"/>
                        </a:lnTo>
                        <a:lnTo>
                          <a:pt x="3038" y="454"/>
                        </a:lnTo>
                        <a:lnTo>
                          <a:pt x="3097" y="430"/>
                        </a:lnTo>
                        <a:lnTo>
                          <a:pt x="3156" y="405"/>
                        </a:lnTo>
                        <a:lnTo>
                          <a:pt x="3215" y="377"/>
                        </a:lnTo>
                        <a:lnTo>
                          <a:pt x="3273" y="350"/>
                        </a:lnTo>
                        <a:lnTo>
                          <a:pt x="3330" y="319"/>
                        </a:lnTo>
                        <a:lnTo>
                          <a:pt x="3388" y="287"/>
                        </a:lnTo>
                        <a:lnTo>
                          <a:pt x="3444" y="254"/>
                        </a:lnTo>
                        <a:lnTo>
                          <a:pt x="3501" y="218"/>
                        </a:lnTo>
                        <a:lnTo>
                          <a:pt x="3557" y="180"/>
                        </a:lnTo>
                        <a:lnTo>
                          <a:pt x="3559" y="164"/>
                        </a:lnTo>
                        <a:lnTo>
                          <a:pt x="3560" y="143"/>
                        </a:lnTo>
                        <a:lnTo>
                          <a:pt x="3561" y="118"/>
                        </a:lnTo>
                        <a:lnTo>
                          <a:pt x="3560" y="90"/>
                        </a:lnTo>
                        <a:lnTo>
                          <a:pt x="3560" y="101"/>
                        </a:lnTo>
                        <a:lnTo>
                          <a:pt x="3559" y="111"/>
                        </a:lnTo>
                        <a:lnTo>
                          <a:pt x="3558" y="120"/>
                        </a:lnTo>
                        <a:lnTo>
                          <a:pt x="3557" y="128"/>
                        </a:lnTo>
                        <a:close/>
                      </a:path>
                    </a:pathLst>
                  </a:custGeom>
                  <a:solidFill>
                    <a:srgbClr val="99312C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92" name="Freeform 189"/>
                  <p:cNvSpPr>
                    <a:spLocks/>
                  </p:cNvSpPr>
                  <p:nvPr/>
                </p:nvSpPr>
                <p:spPr bwMode="auto">
                  <a:xfrm>
                    <a:off x="3223" y="3764"/>
                    <a:ext cx="20" cy="18"/>
                  </a:xfrm>
                  <a:custGeom>
                    <a:avLst/>
                    <a:gdLst>
                      <a:gd name="T0" fmla="*/ 0 w 139"/>
                      <a:gd name="T1" fmla="*/ 0 h 125"/>
                      <a:gd name="T2" fmla="*/ 0 w 139"/>
                      <a:gd name="T3" fmla="*/ 0 h 125"/>
                      <a:gd name="T4" fmla="*/ 0 w 139"/>
                      <a:gd name="T5" fmla="*/ 0 h 125"/>
                      <a:gd name="T6" fmla="*/ 0 w 139"/>
                      <a:gd name="T7" fmla="*/ 0 h 125"/>
                      <a:gd name="T8" fmla="*/ 0 w 139"/>
                      <a:gd name="T9" fmla="*/ 0 h 12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39"/>
                      <a:gd name="T16" fmla="*/ 0 h 125"/>
                      <a:gd name="T17" fmla="*/ 139 w 139"/>
                      <a:gd name="T18" fmla="*/ 125 h 12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39" h="125">
                        <a:moveTo>
                          <a:pt x="69" y="125"/>
                        </a:moveTo>
                        <a:lnTo>
                          <a:pt x="0" y="62"/>
                        </a:lnTo>
                        <a:lnTo>
                          <a:pt x="69" y="0"/>
                        </a:lnTo>
                        <a:lnTo>
                          <a:pt x="139" y="62"/>
                        </a:lnTo>
                        <a:lnTo>
                          <a:pt x="69" y="125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93" name="Freeform 190"/>
                  <p:cNvSpPr>
                    <a:spLocks/>
                  </p:cNvSpPr>
                  <p:nvPr/>
                </p:nvSpPr>
                <p:spPr bwMode="auto">
                  <a:xfrm>
                    <a:off x="3251" y="3779"/>
                    <a:ext cx="35" cy="31"/>
                  </a:xfrm>
                  <a:custGeom>
                    <a:avLst/>
                    <a:gdLst>
                      <a:gd name="T0" fmla="*/ 0 w 233"/>
                      <a:gd name="T1" fmla="*/ 0 h 207"/>
                      <a:gd name="T2" fmla="*/ 0 w 233"/>
                      <a:gd name="T3" fmla="*/ 0 h 207"/>
                      <a:gd name="T4" fmla="*/ 0 w 233"/>
                      <a:gd name="T5" fmla="*/ 0 h 207"/>
                      <a:gd name="T6" fmla="*/ 0 w 233"/>
                      <a:gd name="T7" fmla="*/ 0 h 207"/>
                      <a:gd name="T8" fmla="*/ 0 w 233"/>
                      <a:gd name="T9" fmla="*/ 0 h 20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33"/>
                      <a:gd name="T16" fmla="*/ 0 h 207"/>
                      <a:gd name="T17" fmla="*/ 233 w 233"/>
                      <a:gd name="T18" fmla="*/ 207 h 20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33" h="207">
                        <a:moveTo>
                          <a:pt x="96" y="207"/>
                        </a:moveTo>
                        <a:lnTo>
                          <a:pt x="0" y="85"/>
                        </a:lnTo>
                        <a:lnTo>
                          <a:pt x="137" y="0"/>
                        </a:lnTo>
                        <a:lnTo>
                          <a:pt x="233" y="122"/>
                        </a:lnTo>
                        <a:lnTo>
                          <a:pt x="96" y="207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94" name="Freeform 191"/>
                  <p:cNvSpPr>
                    <a:spLocks/>
                  </p:cNvSpPr>
                  <p:nvPr/>
                </p:nvSpPr>
                <p:spPr bwMode="auto">
                  <a:xfrm>
                    <a:off x="3300" y="3802"/>
                    <a:ext cx="17" cy="15"/>
                  </a:xfrm>
                  <a:custGeom>
                    <a:avLst/>
                    <a:gdLst>
                      <a:gd name="T0" fmla="*/ 0 w 122"/>
                      <a:gd name="T1" fmla="*/ 0 h 109"/>
                      <a:gd name="T2" fmla="*/ 0 w 122"/>
                      <a:gd name="T3" fmla="*/ 0 h 109"/>
                      <a:gd name="T4" fmla="*/ 0 w 122"/>
                      <a:gd name="T5" fmla="*/ 0 h 109"/>
                      <a:gd name="T6" fmla="*/ 0 w 122"/>
                      <a:gd name="T7" fmla="*/ 0 h 109"/>
                      <a:gd name="T8" fmla="*/ 0 w 122"/>
                      <a:gd name="T9" fmla="*/ 0 h 10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22"/>
                      <a:gd name="T16" fmla="*/ 0 h 109"/>
                      <a:gd name="T17" fmla="*/ 122 w 122"/>
                      <a:gd name="T18" fmla="*/ 109 h 10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22" h="109">
                        <a:moveTo>
                          <a:pt x="37" y="109"/>
                        </a:moveTo>
                        <a:lnTo>
                          <a:pt x="0" y="32"/>
                        </a:lnTo>
                        <a:lnTo>
                          <a:pt x="86" y="0"/>
                        </a:lnTo>
                        <a:lnTo>
                          <a:pt x="122" y="76"/>
                        </a:lnTo>
                        <a:lnTo>
                          <a:pt x="37" y="109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95" name="Freeform 192"/>
                  <p:cNvSpPr>
                    <a:spLocks/>
                  </p:cNvSpPr>
                  <p:nvPr/>
                </p:nvSpPr>
                <p:spPr bwMode="auto">
                  <a:xfrm>
                    <a:off x="3341" y="3811"/>
                    <a:ext cx="22" cy="19"/>
                  </a:xfrm>
                  <a:custGeom>
                    <a:avLst/>
                    <a:gdLst>
                      <a:gd name="T0" fmla="*/ 0 w 143"/>
                      <a:gd name="T1" fmla="*/ 0 h 128"/>
                      <a:gd name="T2" fmla="*/ 0 w 143"/>
                      <a:gd name="T3" fmla="*/ 0 h 128"/>
                      <a:gd name="T4" fmla="*/ 0 w 143"/>
                      <a:gd name="T5" fmla="*/ 0 h 128"/>
                      <a:gd name="T6" fmla="*/ 0 w 143"/>
                      <a:gd name="T7" fmla="*/ 0 h 128"/>
                      <a:gd name="T8" fmla="*/ 0 w 143"/>
                      <a:gd name="T9" fmla="*/ 0 h 12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43"/>
                      <a:gd name="T16" fmla="*/ 0 h 128"/>
                      <a:gd name="T17" fmla="*/ 143 w 143"/>
                      <a:gd name="T18" fmla="*/ 128 h 12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43" h="128">
                        <a:moveTo>
                          <a:pt x="57" y="128"/>
                        </a:moveTo>
                        <a:lnTo>
                          <a:pt x="0" y="52"/>
                        </a:lnTo>
                        <a:lnTo>
                          <a:pt x="86" y="0"/>
                        </a:lnTo>
                        <a:lnTo>
                          <a:pt x="143" y="77"/>
                        </a:lnTo>
                        <a:lnTo>
                          <a:pt x="57" y="128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96" name="Freeform 193"/>
                  <p:cNvSpPr>
                    <a:spLocks/>
                  </p:cNvSpPr>
                  <p:nvPr/>
                </p:nvSpPr>
                <p:spPr bwMode="auto">
                  <a:xfrm>
                    <a:off x="3668" y="3764"/>
                    <a:ext cx="20" cy="18"/>
                  </a:xfrm>
                  <a:custGeom>
                    <a:avLst/>
                    <a:gdLst>
                      <a:gd name="T0" fmla="*/ 0 w 139"/>
                      <a:gd name="T1" fmla="*/ 0 h 125"/>
                      <a:gd name="T2" fmla="*/ 0 w 139"/>
                      <a:gd name="T3" fmla="*/ 0 h 125"/>
                      <a:gd name="T4" fmla="*/ 0 w 139"/>
                      <a:gd name="T5" fmla="*/ 0 h 125"/>
                      <a:gd name="T6" fmla="*/ 0 w 139"/>
                      <a:gd name="T7" fmla="*/ 0 h 125"/>
                      <a:gd name="T8" fmla="*/ 0 w 139"/>
                      <a:gd name="T9" fmla="*/ 0 h 12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39"/>
                      <a:gd name="T16" fmla="*/ 0 h 125"/>
                      <a:gd name="T17" fmla="*/ 139 w 139"/>
                      <a:gd name="T18" fmla="*/ 125 h 12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39" h="125">
                        <a:moveTo>
                          <a:pt x="69" y="125"/>
                        </a:moveTo>
                        <a:lnTo>
                          <a:pt x="139" y="62"/>
                        </a:lnTo>
                        <a:lnTo>
                          <a:pt x="69" y="0"/>
                        </a:lnTo>
                        <a:lnTo>
                          <a:pt x="0" y="62"/>
                        </a:lnTo>
                        <a:lnTo>
                          <a:pt x="69" y="125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97" name="Freeform 194"/>
                  <p:cNvSpPr>
                    <a:spLocks/>
                  </p:cNvSpPr>
                  <p:nvPr/>
                </p:nvSpPr>
                <p:spPr bwMode="auto">
                  <a:xfrm>
                    <a:off x="3627" y="3779"/>
                    <a:ext cx="33" cy="31"/>
                  </a:xfrm>
                  <a:custGeom>
                    <a:avLst/>
                    <a:gdLst>
                      <a:gd name="T0" fmla="*/ 0 w 231"/>
                      <a:gd name="T1" fmla="*/ 0 h 207"/>
                      <a:gd name="T2" fmla="*/ 0 w 231"/>
                      <a:gd name="T3" fmla="*/ 0 h 207"/>
                      <a:gd name="T4" fmla="*/ 0 w 231"/>
                      <a:gd name="T5" fmla="*/ 0 h 207"/>
                      <a:gd name="T6" fmla="*/ 0 w 231"/>
                      <a:gd name="T7" fmla="*/ 0 h 207"/>
                      <a:gd name="T8" fmla="*/ 0 w 231"/>
                      <a:gd name="T9" fmla="*/ 0 h 20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31"/>
                      <a:gd name="T16" fmla="*/ 0 h 207"/>
                      <a:gd name="T17" fmla="*/ 231 w 231"/>
                      <a:gd name="T18" fmla="*/ 207 h 20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31" h="207">
                        <a:moveTo>
                          <a:pt x="137" y="207"/>
                        </a:moveTo>
                        <a:lnTo>
                          <a:pt x="231" y="85"/>
                        </a:lnTo>
                        <a:lnTo>
                          <a:pt x="95" y="0"/>
                        </a:lnTo>
                        <a:lnTo>
                          <a:pt x="0" y="122"/>
                        </a:lnTo>
                        <a:lnTo>
                          <a:pt x="137" y="207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98" name="Freeform 195"/>
                  <p:cNvSpPr>
                    <a:spLocks/>
                  </p:cNvSpPr>
                  <p:nvPr/>
                </p:nvSpPr>
                <p:spPr bwMode="auto">
                  <a:xfrm>
                    <a:off x="3594" y="3802"/>
                    <a:ext cx="18" cy="15"/>
                  </a:xfrm>
                  <a:custGeom>
                    <a:avLst/>
                    <a:gdLst>
                      <a:gd name="T0" fmla="*/ 0 w 122"/>
                      <a:gd name="T1" fmla="*/ 0 h 109"/>
                      <a:gd name="T2" fmla="*/ 0 w 122"/>
                      <a:gd name="T3" fmla="*/ 0 h 109"/>
                      <a:gd name="T4" fmla="*/ 0 w 122"/>
                      <a:gd name="T5" fmla="*/ 0 h 109"/>
                      <a:gd name="T6" fmla="*/ 0 w 122"/>
                      <a:gd name="T7" fmla="*/ 0 h 109"/>
                      <a:gd name="T8" fmla="*/ 0 w 122"/>
                      <a:gd name="T9" fmla="*/ 0 h 10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22"/>
                      <a:gd name="T16" fmla="*/ 0 h 109"/>
                      <a:gd name="T17" fmla="*/ 122 w 122"/>
                      <a:gd name="T18" fmla="*/ 109 h 10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22" h="109">
                        <a:moveTo>
                          <a:pt x="85" y="109"/>
                        </a:moveTo>
                        <a:lnTo>
                          <a:pt x="122" y="32"/>
                        </a:lnTo>
                        <a:lnTo>
                          <a:pt x="36" y="0"/>
                        </a:lnTo>
                        <a:lnTo>
                          <a:pt x="0" y="76"/>
                        </a:lnTo>
                        <a:lnTo>
                          <a:pt x="85" y="109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299" name="Freeform 196"/>
                  <p:cNvSpPr>
                    <a:spLocks/>
                  </p:cNvSpPr>
                  <p:nvPr/>
                </p:nvSpPr>
                <p:spPr bwMode="auto">
                  <a:xfrm>
                    <a:off x="3550" y="3811"/>
                    <a:ext cx="20" cy="19"/>
                  </a:xfrm>
                  <a:custGeom>
                    <a:avLst/>
                    <a:gdLst>
                      <a:gd name="T0" fmla="*/ 0 w 141"/>
                      <a:gd name="T1" fmla="*/ 0 h 128"/>
                      <a:gd name="T2" fmla="*/ 0 w 141"/>
                      <a:gd name="T3" fmla="*/ 0 h 128"/>
                      <a:gd name="T4" fmla="*/ 0 w 141"/>
                      <a:gd name="T5" fmla="*/ 0 h 128"/>
                      <a:gd name="T6" fmla="*/ 0 w 141"/>
                      <a:gd name="T7" fmla="*/ 0 h 128"/>
                      <a:gd name="T8" fmla="*/ 0 w 141"/>
                      <a:gd name="T9" fmla="*/ 0 h 12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41"/>
                      <a:gd name="T16" fmla="*/ 0 h 128"/>
                      <a:gd name="T17" fmla="*/ 141 w 141"/>
                      <a:gd name="T18" fmla="*/ 128 h 12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41" h="128">
                        <a:moveTo>
                          <a:pt x="85" y="128"/>
                        </a:moveTo>
                        <a:lnTo>
                          <a:pt x="141" y="52"/>
                        </a:lnTo>
                        <a:lnTo>
                          <a:pt x="57" y="0"/>
                        </a:lnTo>
                        <a:lnTo>
                          <a:pt x="0" y="77"/>
                        </a:lnTo>
                        <a:lnTo>
                          <a:pt x="85" y="128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300" name="Freeform 197"/>
                  <p:cNvSpPr>
                    <a:spLocks/>
                  </p:cNvSpPr>
                  <p:nvPr/>
                </p:nvSpPr>
                <p:spPr bwMode="auto">
                  <a:xfrm>
                    <a:off x="3165" y="3511"/>
                    <a:ext cx="294" cy="330"/>
                  </a:xfrm>
                  <a:custGeom>
                    <a:avLst/>
                    <a:gdLst>
                      <a:gd name="T0" fmla="*/ 0 w 2056"/>
                      <a:gd name="T1" fmla="*/ 0 h 2325"/>
                      <a:gd name="T2" fmla="*/ 0 w 2056"/>
                      <a:gd name="T3" fmla="*/ 0 h 2325"/>
                      <a:gd name="T4" fmla="*/ 0 w 2056"/>
                      <a:gd name="T5" fmla="*/ 0 h 2325"/>
                      <a:gd name="T6" fmla="*/ 0 w 2056"/>
                      <a:gd name="T7" fmla="*/ 0 h 2325"/>
                      <a:gd name="T8" fmla="*/ 0 w 2056"/>
                      <a:gd name="T9" fmla="*/ 0 h 2325"/>
                      <a:gd name="T10" fmla="*/ 0 w 2056"/>
                      <a:gd name="T11" fmla="*/ 0 h 2325"/>
                      <a:gd name="T12" fmla="*/ 0 w 2056"/>
                      <a:gd name="T13" fmla="*/ 0 h 2325"/>
                      <a:gd name="T14" fmla="*/ 0 w 2056"/>
                      <a:gd name="T15" fmla="*/ 0 h 2325"/>
                      <a:gd name="T16" fmla="*/ 0 w 2056"/>
                      <a:gd name="T17" fmla="*/ 0 h 2325"/>
                      <a:gd name="T18" fmla="*/ 0 w 2056"/>
                      <a:gd name="T19" fmla="*/ 0 h 2325"/>
                      <a:gd name="T20" fmla="*/ 0 w 2056"/>
                      <a:gd name="T21" fmla="*/ 0 h 2325"/>
                      <a:gd name="T22" fmla="*/ 0 w 2056"/>
                      <a:gd name="T23" fmla="*/ 0 h 2325"/>
                      <a:gd name="T24" fmla="*/ 0 w 2056"/>
                      <a:gd name="T25" fmla="*/ 0 h 2325"/>
                      <a:gd name="T26" fmla="*/ 0 w 2056"/>
                      <a:gd name="T27" fmla="*/ 0 h 2325"/>
                      <a:gd name="T28" fmla="*/ 0 w 2056"/>
                      <a:gd name="T29" fmla="*/ 0 h 2325"/>
                      <a:gd name="T30" fmla="*/ 0 w 2056"/>
                      <a:gd name="T31" fmla="*/ 0 h 2325"/>
                      <a:gd name="T32" fmla="*/ 0 w 2056"/>
                      <a:gd name="T33" fmla="*/ 0 h 2325"/>
                      <a:gd name="T34" fmla="*/ 0 w 2056"/>
                      <a:gd name="T35" fmla="*/ 0 h 2325"/>
                      <a:gd name="T36" fmla="*/ 0 w 2056"/>
                      <a:gd name="T37" fmla="*/ 0 h 2325"/>
                      <a:gd name="T38" fmla="*/ 0 w 2056"/>
                      <a:gd name="T39" fmla="*/ 0 h 2325"/>
                      <a:gd name="T40" fmla="*/ 0 w 2056"/>
                      <a:gd name="T41" fmla="*/ 0 h 2325"/>
                      <a:gd name="T42" fmla="*/ 0 w 2056"/>
                      <a:gd name="T43" fmla="*/ 0 h 2325"/>
                      <a:gd name="T44" fmla="*/ 0 w 2056"/>
                      <a:gd name="T45" fmla="*/ 0 h 2325"/>
                      <a:gd name="T46" fmla="*/ 0 w 2056"/>
                      <a:gd name="T47" fmla="*/ 0 h 2325"/>
                      <a:gd name="T48" fmla="*/ 0 w 2056"/>
                      <a:gd name="T49" fmla="*/ 0 h 2325"/>
                      <a:gd name="T50" fmla="*/ 0 w 2056"/>
                      <a:gd name="T51" fmla="*/ 0 h 2325"/>
                      <a:gd name="T52" fmla="*/ 0 w 2056"/>
                      <a:gd name="T53" fmla="*/ 0 h 2325"/>
                      <a:gd name="T54" fmla="*/ 0 w 2056"/>
                      <a:gd name="T55" fmla="*/ 0 h 2325"/>
                      <a:gd name="T56" fmla="*/ 0 w 2056"/>
                      <a:gd name="T57" fmla="*/ 0 h 2325"/>
                      <a:gd name="T58" fmla="*/ 0 w 2056"/>
                      <a:gd name="T59" fmla="*/ 0 h 2325"/>
                      <a:gd name="T60" fmla="*/ 0 w 2056"/>
                      <a:gd name="T61" fmla="*/ 0 h 2325"/>
                      <a:gd name="T62" fmla="*/ 0 w 2056"/>
                      <a:gd name="T63" fmla="*/ 0 h 2325"/>
                      <a:gd name="T64" fmla="*/ 0 w 2056"/>
                      <a:gd name="T65" fmla="*/ 0 h 2325"/>
                      <a:gd name="T66" fmla="*/ 0 w 2056"/>
                      <a:gd name="T67" fmla="*/ 0 h 2325"/>
                      <a:gd name="T68" fmla="*/ 0 w 2056"/>
                      <a:gd name="T69" fmla="*/ 0 h 2325"/>
                      <a:gd name="T70" fmla="*/ 0 w 2056"/>
                      <a:gd name="T71" fmla="*/ 0 h 2325"/>
                      <a:gd name="T72" fmla="*/ 0 w 2056"/>
                      <a:gd name="T73" fmla="*/ 0 h 2325"/>
                      <a:gd name="T74" fmla="*/ 0 w 2056"/>
                      <a:gd name="T75" fmla="*/ 0 h 2325"/>
                      <a:gd name="T76" fmla="*/ 0 w 2056"/>
                      <a:gd name="T77" fmla="*/ 0 h 2325"/>
                      <a:gd name="T78" fmla="*/ 0 w 2056"/>
                      <a:gd name="T79" fmla="*/ 0 h 2325"/>
                      <a:gd name="T80" fmla="*/ 0 w 2056"/>
                      <a:gd name="T81" fmla="*/ 0 h 2325"/>
                      <a:gd name="T82" fmla="*/ 0 w 2056"/>
                      <a:gd name="T83" fmla="*/ 0 h 2325"/>
                      <a:gd name="T84" fmla="*/ 0 w 2056"/>
                      <a:gd name="T85" fmla="*/ 0 h 2325"/>
                      <a:gd name="T86" fmla="*/ 0 w 2056"/>
                      <a:gd name="T87" fmla="*/ 0 h 2325"/>
                      <a:gd name="T88" fmla="*/ 0 w 2056"/>
                      <a:gd name="T89" fmla="*/ 0 h 2325"/>
                      <a:gd name="T90" fmla="*/ 0 w 2056"/>
                      <a:gd name="T91" fmla="*/ 0 h 2325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w 2056"/>
                      <a:gd name="T139" fmla="*/ 0 h 2325"/>
                      <a:gd name="T140" fmla="*/ 2056 w 2056"/>
                      <a:gd name="T141" fmla="*/ 2325 h 2325"/>
                    </a:gdLst>
                    <a:ahLst/>
                    <a:cxnLst>
                      <a:cxn ang="T92">
                        <a:pos x="T0" y="T1"/>
                      </a:cxn>
                      <a:cxn ang="T93">
                        <a:pos x="T2" y="T3"/>
                      </a:cxn>
                      <a:cxn ang="T94">
                        <a:pos x="T4" y="T5"/>
                      </a:cxn>
                      <a:cxn ang="T95">
                        <a:pos x="T6" y="T7"/>
                      </a:cxn>
                      <a:cxn ang="T96">
                        <a:pos x="T8" y="T9"/>
                      </a:cxn>
                      <a:cxn ang="T97">
                        <a:pos x="T10" y="T11"/>
                      </a:cxn>
                      <a:cxn ang="T98">
                        <a:pos x="T12" y="T13"/>
                      </a:cxn>
                      <a:cxn ang="T99">
                        <a:pos x="T14" y="T15"/>
                      </a:cxn>
                      <a:cxn ang="T100">
                        <a:pos x="T16" y="T17"/>
                      </a:cxn>
                      <a:cxn ang="T101">
                        <a:pos x="T18" y="T19"/>
                      </a:cxn>
                      <a:cxn ang="T102">
                        <a:pos x="T20" y="T21"/>
                      </a:cxn>
                      <a:cxn ang="T103">
                        <a:pos x="T22" y="T23"/>
                      </a:cxn>
                      <a:cxn ang="T104">
                        <a:pos x="T24" y="T25"/>
                      </a:cxn>
                      <a:cxn ang="T105">
                        <a:pos x="T26" y="T27"/>
                      </a:cxn>
                      <a:cxn ang="T106">
                        <a:pos x="T28" y="T29"/>
                      </a:cxn>
                      <a:cxn ang="T107">
                        <a:pos x="T30" y="T31"/>
                      </a:cxn>
                      <a:cxn ang="T108">
                        <a:pos x="T32" y="T33"/>
                      </a:cxn>
                      <a:cxn ang="T109">
                        <a:pos x="T34" y="T35"/>
                      </a:cxn>
                      <a:cxn ang="T110">
                        <a:pos x="T36" y="T37"/>
                      </a:cxn>
                      <a:cxn ang="T111">
                        <a:pos x="T38" y="T39"/>
                      </a:cxn>
                      <a:cxn ang="T112">
                        <a:pos x="T40" y="T41"/>
                      </a:cxn>
                      <a:cxn ang="T113">
                        <a:pos x="T42" y="T43"/>
                      </a:cxn>
                      <a:cxn ang="T114">
                        <a:pos x="T44" y="T45"/>
                      </a:cxn>
                      <a:cxn ang="T115">
                        <a:pos x="T46" y="T47"/>
                      </a:cxn>
                      <a:cxn ang="T116">
                        <a:pos x="T48" y="T49"/>
                      </a:cxn>
                      <a:cxn ang="T117">
                        <a:pos x="T50" y="T51"/>
                      </a:cxn>
                      <a:cxn ang="T118">
                        <a:pos x="T52" y="T53"/>
                      </a:cxn>
                      <a:cxn ang="T119">
                        <a:pos x="T54" y="T55"/>
                      </a:cxn>
                      <a:cxn ang="T120">
                        <a:pos x="T56" y="T57"/>
                      </a:cxn>
                      <a:cxn ang="T121">
                        <a:pos x="T58" y="T59"/>
                      </a:cxn>
                      <a:cxn ang="T122">
                        <a:pos x="T60" y="T61"/>
                      </a:cxn>
                      <a:cxn ang="T123">
                        <a:pos x="T62" y="T63"/>
                      </a:cxn>
                      <a:cxn ang="T124">
                        <a:pos x="T64" y="T65"/>
                      </a:cxn>
                      <a:cxn ang="T125">
                        <a:pos x="T66" y="T67"/>
                      </a:cxn>
                      <a:cxn ang="T126">
                        <a:pos x="T68" y="T69"/>
                      </a:cxn>
                      <a:cxn ang="T127">
                        <a:pos x="T70" y="T71"/>
                      </a:cxn>
                      <a:cxn ang="T128">
                        <a:pos x="T72" y="T73"/>
                      </a:cxn>
                      <a:cxn ang="T129">
                        <a:pos x="T74" y="T75"/>
                      </a:cxn>
                      <a:cxn ang="T130">
                        <a:pos x="T76" y="T77"/>
                      </a:cxn>
                      <a:cxn ang="T131">
                        <a:pos x="T78" y="T79"/>
                      </a:cxn>
                      <a:cxn ang="T132">
                        <a:pos x="T80" y="T81"/>
                      </a:cxn>
                      <a:cxn ang="T133">
                        <a:pos x="T82" y="T83"/>
                      </a:cxn>
                      <a:cxn ang="T134">
                        <a:pos x="T84" y="T85"/>
                      </a:cxn>
                      <a:cxn ang="T135">
                        <a:pos x="T86" y="T87"/>
                      </a:cxn>
                      <a:cxn ang="T136">
                        <a:pos x="T88" y="T89"/>
                      </a:cxn>
                      <a:cxn ang="T137">
                        <a:pos x="T90" y="T91"/>
                      </a:cxn>
                    </a:cxnLst>
                    <a:rect l="T138" t="T139" r="T140" b="T141"/>
                    <a:pathLst>
                      <a:path w="2056" h="2325">
                        <a:moveTo>
                          <a:pt x="297" y="0"/>
                        </a:moveTo>
                        <a:lnTo>
                          <a:pt x="307" y="2"/>
                        </a:lnTo>
                        <a:lnTo>
                          <a:pt x="335" y="9"/>
                        </a:lnTo>
                        <a:lnTo>
                          <a:pt x="379" y="20"/>
                        </a:lnTo>
                        <a:lnTo>
                          <a:pt x="437" y="35"/>
                        </a:lnTo>
                        <a:lnTo>
                          <a:pt x="507" y="51"/>
                        </a:lnTo>
                        <a:lnTo>
                          <a:pt x="588" y="69"/>
                        </a:lnTo>
                        <a:lnTo>
                          <a:pt x="679" y="88"/>
                        </a:lnTo>
                        <a:lnTo>
                          <a:pt x="774" y="107"/>
                        </a:lnTo>
                        <a:lnTo>
                          <a:pt x="876" y="126"/>
                        </a:lnTo>
                        <a:lnTo>
                          <a:pt x="979" y="144"/>
                        </a:lnTo>
                        <a:lnTo>
                          <a:pt x="1032" y="152"/>
                        </a:lnTo>
                        <a:lnTo>
                          <a:pt x="1085" y="158"/>
                        </a:lnTo>
                        <a:lnTo>
                          <a:pt x="1136" y="165"/>
                        </a:lnTo>
                        <a:lnTo>
                          <a:pt x="1188" y="170"/>
                        </a:lnTo>
                        <a:lnTo>
                          <a:pt x="1239" y="175"/>
                        </a:lnTo>
                        <a:lnTo>
                          <a:pt x="1290" y="179"/>
                        </a:lnTo>
                        <a:lnTo>
                          <a:pt x="1337" y="182"/>
                        </a:lnTo>
                        <a:lnTo>
                          <a:pt x="1385" y="183"/>
                        </a:lnTo>
                        <a:lnTo>
                          <a:pt x="1431" y="183"/>
                        </a:lnTo>
                        <a:lnTo>
                          <a:pt x="1474" y="182"/>
                        </a:lnTo>
                        <a:lnTo>
                          <a:pt x="1517" y="179"/>
                        </a:lnTo>
                        <a:lnTo>
                          <a:pt x="1556" y="175"/>
                        </a:lnTo>
                        <a:lnTo>
                          <a:pt x="1629" y="166"/>
                        </a:lnTo>
                        <a:lnTo>
                          <a:pt x="1695" y="158"/>
                        </a:lnTo>
                        <a:lnTo>
                          <a:pt x="1725" y="156"/>
                        </a:lnTo>
                        <a:lnTo>
                          <a:pt x="1751" y="155"/>
                        </a:lnTo>
                        <a:lnTo>
                          <a:pt x="1777" y="154"/>
                        </a:lnTo>
                        <a:lnTo>
                          <a:pt x="1802" y="154"/>
                        </a:lnTo>
                        <a:lnTo>
                          <a:pt x="1824" y="154"/>
                        </a:lnTo>
                        <a:lnTo>
                          <a:pt x="1844" y="156"/>
                        </a:lnTo>
                        <a:lnTo>
                          <a:pt x="1863" y="158"/>
                        </a:lnTo>
                        <a:lnTo>
                          <a:pt x="1879" y="163"/>
                        </a:lnTo>
                        <a:lnTo>
                          <a:pt x="1895" y="167"/>
                        </a:lnTo>
                        <a:lnTo>
                          <a:pt x="1910" y="173"/>
                        </a:lnTo>
                        <a:lnTo>
                          <a:pt x="1922" y="179"/>
                        </a:lnTo>
                        <a:lnTo>
                          <a:pt x="1934" y="187"/>
                        </a:lnTo>
                        <a:lnTo>
                          <a:pt x="1944" y="197"/>
                        </a:lnTo>
                        <a:lnTo>
                          <a:pt x="1953" y="208"/>
                        </a:lnTo>
                        <a:lnTo>
                          <a:pt x="1961" y="219"/>
                        </a:lnTo>
                        <a:lnTo>
                          <a:pt x="1969" y="233"/>
                        </a:lnTo>
                        <a:lnTo>
                          <a:pt x="1974" y="248"/>
                        </a:lnTo>
                        <a:lnTo>
                          <a:pt x="1980" y="264"/>
                        </a:lnTo>
                        <a:lnTo>
                          <a:pt x="1984" y="282"/>
                        </a:lnTo>
                        <a:lnTo>
                          <a:pt x="1987" y="302"/>
                        </a:lnTo>
                        <a:lnTo>
                          <a:pt x="1991" y="323"/>
                        </a:lnTo>
                        <a:lnTo>
                          <a:pt x="1993" y="345"/>
                        </a:lnTo>
                        <a:lnTo>
                          <a:pt x="1994" y="370"/>
                        </a:lnTo>
                        <a:lnTo>
                          <a:pt x="1995" y="395"/>
                        </a:lnTo>
                        <a:lnTo>
                          <a:pt x="1997" y="453"/>
                        </a:lnTo>
                        <a:lnTo>
                          <a:pt x="1997" y="519"/>
                        </a:lnTo>
                        <a:lnTo>
                          <a:pt x="1997" y="557"/>
                        </a:lnTo>
                        <a:lnTo>
                          <a:pt x="1999" y="598"/>
                        </a:lnTo>
                        <a:lnTo>
                          <a:pt x="2001" y="640"/>
                        </a:lnTo>
                        <a:lnTo>
                          <a:pt x="2004" y="686"/>
                        </a:lnTo>
                        <a:lnTo>
                          <a:pt x="2011" y="780"/>
                        </a:lnTo>
                        <a:lnTo>
                          <a:pt x="2020" y="882"/>
                        </a:lnTo>
                        <a:lnTo>
                          <a:pt x="2030" y="987"/>
                        </a:lnTo>
                        <a:lnTo>
                          <a:pt x="2039" y="1095"/>
                        </a:lnTo>
                        <a:lnTo>
                          <a:pt x="2046" y="1206"/>
                        </a:lnTo>
                        <a:lnTo>
                          <a:pt x="2053" y="1318"/>
                        </a:lnTo>
                        <a:lnTo>
                          <a:pt x="2054" y="1373"/>
                        </a:lnTo>
                        <a:lnTo>
                          <a:pt x="2056" y="1429"/>
                        </a:lnTo>
                        <a:lnTo>
                          <a:pt x="2056" y="1485"/>
                        </a:lnTo>
                        <a:lnTo>
                          <a:pt x="2055" y="1538"/>
                        </a:lnTo>
                        <a:lnTo>
                          <a:pt x="2053" y="1592"/>
                        </a:lnTo>
                        <a:lnTo>
                          <a:pt x="2050" y="1644"/>
                        </a:lnTo>
                        <a:lnTo>
                          <a:pt x="2045" y="1695"/>
                        </a:lnTo>
                        <a:lnTo>
                          <a:pt x="2039" y="1745"/>
                        </a:lnTo>
                        <a:lnTo>
                          <a:pt x="2031" y="1794"/>
                        </a:lnTo>
                        <a:lnTo>
                          <a:pt x="2022" y="1841"/>
                        </a:lnTo>
                        <a:lnTo>
                          <a:pt x="2010" y="1885"/>
                        </a:lnTo>
                        <a:lnTo>
                          <a:pt x="1996" y="1929"/>
                        </a:lnTo>
                        <a:lnTo>
                          <a:pt x="1982" y="1970"/>
                        </a:lnTo>
                        <a:lnTo>
                          <a:pt x="1964" y="2008"/>
                        </a:lnTo>
                        <a:lnTo>
                          <a:pt x="1944" y="2044"/>
                        </a:lnTo>
                        <a:lnTo>
                          <a:pt x="1922" y="2078"/>
                        </a:lnTo>
                        <a:lnTo>
                          <a:pt x="1872" y="2141"/>
                        </a:lnTo>
                        <a:lnTo>
                          <a:pt x="1819" y="2194"/>
                        </a:lnTo>
                        <a:lnTo>
                          <a:pt x="1766" y="2237"/>
                        </a:lnTo>
                        <a:lnTo>
                          <a:pt x="1711" y="2270"/>
                        </a:lnTo>
                        <a:lnTo>
                          <a:pt x="1655" y="2296"/>
                        </a:lnTo>
                        <a:lnTo>
                          <a:pt x="1598" y="2313"/>
                        </a:lnTo>
                        <a:lnTo>
                          <a:pt x="1540" y="2323"/>
                        </a:lnTo>
                        <a:lnTo>
                          <a:pt x="1482" y="2325"/>
                        </a:lnTo>
                        <a:lnTo>
                          <a:pt x="1423" y="2319"/>
                        </a:lnTo>
                        <a:lnTo>
                          <a:pt x="1364" y="2308"/>
                        </a:lnTo>
                        <a:lnTo>
                          <a:pt x="1304" y="2292"/>
                        </a:lnTo>
                        <a:lnTo>
                          <a:pt x="1245" y="2268"/>
                        </a:lnTo>
                        <a:lnTo>
                          <a:pt x="1186" y="2241"/>
                        </a:lnTo>
                        <a:lnTo>
                          <a:pt x="1127" y="2209"/>
                        </a:lnTo>
                        <a:lnTo>
                          <a:pt x="1068" y="2174"/>
                        </a:lnTo>
                        <a:lnTo>
                          <a:pt x="1010" y="2133"/>
                        </a:lnTo>
                        <a:lnTo>
                          <a:pt x="953" y="2091"/>
                        </a:lnTo>
                        <a:lnTo>
                          <a:pt x="897" y="2046"/>
                        </a:lnTo>
                        <a:lnTo>
                          <a:pt x="842" y="1999"/>
                        </a:lnTo>
                        <a:lnTo>
                          <a:pt x="788" y="1950"/>
                        </a:lnTo>
                        <a:lnTo>
                          <a:pt x="735" y="1900"/>
                        </a:lnTo>
                        <a:lnTo>
                          <a:pt x="685" y="1849"/>
                        </a:lnTo>
                        <a:lnTo>
                          <a:pt x="636" y="1797"/>
                        </a:lnTo>
                        <a:lnTo>
                          <a:pt x="588" y="1746"/>
                        </a:lnTo>
                        <a:lnTo>
                          <a:pt x="543" y="1696"/>
                        </a:lnTo>
                        <a:lnTo>
                          <a:pt x="500" y="1647"/>
                        </a:lnTo>
                        <a:lnTo>
                          <a:pt x="459" y="1599"/>
                        </a:lnTo>
                        <a:lnTo>
                          <a:pt x="421" y="1554"/>
                        </a:lnTo>
                        <a:lnTo>
                          <a:pt x="354" y="1471"/>
                        </a:lnTo>
                        <a:lnTo>
                          <a:pt x="297" y="1402"/>
                        </a:lnTo>
                        <a:lnTo>
                          <a:pt x="277" y="1376"/>
                        </a:lnTo>
                        <a:lnTo>
                          <a:pt x="256" y="1346"/>
                        </a:lnTo>
                        <a:lnTo>
                          <a:pt x="234" y="1311"/>
                        </a:lnTo>
                        <a:lnTo>
                          <a:pt x="213" y="1273"/>
                        </a:lnTo>
                        <a:lnTo>
                          <a:pt x="192" y="1233"/>
                        </a:lnTo>
                        <a:lnTo>
                          <a:pt x="171" y="1190"/>
                        </a:lnTo>
                        <a:lnTo>
                          <a:pt x="150" y="1143"/>
                        </a:lnTo>
                        <a:lnTo>
                          <a:pt x="130" y="1095"/>
                        </a:lnTo>
                        <a:lnTo>
                          <a:pt x="111" y="1045"/>
                        </a:lnTo>
                        <a:lnTo>
                          <a:pt x="92" y="994"/>
                        </a:lnTo>
                        <a:lnTo>
                          <a:pt x="75" y="941"/>
                        </a:lnTo>
                        <a:lnTo>
                          <a:pt x="60" y="886"/>
                        </a:lnTo>
                        <a:lnTo>
                          <a:pt x="45" y="830"/>
                        </a:lnTo>
                        <a:lnTo>
                          <a:pt x="32" y="775"/>
                        </a:lnTo>
                        <a:lnTo>
                          <a:pt x="21" y="719"/>
                        </a:lnTo>
                        <a:lnTo>
                          <a:pt x="13" y="663"/>
                        </a:lnTo>
                        <a:lnTo>
                          <a:pt x="6" y="608"/>
                        </a:lnTo>
                        <a:lnTo>
                          <a:pt x="2" y="552"/>
                        </a:lnTo>
                        <a:lnTo>
                          <a:pt x="0" y="499"/>
                        </a:lnTo>
                        <a:lnTo>
                          <a:pt x="2" y="445"/>
                        </a:lnTo>
                        <a:lnTo>
                          <a:pt x="5" y="394"/>
                        </a:lnTo>
                        <a:lnTo>
                          <a:pt x="13" y="344"/>
                        </a:lnTo>
                        <a:lnTo>
                          <a:pt x="23" y="296"/>
                        </a:lnTo>
                        <a:lnTo>
                          <a:pt x="37" y="249"/>
                        </a:lnTo>
                        <a:lnTo>
                          <a:pt x="55" y="207"/>
                        </a:lnTo>
                        <a:lnTo>
                          <a:pt x="76" y="166"/>
                        </a:lnTo>
                        <a:lnTo>
                          <a:pt x="102" y="129"/>
                        </a:lnTo>
                        <a:lnTo>
                          <a:pt x="132" y="96"/>
                        </a:lnTo>
                        <a:lnTo>
                          <a:pt x="167" y="66"/>
                        </a:lnTo>
                        <a:lnTo>
                          <a:pt x="206" y="39"/>
                        </a:lnTo>
                        <a:lnTo>
                          <a:pt x="249" y="17"/>
                        </a:lnTo>
                        <a:lnTo>
                          <a:pt x="297" y="0"/>
                        </a:lnTo>
                        <a:close/>
                      </a:path>
                    </a:pathLst>
                  </a:custGeom>
                  <a:solidFill>
                    <a:srgbClr val="311F74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301" name="Freeform 198"/>
                  <p:cNvSpPr>
                    <a:spLocks/>
                  </p:cNvSpPr>
                  <p:nvPr/>
                </p:nvSpPr>
                <p:spPr bwMode="auto">
                  <a:xfrm>
                    <a:off x="3193" y="3511"/>
                    <a:ext cx="257" cy="72"/>
                  </a:xfrm>
                  <a:custGeom>
                    <a:avLst/>
                    <a:gdLst>
                      <a:gd name="T0" fmla="*/ 0 w 1797"/>
                      <a:gd name="T1" fmla="*/ 0 h 519"/>
                      <a:gd name="T2" fmla="*/ 0 w 1797"/>
                      <a:gd name="T3" fmla="*/ 0 h 519"/>
                      <a:gd name="T4" fmla="*/ 0 w 1797"/>
                      <a:gd name="T5" fmla="*/ 0 h 519"/>
                      <a:gd name="T6" fmla="*/ 0 w 1797"/>
                      <a:gd name="T7" fmla="*/ 0 h 519"/>
                      <a:gd name="T8" fmla="*/ 0 w 1797"/>
                      <a:gd name="T9" fmla="*/ 0 h 519"/>
                      <a:gd name="T10" fmla="*/ 0 w 1797"/>
                      <a:gd name="T11" fmla="*/ 0 h 519"/>
                      <a:gd name="T12" fmla="*/ 0 w 1797"/>
                      <a:gd name="T13" fmla="*/ 0 h 519"/>
                      <a:gd name="T14" fmla="*/ 0 w 1797"/>
                      <a:gd name="T15" fmla="*/ 0 h 519"/>
                      <a:gd name="T16" fmla="*/ 0 w 1797"/>
                      <a:gd name="T17" fmla="*/ 0 h 519"/>
                      <a:gd name="T18" fmla="*/ 0 w 1797"/>
                      <a:gd name="T19" fmla="*/ 0 h 519"/>
                      <a:gd name="T20" fmla="*/ 0 w 1797"/>
                      <a:gd name="T21" fmla="*/ 0 h 519"/>
                      <a:gd name="T22" fmla="*/ 0 w 1797"/>
                      <a:gd name="T23" fmla="*/ 0 h 519"/>
                      <a:gd name="T24" fmla="*/ 0 w 1797"/>
                      <a:gd name="T25" fmla="*/ 0 h 519"/>
                      <a:gd name="T26" fmla="*/ 0 w 1797"/>
                      <a:gd name="T27" fmla="*/ 0 h 519"/>
                      <a:gd name="T28" fmla="*/ 0 w 1797"/>
                      <a:gd name="T29" fmla="*/ 0 h 519"/>
                      <a:gd name="T30" fmla="*/ 0 w 1797"/>
                      <a:gd name="T31" fmla="*/ 0 h 519"/>
                      <a:gd name="T32" fmla="*/ 0 w 1797"/>
                      <a:gd name="T33" fmla="*/ 0 h 519"/>
                      <a:gd name="T34" fmla="*/ 0 w 1797"/>
                      <a:gd name="T35" fmla="*/ 0 h 519"/>
                      <a:gd name="T36" fmla="*/ 0 w 1797"/>
                      <a:gd name="T37" fmla="*/ 0 h 519"/>
                      <a:gd name="T38" fmla="*/ 0 w 1797"/>
                      <a:gd name="T39" fmla="*/ 0 h 519"/>
                      <a:gd name="T40" fmla="*/ 0 w 1797"/>
                      <a:gd name="T41" fmla="*/ 0 h 519"/>
                      <a:gd name="T42" fmla="*/ 0 w 1797"/>
                      <a:gd name="T43" fmla="*/ 0 h 519"/>
                      <a:gd name="T44" fmla="*/ 0 w 1797"/>
                      <a:gd name="T45" fmla="*/ 0 h 519"/>
                      <a:gd name="T46" fmla="*/ 0 w 1797"/>
                      <a:gd name="T47" fmla="*/ 0 h 519"/>
                      <a:gd name="T48" fmla="*/ 0 w 1797"/>
                      <a:gd name="T49" fmla="*/ 0 h 519"/>
                      <a:gd name="T50" fmla="*/ 0 w 1797"/>
                      <a:gd name="T51" fmla="*/ 0 h 519"/>
                      <a:gd name="T52" fmla="*/ 0 w 1797"/>
                      <a:gd name="T53" fmla="*/ 0 h 519"/>
                      <a:gd name="T54" fmla="*/ 0 w 1797"/>
                      <a:gd name="T55" fmla="*/ 0 h 519"/>
                      <a:gd name="T56" fmla="*/ 0 w 1797"/>
                      <a:gd name="T57" fmla="*/ 0 h 519"/>
                      <a:gd name="T58" fmla="*/ 0 w 1797"/>
                      <a:gd name="T59" fmla="*/ 0 h 519"/>
                      <a:gd name="T60" fmla="*/ 0 w 1797"/>
                      <a:gd name="T61" fmla="*/ 0 h 519"/>
                      <a:gd name="T62" fmla="*/ 0 w 1797"/>
                      <a:gd name="T63" fmla="*/ 0 h 519"/>
                      <a:gd name="T64" fmla="*/ 0 w 1797"/>
                      <a:gd name="T65" fmla="*/ 0 h 519"/>
                      <a:gd name="T66" fmla="*/ 0 w 1797"/>
                      <a:gd name="T67" fmla="*/ 0 h 519"/>
                      <a:gd name="T68" fmla="*/ 0 w 1797"/>
                      <a:gd name="T69" fmla="*/ 0 h 519"/>
                      <a:gd name="T70" fmla="*/ 0 w 1797"/>
                      <a:gd name="T71" fmla="*/ 0 h 519"/>
                      <a:gd name="T72" fmla="*/ 0 w 1797"/>
                      <a:gd name="T73" fmla="*/ 0 h 519"/>
                      <a:gd name="T74" fmla="*/ 0 w 1797"/>
                      <a:gd name="T75" fmla="*/ 0 h 519"/>
                      <a:gd name="T76" fmla="*/ 0 w 1797"/>
                      <a:gd name="T77" fmla="*/ 0 h 519"/>
                      <a:gd name="T78" fmla="*/ 0 w 1797"/>
                      <a:gd name="T79" fmla="*/ 0 h 519"/>
                      <a:gd name="T80" fmla="*/ 0 w 1797"/>
                      <a:gd name="T81" fmla="*/ 0 h 519"/>
                      <a:gd name="T82" fmla="*/ 0 w 1797"/>
                      <a:gd name="T83" fmla="*/ 0 h 519"/>
                      <a:gd name="T84" fmla="*/ 0 w 1797"/>
                      <a:gd name="T85" fmla="*/ 0 h 519"/>
                      <a:gd name="T86" fmla="*/ 0 w 1797"/>
                      <a:gd name="T87" fmla="*/ 0 h 519"/>
                      <a:gd name="T88" fmla="*/ 0 w 1797"/>
                      <a:gd name="T89" fmla="*/ 0 h 519"/>
                      <a:gd name="T90" fmla="*/ 0 w 1797"/>
                      <a:gd name="T91" fmla="*/ 0 h 519"/>
                      <a:gd name="T92" fmla="*/ 0 w 1797"/>
                      <a:gd name="T93" fmla="*/ 0 h 519"/>
                      <a:gd name="T94" fmla="*/ 0 w 1797"/>
                      <a:gd name="T95" fmla="*/ 0 h 519"/>
                      <a:gd name="T96" fmla="*/ 0 w 1797"/>
                      <a:gd name="T97" fmla="*/ 0 h 519"/>
                      <a:gd name="T98" fmla="*/ 0 w 1797"/>
                      <a:gd name="T99" fmla="*/ 0 h 519"/>
                      <a:gd name="T100" fmla="*/ 0 w 1797"/>
                      <a:gd name="T101" fmla="*/ 0 h 519"/>
                      <a:gd name="T102" fmla="*/ 0 w 1797"/>
                      <a:gd name="T103" fmla="*/ 0 h 519"/>
                      <a:gd name="T104" fmla="*/ 0 w 1797"/>
                      <a:gd name="T105" fmla="*/ 0 h 519"/>
                      <a:gd name="T106" fmla="*/ 0 w 1797"/>
                      <a:gd name="T107" fmla="*/ 0 h 519"/>
                      <a:gd name="T108" fmla="*/ 0 w 1797"/>
                      <a:gd name="T109" fmla="*/ 0 h 519"/>
                      <a:gd name="T110" fmla="*/ 0 w 1797"/>
                      <a:gd name="T111" fmla="*/ 0 h 519"/>
                      <a:gd name="T112" fmla="*/ 0 w 1797"/>
                      <a:gd name="T113" fmla="*/ 0 h 519"/>
                      <a:gd name="T114" fmla="*/ 0 w 1797"/>
                      <a:gd name="T115" fmla="*/ 0 h 519"/>
                      <a:gd name="T116" fmla="*/ 0 w 1797"/>
                      <a:gd name="T117" fmla="*/ 0 h 519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w 1797"/>
                      <a:gd name="T178" fmla="*/ 0 h 519"/>
                      <a:gd name="T179" fmla="*/ 1797 w 1797"/>
                      <a:gd name="T180" fmla="*/ 519 h 519"/>
                    </a:gdLst>
                    <a:ahLst/>
                    <a:cxnLst>
                      <a:cxn ang="T118">
                        <a:pos x="T0" y="T1"/>
                      </a:cxn>
                      <a:cxn ang="T119">
                        <a:pos x="T2" y="T3"/>
                      </a:cxn>
                      <a:cxn ang="T120">
                        <a:pos x="T4" y="T5"/>
                      </a:cxn>
                      <a:cxn ang="T121">
                        <a:pos x="T6" y="T7"/>
                      </a:cxn>
                      <a:cxn ang="T122">
                        <a:pos x="T8" y="T9"/>
                      </a:cxn>
                      <a:cxn ang="T123">
                        <a:pos x="T10" y="T11"/>
                      </a:cxn>
                      <a:cxn ang="T124">
                        <a:pos x="T12" y="T13"/>
                      </a:cxn>
                      <a:cxn ang="T125">
                        <a:pos x="T14" y="T15"/>
                      </a:cxn>
                      <a:cxn ang="T126">
                        <a:pos x="T16" y="T17"/>
                      </a:cxn>
                      <a:cxn ang="T127">
                        <a:pos x="T18" y="T19"/>
                      </a:cxn>
                      <a:cxn ang="T128">
                        <a:pos x="T20" y="T21"/>
                      </a:cxn>
                      <a:cxn ang="T129">
                        <a:pos x="T22" y="T23"/>
                      </a:cxn>
                      <a:cxn ang="T130">
                        <a:pos x="T24" y="T25"/>
                      </a:cxn>
                      <a:cxn ang="T131">
                        <a:pos x="T26" y="T27"/>
                      </a:cxn>
                      <a:cxn ang="T132">
                        <a:pos x="T28" y="T29"/>
                      </a:cxn>
                      <a:cxn ang="T133">
                        <a:pos x="T30" y="T31"/>
                      </a:cxn>
                      <a:cxn ang="T134">
                        <a:pos x="T32" y="T33"/>
                      </a:cxn>
                      <a:cxn ang="T135">
                        <a:pos x="T34" y="T35"/>
                      </a:cxn>
                      <a:cxn ang="T136">
                        <a:pos x="T36" y="T37"/>
                      </a:cxn>
                      <a:cxn ang="T137">
                        <a:pos x="T38" y="T39"/>
                      </a:cxn>
                      <a:cxn ang="T138">
                        <a:pos x="T40" y="T41"/>
                      </a:cxn>
                      <a:cxn ang="T139">
                        <a:pos x="T42" y="T43"/>
                      </a:cxn>
                      <a:cxn ang="T140">
                        <a:pos x="T44" y="T45"/>
                      </a:cxn>
                      <a:cxn ang="T141">
                        <a:pos x="T46" y="T47"/>
                      </a:cxn>
                      <a:cxn ang="T142">
                        <a:pos x="T48" y="T49"/>
                      </a:cxn>
                      <a:cxn ang="T143">
                        <a:pos x="T50" y="T51"/>
                      </a:cxn>
                      <a:cxn ang="T144">
                        <a:pos x="T52" y="T53"/>
                      </a:cxn>
                      <a:cxn ang="T145">
                        <a:pos x="T54" y="T55"/>
                      </a:cxn>
                      <a:cxn ang="T146">
                        <a:pos x="T56" y="T57"/>
                      </a:cxn>
                      <a:cxn ang="T147">
                        <a:pos x="T58" y="T59"/>
                      </a:cxn>
                      <a:cxn ang="T148">
                        <a:pos x="T60" y="T61"/>
                      </a:cxn>
                      <a:cxn ang="T149">
                        <a:pos x="T62" y="T63"/>
                      </a:cxn>
                      <a:cxn ang="T150">
                        <a:pos x="T64" y="T65"/>
                      </a:cxn>
                      <a:cxn ang="T151">
                        <a:pos x="T66" y="T67"/>
                      </a:cxn>
                      <a:cxn ang="T152">
                        <a:pos x="T68" y="T69"/>
                      </a:cxn>
                      <a:cxn ang="T153">
                        <a:pos x="T70" y="T71"/>
                      </a:cxn>
                      <a:cxn ang="T154">
                        <a:pos x="T72" y="T73"/>
                      </a:cxn>
                      <a:cxn ang="T155">
                        <a:pos x="T74" y="T75"/>
                      </a:cxn>
                      <a:cxn ang="T156">
                        <a:pos x="T76" y="T77"/>
                      </a:cxn>
                      <a:cxn ang="T157">
                        <a:pos x="T78" y="T79"/>
                      </a:cxn>
                      <a:cxn ang="T158">
                        <a:pos x="T80" y="T81"/>
                      </a:cxn>
                      <a:cxn ang="T159">
                        <a:pos x="T82" y="T83"/>
                      </a:cxn>
                      <a:cxn ang="T160">
                        <a:pos x="T84" y="T85"/>
                      </a:cxn>
                      <a:cxn ang="T161">
                        <a:pos x="T86" y="T87"/>
                      </a:cxn>
                      <a:cxn ang="T162">
                        <a:pos x="T88" y="T89"/>
                      </a:cxn>
                      <a:cxn ang="T163">
                        <a:pos x="T90" y="T91"/>
                      </a:cxn>
                      <a:cxn ang="T164">
                        <a:pos x="T92" y="T93"/>
                      </a:cxn>
                      <a:cxn ang="T165">
                        <a:pos x="T94" y="T95"/>
                      </a:cxn>
                      <a:cxn ang="T166">
                        <a:pos x="T96" y="T97"/>
                      </a:cxn>
                      <a:cxn ang="T167">
                        <a:pos x="T98" y="T99"/>
                      </a:cxn>
                      <a:cxn ang="T168">
                        <a:pos x="T100" y="T101"/>
                      </a:cxn>
                      <a:cxn ang="T169">
                        <a:pos x="T102" y="T103"/>
                      </a:cxn>
                      <a:cxn ang="T170">
                        <a:pos x="T104" y="T105"/>
                      </a:cxn>
                      <a:cxn ang="T171">
                        <a:pos x="T106" y="T107"/>
                      </a:cxn>
                      <a:cxn ang="T172">
                        <a:pos x="T108" y="T109"/>
                      </a:cxn>
                      <a:cxn ang="T173">
                        <a:pos x="T110" y="T111"/>
                      </a:cxn>
                      <a:cxn ang="T174">
                        <a:pos x="T112" y="T113"/>
                      </a:cxn>
                      <a:cxn ang="T175">
                        <a:pos x="T114" y="T115"/>
                      </a:cxn>
                      <a:cxn ang="T176">
                        <a:pos x="T116" y="T117"/>
                      </a:cxn>
                    </a:cxnLst>
                    <a:rect l="T177" t="T178" r="T179" b="T180"/>
                    <a:pathLst>
                      <a:path w="1797" h="519">
                        <a:moveTo>
                          <a:pt x="1355" y="176"/>
                        </a:moveTo>
                        <a:lnTo>
                          <a:pt x="1316" y="180"/>
                        </a:lnTo>
                        <a:lnTo>
                          <a:pt x="1274" y="182"/>
                        </a:lnTo>
                        <a:lnTo>
                          <a:pt x="1230" y="183"/>
                        </a:lnTo>
                        <a:lnTo>
                          <a:pt x="1185" y="183"/>
                        </a:lnTo>
                        <a:lnTo>
                          <a:pt x="1137" y="182"/>
                        </a:lnTo>
                        <a:lnTo>
                          <a:pt x="1089" y="179"/>
                        </a:lnTo>
                        <a:lnTo>
                          <a:pt x="1039" y="176"/>
                        </a:lnTo>
                        <a:lnTo>
                          <a:pt x="988" y="171"/>
                        </a:lnTo>
                        <a:lnTo>
                          <a:pt x="935" y="166"/>
                        </a:lnTo>
                        <a:lnTo>
                          <a:pt x="884" y="159"/>
                        </a:lnTo>
                        <a:lnTo>
                          <a:pt x="831" y="151"/>
                        </a:lnTo>
                        <a:lnTo>
                          <a:pt x="778" y="143"/>
                        </a:lnTo>
                        <a:lnTo>
                          <a:pt x="675" y="127"/>
                        </a:lnTo>
                        <a:lnTo>
                          <a:pt x="574" y="108"/>
                        </a:lnTo>
                        <a:lnTo>
                          <a:pt x="478" y="89"/>
                        </a:lnTo>
                        <a:lnTo>
                          <a:pt x="388" y="70"/>
                        </a:lnTo>
                        <a:lnTo>
                          <a:pt x="307" y="52"/>
                        </a:lnTo>
                        <a:lnTo>
                          <a:pt x="236" y="35"/>
                        </a:lnTo>
                        <a:lnTo>
                          <a:pt x="177" y="21"/>
                        </a:lnTo>
                        <a:lnTo>
                          <a:pt x="134" y="10"/>
                        </a:lnTo>
                        <a:lnTo>
                          <a:pt x="106" y="3"/>
                        </a:lnTo>
                        <a:lnTo>
                          <a:pt x="96" y="0"/>
                        </a:lnTo>
                        <a:lnTo>
                          <a:pt x="75" y="6"/>
                        </a:lnTo>
                        <a:lnTo>
                          <a:pt x="57" y="13"/>
                        </a:lnTo>
                        <a:lnTo>
                          <a:pt x="42" y="20"/>
                        </a:lnTo>
                        <a:lnTo>
                          <a:pt x="29" y="26"/>
                        </a:lnTo>
                        <a:lnTo>
                          <a:pt x="19" y="33"/>
                        </a:lnTo>
                        <a:lnTo>
                          <a:pt x="12" y="39"/>
                        </a:lnTo>
                        <a:lnTo>
                          <a:pt x="6" y="45"/>
                        </a:lnTo>
                        <a:lnTo>
                          <a:pt x="2" y="51"/>
                        </a:lnTo>
                        <a:lnTo>
                          <a:pt x="0" y="58"/>
                        </a:lnTo>
                        <a:lnTo>
                          <a:pt x="0" y="63"/>
                        </a:lnTo>
                        <a:lnTo>
                          <a:pt x="2" y="69"/>
                        </a:lnTo>
                        <a:lnTo>
                          <a:pt x="4" y="74"/>
                        </a:lnTo>
                        <a:lnTo>
                          <a:pt x="8" y="80"/>
                        </a:lnTo>
                        <a:lnTo>
                          <a:pt x="13" y="84"/>
                        </a:lnTo>
                        <a:lnTo>
                          <a:pt x="18" y="89"/>
                        </a:lnTo>
                        <a:lnTo>
                          <a:pt x="25" y="94"/>
                        </a:lnTo>
                        <a:lnTo>
                          <a:pt x="39" y="102"/>
                        </a:lnTo>
                        <a:lnTo>
                          <a:pt x="55" y="110"/>
                        </a:lnTo>
                        <a:lnTo>
                          <a:pt x="70" y="115"/>
                        </a:lnTo>
                        <a:lnTo>
                          <a:pt x="84" y="121"/>
                        </a:lnTo>
                        <a:lnTo>
                          <a:pt x="101" y="127"/>
                        </a:lnTo>
                        <a:lnTo>
                          <a:pt x="96" y="125"/>
                        </a:lnTo>
                        <a:lnTo>
                          <a:pt x="106" y="128"/>
                        </a:lnTo>
                        <a:lnTo>
                          <a:pt x="134" y="136"/>
                        </a:lnTo>
                        <a:lnTo>
                          <a:pt x="177" y="147"/>
                        </a:lnTo>
                        <a:lnTo>
                          <a:pt x="236" y="160"/>
                        </a:lnTo>
                        <a:lnTo>
                          <a:pt x="307" y="177"/>
                        </a:lnTo>
                        <a:lnTo>
                          <a:pt x="388" y="194"/>
                        </a:lnTo>
                        <a:lnTo>
                          <a:pt x="478" y="215"/>
                        </a:lnTo>
                        <a:lnTo>
                          <a:pt x="574" y="233"/>
                        </a:lnTo>
                        <a:lnTo>
                          <a:pt x="675" y="251"/>
                        </a:lnTo>
                        <a:lnTo>
                          <a:pt x="778" y="269"/>
                        </a:lnTo>
                        <a:lnTo>
                          <a:pt x="831" y="277"/>
                        </a:lnTo>
                        <a:lnTo>
                          <a:pt x="884" y="284"/>
                        </a:lnTo>
                        <a:lnTo>
                          <a:pt x="935" y="290"/>
                        </a:lnTo>
                        <a:lnTo>
                          <a:pt x="988" y="296"/>
                        </a:lnTo>
                        <a:lnTo>
                          <a:pt x="1039" y="300"/>
                        </a:lnTo>
                        <a:lnTo>
                          <a:pt x="1089" y="305"/>
                        </a:lnTo>
                        <a:lnTo>
                          <a:pt x="1137" y="307"/>
                        </a:lnTo>
                        <a:lnTo>
                          <a:pt x="1185" y="308"/>
                        </a:lnTo>
                        <a:lnTo>
                          <a:pt x="1230" y="309"/>
                        </a:lnTo>
                        <a:lnTo>
                          <a:pt x="1274" y="308"/>
                        </a:lnTo>
                        <a:lnTo>
                          <a:pt x="1316" y="305"/>
                        </a:lnTo>
                        <a:lnTo>
                          <a:pt x="1355" y="300"/>
                        </a:lnTo>
                        <a:lnTo>
                          <a:pt x="1393" y="296"/>
                        </a:lnTo>
                        <a:lnTo>
                          <a:pt x="1430" y="294"/>
                        </a:lnTo>
                        <a:lnTo>
                          <a:pt x="1463" y="294"/>
                        </a:lnTo>
                        <a:lnTo>
                          <a:pt x="1494" y="294"/>
                        </a:lnTo>
                        <a:lnTo>
                          <a:pt x="1524" y="297"/>
                        </a:lnTo>
                        <a:lnTo>
                          <a:pt x="1551" y="300"/>
                        </a:lnTo>
                        <a:lnTo>
                          <a:pt x="1577" y="305"/>
                        </a:lnTo>
                        <a:lnTo>
                          <a:pt x="1601" y="311"/>
                        </a:lnTo>
                        <a:lnTo>
                          <a:pt x="1622" y="318"/>
                        </a:lnTo>
                        <a:lnTo>
                          <a:pt x="1643" y="327"/>
                        </a:lnTo>
                        <a:lnTo>
                          <a:pt x="1661" y="336"/>
                        </a:lnTo>
                        <a:lnTo>
                          <a:pt x="1679" y="346"/>
                        </a:lnTo>
                        <a:lnTo>
                          <a:pt x="1694" y="356"/>
                        </a:lnTo>
                        <a:lnTo>
                          <a:pt x="1708" y="366"/>
                        </a:lnTo>
                        <a:lnTo>
                          <a:pt x="1721" y="378"/>
                        </a:lnTo>
                        <a:lnTo>
                          <a:pt x="1732" y="389"/>
                        </a:lnTo>
                        <a:lnTo>
                          <a:pt x="1743" y="400"/>
                        </a:lnTo>
                        <a:lnTo>
                          <a:pt x="1752" y="413"/>
                        </a:lnTo>
                        <a:lnTo>
                          <a:pt x="1760" y="424"/>
                        </a:lnTo>
                        <a:lnTo>
                          <a:pt x="1767" y="435"/>
                        </a:lnTo>
                        <a:lnTo>
                          <a:pt x="1778" y="457"/>
                        </a:lnTo>
                        <a:lnTo>
                          <a:pt x="1787" y="477"/>
                        </a:lnTo>
                        <a:lnTo>
                          <a:pt x="1795" y="507"/>
                        </a:lnTo>
                        <a:lnTo>
                          <a:pt x="1797" y="519"/>
                        </a:lnTo>
                        <a:lnTo>
                          <a:pt x="1797" y="454"/>
                        </a:lnTo>
                        <a:lnTo>
                          <a:pt x="1795" y="396"/>
                        </a:lnTo>
                        <a:lnTo>
                          <a:pt x="1794" y="370"/>
                        </a:lnTo>
                        <a:lnTo>
                          <a:pt x="1792" y="346"/>
                        </a:lnTo>
                        <a:lnTo>
                          <a:pt x="1790" y="324"/>
                        </a:lnTo>
                        <a:lnTo>
                          <a:pt x="1787" y="302"/>
                        </a:lnTo>
                        <a:lnTo>
                          <a:pt x="1784" y="282"/>
                        </a:lnTo>
                        <a:lnTo>
                          <a:pt x="1779" y="265"/>
                        </a:lnTo>
                        <a:lnTo>
                          <a:pt x="1774" y="249"/>
                        </a:lnTo>
                        <a:lnTo>
                          <a:pt x="1768" y="233"/>
                        </a:lnTo>
                        <a:lnTo>
                          <a:pt x="1760" y="220"/>
                        </a:lnTo>
                        <a:lnTo>
                          <a:pt x="1752" y="208"/>
                        </a:lnTo>
                        <a:lnTo>
                          <a:pt x="1743" y="198"/>
                        </a:lnTo>
                        <a:lnTo>
                          <a:pt x="1733" y="188"/>
                        </a:lnTo>
                        <a:lnTo>
                          <a:pt x="1721" y="180"/>
                        </a:lnTo>
                        <a:lnTo>
                          <a:pt x="1709" y="173"/>
                        </a:lnTo>
                        <a:lnTo>
                          <a:pt x="1694" y="168"/>
                        </a:lnTo>
                        <a:lnTo>
                          <a:pt x="1679" y="162"/>
                        </a:lnTo>
                        <a:lnTo>
                          <a:pt x="1662" y="159"/>
                        </a:lnTo>
                        <a:lnTo>
                          <a:pt x="1643" y="157"/>
                        </a:lnTo>
                        <a:lnTo>
                          <a:pt x="1623" y="154"/>
                        </a:lnTo>
                        <a:lnTo>
                          <a:pt x="1601" y="153"/>
                        </a:lnTo>
                        <a:lnTo>
                          <a:pt x="1577" y="154"/>
                        </a:lnTo>
                        <a:lnTo>
                          <a:pt x="1551" y="154"/>
                        </a:lnTo>
                        <a:lnTo>
                          <a:pt x="1524" y="157"/>
                        </a:lnTo>
                        <a:lnTo>
                          <a:pt x="1494" y="159"/>
                        </a:lnTo>
                        <a:lnTo>
                          <a:pt x="1430" y="166"/>
                        </a:lnTo>
                        <a:lnTo>
                          <a:pt x="1355" y="176"/>
                        </a:lnTo>
                        <a:close/>
                      </a:path>
                    </a:pathLst>
                  </a:custGeom>
                  <a:solidFill>
                    <a:srgbClr val="3D4189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302" name="Freeform 199"/>
                  <p:cNvSpPr>
                    <a:spLocks/>
                  </p:cNvSpPr>
                  <p:nvPr/>
                </p:nvSpPr>
                <p:spPr bwMode="auto">
                  <a:xfrm>
                    <a:off x="3167" y="3609"/>
                    <a:ext cx="292" cy="225"/>
                  </a:xfrm>
                  <a:custGeom>
                    <a:avLst/>
                    <a:gdLst>
                      <a:gd name="T0" fmla="*/ 0 w 2030"/>
                      <a:gd name="T1" fmla="*/ 0 h 1579"/>
                      <a:gd name="T2" fmla="*/ 0 w 2030"/>
                      <a:gd name="T3" fmla="*/ 0 h 1579"/>
                      <a:gd name="T4" fmla="*/ 0 w 2030"/>
                      <a:gd name="T5" fmla="*/ 0 h 1579"/>
                      <a:gd name="T6" fmla="*/ 0 w 2030"/>
                      <a:gd name="T7" fmla="*/ 0 h 1579"/>
                      <a:gd name="T8" fmla="*/ 0 w 2030"/>
                      <a:gd name="T9" fmla="*/ 0 h 1579"/>
                      <a:gd name="T10" fmla="*/ 0 w 2030"/>
                      <a:gd name="T11" fmla="*/ 0 h 1579"/>
                      <a:gd name="T12" fmla="*/ 0 w 2030"/>
                      <a:gd name="T13" fmla="*/ 0 h 1579"/>
                      <a:gd name="T14" fmla="*/ 0 w 2030"/>
                      <a:gd name="T15" fmla="*/ 0 h 1579"/>
                      <a:gd name="T16" fmla="*/ 0 w 2030"/>
                      <a:gd name="T17" fmla="*/ 0 h 1579"/>
                      <a:gd name="T18" fmla="*/ 0 w 2030"/>
                      <a:gd name="T19" fmla="*/ 0 h 1579"/>
                      <a:gd name="T20" fmla="*/ 0 w 2030"/>
                      <a:gd name="T21" fmla="*/ 0 h 1579"/>
                      <a:gd name="T22" fmla="*/ 0 w 2030"/>
                      <a:gd name="T23" fmla="*/ 0 h 1579"/>
                      <a:gd name="T24" fmla="*/ 0 w 2030"/>
                      <a:gd name="T25" fmla="*/ 0 h 1579"/>
                      <a:gd name="T26" fmla="*/ 0 w 2030"/>
                      <a:gd name="T27" fmla="*/ 0 h 1579"/>
                      <a:gd name="T28" fmla="*/ 0 w 2030"/>
                      <a:gd name="T29" fmla="*/ 0 h 1579"/>
                      <a:gd name="T30" fmla="*/ 0 w 2030"/>
                      <a:gd name="T31" fmla="*/ 0 h 1579"/>
                      <a:gd name="T32" fmla="*/ 0 w 2030"/>
                      <a:gd name="T33" fmla="*/ 0 h 1579"/>
                      <a:gd name="T34" fmla="*/ 0 w 2030"/>
                      <a:gd name="T35" fmla="*/ 0 h 1579"/>
                      <a:gd name="T36" fmla="*/ 0 w 2030"/>
                      <a:gd name="T37" fmla="*/ 0 h 1579"/>
                      <a:gd name="T38" fmla="*/ 0 w 2030"/>
                      <a:gd name="T39" fmla="*/ 0 h 1579"/>
                      <a:gd name="T40" fmla="*/ 0 w 2030"/>
                      <a:gd name="T41" fmla="*/ 0 h 1579"/>
                      <a:gd name="T42" fmla="*/ 0 w 2030"/>
                      <a:gd name="T43" fmla="*/ 0 h 1579"/>
                      <a:gd name="T44" fmla="*/ 0 w 2030"/>
                      <a:gd name="T45" fmla="*/ 0 h 1579"/>
                      <a:gd name="T46" fmla="*/ 0 w 2030"/>
                      <a:gd name="T47" fmla="*/ 0 h 1579"/>
                      <a:gd name="T48" fmla="*/ 0 w 2030"/>
                      <a:gd name="T49" fmla="*/ 0 h 1579"/>
                      <a:gd name="T50" fmla="*/ 0 w 2030"/>
                      <a:gd name="T51" fmla="*/ 0 h 1579"/>
                      <a:gd name="T52" fmla="*/ 0 w 2030"/>
                      <a:gd name="T53" fmla="*/ 0 h 1579"/>
                      <a:gd name="T54" fmla="*/ 0 w 2030"/>
                      <a:gd name="T55" fmla="*/ 0 h 1579"/>
                      <a:gd name="T56" fmla="*/ 0 w 2030"/>
                      <a:gd name="T57" fmla="*/ 0 h 1579"/>
                      <a:gd name="T58" fmla="*/ 0 w 2030"/>
                      <a:gd name="T59" fmla="*/ 0 h 1579"/>
                      <a:gd name="T60" fmla="*/ 0 w 2030"/>
                      <a:gd name="T61" fmla="*/ 0 h 1579"/>
                      <a:gd name="T62" fmla="*/ 0 w 2030"/>
                      <a:gd name="T63" fmla="*/ 0 h 1579"/>
                      <a:gd name="T64" fmla="*/ 0 w 2030"/>
                      <a:gd name="T65" fmla="*/ 0 h 1579"/>
                      <a:gd name="T66" fmla="*/ 0 w 2030"/>
                      <a:gd name="T67" fmla="*/ 0 h 1579"/>
                      <a:gd name="T68" fmla="*/ 0 w 2030"/>
                      <a:gd name="T69" fmla="*/ 0 h 1579"/>
                      <a:gd name="T70" fmla="*/ 0 w 2030"/>
                      <a:gd name="T71" fmla="*/ 0 h 1579"/>
                      <a:gd name="T72" fmla="*/ 0 w 2030"/>
                      <a:gd name="T73" fmla="*/ 0 h 1579"/>
                      <a:gd name="T74" fmla="*/ 0 w 2030"/>
                      <a:gd name="T75" fmla="*/ 0 h 1579"/>
                      <a:gd name="T76" fmla="*/ 0 w 2030"/>
                      <a:gd name="T77" fmla="*/ 0 h 1579"/>
                      <a:gd name="T78" fmla="*/ 0 w 2030"/>
                      <a:gd name="T79" fmla="*/ 0 h 1579"/>
                      <a:gd name="T80" fmla="*/ 0 w 2030"/>
                      <a:gd name="T81" fmla="*/ 0 h 1579"/>
                      <a:gd name="T82" fmla="*/ 0 w 2030"/>
                      <a:gd name="T83" fmla="*/ 0 h 1579"/>
                      <a:gd name="T84" fmla="*/ 0 w 2030"/>
                      <a:gd name="T85" fmla="*/ 0 h 1579"/>
                      <a:gd name="T86" fmla="*/ 0 w 2030"/>
                      <a:gd name="T87" fmla="*/ 0 h 1579"/>
                      <a:gd name="T88" fmla="*/ 0 w 2030"/>
                      <a:gd name="T89" fmla="*/ 0 h 1579"/>
                      <a:gd name="T90" fmla="*/ 0 w 2030"/>
                      <a:gd name="T91" fmla="*/ 0 h 1579"/>
                      <a:gd name="T92" fmla="*/ 0 w 2030"/>
                      <a:gd name="T93" fmla="*/ 0 h 1579"/>
                      <a:gd name="T94" fmla="*/ 0 w 2030"/>
                      <a:gd name="T95" fmla="*/ 0 h 1579"/>
                      <a:gd name="T96" fmla="*/ 0 w 2030"/>
                      <a:gd name="T97" fmla="*/ 0 h 1579"/>
                      <a:gd name="T98" fmla="*/ 0 w 2030"/>
                      <a:gd name="T99" fmla="*/ 0 h 1579"/>
                      <a:gd name="T100" fmla="*/ 0 w 2030"/>
                      <a:gd name="T101" fmla="*/ 0 h 1579"/>
                      <a:gd name="T102" fmla="*/ 0 w 2030"/>
                      <a:gd name="T103" fmla="*/ 0 h 1579"/>
                      <a:gd name="T104" fmla="*/ 0 w 2030"/>
                      <a:gd name="T105" fmla="*/ 0 h 1579"/>
                      <a:gd name="T106" fmla="*/ 0 w 2030"/>
                      <a:gd name="T107" fmla="*/ 0 h 1579"/>
                      <a:gd name="T108" fmla="*/ 0 w 2030"/>
                      <a:gd name="T109" fmla="*/ 0 h 1579"/>
                      <a:gd name="T110" fmla="*/ 0 w 2030"/>
                      <a:gd name="T111" fmla="*/ 0 h 1579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w 2030"/>
                      <a:gd name="T169" fmla="*/ 0 h 1579"/>
                      <a:gd name="T170" fmla="*/ 2030 w 2030"/>
                      <a:gd name="T171" fmla="*/ 1579 h 1579"/>
                    </a:gdLst>
                    <a:ahLst/>
                    <a:cxnLst>
                      <a:cxn ang="T112">
                        <a:pos x="T0" y="T1"/>
                      </a:cxn>
                      <a:cxn ang="T113">
                        <a:pos x="T2" y="T3"/>
                      </a:cxn>
                      <a:cxn ang="T114">
                        <a:pos x="T4" y="T5"/>
                      </a:cxn>
                      <a:cxn ang="T115">
                        <a:pos x="T6" y="T7"/>
                      </a:cxn>
                      <a:cxn ang="T116">
                        <a:pos x="T8" y="T9"/>
                      </a:cxn>
                      <a:cxn ang="T117">
                        <a:pos x="T10" y="T11"/>
                      </a:cxn>
                      <a:cxn ang="T118">
                        <a:pos x="T12" y="T13"/>
                      </a:cxn>
                      <a:cxn ang="T119">
                        <a:pos x="T14" y="T15"/>
                      </a:cxn>
                      <a:cxn ang="T120">
                        <a:pos x="T16" y="T17"/>
                      </a:cxn>
                      <a:cxn ang="T121">
                        <a:pos x="T18" y="T19"/>
                      </a:cxn>
                      <a:cxn ang="T122">
                        <a:pos x="T20" y="T21"/>
                      </a:cxn>
                      <a:cxn ang="T123">
                        <a:pos x="T22" y="T23"/>
                      </a:cxn>
                      <a:cxn ang="T124">
                        <a:pos x="T24" y="T25"/>
                      </a:cxn>
                      <a:cxn ang="T125">
                        <a:pos x="T26" y="T27"/>
                      </a:cxn>
                      <a:cxn ang="T126">
                        <a:pos x="T28" y="T29"/>
                      </a:cxn>
                      <a:cxn ang="T127">
                        <a:pos x="T30" y="T31"/>
                      </a:cxn>
                      <a:cxn ang="T128">
                        <a:pos x="T32" y="T33"/>
                      </a:cxn>
                      <a:cxn ang="T129">
                        <a:pos x="T34" y="T35"/>
                      </a:cxn>
                      <a:cxn ang="T130">
                        <a:pos x="T36" y="T37"/>
                      </a:cxn>
                      <a:cxn ang="T131">
                        <a:pos x="T38" y="T39"/>
                      </a:cxn>
                      <a:cxn ang="T132">
                        <a:pos x="T40" y="T41"/>
                      </a:cxn>
                      <a:cxn ang="T133">
                        <a:pos x="T42" y="T43"/>
                      </a:cxn>
                      <a:cxn ang="T134">
                        <a:pos x="T44" y="T45"/>
                      </a:cxn>
                      <a:cxn ang="T135">
                        <a:pos x="T46" y="T47"/>
                      </a:cxn>
                      <a:cxn ang="T136">
                        <a:pos x="T48" y="T49"/>
                      </a:cxn>
                      <a:cxn ang="T137">
                        <a:pos x="T50" y="T51"/>
                      </a:cxn>
                      <a:cxn ang="T138">
                        <a:pos x="T52" y="T53"/>
                      </a:cxn>
                      <a:cxn ang="T139">
                        <a:pos x="T54" y="T55"/>
                      </a:cxn>
                      <a:cxn ang="T140">
                        <a:pos x="T56" y="T57"/>
                      </a:cxn>
                      <a:cxn ang="T141">
                        <a:pos x="T58" y="T59"/>
                      </a:cxn>
                      <a:cxn ang="T142">
                        <a:pos x="T60" y="T61"/>
                      </a:cxn>
                      <a:cxn ang="T143">
                        <a:pos x="T62" y="T63"/>
                      </a:cxn>
                      <a:cxn ang="T144">
                        <a:pos x="T64" y="T65"/>
                      </a:cxn>
                      <a:cxn ang="T145">
                        <a:pos x="T66" y="T67"/>
                      </a:cxn>
                      <a:cxn ang="T146">
                        <a:pos x="T68" y="T69"/>
                      </a:cxn>
                      <a:cxn ang="T147">
                        <a:pos x="T70" y="T71"/>
                      </a:cxn>
                      <a:cxn ang="T148">
                        <a:pos x="T72" y="T73"/>
                      </a:cxn>
                      <a:cxn ang="T149">
                        <a:pos x="T74" y="T75"/>
                      </a:cxn>
                      <a:cxn ang="T150">
                        <a:pos x="T76" y="T77"/>
                      </a:cxn>
                      <a:cxn ang="T151">
                        <a:pos x="T78" y="T79"/>
                      </a:cxn>
                      <a:cxn ang="T152">
                        <a:pos x="T80" y="T81"/>
                      </a:cxn>
                      <a:cxn ang="T153">
                        <a:pos x="T82" y="T83"/>
                      </a:cxn>
                      <a:cxn ang="T154">
                        <a:pos x="T84" y="T85"/>
                      </a:cxn>
                      <a:cxn ang="T155">
                        <a:pos x="T86" y="T87"/>
                      </a:cxn>
                      <a:cxn ang="T156">
                        <a:pos x="T88" y="T89"/>
                      </a:cxn>
                      <a:cxn ang="T157">
                        <a:pos x="T90" y="T91"/>
                      </a:cxn>
                      <a:cxn ang="T158">
                        <a:pos x="T92" y="T93"/>
                      </a:cxn>
                      <a:cxn ang="T159">
                        <a:pos x="T94" y="T95"/>
                      </a:cxn>
                      <a:cxn ang="T160">
                        <a:pos x="T96" y="T97"/>
                      </a:cxn>
                      <a:cxn ang="T161">
                        <a:pos x="T98" y="T99"/>
                      </a:cxn>
                      <a:cxn ang="T162">
                        <a:pos x="T100" y="T101"/>
                      </a:cxn>
                      <a:cxn ang="T163">
                        <a:pos x="T102" y="T103"/>
                      </a:cxn>
                      <a:cxn ang="T164">
                        <a:pos x="T104" y="T105"/>
                      </a:cxn>
                      <a:cxn ang="T165">
                        <a:pos x="T106" y="T107"/>
                      </a:cxn>
                      <a:cxn ang="T166">
                        <a:pos x="T108" y="T109"/>
                      </a:cxn>
                      <a:cxn ang="T167">
                        <a:pos x="T110" y="T111"/>
                      </a:cxn>
                    </a:cxnLst>
                    <a:rect l="T168" t="T169" r="T170" b="T171"/>
                    <a:pathLst>
                      <a:path w="2030" h="1579">
                        <a:moveTo>
                          <a:pt x="916" y="671"/>
                        </a:moveTo>
                        <a:lnTo>
                          <a:pt x="959" y="695"/>
                        </a:lnTo>
                        <a:lnTo>
                          <a:pt x="1000" y="717"/>
                        </a:lnTo>
                        <a:lnTo>
                          <a:pt x="1040" y="737"/>
                        </a:lnTo>
                        <a:lnTo>
                          <a:pt x="1080" y="756"/>
                        </a:lnTo>
                        <a:lnTo>
                          <a:pt x="1120" y="774"/>
                        </a:lnTo>
                        <a:lnTo>
                          <a:pt x="1159" y="789"/>
                        </a:lnTo>
                        <a:lnTo>
                          <a:pt x="1197" y="804"/>
                        </a:lnTo>
                        <a:lnTo>
                          <a:pt x="1236" y="816"/>
                        </a:lnTo>
                        <a:lnTo>
                          <a:pt x="1272" y="827"/>
                        </a:lnTo>
                        <a:lnTo>
                          <a:pt x="1310" y="837"/>
                        </a:lnTo>
                        <a:lnTo>
                          <a:pt x="1347" y="846"/>
                        </a:lnTo>
                        <a:lnTo>
                          <a:pt x="1383" y="853"/>
                        </a:lnTo>
                        <a:lnTo>
                          <a:pt x="1419" y="858"/>
                        </a:lnTo>
                        <a:lnTo>
                          <a:pt x="1454" y="863"/>
                        </a:lnTo>
                        <a:lnTo>
                          <a:pt x="1490" y="865"/>
                        </a:lnTo>
                        <a:lnTo>
                          <a:pt x="1524" y="866"/>
                        </a:lnTo>
                        <a:lnTo>
                          <a:pt x="1559" y="866"/>
                        </a:lnTo>
                        <a:lnTo>
                          <a:pt x="1592" y="865"/>
                        </a:lnTo>
                        <a:lnTo>
                          <a:pt x="1625" y="862"/>
                        </a:lnTo>
                        <a:lnTo>
                          <a:pt x="1659" y="858"/>
                        </a:lnTo>
                        <a:lnTo>
                          <a:pt x="1691" y="853"/>
                        </a:lnTo>
                        <a:lnTo>
                          <a:pt x="1723" y="846"/>
                        </a:lnTo>
                        <a:lnTo>
                          <a:pt x="1756" y="838"/>
                        </a:lnTo>
                        <a:lnTo>
                          <a:pt x="1788" y="828"/>
                        </a:lnTo>
                        <a:lnTo>
                          <a:pt x="1819" y="818"/>
                        </a:lnTo>
                        <a:lnTo>
                          <a:pt x="1850" y="806"/>
                        </a:lnTo>
                        <a:lnTo>
                          <a:pt x="1880" y="794"/>
                        </a:lnTo>
                        <a:lnTo>
                          <a:pt x="1911" y="779"/>
                        </a:lnTo>
                        <a:lnTo>
                          <a:pt x="1941" y="764"/>
                        </a:lnTo>
                        <a:lnTo>
                          <a:pt x="1971" y="747"/>
                        </a:lnTo>
                        <a:lnTo>
                          <a:pt x="2000" y="729"/>
                        </a:lnTo>
                        <a:lnTo>
                          <a:pt x="2030" y="710"/>
                        </a:lnTo>
                        <a:lnTo>
                          <a:pt x="2029" y="756"/>
                        </a:lnTo>
                        <a:lnTo>
                          <a:pt x="2029" y="801"/>
                        </a:lnTo>
                        <a:lnTo>
                          <a:pt x="2027" y="847"/>
                        </a:lnTo>
                        <a:lnTo>
                          <a:pt x="2025" y="892"/>
                        </a:lnTo>
                        <a:lnTo>
                          <a:pt x="2020" y="935"/>
                        </a:lnTo>
                        <a:lnTo>
                          <a:pt x="2016" y="977"/>
                        </a:lnTo>
                        <a:lnTo>
                          <a:pt x="2010" y="1020"/>
                        </a:lnTo>
                        <a:lnTo>
                          <a:pt x="2003" y="1060"/>
                        </a:lnTo>
                        <a:lnTo>
                          <a:pt x="1995" y="1100"/>
                        </a:lnTo>
                        <a:lnTo>
                          <a:pt x="1985" y="1138"/>
                        </a:lnTo>
                        <a:lnTo>
                          <a:pt x="1974" y="1174"/>
                        </a:lnTo>
                        <a:lnTo>
                          <a:pt x="1961" y="1210"/>
                        </a:lnTo>
                        <a:lnTo>
                          <a:pt x="1948" y="1243"/>
                        </a:lnTo>
                        <a:lnTo>
                          <a:pt x="1932" y="1274"/>
                        </a:lnTo>
                        <a:lnTo>
                          <a:pt x="1924" y="1290"/>
                        </a:lnTo>
                        <a:lnTo>
                          <a:pt x="1915" y="1304"/>
                        </a:lnTo>
                        <a:lnTo>
                          <a:pt x="1906" y="1319"/>
                        </a:lnTo>
                        <a:lnTo>
                          <a:pt x="1896" y="1333"/>
                        </a:lnTo>
                        <a:lnTo>
                          <a:pt x="1846" y="1396"/>
                        </a:lnTo>
                        <a:lnTo>
                          <a:pt x="1793" y="1449"/>
                        </a:lnTo>
                        <a:lnTo>
                          <a:pt x="1740" y="1491"/>
                        </a:lnTo>
                        <a:lnTo>
                          <a:pt x="1685" y="1526"/>
                        </a:lnTo>
                        <a:lnTo>
                          <a:pt x="1629" y="1551"/>
                        </a:lnTo>
                        <a:lnTo>
                          <a:pt x="1572" y="1568"/>
                        </a:lnTo>
                        <a:lnTo>
                          <a:pt x="1514" y="1577"/>
                        </a:lnTo>
                        <a:lnTo>
                          <a:pt x="1456" y="1579"/>
                        </a:lnTo>
                        <a:lnTo>
                          <a:pt x="1397" y="1575"/>
                        </a:lnTo>
                        <a:lnTo>
                          <a:pt x="1338" y="1564"/>
                        </a:lnTo>
                        <a:lnTo>
                          <a:pt x="1278" y="1546"/>
                        </a:lnTo>
                        <a:lnTo>
                          <a:pt x="1219" y="1524"/>
                        </a:lnTo>
                        <a:lnTo>
                          <a:pt x="1160" y="1496"/>
                        </a:lnTo>
                        <a:lnTo>
                          <a:pt x="1101" y="1464"/>
                        </a:lnTo>
                        <a:lnTo>
                          <a:pt x="1042" y="1428"/>
                        </a:lnTo>
                        <a:lnTo>
                          <a:pt x="984" y="1389"/>
                        </a:lnTo>
                        <a:lnTo>
                          <a:pt x="927" y="1346"/>
                        </a:lnTo>
                        <a:lnTo>
                          <a:pt x="871" y="1301"/>
                        </a:lnTo>
                        <a:lnTo>
                          <a:pt x="816" y="1253"/>
                        </a:lnTo>
                        <a:lnTo>
                          <a:pt x="762" y="1204"/>
                        </a:lnTo>
                        <a:lnTo>
                          <a:pt x="709" y="1154"/>
                        </a:lnTo>
                        <a:lnTo>
                          <a:pt x="659" y="1103"/>
                        </a:lnTo>
                        <a:lnTo>
                          <a:pt x="610" y="1052"/>
                        </a:lnTo>
                        <a:lnTo>
                          <a:pt x="562" y="1001"/>
                        </a:lnTo>
                        <a:lnTo>
                          <a:pt x="517" y="951"/>
                        </a:lnTo>
                        <a:lnTo>
                          <a:pt x="474" y="902"/>
                        </a:lnTo>
                        <a:lnTo>
                          <a:pt x="433" y="854"/>
                        </a:lnTo>
                        <a:lnTo>
                          <a:pt x="395" y="809"/>
                        </a:lnTo>
                        <a:lnTo>
                          <a:pt x="328" y="726"/>
                        </a:lnTo>
                        <a:lnTo>
                          <a:pt x="271" y="657"/>
                        </a:lnTo>
                        <a:lnTo>
                          <a:pt x="253" y="633"/>
                        </a:lnTo>
                        <a:lnTo>
                          <a:pt x="234" y="606"/>
                        </a:lnTo>
                        <a:lnTo>
                          <a:pt x="214" y="576"/>
                        </a:lnTo>
                        <a:lnTo>
                          <a:pt x="195" y="542"/>
                        </a:lnTo>
                        <a:lnTo>
                          <a:pt x="176" y="507"/>
                        </a:lnTo>
                        <a:lnTo>
                          <a:pt x="156" y="469"/>
                        </a:lnTo>
                        <a:lnTo>
                          <a:pt x="137" y="429"/>
                        </a:lnTo>
                        <a:lnTo>
                          <a:pt x="118" y="385"/>
                        </a:lnTo>
                        <a:lnTo>
                          <a:pt x="100" y="342"/>
                        </a:lnTo>
                        <a:lnTo>
                          <a:pt x="84" y="296"/>
                        </a:lnTo>
                        <a:lnTo>
                          <a:pt x="67" y="248"/>
                        </a:lnTo>
                        <a:lnTo>
                          <a:pt x="52" y="200"/>
                        </a:lnTo>
                        <a:lnTo>
                          <a:pt x="36" y="152"/>
                        </a:lnTo>
                        <a:lnTo>
                          <a:pt x="23" y="101"/>
                        </a:lnTo>
                        <a:lnTo>
                          <a:pt x="10" y="50"/>
                        </a:lnTo>
                        <a:lnTo>
                          <a:pt x="0" y="0"/>
                        </a:lnTo>
                        <a:lnTo>
                          <a:pt x="53" y="47"/>
                        </a:lnTo>
                        <a:lnTo>
                          <a:pt x="105" y="93"/>
                        </a:lnTo>
                        <a:lnTo>
                          <a:pt x="158" y="138"/>
                        </a:lnTo>
                        <a:lnTo>
                          <a:pt x="212" y="183"/>
                        </a:lnTo>
                        <a:lnTo>
                          <a:pt x="266" y="227"/>
                        </a:lnTo>
                        <a:lnTo>
                          <a:pt x="322" y="271"/>
                        </a:lnTo>
                        <a:lnTo>
                          <a:pt x="378" y="313"/>
                        </a:lnTo>
                        <a:lnTo>
                          <a:pt x="434" y="355"/>
                        </a:lnTo>
                        <a:lnTo>
                          <a:pt x="492" y="396"/>
                        </a:lnTo>
                        <a:lnTo>
                          <a:pt x="550" y="438"/>
                        </a:lnTo>
                        <a:lnTo>
                          <a:pt x="609" y="479"/>
                        </a:lnTo>
                        <a:lnTo>
                          <a:pt x="669" y="518"/>
                        </a:lnTo>
                        <a:lnTo>
                          <a:pt x="729" y="557"/>
                        </a:lnTo>
                        <a:lnTo>
                          <a:pt x="792" y="596"/>
                        </a:lnTo>
                        <a:lnTo>
                          <a:pt x="854" y="633"/>
                        </a:lnTo>
                        <a:lnTo>
                          <a:pt x="916" y="671"/>
                        </a:lnTo>
                        <a:close/>
                      </a:path>
                    </a:pathLst>
                  </a:custGeom>
                  <a:solidFill>
                    <a:srgbClr val="312276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303" name="Freeform 200"/>
                  <p:cNvSpPr>
                    <a:spLocks/>
                  </p:cNvSpPr>
                  <p:nvPr/>
                </p:nvSpPr>
                <p:spPr bwMode="auto">
                  <a:xfrm>
                    <a:off x="3173" y="3841"/>
                    <a:ext cx="562" cy="216"/>
                  </a:xfrm>
                  <a:custGeom>
                    <a:avLst/>
                    <a:gdLst>
                      <a:gd name="T0" fmla="*/ 0 w 3934"/>
                      <a:gd name="T1" fmla="*/ 0 h 1507"/>
                      <a:gd name="T2" fmla="*/ 0 w 3934"/>
                      <a:gd name="T3" fmla="*/ 0 h 1507"/>
                      <a:gd name="T4" fmla="*/ 0 w 3934"/>
                      <a:gd name="T5" fmla="*/ 0 h 1507"/>
                      <a:gd name="T6" fmla="*/ 0 w 3934"/>
                      <a:gd name="T7" fmla="*/ 0 h 1507"/>
                      <a:gd name="T8" fmla="*/ 0 w 3934"/>
                      <a:gd name="T9" fmla="*/ 0 h 1507"/>
                      <a:gd name="T10" fmla="*/ 0 w 3934"/>
                      <a:gd name="T11" fmla="*/ 0 h 1507"/>
                      <a:gd name="T12" fmla="*/ 0 w 3934"/>
                      <a:gd name="T13" fmla="*/ 0 h 1507"/>
                      <a:gd name="T14" fmla="*/ 0 w 3934"/>
                      <a:gd name="T15" fmla="*/ 0 h 1507"/>
                      <a:gd name="T16" fmla="*/ 0 w 3934"/>
                      <a:gd name="T17" fmla="*/ 0 h 1507"/>
                      <a:gd name="T18" fmla="*/ 0 w 3934"/>
                      <a:gd name="T19" fmla="*/ 0 h 1507"/>
                      <a:gd name="T20" fmla="*/ 0 w 3934"/>
                      <a:gd name="T21" fmla="*/ 0 h 1507"/>
                      <a:gd name="T22" fmla="*/ 0 w 3934"/>
                      <a:gd name="T23" fmla="*/ 0 h 1507"/>
                      <a:gd name="T24" fmla="*/ 0 w 3934"/>
                      <a:gd name="T25" fmla="*/ 0 h 1507"/>
                      <a:gd name="T26" fmla="*/ 0 w 3934"/>
                      <a:gd name="T27" fmla="*/ 0 h 1507"/>
                      <a:gd name="T28" fmla="*/ 0 w 3934"/>
                      <a:gd name="T29" fmla="*/ 0 h 1507"/>
                      <a:gd name="T30" fmla="*/ 0 w 3934"/>
                      <a:gd name="T31" fmla="*/ 0 h 1507"/>
                      <a:gd name="T32" fmla="*/ 0 w 3934"/>
                      <a:gd name="T33" fmla="*/ 0 h 1507"/>
                      <a:gd name="T34" fmla="*/ 0 w 3934"/>
                      <a:gd name="T35" fmla="*/ 0 h 1507"/>
                      <a:gd name="T36" fmla="*/ 0 w 3934"/>
                      <a:gd name="T37" fmla="*/ 0 h 1507"/>
                      <a:gd name="T38" fmla="*/ 0 w 3934"/>
                      <a:gd name="T39" fmla="*/ 0 h 1507"/>
                      <a:gd name="T40" fmla="*/ 0 w 3934"/>
                      <a:gd name="T41" fmla="*/ 0 h 1507"/>
                      <a:gd name="T42" fmla="*/ 0 w 3934"/>
                      <a:gd name="T43" fmla="*/ 0 h 1507"/>
                      <a:gd name="T44" fmla="*/ 0 w 3934"/>
                      <a:gd name="T45" fmla="*/ 0 h 1507"/>
                      <a:gd name="T46" fmla="*/ 0 w 3934"/>
                      <a:gd name="T47" fmla="*/ 0 h 1507"/>
                      <a:gd name="T48" fmla="*/ 0 w 3934"/>
                      <a:gd name="T49" fmla="*/ 0 h 1507"/>
                      <a:gd name="T50" fmla="*/ 0 w 3934"/>
                      <a:gd name="T51" fmla="*/ 0 h 1507"/>
                      <a:gd name="T52" fmla="*/ 0 w 3934"/>
                      <a:gd name="T53" fmla="*/ 0 h 1507"/>
                      <a:gd name="T54" fmla="*/ 0 w 3934"/>
                      <a:gd name="T55" fmla="*/ 0 h 1507"/>
                      <a:gd name="T56" fmla="*/ 0 w 3934"/>
                      <a:gd name="T57" fmla="*/ 0 h 1507"/>
                      <a:gd name="T58" fmla="*/ 0 w 3934"/>
                      <a:gd name="T59" fmla="*/ 0 h 1507"/>
                      <a:gd name="T60" fmla="*/ 0 w 3934"/>
                      <a:gd name="T61" fmla="*/ 0 h 1507"/>
                      <a:gd name="T62" fmla="*/ 0 w 3934"/>
                      <a:gd name="T63" fmla="*/ 0 h 1507"/>
                      <a:gd name="T64" fmla="*/ 0 w 3934"/>
                      <a:gd name="T65" fmla="*/ 0 h 1507"/>
                      <a:gd name="T66" fmla="*/ 0 w 3934"/>
                      <a:gd name="T67" fmla="*/ 0 h 1507"/>
                      <a:gd name="T68" fmla="*/ 0 w 3934"/>
                      <a:gd name="T69" fmla="*/ 0 h 1507"/>
                      <a:gd name="T70" fmla="*/ 0 w 3934"/>
                      <a:gd name="T71" fmla="*/ 0 h 1507"/>
                      <a:gd name="T72" fmla="*/ 0 w 3934"/>
                      <a:gd name="T73" fmla="*/ 0 h 1507"/>
                      <a:gd name="T74" fmla="*/ 0 w 3934"/>
                      <a:gd name="T75" fmla="*/ 0 h 1507"/>
                      <a:gd name="T76" fmla="*/ 0 w 3934"/>
                      <a:gd name="T77" fmla="*/ 0 h 1507"/>
                      <a:gd name="T78" fmla="*/ 0 w 3934"/>
                      <a:gd name="T79" fmla="*/ 0 h 1507"/>
                      <a:gd name="T80" fmla="*/ 0 w 3934"/>
                      <a:gd name="T81" fmla="*/ 0 h 1507"/>
                      <a:gd name="T82" fmla="*/ 0 w 3934"/>
                      <a:gd name="T83" fmla="*/ 0 h 1507"/>
                      <a:gd name="T84" fmla="*/ 0 w 3934"/>
                      <a:gd name="T85" fmla="*/ 0 h 1507"/>
                      <a:gd name="T86" fmla="*/ 0 w 3934"/>
                      <a:gd name="T87" fmla="*/ 0 h 1507"/>
                      <a:gd name="T88" fmla="*/ 0 w 3934"/>
                      <a:gd name="T89" fmla="*/ 0 h 1507"/>
                      <a:gd name="T90" fmla="*/ 0 w 3934"/>
                      <a:gd name="T91" fmla="*/ 0 h 1507"/>
                      <a:gd name="T92" fmla="*/ 0 w 3934"/>
                      <a:gd name="T93" fmla="*/ 0 h 1507"/>
                      <a:gd name="T94" fmla="*/ 0 w 3934"/>
                      <a:gd name="T95" fmla="*/ 0 h 1507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w 3934"/>
                      <a:gd name="T145" fmla="*/ 0 h 1507"/>
                      <a:gd name="T146" fmla="*/ 3934 w 3934"/>
                      <a:gd name="T147" fmla="*/ 1507 h 1507"/>
                    </a:gdLst>
                    <a:ahLst/>
                    <a:cxnLst>
                      <a:cxn ang="T96">
                        <a:pos x="T0" y="T1"/>
                      </a:cxn>
                      <a:cxn ang="T97">
                        <a:pos x="T2" y="T3"/>
                      </a:cxn>
                      <a:cxn ang="T98">
                        <a:pos x="T4" y="T5"/>
                      </a:cxn>
                      <a:cxn ang="T99">
                        <a:pos x="T6" y="T7"/>
                      </a:cxn>
                      <a:cxn ang="T100">
                        <a:pos x="T8" y="T9"/>
                      </a:cxn>
                      <a:cxn ang="T101">
                        <a:pos x="T10" y="T11"/>
                      </a:cxn>
                      <a:cxn ang="T102">
                        <a:pos x="T12" y="T13"/>
                      </a:cxn>
                      <a:cxn ang="T103">
                        <a:pos x="T14" y="T15"/>
                      </a:cxn>
                      <a:cxn ang="T104">
                        <a:pos x="T16" y="T17"/>
                      </a:cxn>
                      <a:cxn ang="T105">
                        <a:pos x="T18" y="T19"/>
                      </a:cxn>
                      <a:cxn ang="T106">
                        <a:pos x="T20" y="T21"/>
                      </a:cxn>
                      <a:cxn ang="T107">
                        <a:pos x="T22" y="T23"/>
                      </a:cxn>
                      <a:cxn ang="T108">
                        <a:pos x="T24" y="T25"/>
                      </a:cxn>
                      <a:cxn ang="T109">
                        <a:pos x="T26" y="T27"/>
                      </a:cxn>
                      <a:cxn ang="T110">
                        <a:pos x="T28" y="T29"/>
                      </a:cxn>
                      <a:cxn ang="T111">
                        <a:pos x="T30" y="T31"/>
                      </a:cxn>
                      <a:cxn ang="T112">
                        <a:pos x="T32" y="T33"/>
                      </a:cxn>
                      <a:cxn ang="T113">
                        <a:pos x="T34" y="T35"/>
                      </a:cxn>
                      <a:cxn ang="T114">
                        <a:pos x="T36" y="T37"/>
                      </a:cxn>
                      <a:cxn ang="T115">
                        <a:pos x="T38" y="T39"/>
                      </a:cxn>
                      <a:cxn ang="T116">
                        <a:pos x="T40" y="T41"/>
                      </a:cxn>
                      <a:cxn ang="T117">
                        <a:pos x="T42" y="T43"/>
                      </a:cxn>
                      <a:cxn ang="T118">
                        <a:pos x="T44" y="T45"/>
                      </a:cxn>
                      <a:cxn ang="T119">
                        <a:pos x="T46" y="T47"/>
                      </a:cxn>
                      <a:cxn ang="T120">
                        <a:pos x="T48" y="T49"/>
                      </a:cxn>
                      <a:cxn ang="T121">
                        <a:pos x="T50" y="T51"/>
                      </a:cxn>
                      <a:cxn ang="T122">
                        <a:pos x="T52" y="T53"/>
                      </a:cxn>
                      <a:cxn ang="T123">
                        <a:pos x="T54" y="T55"/>
                      </a:cxn>
                      <a:cxn ang="T124">
                        <a:pos x="T56" y="T57"/>
                      </a:cxn>
                      <a:cxn ang="T125">
                        <a:pos x="T58" y="T59"/>
                      </a:cxn>
                      <a:cxn ang="T126">
                        <a:pos x="T60" y="T61"/>
                      </a:cxn>
                      <a:cxn ang="T127">
                        <a:pos x="T62" y="T63"/>
                      </a:cxn>
                      <a:cxn ang="T128">
                        <a:pos x="T64" y="T65"/>
                      </a:cxn>
                      <a:cxn ang="T129">
                        <a:pos x="T66" y="T67"/>
                      </a:cxn>
                      <a:cxn ang="T130">
                        <a:pos x="T68" y="T69"/>
                      </a:cxn>
                      <a:cxn ang="T131">
                        <a:pos x="T70" y="T71"/>
                      </a:cxn>
                      <a:cxn ang="T132">
                        <a:pos x="T72" y="T73"/>
                      </a:cxn>
                      <a:cxn ang="T133">
                        <a:pos x="T74" y="T75"/>
                      </a:cxn>
                      <a:cxn ang="T134">
                        <a:pos x="T76" y="T77"/>
                      </a:cxn>
                      <a:cxn ang="T135">
                        <a:pos x="T78" y="T79"/>
                      </a:cxn>
                      <a:cxn ang="T136">
                        <a:pos x="T80" y="T81"/>
                      </a:cxn>
                      <a:cxn ang="T137">
                        <a:pos x="T82" y="T83"/>
                      </a:cxn>
                      <a:cxn ang="T138">
                        <a:pos x="T84" y="T85"/>
                      </a:cxn>
                      <a:cxn ang="T139">
                        <a:pos x="T86" y="T87"/>
                      </a:cxn>
                      <a:cxn ang="T140">
                        <a:pos x="T88" y="T89"/>
                      </a:cxn>
                      <a:cxn ang="T141">
                        <a:pos x="T90" y="T91"/>
                      </a:cxn>
                      <a:cxn ang="T142">
                        <a:pos x="T92" y="T93"/>
                      </a:cxn>
                      <a:cxn ang="T143">
                        <a:pos x="T94" y="T95"/>
                      </a:cxn>
                    </a:cxnLst>
                    <a:rect l="T144" t="T145" r="T146" b="T147"/>
                    <a:pathLst>
                      <a:path w="3934" h="1507">
                        <a:moveTo>
                          <a:pt x="3766" y="0"/>
                        </a:moveTo>
                        <a:lnTo>
                          <a:pt x="3783" y="139"/>
                        </a:lnTo>
                        <a:lnTo>
                          <a:pt x="3781" y="269"/>
                        </a:lnTo>
                        <a:lnTo>
                          <a:pt x="3761" y="390"/>
                        </a:lnTo>
                        <a:lnTo>
                          <a:pt x="3725" y="500"/>
                        </a:lnTo>
                        <a:lnTo>
                          <a:pt x="3674" y="601"/>
                        </a:lnTo>
                        <a:lnTo>
                          <a:pt x="3608" y="693"/>
                        </a:lnTo>
                        <a:lnTo>
                          <a:pt x="3529" y="778"/>
                        </a:lnTo>
                        <a:lnTo>
                          <a:pt x="3438" y="852"/>
                        </a:lnTo>
                        <a:lnTo>
                          <a:pt x="3335" y="920"/>
                        </a:lnTo>
                        <a:lnTo>
                          <a:pt x="3221" y="979"/>
                        </a:lnTo>
                        <a:lnTo>
                          <a:pt x="3098" y="1032"/>
                        </a:lnTo>
                        <a:lnTo>
                          <a:pt x="2966" y="1076"/>
                        </a:lnTo>
                        <a:lnTo>
                          <a:pt x="2827" y="1113"/>
                        </a:lnTo>
                        <a:lnTo>
                          <a:pt x="2680" y="1144"/>
                        </a:lnTo>
                        <a:lnTo>
                          <a:pt x="2529" y="1168"/>
                        </a:lnTo>
                        <a:lnTo>
                          <a:pt x="2372" y="1186"/>
                        </a:lnTo>
                        <a:lnTo>
                          <a:pt x="2210" y="1199"/>
                        </a:lnTo>
                        <a:lnTo>
                          <a:pt x="2048" y="1205"/>
                        </a:lnTo>
                        <a:lnTo>
                          <a:pt x="1882" y="1206"/>
                        </a:lnTo>
                        <a:lnTo>
                          <a:pt x="1716" y="1203"/>
                        </a:lnTo>
                        <a:lnTo>
                          <a:pt x="1549" y="1194"/>
                        </a:lnTo>
                        <a:lnTo>
                          <a:pt x="1385" y="1181"/>
                        </a:lnTo>
                        <a:lnTo>
                          <a:pt x="1221" y="1163"/>
                        </a:lnTo>
                        <a:lnTo>
                          <a:pt x="1061" y="1142"/>
                        </a:lnTo>
                        <a:lnTo>
                          <a:pt x="905" y="1116"/>
                        </a:lnTo>
                        <a:lnTo>
                          <a:pt x="754" y="1087"/>
                        </a:lnTo>
                        <a:lnTo>
                          <a:pt x="608" y="1055"/>
                        </a:lnTo>
                        <a:lnTo>
                          <a:pt x="469" y="1020"/>
                        </a:lnTo>
                        <a:lnTo>
                          <a:pt x="337" y="983"/>
                        </a:lnTo>
                        <a:lnTo>
                          <a:pt x="215" y="943"/>
                        </a:lnTo>
                        <a:lnTo>
                          <a:pt x="102" y="901"/>
                        </a:lnTo>
                        <a:lnTo>
                          <a:pt x="0" y="857"/>
                        </a:lnTo>
                        <a:lnTo>
                          <a:pt x="12" y="878"/>
                        </a:lnTo>
                        <a:lnTo>
                          <a:pt x="26" y="898"/>
                        </a:lnTo>
                        <a:lnTo>
                          <a:pt x="39" y="918"/>
                        </a:lnTo>
                        <a:lnTo>
                          <a:pt x="52" y="937"/>
                        </a:lnTo>
                        <a:lnTo>
                          <a:pt x="67" y="955"/>
                        </a:lnTo>
                        <a:lnTo>
                          <a:pt x="80" y="973"/>
                        </a:lnTo>
                        <a:lnTo>
                          <a:pt x="95" y="989"/>
                        </a:lnTo>
                        <a:lnTo>
                          <a:pt x="109" y="1006"/>
                        </a:lnTo>
                        <a:lnTo>
                          <a:pt x="139" y="1036"/>
                        </a:lnTo>
                        <a:lnTo>
                          <a:pt x="169" y="1064"/>
                        </a:lnTo>
                        <a:lnTo>
                          <a:pt x="199" y="1089"/>
                        </a:lnTo>
                        <a:lnTo>
                          <a:pt x="229" y="1113"/>
                        </a:lnTo>
                        <a:lnTo>
                          <a:pt x="260" y="1134"/>
                        </a:lnTo>
                        <a:lnTo>
                          <a:pt x="291" y="1153"/>
                        </a:lnTo>
                        <a:lnTo>
                          <a:pt x="321" y="1170"/>
                        </a:lnTo>
                        <a:lnTo>
                          <a:pt x="351" y="1184"/>
                        </a:lnTo>
                        <a:lnTo>
                          <a:pt x="380" y="1197"/>
                        </a:lnTo>
                        <a:lnTo>
                          <a:pt x="407" y="1209"/>
                        </a:lnTo>
                        <a:lnTo>
                          <a:pt x="434" y="1219"/>
                        </a:lnTo>
                        <a:lnTo>
                          <a:pt x="461" y="1226"/>
                        </a:lnTo>
                        <a:lnTo>
                          <a:pt x="494" y="1236"/>
                        </a:lnTo>
                        <a:lnTo>
                          <a:pt x="529" y="1247"/>
                        </a:lnTo>
                        <a:lnTo>
                          <a:pt x="565" y="1261"/>
                        </a:lnTo>
                        <a:lnTo>
                          <a:pt x="604" y="1274"/>
                        </a:lnTo>
                        <a:lnTo>
                          <a:pt x="685" y="1305"/>
                        </a:lnTo>
                        <a:lnTo>
                          <a:pt x="769" y="1337"/>
                        </a:lnTo>
                        <a:lnTo>
                          <a:pt x="813" y="1352"/>
                        </a:lnTo>
                        <a:lnTo>
                          <a:pt x="857" y="1368"/>
                        </a:lnTo>
                        <a:lnTo>
                          <a:pt x="902" y="1382"/>
                        </a:lnTo>
                        <a:lnTo>
                          <a:pt x="947" y="1396"/>
                        </a:lnTo>
                        <a:lnTo>
                          <a:pt x="992" y="1408"/>
                        </a:lnTo>
                        <a:lnTo>
                          <a:pt x="1038" y="1418"/>
                        </a:lnTo>
                        <a:lnTo>
                          <a:pt x="1084" y="1427"/>
                        </a:lnTo>
                        <a:lnTo>
                          <a:pt x="1130" y="1432"/>
                        </a:lnTo>
                        <a:lnTo>
                          <a:pt x="1209" y="1442"/>
                        </a:lnTo>
                        <a:lnTo>
                          <a:pt x="1293" y="1452"/>
                        </a:lnTo>
                        <a:lnTo>
                          <a:pt x="1383" y="1463"/>
                        </a:lnTo>
                        <a:lnTo>
                          <a:pt x="1475" y="1475"/>
                        </a:lnTo>
                        <a:lnTo>
                          <a:pt x="1568" y="1486"/>
                        </a:lnTo>
                        <a:lnTo>
                          <a:pt x="1660" y="1495"/>
                        </a:lnTo>
                        <a:lnTo>
                          <a:pt x="1705" y="1499"/>
                        </a:lnTo>
                        <a:lnTo>
                          <a:pt x="1750" y="1502"/>
                        </a:lnTo>
                        <a:lnTo>
                          <a:pt x="1792" y="1505"/>
                        </a:lnTo>
                        <a:lnTo>
                          <a:pt x="1834" y="1507"/>
                        </a:lnTo>
                        <a:lnTo>
                          <a:pt x="1878" y="1507"/>
                        </a:lnTo>
                        <a:lnTo>
                          <a:pt x="1921" y="1506"/>
                        </a:lnTo>
                        <a:lnTo>
                          <a:pt x="1964" y="1503"/>
                        </a:lnTo>
                        <a:lnTo>
                          <a:pt x="2008" y="1500"/>
                        </a:lnTo>
                        <a:lnTo>
                          <a:pt x="2051" y="1495"/>
                        </a:lnTo>
                        <a:lnTo>
                          <a:pt x="2095" y="1489"/>
                        </a:lnTo>
                        <a:lnTo>
                          <a:pt x="2138" y="1482"/>
                        </a:lnTo>
                        <a:lnTo>
                          <a:pt x="2182" y="1476"/>
                        </a:lnTo>
                        <a:lnTo>
                          <a:pt x="2268" y="1461"/>
                        </a:lnTo>
                        <a:lnTo>
                          <a:pt x="2353" y="1449"/>
                        </a:lnTo>
                        <a:lnTo>
                          <a:pt x="2396" y="1443"/>
                        </a:lnTo>
                        <a:lnTo>
                          <a:pt x="2438" y="1438"/>
                        </a:lnTo>
                        <a:lnTo>
                          <a:pt x="2480" y="1434"/>
                        </a:lnTo>
                        <a:lnTo>
                          <a:pt x="2521" y="1432"/>
                        </a:lnTo>
                        <a:lnTo>
                          <a:pt x="2559" y="1430"/>
                        </a:lnTo>
                        <a:lnTo>
                          <a:pt x="2599" y="1427"/>
                        </a:lnTo>
                        <a:lnTo>
                          <a:pt x="2642" y="1421"/>
                        </a:lnTo>
                        <a:lnTo>
                          <a:pt x="2688" y="1414"/>
                        </a:lnTo>
                        <a:lnTo>
                          <a:pt x="2736" y="1406"/>
                        </a:lnTo>
                        <a:lnTo>
                          <a:pt x="2785" y="1397"/>
                        </a:lnTo>
                        <a:lnTo>
                          <a:pt x="2835" y="1387"/>
                        </a:lnTo>
                        <a:lnTo>
                          <a:pt x="2885" y="1375"/>
                        </a:lnTo>
                        <a:lnTo>
                          <a:pt x="2984" y="1354"/>
                        </a:lnTo>
                        <a:lnTo>
                          <a:pt x="3076" y="1332"/>
                        </a:lnTo>
                        <a:lnTo>
                          <a:pt x="3159" y="1311"/>
                        </a:lnTo>
                        <a:lnTo>
                          <a:pt x="3226" y="1294"/>
                        </a:lnTo>
                        <a:lnTo>
                          <a:pt x="3270" y="1282"/>
                        </a:lnTo>
                        <a:lnTo>
                          <a:pt x="3318" y="1268"/>
                        </a:lnTo>
                        <a:lnTo>
                          <a:pt x="3369" y="1251"/>
                        </a:lnTo>
                        <a:lnTo>
                          <a:pt x="3420" y="1232"/>
                        </a:lnTo>
                        <a:lnTo>
                          <a:pt x="3474" y="1211"/>
                        </a:lnTo>
                        <a:lnTo>
                          <a:pt x="3527" y="1189"/>
                        </a:lnTo>
                        <a:lnTo>
                          <a:pt x="3581" y="1163"/>
                        </a:lnTo>
                        <a:lnTo>
                          <a:pt x="3633" y="1136"/>
                        </a:lnTo>
                        <a:lnTo>
                          <a:pt x="3658" y="1122"/>
                        </a:lnTo>
                        <a:lnTo>
                          <a:pt x="3683" y="1107"/>
                        </a:lnTo>
                        <a:lnTo>
                          <a:pt x="3707" y="1093"/>
                        </a:lnTo>
                        <a:lnTo>
                          <a:pt x="3731" y="1077"/>
                        </a:lnTo>
                        <a:lnTo>
                          <a:pt x="3754" y="1062"/>
                        </a:lnTo>
                        <a:lnTo>
                          <a:pt x="3776" y="1045"/>
                        </a:lnTo>
                        <a:lnTo>
                          <a:pt x="3798" y="1028"/>
                        </a:lnTo>
                        <a:lnTo>
                          <a:pt x="3818" y="1010"/>
                        </a:lnTo>
                        <a:lnTo>
                          <a:pt x="3837" y="994"/>
                        </a:lnTo>
                        <a:lnTo>
                          <a:pt x="3854" y="976"/>
                        </a:lnTo>
                        <a:lnTo>
                          <a:pt x="3870" y="957"/>
                        </a:lnTo>
                        <a:lnTo>
                          <a:pt x="3886" y="938"/>
                        </a:lnTo>
                        <a:lnTo>
                          <a:pt x="3899" y="919"/>
                        </a:lnTo>
                        <a:lnTo>
                          <a:pt x="3911" y="900"/>
                        </a:lnTo>
                        <a:lnTo>
                          <a:pt x="3921" y="880"/>
                        </a:lnTo>
                        <a:lnTo>
                          <a:pt x="3930" y="860"/>
                        </a:lnTo>
                        <a:lnTo>
                          <a:pt x="3931" y="852"/>
                        </a:lnTo>
                        <a:lnTo>
                          <a:pt x="3933" y="845"/>
                        </a:lnTo>
                        <a:lnTo>
                          <a:pt x="3934" y="835"/>
                        </a:lnTo>
                        <a:lnTo>
                          <a:pt x="3934" y="822"/>
                        </a:lnTo>
                        <a:lnTo>
                          <a:pt x="3934" y="795"/>
                        </a:lnTo>
                        <a:lnTo>
                          <a:pt x="3931" y="761"/>
                        </a:lnTo>
                        <a:lnTo>
                          <a:pt x="3927" y="722"/>
                        </a:lnTo>
                        <a:lnTo>
                          <a:pt x="3921" y="679"/>
                        </a:lnTo>
                        <a:lnTo>
                          <a:pt x="3912" y="629"/>
                        </a:lnTo>
                        <a:lnTo>
                          <a:pt x="3903" y="575"/>
                        </a:lnTo>
                        <a:lnTo>
                          <a:pt x="3891" y="516"/>
                        </a:lnTo>
                        <a:lnTo>
                          <a:pt x="3878" y="454"/>
                        </a:lnTo>
                        <a:lnTo>
                          <a:pt x="3863" y="387"/>
                        </a:lnTo>
                        <a:lnTo>
                          <a:pt x="3847" y="316"/>
                        </a:lnTo>
                        <a:lnTo>
                          <a:pt x="3829" y="241"/>
                        </a:lnTo>
                        <a:lnTo>
                          <a:pt x="3810" y="164"/>
                        </a:lnTo>
                        <a:lnTo>
                          <a:pt x="3789" y="83"/>
                        </a:lnTo>
                        <a:lnTo>
                          <a:pt x="3766" y="0"/>
                        </a:lnTo>
                        <a:close/>
                      </a:path>
                    </a:pathLst>
                  </a:custGeom>
                  <a:solidFill>
                    <a:srgbClr val="312276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304" name="Freeform 201"/>
                  <p:cNvSpPr>
                    <a:spLocks/>
                  </p:cNvSpPr>
                  <p:nvPr/>
                </p:nvSpPr>
                <p:spPr bwMode="auto">
                  <a:xfrm>
                    <a:off x="3433" y="3505"/>
                    <a:ext cx="329" cy="332"/>
                  </a:xfrm>
                  <a:custGeom>
                    <a:avLst/>
                    <a:gdLst>
                      <a:gd name="T0" fmla="*/ 0 w 2305"/>
                      <a:gd name="T1" fmla="*/ 0 h 2325"/>
                      <a:gd name="T2" fmla="*/ 0 w 2305"/>
                      <a:gd name="T3" fmla="*/ 0 h 2325"/>
                      <a:gd name="T4" fmla="*/ 0 w 2305"/>
                      <a:gd name="T5" fmla="*/ 0 h 2325"/>
                      <a:gd name="T6" fmla="*/ 0 w 2305"/>
                      <a:gd name="T7" fmla="*/ 0 h 2325"/>
                      <a:gd name="T8" fmla="*/ 0 w 2305"/>
                      <a:gd name="T9" fmla="*/ 0 h 2325"/>
                      <a:gd name="T10" fmla="*/ 0 w 2305"/>
                      <a:gd name="T11" fmla="*/ 0 h 2325"/>
                      <a:gd name="T12" fmla="*/ 0 w 2305"/>
                      <a:gd name="T13" fmla="*/ 0 h 2325"/>
                      <a:gd name="T14" fmla="*/ 0 w 2305"/>
                      <a:gd name="T15" fmla="*/ 0 h 2325"/>
                      <a:gd name="T16" fmla="*/ 0 w 2305"/>
                      <a:gd name="T17" fmla="*/ 0 h 2325"/>
                      <a:gd name="T18" fmla="*/ 0 w 2305"/>
                      <a:gd name="T19" fmla="*/ 0 h 2325"/>
                      <a:gd name="T20" fmla="*/ 0 w 2305"/>
                      <a:gd name="T21" fmla="*/ 0 h 2325"/>
                      <a:gd name="T22" fmla="*/ 0 w 2305"/>
                      <a:gd name="T23" fmla="*/ 0 h 2325"/>
                      <a:gd name="T24" fmla="*/ 0 w 2305"/>
                      <a:gd name="T25" fmla="*/ 0 h 2325"/>
                      <a:gd name="T26" fmla="*/ 0 w 2305"/>
                      <a:gd name="T27" fmla="*/ 0 h 2325"/>
                      <a:gd name="T28" fmla="*/ 0 w 2305"/>
                      <a:gd name="T29" fmla="*/ 0 h 2325"/>
                      <a:gd name="T30" fmla="*/ 0 w 2305"/>
                      <a:gd name="T31" fmla="*/ 0 h 2325"/>
                      <a:gd name="T32" fmla="*/ 0 w 2305"/>
                      <a:gd name="T33" fmla="*/ 0 h 2325"/>
                      <a:gd name="T34" fmla="*/ 0 w 2305"/>
                      <a:gd name="T35" fmla="*/ 0 h 2325"/>
                      <a:gd name="T36" fmla="*/ 0 w 2305"/>
                      <a:gd name="T37" fmla="*/ 0 h 2325"/>
                      <a:gd name="T38" fmla="*/ 0 w 2305"/>
                      <a:gd name="T39" fmla="*/ 0 h 2325"/>
                      <a:gd name="T40" fmla="*/ 0 w 2305"/>
                      <a:gd name="T41" fmla="*/ 0 h 2325"/>
                      <a:gd name="T42" fmla="*/ 0 w 2305"/>
                      <a:gd name="T43" fmla="*/ 0 h 2325"/>
                      <a:gd name="T44" fmla="*/ 0 w 2305"/>
                      <a:gd name="T45" fmla="*/ 0 h 2325"/>
                      <a:gd name="T46" fmla="*/ 0 w 2305"/>
                      <a:gd name="T47" fmla="*/ 0 h 2325"/>
                      <a:gd name="T48" fmla="*/ 0 w 2305"/>
                      <a:gd name="T49" fmla="*/ 0 h 2325"/>
                      <a:gd name="T50" fmla="*/ 0 w 2305"/>
                      <a:gd name="T51" fmla="*/ 0 h 2325"/>
                      <a:gd name="T52" fmla="*/ 0 w 2305"/>
                      <a:gd name="T53" fmla="*/ 0 h 2325"/>
                      <a:gd name="T54" fmla="*/ 0 w 2305"/>
                      <a:gd name="T55" fmla="*/ 0 h 2325"/>
                      <a:gd name="T56" fmla="*/ 0 w 2305"/>
                      <a:gd name="T57" fmla="*/ 0 h 2325"/>
                      <a:gd name="T58" fmla="*/ 0 w 2305"/>
                      <a:gd name="T59" fmla="*/ 0 h 2325"/>
                      <a:gd name="T60" fmla="*/ 0 w 2305"/>
                      <a:gd name="T61" fmla="*/ 0 h 2325"/>
                      <a:gd name="T62" fmla="*/ 0 w 2305"/>
                      <a:gd name="T63" fmla="*/ 0 h 2325"/>
                      <a:gd name="T64" fmla="*/ 0 w 2305"/>
                      <a:gd name="T65" fmla="*/ 0 h 2325"/>
                      <a:gd name="T66" fmla="*/ 0 w 2305"/>
                      <a:gd name="T67" fmla="*/ 0 h 2325"/>
                      <a:gd name="T68" fmla="*/ 0 w 2305"/>
                      <a:gd name="T69" fmla="*/ 0 h 2325"/>
                      <a:gd name="T70" fmla="*/ 0 w 2305"/>
                      <a:gd name="T71" fmla="*/ 0 h 2325"/>
                      <a:gd name="T72" fmla="*/ 0 w 2305"/>
                      <a:gd name="T73" fmla="*/ 0 h 2325"/>
                      <a:gd name="T74" fmla="*/ 0 w 2305"/>
                      <a:gd name="T75" fmla="*/ 0 h 2325"/>
                      <a:gd name="T76" fmla="*/ 0 w 2305"/>
                      <a:gd name="T77" fmla="*/ 0 h 2325"/>
                      <a:gd name="T78" fmla="*/ 0 w 2305"/>
                      <a:gd name="T79" fmla="*/ 0 h 2325"/>
                      <a:gd name="T80" fmla="*/ 0 w 2305"/>
                      <a:gd name="T81" fmla="*/ 0 h 2325"/>
                      <a:gd name="T82" fmla="*/ 0 w 2305"/>
                      <a:gd name="T83" fmla="*/ 0 h 2325"/>
                      <a:gd name="T84" fmla="*/ 0 w 2305"/>
                      <a:gd name="T85" fmla="*/ 0 h 2325"/>
                      <a:gd name="T86" fmla="*/ 0 w 2305"/>
                      <a:gd name="T87" fmla="*/ 0 h 2325"/>
                      <a:gd name="T88" fmla="*/ 0 w 2305"/>
                      <a:gd name="T89" fmla="*/ 0 h 2325"/>
                      <a:gd name="T90" fmla="*/ 0 w 2305"/>
                      <a:gd name="T91" fmla="*/ 0 h 2325"/>
                      <a:gd name="T92" fmla="*/ 0 w 2305"/>
                      <a:gd name="T93" fmla="*/ 0 h 2325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w 2305"/>
                      <a:gd name="T142" fmla="*/ 0 h 2325"/>
                      <a:gd name="T143" fmla="*/ 2305 w 2305"/>
                      <a:gd name="T144" fmla="*/ 2325 h 2325"/>
                    </a:gdLst>
                    <a:ahLst/>
                    <a:cxnLst>
                      <a:cxn ang="T94">
                        <a:pos x="T0" y="T1"/>
                      </a:cxn>
                      <a:cxn ang="T95">
                        <a:pos x="T2" y="T3"/>
                      </a:cxn>
                      <a:cxn ang="T96">
                        <a:pos x="T4" y="T5"/>
                      </a:cxn>
                      <a:cxn ang="T97">
                        <a:pos x="T6" y="T7"/>
                      </a:cxn>
                      <a:cxn ang="T98">
                        <a:pos x="T8" y="T9"/>
                      </a:cxn>
                      <a:cxn ang="T99">
                        <a:pos x="T10" y="T11"/>
                      </a:cxn>
                      <a:cxn ang="T100">
                        <a:pos x="T12" y="T13"/>
                      </a:cxn>
                      <a:cxn ang="T101">
                        <a:pos x="T14" y="T15"/>
                      </a:cxn>
                      <a:cxn ang="T102">
                        <a:pos x="T16" y="T17"/>
                      </a:cxn>
                      <a:cxn ang="T103">
                        <a:pos x="T18" y="T19"/>
                      </a:cxn>
                      <a:cxn ang="T104">
                        <a:pos x="T20" y="T21"/>
                      </a:cxn>
                      <a:cxn ang="T105">
                        <a:pos x="T22" y="T23"/>
                      </a:cxn>
                      <a:cxn ang="T106">
                        <a:pos x="T24" y="T25"/>
                      </a:cxn>
                      <a:cxn ang="T107">
                        <a:pos x="T26" y="T27"/>
                      </a:cxn>
                      <a:cxn ang="T108">
                        <a:pos x="T28" y="T29"/>
                      </a:cxn>
                      <a:cxn ang="T109">
                        <a:pos x="T30" y="T31"/>
                      </a:cxn>
                      <a:cxn ang="T110">
                        <a:pos x="T32" y="T33"/>
                      </a:cxn>
                      <a:cxn ang="T111">
                        <a:pos x="T34" y="T35"/>
                      </a:cxn>
                      <a:cxn ang="T112">
                        <a:pos x="T36" y="T37"/>
                      </a:cxn>
                      <a:cxn ang="T113">
                        <a:pos x="T38" y="T39"/>
                      </a:cxn>
                      <a:cxn ang="T114">
                        <a:pos x="T40" y="T41"/>
                      </a:cxn>
                      <a:cxn ang="T115">
                        <a:pos x="T42" y="T43"/>
                      </a:cxn>
                      <a:cxn ang="T116">
                        <a:pos x="T44" y="T45"/>
                      </a:cxn>
                      <a:cxn ang="T117">
                        <a:pos x="T46" y="T47"/>
                      </a:cxn>
                      <a:cxn ang="T118">
                        <a:pos x="T48" y="T49"/>
                      </a:cxn>
                      <a:cxn ang="T119">
                        <a:pos x="T50" y="T51"/>
                      </a:cxn>
                      <a:cxn ang="T120">
                        <a:pos x="T52" y="T53"/>
                      </a:cxn>
                      <a:cxn ang="T121">
                        <a:pos x="T54" y="T55"/>
                      </a:cxn>
                      <a:cxn ang="T122">
                        <a:pos x="T56" y="T57"/>
                      </a:cxn>
                      <a:cxn ang="T123">
                        <a:pos x="T58" y="T59"/>
                      </a:cxn>
                      <a:cxn ang="T124">
                        <a:pos x="T60" y="T61"/>
                      </a:cxn>
                      <a:cxn ang="T125">
                        <a:pos x="T62" y="T63"/>
                      </a:cxn>
                      <a:cxn ang="T126">
                        <a:pos x="T64" y="T65"/>
                      </a:cxn>
                      <a:cxn ang="T127">
                        <a:pos x="T66" y="T67"/>
                      </a:cxn>
                      <a:cxn ang="T128">
                        <a:pos x="T68" y="T69"/>
                      </a:cxn>
                      <a:cxn ang="T129">
                        <a:pos x="T70" y="T71"/>
                      </a:cxn>
                      <a:cxn ang="T130">
                        <a:pos x="T72" y="T73"/>
                      </a:cxn>
                      <a:cxn ang="T131">
                        <a:pos x="T74" y="T75"/>
                      </a:cxn>
                      <a:cxn ang="T132">
                        <a:pos x="T76" y="T77"/>
                      </a:cxn>
                      <a:cxn ang="T133">
                        <a:pos x="T78" y="T79"/>
                      </a:cxn>
                      <a:cxn ang="T134">
                        <a:pos x="T80" y="T81"/>
                      </a:cxn>
                      <a:cxn ang="T135">
                        <a:pos x="T82" y="T83"/>
                      </a:cxn>
                      <a:cxn ang="T136">
                        <a:pos x="T84" y="T85"/>
                      </a:cxn>
                      <a:cxn ang="T137">
                        <a:pos x="T86" y="T87"/>
                      </a:cxn>
                      <a:cxn ang="T138">
                        <a:pos x="T88" y="T89"/>
                      </a:cxn>
                      <a:cxn ang="T139">
                        <a:pos x="T90" y="T91"/>
                      </a:cxn>
                      <a:cxn ang="T140">
                        <a:pos x="T92" y="T93"/>
                      </a:cxn>
                    </a:cxnLst>
                    <a:rect l="T141" t="T142" r="T143" b="T144"/>
                    <a:pathLst>
                      <a:path w="2305" h="2325">
                        <a:moveTo>
                          <a:pt x="1972" y="0"/>
                        </a:moveTo>
                        <a:lnTo>
                          <a:pt x="1961" y="3"/>
                        </a:lnTo>
                        <a:lnTo>
                          <a:pt x="1931" y="10"/>
                        </a:lnTo>
                        <a:lnTo>
                          <a:pt x="1881" y="20"/>
                        </a:lnTo>
                        <a:lnTo>
                          <a:pt x="1816" y="35"/>
                        </a:lnTo>
                        <a:lnTo>
                          <a:pt x="1736" y="52"/>
                        </a:lnTo>
                        <a:lnTo>
                          <a:pt x="1646" y="69"/>
                        </a:lnTo>
                        <a:lnTo>
                          <a:pt x="1545" y="89"/>
                        </a:lnTo>
                        <a:lnTo>
                          <a:pt x="1437" y="108"/>
                        </a:lnTo>
                        <a:lnTo>
                          <a:pt x="1324" y="126"/>
                        </a:lnTo>
                        <a:lnTo>
                          <a:pt x="1208" y="144"/>
                        </a:lnTo>
                        <a:lnTo>
                          <a:pt x="1149" y="152"/>
                        </a:lnTo>
                        <a:lnTo>
                          <a:pt x="1090" y="158"/>
                        </a:lnTo>
                        <a:lnTo>
                          <a:pt x="1032" y="165"/>
                        </a:lnTo>
                        <a:lnTo>
                          <a:pt x="974" y="171"/>
                        </a:lnTo>
                        <a:lnTo>
                          <a:pt x="916" y="175"/>
                        </a:lnTo>
                        <a:lnTo>
                          <a:pt x="860" y="180"/>
                        </a:lnTo>
                        <a:lnTo>
                          <a:pt x="806" y="182"/>
                        </a:lnTo>
                        <a:lnTo>
                          <a:pt x="752" y="183"/>
                        </a:lnTo>
                        <a:lnTo>
                          <a:pt x="701" y="184"/>
                        </a:lnTo>
                        <a:lnTo>
                          <a:pt x="652" y="182"/>
                        </a:lnTo>
                        <a:lnTo>
                          <a:pt x="605" y="180"/>
                        </a:lnTo>
                        <a:lnTo>
                          <a:pt x="562" y="175"/>
                        </a:lnTo>
                        <a:lnTo>
                          <a:pt x="479" y="166"/>
                        </a:lnTo>
                        <a:lnTo>
                          <a:pt x="405" y="160"/>
                        </a:lnTo>
                        <a:lnTo>
                          <a:pt x="373" y="156"/>
                        </a:lnTo>
                        <a:lnTo>
                          <a:pt x="342" y="155"/>
                        </a:lnTo>
                        <a:lnTo>
                          <a:pt x="313" y="154"/>
                        </a:lnTo>
                        <a:lnTo>
                          <a:pt x="286" y="154"/>
                        </a:lnTo>
                        <a:lnTo>
                          <a:pt x="262" y="155"/>
                        </a:lnTo>
                        <a:lnTo>
                          <a:pt x="238" y="156"/>
                        </a:lnTo>
                        <a:lnTo>
                          <a:pt x="218" y="158"/>
                        </a:lnTo>
                        <a:lnTo>
                          <a:pt x="198" y="163"/>
                        </a:lnTo>
                        <a:lnTo>
                          <a:pt x="181" y="167"/>
                        </a:lnTo>
                        <a:lnTo>
                          <a:pt x="165" y="173"/>
                        </a:lnTo>
                        <a:lnTo>
                          <a:pt x="150" y="180"/>
                        </a:lnTo>
                        <a:lnTo>
                          <a:pt x="138" y="188"/>
                        </a:lnTo>
                        <a:lnTo>
                          <a:pt x="126" y="197"/>
                        </a:lnTo>
                        <a:lnTo>
                          <a:pt x="116" y="208"/>
                        </a:lnTo>
                        <a:lnTo>
                          <a:pt x="107" y="221"/>
                        </a:lnTo>
                        <a:lnTo>
                          <a:pt x="99" y="234"/>
                        </a:lnTo>
                        <a:lnTo>
                          <a:pt x="92" y="249"/>
                        </a:lnTo>
                        <a:lnTo>
                          <a:pt x="87" y="265"/>
                        </a:lnTo>
                        <a:lnTo>
                          <a:pt x="81" y="283"/>
                        </a:lnTo>
                        <a:lnTo>
                          <a:pt x="78" y="302"/>
                        </a:lnTo>
                        <a:lnTo>
                          <a:pt x="75" y="323"/>
                        </a:lnTo>
                        <a:lnTo>
                          <a:pt x="71" y="345"/>
                        </a:lnTo>
                        <a:lnTo>
                          <a:pt x="69" y="370"/>
                        </a:lnTo>
                        <a:lnTo>
                          <a:pt x="68" y="397"/>
                        </a:lnTo>
                        <a:lnTo>
                          <a:pt x="67" y="453"/>
                        </a:lnTo>
                        <a:lnTo>
                          <a:pt x="67" y="519"/>
                        </a:lnTo>
                        <a:lnTo>
                          <a:pt x="66" y="558"/>
                        </a:lnTo>
                        <a:lnTo>
                          <a:pt x="65" y="598"/>
                        </a:lnTo>
                        <a:lnTo>
                          <a:pt x="62" y="641"/>
                        </a:lnTo>
                        <a:lnTo>
                          <a:pt x="59" y="686"/>
                        </a:lnTo>
                        <a:lnTo>
                          <a:pt x="51" y="780"/>
                        </a:lnTo>
                        <a:lnTo>
                          <a:pt x="41" y="882"/>
                        </a:lnTo>
                        <a:lnTo>
                          <a:pt x="30" y="987"/>
                        </a:lnTo>
                        <a:lnTo>
                          <a:pt x="20" y="1097"/>
                        </a:lnTo>
                        <a:lnTo>
                          <a:pt x="16" y="1151"/>
                        </a:lnTo>
                        <a:lnTo>
                          <a:pt x="11" y="1207"/>
                        </a:lnTo>
                        <a:lnTo>
                          <a:pt x="8" y="1262"/>
                        </a:lnTo>
                        <a:lnTo>
                          <a:pt x="4" y="1319"/>
                        </a:lnTo>
                        <a:lnTo>
                          <a:pt x="2" y="1375"/>
                        </a:lnTo>
                        <a:lnTo>
                          <a:pt x="1" y="1429"/>
                        </a:lnTo>
                        <a:lnTo>
                          <a:pt x="0" y="1485"/>
                        </a:lnTo>
                        <a:lnTo>
                          <a:pt x="1" y="1538"/>
                        </a:lnTo>
                        <a:lnTo>
                          <a:pt x="3" y="1592"/>
                        </a:lnTo>
                        <a:lnTo>
                          <a:pt x="8" y="1644"/>
                        </a:lnTo>
                        <a:lnTo>
                          <a:pt x="12" y="1696"/>
                        </a:lnTo>
                        <a:lnTo>
                          <a:pt x="20" y="1745"/>
                        </a:lnTo>
                        <a:lnTo>
                          <a:pt x="29" y="1794"/>
                        </a:lnTo>
                        <a:lnTo>
                          <a:pt x="39" y="1841"/>
                        </a:lnTo>
                        <a:lnTo>
                          <a:pt x="52" y="1887"/>
                        </a:lnTo>
                        <a:lnTo>
                          <a:pt x="67" y="1929"/>
                        </a:lnTo>
                        <a:lnTo>
                          <a:pt x="85" y="1970"/>
                        </a:lnTo>
                        <a:lnTo>
                          <a:pt x="104" y="2009"/>
                        </a:lnTo>
                        <a:lnTo>
                          <a:pt x="126" y="2045"/>
                        </a:lnTo>
                        <a:lnTo>
                          <a:pt x="151" y="2078"/>
                        </a:lnTo>
                        <a:lnTo>
                          <a:pt x="207" y="2141"/>
                        </a:lnTo>
                        <a:lnTo>
                          <a:pt x="266" y="2194"/>
                        </a:lnTo>
                        <a:lnTo>
                          <a:pt x="326" y="2237"/>
                        </a:lnTo>
                        <a:lnTo>
                          <a:pt x="387" y="2272"/>
                        </a:lnTo>
                        <a:lnTo>
                          <a:pt x="450" y="2296"/>
                        </a:lnTo>
                        <a:lnTo>
                          <a:pt x="514" y="2314"/>
                        </a:lnTo>
                        <a:lnTo>
                          <a:pt x="579" y="2323"/>
                        </a:lnTo>
                        <a:lnTo>
                          <a:pt x="644" y="2325"/>
                        </a:lnTo>
                        <a:lnTo>
                          <a:pt x="710" y="2320"/>
                        </a:lnTo>
                        <a:lnTo>
                          <a:pt x="777" y="2308"/>
                        </a:lnTo>
                        <a:lnTo>
                          <a:pt x="844" y="2292"/>
                        </a:lnTo>
                        <a:lnTo>
                          <a:pt x="909" y="2269"/>
                        </a:lnTo>
                        <a:lnTo>
                          <a:pt x="976" y="2242"/>
                        </a:lnTo>
                        <a:lnTo>
                          <a:pt x="1043" y="2209"/>
                        </a:lnTo>
                        <a:lnTo>
                          <a:pt x="1107" y="2174"/>
                        </a:lnTo>
                        <a:lnTo>
                          <a:pt x="1173" y="2134"/>
                        </a:lnTo>
                        <a:lnTo>
                          <a:pt x="1237" y="2091"/>
                        </a:lnTo>
                        <a:lnTo>
                          <a:pt x="1300" y="2046"/>
                        </a:lnTo>
                        <a:lnTo>
                          <a:pt x="1361" y="1999"/>
                        </a:lnTo>
                        <a:lnTo>
                          <a:pt x="1422" y="1950"/>
                        </a:lnTo>
                        <a:lnTo>
                          <a:pt x="1480" y="1900"/>
                        </a:lnTo>
                        <a:lnTo>
                          <a:pt x="1538" y="1849"/>
                        </a:lnTo>
                        <a:lnTo>
                          <a:pt x="1593" y="1798"/>
                        </a:lnTo>
                        <a:lnTo>
                          <a:pt x="1646" y="1746"/>
                        </a:lnTo>
                        <a:lnTo>
                          <a:pt x="1696" y="1696"/>
                        </a:lnTo>
                        <a:lnTo>
                          <a:pt x="1745" y="1647"/>
                        </a:lnTo>
                        <a:lnTo>
                          <a:pt x="1791" y="1600"/>
                        </a:lnTo>
                        <a:lnTo>
                          <a:pt x="1833" y="1554"/>
                        </a:lnTo>
                        <a:lnTo>
                          <a:pt x="1910" y="1472"/>
                        </a:lnTo>
                        <a:lnTo>
                          <a:pt x="1972" y="1403"/>
                        </a:lnTo>
                        <a:lnTo>
                          <a:pt x="1996" y="1376"/>
                        </a:lnTo>
                        <a:lnTo>
                          <a:pt x="2019" y="1346"/>
                        </a:lnTo>
                        <a:lnTo>
                          <a:pt x="2042" y="1311"/>
                        </a:lnTo>
                        <a:lnTo>
                          <a:pt x="2067" y="1273"/>
                        </a:lnTo>
                        <a:lnTo>
                          <a:pt x="2090" y="1233"/>
                        </a:lnTo>
                        <a:lnTo>
                          <a:pt x="2115" y="1190"/>
                        </a:lnTo>
                        <a:lnTo>
                          <a:pt x="2137" y="1144"/>
                        </a:lnTo>
                        <a:lnTo>
                          <a:pt x="2160" y="1095"/>
                        </a:lnTo>
                        <a:lnTo>
                          <a:pt x="2181" y="1045"/>
                        </a:lnTo>
                        <a:lnTo>
                          <a:pt x="2203" y="994"/>
                        </a:lnTo>
                        <a:lnTo>
                          <a:pt x="2222" y="941"/>
                        </a:lnTo>
                        <a:lnTo>
                          <a:pt x="2239" y="886"/>
                        </a:lnTo>
                        <a:lnTo>
                          <a:pt x="2255" y="832"/>
                        </a:lnTo>
                        <a:lnTo>
                          <a:pt x="2269" y="776"/>
                        </a:lnTo>
                        <a:lnTo>
                          <a:pt x="2282" y="719"/>
                        </a:lnTo>
                        <a:lnTo>
                          <a:pt x="2292" y="664"/>
                        </a:lnTo>
                        <a:lnTo>
                          <a:pt x="2299" y="608"/>
                        </a:lnTo>
                        <a:lnTo>
                          <a:pt x="2304" y="553"/>
                        </a:lnTo>
                        <a:lnTo>
                          <a:pt x="2305" y="499"/>
                        </a:lnTo>
                        <a:lnTo>
                          <a:pt x="2304" y="446"/>
                        </a:lnTo>
                        <a:lnTo>
                          <a:pt x="2299" y="394"/>
                        </a:lnTo>
                        <a:lnTo>
                          <a:pt x="2292" y="344"/>
                        </a:lnTo>
                        <a:lnTo>
                          <a:pt x="2279" y="296"/>
                        </a:lnTo>
                        <a:lnTo>
                          <a:pt x="2264" y="251"/>
                        </a:lnTo>
                        <a:lnTo>
                          <a:pt x="2244" y="207"/>
                        </a:lnTo>
                        <a:lnTo>
                          <a:pt x="2219" y="167"/>
                        </a:lnTo>
                        <a:lnTo>
                          <a:pt x="2192" y="129"/>
                        </a:lnTo>
                        <a:lnTo>
                          <a:pt x="2158" y="96"/>
                        </a:lnTo>
                        <a:lnTo>
                          <a:pt x="2119" y="66"/>
                        </a:lnTo>
                        <a:lnTo>
                          <a:pt x="2076" y="39"/>
                        </a:lnTo>
                        <a:lnTo>
                          <a:pt x="2027" y="17"/>
                        </a:lnTo>
                        <a:lnTo>
                          <a:pt x="1972" y="0"/>
                        </a:lnTo>
                        <a:close/>
                      </a:path>
                    </a:pathLst>
                  </a:custGeom>
                  <a:solidFill>
                    <a:srgbClr val="311F74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305" name="Freeform 202"/>
                  <p:cNvSpPr>
                    <a:spLocks/>
                  </p:cNvSpPr>
                  <p:nvPr/>
                </p:nvSpPr>
                <p:spPr bwMode="auto">
                  <a:xfrm>
                    <a:off x="3443" y="3593"/>
                    <a:ext cx="1" cy="10"/>
                  </a:xfrm>
                  <a:custGeom>
                    <a:avLst/>
                    <a:gdLst>
                      <a:gd name="T0" fmla="*/ 0 w 1"/>
                      <a:gd name="T1" fmla="*/ 0 h 39"/>
                      <a:gd name="T2" fmla="*/ 0 w 1"/>
                      <a:gd name="T3" fmla="*/ 0 h 39"/>
                      <a:gd name="T4" fmla="*/ 0 w 1"/>
                      <a:gd name="T5" fmla="*/ 0 h 39"/>
                      <a:gd name="T6" fmla="*/ 0 w 1"/>
                      <a:gd name="T7" fmla="*/ 0 h 39"/>
                      <a:gd name="T8" fmla="*/ 0 w 1"/>
                      <a:gd name="T9" fmla="*/ 0 h 39"/>
                      <a:gd name="T10" fmla="*/ 0 w 1"/>
                      <a:gd name="T11" fmla="*/ 0 h 39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"/>
                      <a:gd name="T19" fmla="*/ 0 h 39"/>
                      <a:gd name="T20" fmla="*/ 1 w 1"/>
                      <a:gd name="T21" fmla="*/ 39 h 39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" h="39">
                        <a:moveTo>
                          <a:pt x="0" y="39"/>
                        </a:moveTo>
                        <a:lnTo>
                          <a:pt x="0" y="0"/>
                        </a:lnTo>
                        <a:lnTo>
                          <a:pt x="0" y="10"/>
                        </a:lnTo>
                        <a:lnTo>
                          <a:pt x="0" y="19"/>
                        </a:lnTo>
                        <a:lnTo>
                          <a:pt x="0" y="29"/>
                        </a:lnTo>
                        <a:lnTo>
                          <a:pt x="0" y="39"/>
                        </a:lnTo>
                        <a:close/>
                      </a:path>
                    </a:pathLst>
                  </a:custGeom>
                  <a:solidFill>
                    <a:srgbClr val="3D4189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306" name="Freeform 203"/>
                  <p:cNvSpPr>
                    <a:spLocks/>
                  </p:cNvSpPr>
                  <p:nvPr/>
                </p:nvSpPr>
                <p:spPr bwMode="auto">
                  <a:xfrm>
                    <a:off x="3443" y="3511"/>
                    <a:ext cx="288" cy="72"/>
                  </a:xfrm>
                  <a:custGeom>
                    <a:avLst/>
                    <a:gdLst>
                      <a:gd name="T0" fmla="*/ 0 w 2014"/>
                      <a:gd name="T1" fmla="*/ 0 h 520"/>
                      <a:gd name="T2" fmla="*/ 0 w 2014"/>
                      <a:gd name="T3" fmla="*/ 0 h 520"/>
                      <a:gd name="T4" fmla="*/ 0 w 2014"/>
                      <a:gd name="T5" fmla="*/ 0 h 520"/>
                      <a:gd name="T6" fmla="*/ 0 w 2014"/>
                      <a:gd name="T7" fmla="*/ 0 h 520"/>
                      <a:gd name="T8" fmla="*/ 0 w 2014"/>
                      <a:gd name="T9" fmla="*/ 0 h 520"/>
                      <a:gd name="T10" fmla="*/ 0 w 2014"/>
                      <a:gd name="T11" fmla="*/ 0 h 520"/>
                      <a:gd name="T12" fmla="*/ 0 w 2014"/>
                      <a:gd name="T13" fmla="*/ 0 h 520"/>
                      <a:gd name="T14" fmla="*/ 0 w 2014"/>
                      <a:gd name="T15" fmla="*/ 0 h 520"/>
                      <a:gd name="T16" fmla="*/ 0 w 2014"/>
                      <a:gd name="T17" fmla="*/ 0 h 520"/>
                      <a:gd name="T18" fmla="*/ 0 w 2014"/>
                      <a:gd name="T19" fmla="*/ 0 h 520"/>
                      <a:gd name="T20" fmla="*/ 0 w 2014"/>
                      <a:gd name="T21" fmla="*/ 0 h 520"/>
                      <a:gd name="T22" fmla="*/ 0 w 2014"/>
                      <a:gd name="T23" fmla="*/ 0 h 520"/>
                      <a:gd name="T24" fmla="*/ 0 w 2014"/>
                      <a:gd name="T25" fmla="*/ 0 h 520"/>
                      <a:gd name="T26" fmla="*/ 0 w 2014"/>
                      <a:gd name="T27" fmla="*/ 0 h 520"/>
                      <a:gd name="T28" fmla="*/ 0 w 2014"/>
                      <a:gd name="T29" fmla="*/ 0 h 520"/>
                      <a:gd name="T30" fmla="*/ 0 w 2014"/>
                      <a:gd name="T31" fmla="*/ 0 h 520"/>
                      <a:gd name="T32" fmla="*/ 0 w 2014"/>
                      <a:gd name="T33" fmla="*/ 0 h 520"/>
                      <a:gd name="T34" fmla="*/ 0 w 2014"/>
                      <a:gd name="T35" fmla="*/ 0 h 520"/>
                      <a:gd name="T36" fmla="*/ 0 w 2014"/>
                      <a:gd name="T37" fmla="*/ 0 h 520"/>
                      <a:gd name="T38" fmla="*/ 0 w 2014"/>
                      <a:gd name="T39" fmla="*/ 0 h 520"/>
                      <a:gd name="T40" fmla="*/ 0 w 2014"/>
                      <a:gd name="T41" fmla="*/ 0 h 520"/>
                      <a:gd name="T42" fmla="*/ 0 w 2014"/>
                      <a:gd name="T43" fmla="*/ 0 h 520"/>
                      <a:gd name="T44" fmla="*/ 0 w 2014"/>
                      <a:gd name="T45" fmla="*/ 0 h 520"/>
                      <a:gd name="T46" fmla="*/ 0 w 2014"/>
                      <a:gd name="T47" fmla="*/ 0 h 520"/>
                      <a:gd name="T48" fmla="*/ 0 w 2014"/>
                      <a:gd name="T49" fmla="*/ 0 h 520"/>
                      <a:gd name="T50" fmla="*/ 0 w 2014"/>
                      <a:gd name="T51" fmla="*/ 0 h 520"/>
                      <a:gd name="T52" fmla="*/ 0 w 2014"/>
                      <a:gd name="T53" fmla="*/ 0 h 520"/>
                      <a:gd name="T54" fmla="*/ 0 w 2014"/>
                      <a:gd name="T55" fmla="*/ 0 h 520"/>
                      <a:gd name="T56" fmla="*/ 0 w 2014"/>
                      <a:gd name="T57" fmla="*/ 0 h 520"/>
                      <a:gd name="T58" fmla="*/ 0 w 2014"/>
                      <a:gd name="T59" fmla="*/ 0 h 520"/>
                      <a:gd name="T60" fmla="*/ 0 w 2014"/>
                      <a:gd name="T61" fmla="*/ 0 h 520"/>
                      <a:gd name="T62" fmla="*/ 0 w 2014"/>
                      <a:gd name="T63" fmla="*/ 0 h 520"/>
                      <a:gd name="T64" fmla="*/ 0 w 2014"/>
                      <a:gd name="T65" fmla="*/ 0 h 520"/>
                      <a:gd name="T66" fmla="*/ 0 w 2014"/>
                      <a:gd name="T67" fmla="*/ 0 h 520"/>
                      <a:gd name="T68" fmla="*/ 0 w 2014"/>
                      <a:gd name="T69" fmla="*/ 0 h 520"/>
                      <a:gd name="T70" fmla="*/ 0 w 2014"/>
                      <a:gd name="T71" fmla="*/ 0 h 520"/>
                      <a:gd name="T72" fmla="*/ 0 w 2014"/>
                      <a:gd name="T73" fmla="*/ 0 h 520"/>
                      <a:gd name="T74" fmla="*/ 0 w 2014"/>
                      <a:gd name="T75" fmla="*/ 0 h 520"/>
                      <a:gd name="T76" fmla="*/ 0 w 2014"/>
                      <a:gd name="T77" fmla="*/ 0 h 520"/>
                      <a:gd name="T78" fmla="*/ 0 w 2014"/>
                      <a:gd name="T79" fmla="*/ 0 h 520"/>
                      <a:gd name="T80" fmla="*/ 0 w 2014"/>
                      <a:gd name="T81" fmla="*/ 0 h 520"/>
                      <a:gd name="T82" fmla="*/ 0 w 2014"/>
                      <a:gd name="T83" fmla="*/ 0 h 520"/>
                      <a:gd name="T84" fmla="*/ 0 w 2014"/>
                      <a:gd name="T85" fmla="*/ 0 h 520"/>
                      <a:gd name="T86" fmla="*/ 0 w 2014"/>
                      <a:gd name="T87" fmla="*/ 0 h 520"/>
                      <a:gd name="T88" fmla="*/ 0 w 2014"/>
                      <a:gd name="T89" fmla="*/ 0 h 520"/>
                      <a:gd name="T90" fmla="*/ 0 w 2014"/>
                      <a:gd name="T91" fmla="*/ 0 h 520"/>
                      <a:gd name="T92" fmla="*/ 0 w 2014"/>
                      <a:gd name="T93" fmla="*/ 0 h 520"/>
                      <a:gd name="T94" fmla="*/ 0 w 2014"/>
                      <a:gd name="T95" fmla="*/ 0 h 520"/>
                      <a:gd name="T96" fmla="*/ 0 w 2014"/>
                      <a:gd name="T97" fmla="*/ 0 h 520"/>
                      <a:gd name="T98" fmla="*/ 0 w 2014"/>
                      <a:gd name="T99" fmla="*/ 0 h 520"/>
                      <a:gd name="T100" fmla="*/ 0 w 2014"/>
                      <a:gd name="T101" fmla="*/ 0 h 520"/>
                      <a:gd name="T102" fmla="*/ 0 w 2014"/>
                      <a:gd name="T103" fmla="*/ 0 h 520"/>
                      <a:gd name="T104" fmla="*/ 0 w 2014"/>
                      <a:gd name="T105" fmla="*/ 0 h 520"/>
                      <a:gd name="T106" fmla="*/ 0 w 2014"/>
                      <a:gd name="T107" fmla="*/ 0 h 520"/>
                      <a:gd name="T108" fmla="*/ 0 w 2014"/>
                      <a:gd name="T109" fmla="*/ 0 h 520"/>
                      <a:gd name="T110" fmla="*/ 0 w 2014"/>
                      <a:gd name="T111" fmla="*/ 0 h 520"/>
                      <a:gd name="T112" fmla="*/ 0 w 2014"/>
                      <a:gd name="T113" fmla="*/ 0 h 520"/>
                      <a:gd name="T114" fmla="*/ 0 w 2014"/>
                      <a:gd name="T115" fmla="*/ 0 h 520"/>
                      <a:gd name="T116" fmla="*/ 0 w 2014"/>
                      <a:gd name="T117" fmla="*/ 0 h 520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w 2014"/>
                      <a:gd name="T178" fmla="*/ 0 h 520"/>
                      <a:gd name="T179" fmla="*/ 2014 w 2014"/>
                      <a:gd name="T180" fmla="*/ 520 h 520"/>
                    </a:gdLst>
                    <a:ahLst/>
                    <a:cxnLst>
                      <a:cxn ang="T118">
                        <a:pos x="T0" y="T1"/>
                      </a:cxn>
                      <a:cxn ang="T119">
                        <a:pos x="T2" y="T3"/>
                      </a:cxn>
                      <a:cxn ang="T120">
                        <a:pos x="T4" y="T5"/>
                      </a:cxn>
                      <a:cxn ang="T121">
                        <a:pos x="T6" y="T7"/>
                      </a:cxn>
                      <a:cxn ang="T122">
                        <a:pos x="T8" y="T9"/>
                      </a:cxn>
                      <a:cxn ang="T123">
                        <a:pos x="T10" y="T11"/>
                      </a:cxn>
                      <a:cxn ang="T124">
                        <a:pos x="T12" y="T13"/>
                      </a:cxn>
                      <a:cxn ang="T125">
                        <a:pos x="T14" y="T15"/>
                      </a:cxn>
                      <a:cxn ang="T126">
                        <a:pos x="T16" y="T17"/>
                      </a:cxn>
                      <a:cxn ang="T127">
                        <a:pos x="T18" y="T19"/>
                      </a:cxn>
                      <a:cxn ang="T128">
                        <a:pos x="T20" y="T21"/>
                      </a:cxn>
                      <a:cxn ang="T129">
                        <a:pos x="T22" y="T23"/>
                      </a:cxn>
                      <a:cxn ang="T130">
                        <a:pos x="T24" y="T25"/>
                      </a:cxn>
                      <a:cxn ang="T131">
                        <a:pos x="T26" y="T27"/>
                      </a:cxn>
                      <a:cxn ang="T132">
                        <a:pos x="T28" y="T29"/>
                      </a:cxn>
                      <a:cxn ang="T133">
                        <a:pos x="T30" y="T31"/>
                      </a:cxn>
                      <a:cxn ang="T134">
                        <a:pos x="T32" y="T33"/>
                      </a:cxn>
                      <a:cxn ang="T135">
                        <a:pos x="T34" y="T35"/>
                      </a:cxn>
                      <a:cxn ang="T136">
                        <a:pos x="T36" y="T37"/>
                      </a:cxn>
                      <a:cxn ang="T137">
                        <a:pos x="T38" y="T39"/>
                      </a:cxn>
                      <a:cxn ang="T138">
                        <a:pos x="T40" y="T41"/>
                      </a:cxn>
                      <a:cxn ang="T139">
                        <a:pos x="T42" y="T43"/>
                      </a:cxn>
                      <a:cxn ang="T140">
                        <a:pos x="T44" y="T45"/>
                      </a:cxn>
                      <a:cxn ang="T141">
                        <a:pos x="T46" y="T47"/>
                      </a:cxn>
                      <a:cxn ang="T142">
                        <a:pos x="T48" y="T49"/>
                      </a:cxn>
                      <a:cxn ang="T143">
                        <a:pos x="T50" y="T51"/>
                      </a:cxn>
                      <a:cxn ang="T144">
                        <a:pos x="T52" y="T53"/>
                      </a:cxn>
                      <a:cxn ang="T145">
                        <a:pos x="T54" y="T55"/>
                      </a:cxn>
                      <a:cxn ang="T146">
                        <a:pos x="T56" y="T57"/>
                      </a:cxn>
                      <a:cxn ang="T147">
                        <a:pos x="T58" y="T59"/>
                      </a:cxn>
                      <a:cxn ang="T148">
                        <a:pos x="T60" y="T61"/>
                      </a:cxn>
                      <a:cxn ang="T149">
                        <a:pos x="T62" y="T63"/>
                      </a:cxn>
                      <a:cxn ang="T150">
                        <a:pos x="T64" y="T65"/>
                      </a:cxn>
                      <a:cxn ang="T151">
                        <a:pos x="T66" y="T67"/>
                      </a:cxn>
                      <a:cxn ang="T152">
                        <a:pos x="T68" y="T69"/>
                      </a:cxn>
                      <a:cxn ang="T153">
                        <a:pos x="T70" y="T71"/>
                      </a:cxn>
                      <a:cxn ang="T154">
                        <a:pos x="T72" y="T73"/>
                      </a:cxn>
                      <a:cxn ang="T155">
                        <a:pos x="T74" y="T75"/>
                      </a:cxn>
                      <a:cxn ang="T156">
                        <a:pos x="T76" y="T77"/>
                      </a:cxn>
                      <a:cxn ang="T157">
                        <a:pos x="T78" y="T79"/>
                      </a:cxn>
                      <a:cxn ang="T158">
                        <a:pos x="T80" y="T81"/>
                      </a:cxn>
                      <a:cxn ang="T159">
                        <a:pos x="T82" y="T83"/>
                      </a:cxn>
                      <a:cxn ang="T160">
                        <a:pos x="T84" y="T85"/>
                      </a:cxn>
                      <a:cxn ang="T161">
                        <a:pos x="T86" y="T87"/>
                      </a:cxn>
                      <a:cxn ang="T162">
                        <a:pos x="T88" y="T89"/>
                      </a:cxn>
                      <a:cxn ang="T163">
                        <a:pos x="T90" y="T91"/>
                      </a:cxn>
                      <a:cxn ang="T164">
                        <a:pos x="T92" y="T93"/>
                      </a:cxn>
                      <a:cxn ang="T165">
                        <a:pos x="T94" y="T95"/>
                      </a:cxn>
                      <a:cxn ang="T166">
                        <a:pos x="T96" y="T97"/>
                      </a:cxn>
                      <a:cxn ang="T167">
                        <a:pos x="T98" y="T99"/>
                      </a:cxn>
                      <a:cxn ang="T168">
                        <a:pos x="T100" y="T101"/>
                      </a:cxn>
                      <a:cxn ang="T169">
                        <a:pos x="T102" y="T103"/>
                      </a:cxn>
                      <a:cxn ang="T170">
                        <a:pos x="T104" y="T105"/>
                      </a:cxn>
                      <a:cxn ang="T171">
                        <a:pos x="T106" y="T107"/>
                      </a:cxn>
                      <a:cxn ang="T172">
                        <a:pos x="T108" y="T109"/>
                      </a:cxn>
                      <a:cxn ang="T173">
                        <a:pos x="T110" y="T111"/>
                      </a:cxn>
                      <a:cxn ang="T174">
                        <a:pos x="T112" y="T113"/>
                      </a:cxn>
                      <a:cxn ang="T175">
                        <a:pos x="T114" y="T115"/>
                      </a:cxn>
                      <a:cxn ang="T176">
                        <a:pos x="T116" y="T117"/>
                      </a:cxn>
                    </a:cxnLst>
                    <a:rect l="T177" t="T178" r="T179" b="T180"/>
                    <a:pathLst>
                      <a:path w="2014" h="520">
                        <a:moveTo>
                          <a:pt x="1906" y="0"/>
                        </a:moveTo>
                        <a:lnTo>
                          <a:pt x="1895" y="3"/>
                        </a:lnTo>
                        <a:lnTo>
                          <a:pt x="1864" y="10"/>
                        </a:lnTo>
                        <a:lnTo>
                          <a:pt x="1815" y="21"/>
                        </a:lnTo>
                        <a:lnTo>
                          <a:pt x="1749" y="36"/>
                        </a:lnTo>
                        <a:lnTo>
                          <a:pt x="1670" y="52"/>
                        </a:lnTo>
                        <a:lnTo>
                          <a:pt x="1579" y="70"/>
                        </a:lnTo>
                        <a:lnTo>
                          <a:pt x="1479" y="89"/>
                        </a:lnTo>
                        <a:lnTo>
                          <a:pt x="1371" y="108"/>
                        </a:lnTo>
                        <a:lnTo>
                          <a:pt x="1257" y="127"/>
                        </a:lnTo>
                        <a:lnTo>
                          <a:pt x="1141" y="145"/>
                        </a:lnTo>
                        <a:lnTo>
                          <a:pt x="1082" y="152"/>
                        </a:lnTo>
                        <a:lnTo>
                          <a:pt x="1023" y="159"/>
                        </a:lnTo>
                        <a:lnTo>
                          <a:pt x="964" y="166"/>
                        </a:lnTo>
                        <a:lnTo>
                          <a:pt x="906" y="171"/>
                        </a:lnTo>
                        <a:lnTo>
                          <a:pt x="850" y="176"/>
                        </a:lnTo>
                        <a:lnTo>
                          <a:pt x="794" y="180"/>
                        </a:lnTo>
                        <a:lnTo>
                          <a:pt x="738" y="182"/>
                        </a:lnTo>
                        <a:lnTo>
                          <a:pt x="686" y="184"/>
                        </a:lnTo>
                        <a:lnTo>
                          <a:pt x="635" y="184"/>
                        </a:lnTo>
                        <a:lnTo>
                          <a:pt x="586" y="182"/>
                        </a:lnTo>
                        <a:lnTo>
                          <a:pt x="539" y="180"/>
                        </a:lnTo>
                        <a:lnTo>
                          <a:pt x="495" y="176"/>
                        </a:lnTo>
                        <a:lnTo>
                          <a:pt x="412" y="167"/>
                        </a:lnTo>
                        <a:lnTo>
                          <a:pt x="339" y="159"/>
                        </a:lnTo>
                        <a:lnTo>
                          <a:pt x="305" y="157"/>
                        </a:lnTo>
                        <a:lnTo>
                          <a:pt x="275" y="156"/>
                        </a:lnTo>
                        <a:lnTo>
                          <a:pt x="246" y="155"/>
                        </a:lnTo>
                        <a:lnTo>
                          <a:pt x="220" y="155"/>
                        </a:lnTo>
                        <a:lnTo>
                          <a:pt x="195" y="155"/>
                        </a:lnTo>
                        <a:lnTo>
                          <a:pt x="172" y="157"/>
                        </a:lnTo>
                        <a:lnTo>
                          <a:pt x="151" y="159"/>
                        </a:lnTo>
                        <a:lnTo>
                          <a:pt x="132" y="162"/>
                        </a:lnTo>
                        <a:lnTo>
                          <a:pt x="114" y="168"/>
                        </a:lnTo>
                        <a:lnTo>
                          <a:pt x="98" y="174"/>
                        </a:lnTo>
                        <a:lnTo>
                          <a:pt x="84" y="180"/>
                        </a:lnTo>
                        <a:lnTo>
                          <a:pt x="71" y="188"/>
                        </a:lnTo>
                        <a:lnTo>
                          <a:pt x="59" y="198"/>
                        </a:lnTo>
                        <a:lnTo>
                          <a:pt x="49" y="208"/>
                        </a:lnTo>
                        <a:lnTo>
                          <a:pt x="41" y="220"/>
                        </a:lnTo>
                        <a:lnTo>
                          <a:pt x="33" y="234"/>
                        </a:lnTo>
                        <a:lnTo>
                          <a:pt x="25" y="249"/>
                        </a:lnTo>
                        <a:lnTo>
                          <a:pt x="19" y="265"/>
                        </a:lnTo>
                        <a:lnTo>
                          <a:pt x="15" y="283"/>
                        </a:lnTo>
                        <a:lnTo>
                          <a:pt x="10" y="303"/>
                        </a:lnTo>
                        <a:lnTo>
                          <a:pt x="7" y="324"/>
                        </a:lnTo>
                        <a:lnTo>
                          <a:pt x="5" y="346"/>
                        </a:lnTo>
                        <a:lnTo>
                          <a:pt x="3" y="371"/>
                        </a:lnTo>
                        <a:lnTo>
                          <a:pt x="2" y="396"/>
                        </a:lnTo>
                        <a:lnTo>
                          <a:pt x="0" y="454"/>
                        </a:lnTo>
                        <a:lnTo>
                          <a:pt x="0" y="520"/>
                        </a:lnTo>
                        <a:lnTo>
                          <a:pt x="3" y="507"/>
                        </a:lnTo>
                        <a:lnTo>
                          <a:pt x="14" y="477"/>
                        </a:lnTo>
                        <a:lnTo>
                          <a:pt x="24" y="458"/>
                        </a:lnTo>
                        <a:lnTo>
                          <a:pt x="37" y="436"/>
                        </a:lnTo>
                        <a:lnTo>
                          <a:pt x="46" y="425"/>
                        </a:lnTo>
                        <a:lnTo>
                          <a:pt x="55" y="413"/>
                        </a:lnTo>
                        <a:lnTo>
                          <a:pt x="66" y="402"/>
                        </a:lnTo>
                        <a:lnTo>
                          <a:pt x="78" y="391"/>
                        </a:lnTo>
                        <a:lnTo>
                          <a:pt x="92" y="378"/>
                        </a:lnTo>
                        <a:lnTo>
                          <a:pt x="106" y="367"/>
                        </a:lnTo>
                        <a:lnTo>
                          <a:pt x="122" y="357"/>
                        </a:lnTo>
                        <a:lnTo>
                          <a:pt x="140" y="347"/>
                        </a:lnTo>
                        <a:lnTo>
                          <a:pt x="159" y="337"/>
                        </a:lnTo>
                        <a:lnTo>
                          <a:pt x="180" y="328"/>
                        </a:lnTo>
                        <a:lnTo>
                          <a:pt x="202" y="319"/>
                        </a:lnTo>
                        <a:lnTo>
                          <a:pt x="226" y="313"/>
                        </a:lnTo>
                        <a:lnTo>
                          <a:pt x="253" y="306"/>
                        </a:lnTo>
                        <a:lnTo>
                          <a:pt x="281" y="302"/>
                        </a:lnTo>
                        <a:lnTo>
                          <a:pt x="312" y="297"/>
                        </a:lnTo>
                        <a:lnTo>
                          <a:pt x="344" y="295"/>
                        </a:lnTo>
                        <a:lnTo>
                          <a:pt x="378" y="294"/>
                        </a:lnTo>
                        <a:lnTo>
                          <a:pt x="415" y="295"/>
                        </a:lnTo>
                        <a:lnTo>
                          <a:pt x="453" y="297"/>
                        </a:lnTo>
                        <a:lnTo>
                          <a:pt x="495" y="302"/>
                        </a:lnTo>
                        <a:lnTo>
                          <a:pt x="539" y="305"/>
                        </a:lnTo>
                        <a:lnTo>
                          <a:pt x="586" y="308"/>
                        </a:lnTo>
                        <a:lnTo>
                          <a:pt x="635" y="309"/>
                        </a:lnTo>
                        <a:lnTo>
                          <a:pt x="686" y="309"/>
                        </a:lnTo>
                        <a:lnTo>
                          <a:pt x="738" y="307"/>
                        </a:lnTo>
                        <a:lnTo>
                          <a:pt x="794" y="305"/>
                        </a:lnTo>
                        <a:lnTo>
                          <a:pt x="850" y="302"/>
                        </a:lnTo>
                        <a:lnTo>
                          <a:pt x="906" y="296"/>
                        </a:lnTo>
                        <a:lnTo>
                          <a:pt x="964" y="290"/>
                        </a:lnTo>
                        <a:lnTo>
                          <a:pt x="1023" y="285"/>
                        </a:lnTo>
                        <a:lnTo>
                          <a:pt x="1082" y="277"/>
                        </a:lnTo>
                        <a:lnTo>
                          <a:pt x="1141" y="269"/>
                        </a:lnTo>
                        <a:lnTo>
                          <a:pt x="1257" y="253"/>
                        </a:lnTo>
                        <a:lnTo>
                          <a:pt x="1371" y="234"/>
                        </a:lnTo>
                        <a:lnTo>
                          <a:pt x="1479" y="215"/>
                        </a:lnTo>
                        <a:lnTo>
                          <a:pt x="1579" y="196"/>
                        </a:lnTo>
                        <a:lnTo>
                          <a:pt x="1670" y="177"/>
                        </a:lnTo>
                        <a:lnTo>
                          <a:pt x="1749" y="160"/>
                        </a:lnTo>
                        <a:lnTo>
                          <a:pt x="1815" y="147"/>
                        </a:lnTo>
                        <a:lnTo>
                          <a:pt x="1864" y="136"/>
                        </a:lnTo>
                        <a:lnTo>
                          <a:pt x="1895" y="128"/>
                        </a:lnTo>
                        <a:lnTo>
                          <a:pt x="1906" y="126"/>
                        </a:lnTo>
                        <a:lnTo>
                          <a:pt x="1901" y="127"/>
                        </a:lnTo>
                        <a:lnTo>
                          <a:pt x="1920" y="121"/>
                        </a:lnTo>
                        <a:lnTo>
                          <a:pt x="1936" y="117"/>
                        </a:lnTo>
                        <a:lnTo>
                          <a:pt x="1953" y="110"/>
                        </a:lnTo>
                        <a:lnTo>
                          <a:pt x="1969" y="102"/>
                        </a:lnTo>
                        <a:lnTo>
                          <a:pt x="1986" y="95"/>
                        </a:lnTo>
                        <a:lnTo>
                          <a:pt x="1994" y="90"/>
                        </a:lnTo>
                        <a:lnTo>
                          <a:pt x="1999" y="85"/>
                        </a:lnTo>
                        <a:lnTo>
                          <a:pt x="2005" y="80"/>
                        </a:lnTo>
                        <a:lnTo>
                          <a:pt x="2009" y="75"/>
                        </a:lnTo>
                        <a:lnTo>
                          <a:pt x="2013" y="69"/>
                        </a:lnTo>
                        <a:lnTo>
                          <a:pt x="2014" y="63"/>
                        </a:lnTo>
                        <a:lnTo>
                          <a:pt x="2014" y="58"/>
                        </a:lnTo>
                        <a:lnTo>
                          <a:pt x="2012" y="51"/>
                        </a:lnTo>
                        <a:lnTo>
                          <a:pt x="2007" y="46"/>
                        </a:lnTo>
                        <a:lnTo>
                          <a:pt x="2002" y="40"/>
                        </a:lnTo>
                        <a:lnTo>
                          <a:pt x="1993" y="33"/>
                        </a:lnTo>
                        <a:lnTo>
                          <a:pt x="1980" y="27"/>
                        </a:lnTo>
                        <a:lnTo>
                          <a:pt x="1967" y="20"/>
                        </a:lnTo>
                        <a:lnTo>
                          <a:pt x="1949" y="13"/>
                        </a:lnTo>
                        <a:lnTo>
                          <a:pt x="1929" y="7"/>
                        </a:lnTo>
                        <a:lnTo>
                          <a:pt x="1906" y="0"/>
                        </a:lnTo>
                        <a:close/>
                      </a:path>
                    </a:pathLst>
                  </a:custGeom>
                  <a:solidFill>
                    <a:srgbClr val="3D4189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307" name="Freeform 204"/>
                  <p:cNvSpPr>
                    <a:spLocks/>
                  </p:cNvSpPr>
                  <p:nvPr/>
                </p:nvSpPr>
                <p:spPr bwMode="auto">
                  <a:xfrm>
                    <a:off x="3433" y="3608"/>
                    <a:ext cx="324" cy="225"/>
                  </a:xfrm>
                  <a:custGeom>
                    <a:avLst/>
                    <a:gdLst>
                      <a:gd name="T0" fmla="*/ 0 w 2275"/>
                      <a:gd name="T1" fmla="*/ 0 h 1580"/>
                      <a:gd name="T2" fmla="*/ 0 w 2275"/>
                      <a:gd name="T3" fmla="*/ 0 h 1580"/>
                      <a:gd name="T4" fmla="*/ 0 w 2275"/>
                      <a:gd name="T5" fmla="*/ 0 h 1580"/>
                      <a:gd name="T6" fmla="*/ 0 w 2275"/>
                      <a:gd name="T7" fmla="*/ 0 h 1580"/>
                      <a:gd name="T8" fmla="*/ 0 w 2275"/>
                      <a:gd name="T9" fmla="*/ 0 h 1580"/>
                      <a:gd name="T10" fmla="*/ 0 w 2275"/>
                      <a:gd name="T11" fmla="*/ 0 h 1580"/>
                      <a:gd name="T12" fmla="*/ 0 w 2275"/>
                      <a:gd name="T13" fmla="*/ 0 h 1580"/>
                      <a:gd name="T14" fmla="*/ 0 w 2275"/>
                      <a:gd name="T15" fmla="*/ 0 h 1580"/>
                      <a:gd name="T16" fmla="*/ 0 w 2275"/>
                      <a:gd name="T17" fmla="*/ 0 h 1580"/>
                      <a:gd name="T18" fmla="*/ 0 w 2275"/>
                      <a:gd name="T19" fmla="*/ 0 h 1580"/>
                      <a:gd name="T20" fmla="*/ 0 w 2275"/>
                      <a:gd name="T21" fmla="*/ 0 h 1580"/>
                      <a:gd name="T22" fmla="*/ 0 w 2275"/>
                      <a:gd name="T23" fmla="*/ 0 h 1580"/>
                      <a:gd name="T24" fmla="*/ 0 w 2275"/>
                      <a:gd name="T25" fmla="*/ 0 h 1580"/>
                      <a:gd name="T26" fmla="*/ 0 w 2275"/>
                      <a:gd name="T27" fmla="*/ 0 h 1580"/>
                      <a:gd name="T28" fmla="*/ 0 w 2275"/>
                      <a:gd name="T29" fmla="*/ 0 h 1580"/>
                      <a:gd name="T30" fmla="*/ 0 w 2275"/>
                      <a:gd name="T31" fmla="*/ 0 h 1580"/>
                      <a:gd name="T32" fmla="*/ 0 w 2275"/>
                      <a:gd name="T33" fmla="*/ 0 h 1580"/>
                      <a:gd name="T34" fmla="*/ 0 w 2275"/>
                      <a:gd name="T35" fmla="*/ 0 h 1580"/>
                      <a:gd name="T36" fmla="*/ 0 w 2275"/>
                      <a:gd name="T37" fmla="*/ 0 h 1580"/>
                      <a:gd name="T38" fmla="*/ 0 w 2275"/>
                      <a:gd name="T39" fmla="*/ 0 h 1580"/>
                      <a:gd name="T40" fmla="*/ 0 w 2275"/>
                      <a:gd name="T41" fmla="*/ 0 h 1580"/>
                      <a:gd name="T42" fmla="*/ 0 w 2275"/>
                      <a:gd name="T43" fmla="*/ 0 h 1580"/>
                      <a:gd name="T44" fmla="*/ 0 w 2275"/>
                      <a:gd name="T45" fmla="*/ 0 h 1580"/>
                      <a:gd name="T46" fmla="*/ 0 w 2275"/>
                      <a:gd name="T47" fmla="*/ 0 h 1580"/>
                      <a:gd name="T48" fmla="*/ 0 w 2275"/>
                      <a:gd name="T49" fmla="*/ 0 h 1580"/>
                      <a:gd name="T50" fmla="*/ 0 w 2275"/>
                      <a:gd name="T51" fmla="*/ 0 h 1580"/>
                      <a:gd name="T52" fmla="*/ 0 w 2275"/>
                      <a:gd name="T53" fmla="*/ 0 h 1580"/>
                      <a:gd name="T54" fmla="*/ 0 w 2275"/>
                      <a:gd name="T55" fmla="*/ 0 h 1580"/>
                      <a:gd name="T56" fmla="*/ 0 w 2275"/>
                      <a:gd name="T57" fmla="*/ 0 h 1580"/>
                      <a:gd name="T58" fmla="*/ 0 w 2275"/>
                      <a:gd name="T59" fmla="*/ 0 h 1580"/>
                      <a:gd name="T60" fmla="*/ 0 w 2275"/>
                      <a:gd name="T61" fmla="*/ 0 h 1580"/>
                      <a:gd name="T62" fmla="*/ 0 w 2275"/>
                      <a:gd name="T63" fmla="*/ 0 h 1580"/>
                      <a:gd name="T64" fmla="*/ 0 w 2275"/>
                      <a:gd name="T65" fmla="*/ 0 h 1580"/>
                      <a:gd name="T66" fmla="*/ 0 w 2275"/>
                      <a:gd name="T67" fmla="*/ 0 h 1580"/>
                      <a:gd name="T68" fmla="*/ 0 w 2275"/>
                      <a:gd name="T69" fmla="*/ 0 h 1580"/>
                      <a:gd name="T70" fmla="*/ 0 w 2275"/>
                      <a:gd name="T71" fmla="*/ 0 h 1580"/>
                      <a:gd name="T72" fmla="*/ 0 w 2275"/>
                      <a:gd name="T73" fmla="*/ 0 h 1580"/>
                      <a:gd name="T74" fmla="*/ 0 w 2275"/>
                      <a:gd name="T75" fmla="*/ 0 h 1580"/>
                      <a:gd name="T76" fmla="*/ 0 w 2275"/>
                      <a:gd name="T77" fmla="*/ 0 h 1580"/>
                      <a:gd name="T78" fmla="*/ 0 w 2275"/>
                      <a:gd name="T79" fmla="*/ 0 h 1580"/>
                      <a:gd name="T80" fmla="*/ 0 w 2275"/>
                      <a:gd name="T81" fmla="*/ 0 h 1580"/>
                      <a:gd name="T82" fmla="*/ 0 w 2275"/>
                      <a:gd name="T83" fmla="*/ 0 h 1580"/>
                      <a:gd name="T84" fmla="*/ 0 w 2275"/>
                      <a:gd name="T85" fmla="*/ 0 h 1580"/>
                      <a:gd name="T86" fmla="*/ 0 w 2275"/>
                      <a:gd name="T87" fmla="*/ 0 h 1580"/>
                      <a:gd name="T88" fmla="*/ 0 w 2275"/>
                      <a:gd name="T89" fmla="*/ 0 h 1580"/>
                      <a:gd name="T90" fmla="*/ 0 w 2275"/>
                      <a:gd name="T91" fmla="*/ 0 h 1580"/>
                      <a:gd name="T92" fmla="*/ 0 w 2275"/>
                      <a:gd name="T93" fmla="*/ 0 h 1580"/>
                      <a:gd name="T94" fmla="*/ 0 w 2275"/>
                      <a:gd name="T95" fmla="*/ 0 h 1580"/>
                      <a:gd name="T96" fmla="*/ 0 w 2275"/>
                      <a:gd name="T97" fmla="*/ 0 h 1580"/>
                      <a:gd name="T98" fmla="*/ 0 w 2275"/>
                      <a:gd name="T99" fmla="*/ 0 h 1580"/>
                      <a:gd name="T100" fmla="*/ 0 w 2275"/>
                      <a:gd name="T101" fmla="*/ 0 h 1580"/>
                      <a:gd name="T102" fmla="*/ 0 w 2275"/>
                      <a:gd name="T103" fmla="*/ 0 h 1580"/>
                      <a:gd name="T104" fmla="*/ 0 w 2275"/>
                      <a:gd name="T105" fmla="*/ 0 h 1580"/>
                      <a:gd name="T106" fmla="*/ 0 w 2275"/>
                      <a:gd name="T107" fmla="*/ 0 h 1580"/>
                      <a:gd name="T108" fmla="*/ 0 w 2275"/>
                      <a:gd name="T109" fmla="*/ 0 h 1580"/>
                      <a:gd name="T110" fmla="*/ 0 w 2275"/>
                      <a:gd name="T111" fmla="*/ 0 h 1580"/>
                      <a:gd name="T112" fmla="*/ 0 w 2275"/>
                      <a:gd name="T113" fmla="*/ 0 h 1580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w 2275"/>
                      <a:gd name="T172" fmla="*/ 0 h 1580"/>
                      <a:gd name="T173" fmla="*/ 2275 w 2275"/>
                      <a:gd name="T174" fmla="*/ 1580 h 1580"/>
                    </a:gdLst>
                    <a:ahLst/>
                    <a:cxnLst>
                      <a:cxn ang="T114">
                        <a:pos x="T0" y="T1"/>
                      </a:cxn>
                      <a:cxn ang="T115">
                        <a:pos x="T2" y="T3"/>
                      </a:cxn>
                      <a:cxn ang="T116">
                        <a:pos x="T4" y="T5"/>
                      </a:cxn>
                      <a:cxn ang="T117">
                        <a:pos x="T6" y="T7"/>
                      </a:cxn>
                      <a:cxn ang="T118">
                        <a:pos x="T8" y="T9"/>
                      </a:cxn>
                      <a:cxn ang="T119">
                        <a:pos x="T10" y="T11"/>
                      </a:cxn>
                      <a:cxn ang="T120">
                        <a:pos x="T12" y="T13"/>
                      </a:cxn>
                      <a:cxn ang="T121">
                        <a:pos x="T14" y="T15"/>
                      </a:cxn>
                      <a:cxn ang="T122">
                        <a:pos x="T16" y="T17"/>
                      </a:cxn>
                      <a:cxn ang="T123">
                        <a:pos x="T18" y="T19"/>
                      </a:cxn>
                      <a:cxn ang="T124">
                        <a:pos x="T20" y="T21"/>
                      </a:cxn>
                      <a:cxn ang="T125">
                        <a:pos x="T22" y="T23"/>
                      </a:cxn>
                      <a:cxn ang="T126">
                        <a:pos x="T24" y="T25"/>
                      </a:cxn>
                      <a:cxn ang="T127">
                        <a:pos x="T26" y="T27"/>
                      </a:cxn>
                      <a:cxn ang="T128">
                        <a:pos x="T28" y="T29"/>
                      </a:cxn>
                      <a:cxn ang="T129">
                        <a:pos x="T30" y="T31"/>
                      </a:cxn>
                      <a:cxn ang="T130">
                        <a:pos x="T32" y="T33"/>
                      </a:cxn>
                      <a:cxn ang="T131">
                        <a:pos x="T34" y="T35"/>
                      </a:cxn>
                      <a:cxn ang="T132">
                        <a:pos x="T36" y="T37"/>
                      </a:cxn>
                      <a:cxn ang="T133">
                        <a:pos x="T38" y="T39"/>
                      </a:cxn>
                      <a:cxn ang="T134">
                        <a:pos x="T40" y="T41"/>
                      </a:cxn>
                      <a:cxn ang="T135">
                        <a:pos x="T42" y="T43"/>
                      </a:cxn>
                      <a:cxn ang="T136">
                        <a:pos x="T44" y="T45"/>
                      </a:cxn>
                      <a:cxn ang="T137">
                        <a:pos x="T46" y="T47"/>
                      </a:cxn>
                      <a:cxn ang="T138">
                        <a:pos x="T48" y="T49"/>
                      </a:cxn>
                      <a:cxn ang="T139">
                        <a:pos x="T50" y="T51"/>
                      </a:cxn>
                      <a:cxn ang="T140">
                        <a:pos x="T52" y="T53"/>
                      </a:cxn>
                      <a:cxn ang="T141">
                        <a:pos x="T54" y="T55"/>
                      </a:cxn>
                      <a:cxn ang="T142">
                        <a:pos x="T56" y="T57"/>
                      </a:cxn>
                      <a:cxn ang="T143">
                        <a:pos x="T58" y="T59"/>
                      </a:cxn>
                      <a:cxn ang="T144">
                        <a:pos x="T60" y="T61"/>
                      </a:cxn>
                      <a:cxn ang="T145">
                        <a:pos x="T62" y="T63"/>
                      </a:cxn>
                      <a:cxn ang="T146">
                        <a:pos x="T64" y="T65"/>
                      </a:cxn>
                      <a:cxn ang="T147">
                        <a:pos x="T66" y="T67"/>
                      </a:cxn>
                      <a:cxn ang="T148">
                        <a:pos x="T68" y="T69"/>
                      </a:cxn>
                      <a:cxn ang="T149">
                        <a:pos x="T70" y="T71"/>
                      </a:cxn>
                      <a:cxn ang="T150">
                        <a:pos x="T72" y="T73"/>
                      </a:cxn>
                      <a:cxn ang="T151">
                        <a:pos x="T74" y="T75"/>
                      </a:cxn>
                      <a:cxn ang="T152">
                        <a:pos x="T76" y="T77"/>
                      </a:cxn>
                      <a:cxn ang="T153">
                        <a:pos x="T78" y="T79"/>
                      </a:cxn>
                      <a:cxn ang="T154">
                        <a:pos x="T80" y="T81"/>
                      </a:cxn>
                      <a:cxn ang="T155">
                        <a:pos x="T82" y="T83"/>
                      </a:cxn>
                      <a:cxn ang="T156">
                        <a:pos x="T84" y="T85"/>
                      </a:cxn>
                      <a:cxn ang="T157">
                        <a:pos x="T86" y="T87"/>
                      </a:cxn>
                      <a:cxn ang="T158">
                        <a:pos x="T88" y="T89"/>
                      </a:cxn>
                      <a:cxn ang="T159">
                        <a:pos x="T90" y="T91"/>
                      </a:cxn>
                      <a:cxn ang="T160">
                        <a:pos x="T92" y="T93"/>
                      </a:cxn>
                      <a:cxn ang="T161">
                        <a:pos x="T94" y="T95"/>
                      </a:cxn>
                      <a:cxn ang="T162">
                        <a:pos x="T96" y="T97"/>
                      </a:cxn>
                      <a:cxn ang="T163">
                        <a:pos x="T98" y="T99"/>
                      </a:cxn>
                      <a:cxn ang="T164">
                        <a:pos x="T100" y="T101"/>
                      </a:cxn>
                      <a:cxn ang="T165">
                        <a:pos x="T102" y="T103"/>
                      </a:cxn>
                      <a:cxn ang="T166">
                        <a:pos x="T104" y="T105"/>
                      </a:cxn>
                      <a:cxn ang="T167">
                        <a:pos x="T106" y="T107"/>
                      </a:cxn>
                      <a:cxn ang="T168">
                        <a:pos x="T108" y="T109"/>
                      </a:cxn>
                      <a:cxn ang="T169">
                        <a:pos x="T110" y="T111"/>
                      </a:cxn>
                      <a:cxn ang="T170">
                        <a:pos x="T112" y="T113"/>
                      </a:cxn>
                    </a:cxnLst>
                    <a:rect l="T171" t="T172" r="T173" b="T174"/>
                    <a:pathLst>
                      <a:path w="2275" h="1580">
                        <a:moveTo>
                          <a:pt x="1248" y="671"/>
                        </a:moveTo>
                        <a:lnTo>
                          <a:pt x="1201" y="695"/>
                        </a:lnTo>
                        <a:lnTo>
                          <a:pt x="1155" y="717"/>
                        </a:lnTo>
                        <a:lnTo>
                          <a:pt x="1110" y="737"/>
                        </a:lnTo>
                        <a:lnTo>
                          <a:pt x="1065" y="756"/>
                        </a:lnTo>
                        <a:lnTo>
                          <a:pt x="1021" y="774"/>
                        </a:lnTo>
                        <a:lnTo>
                          <a:pt x="976" y="789"/>
                        </a:lnTo>
                        <a:lnTo>
                          <a:pt x="934" y="804"/>
                        </a:lnTo>
                        <a:lnTo>
                          <a:pt x="891" y="816"/>
                        </a:lnTo>
                        <a:lnTo>
                          <a:pt x="848" y="827"/>
                        </a:lnTo>
                        <a:lnTo>
                          <a:pt x="807" y="837"/>
                        </a:lnTo>
                        <a:lnTo>
                          <a:pt x="766" y="846"/>
                        </a:lnTo>
                        <a:lnTo>
                          <a:pt x="725" y="853"/>
                        </a:lnTo>
                        <a:lnTo>
                          <a:pt x="685" y="858"/>
                        </a:lnTo>
                        <a:lnTo>
                          <a:pt x="645" y="863"/>
                        </a:lnTo>
                        <a:lnTo>
                          <a:pt x="606" y="865"/>
                        </a:lnTo>
                        <a:lnTo>
                          <a:pt x="567" y="866"/>
                        </a:lnTo>
                        <a:lnTo>
                          <a:pt x="529" y="866"/>
                        </a:lnTo>
                        <a:lnTo>
                          <a:pt x="491" y="865"/>
                        </a:lnTo>
                        <a:lnTo>
                          <a:pt x="453" y="863"/>
                        </a:lnTo>
                        <a:lnTo>
                          <a:pt x="416" y="858"/>
                        </a:lnTo>
                        <a:lnTo>
                          <a:pt x="380" y="853"/>
                        </a:lnTo>
                        <a:lnTo>
                          <a:pt x="343" y="846"/>
                        </a:lnTo>
                        <a:lnTo>
                          <a:pt x="307" y="838"/>
                        </a:lnTo>
                        <a:lnTo>
                          <a:pt x="272" y="828"/>
                        </a:lnTo>
                        <a:lnTo>
                          <a:pt x="236" y="818"/>
                        </a:lnTo>
                        <a:lnTo>
                          <a:pt x="202" y="806"/>
                        </a:lnTo>
                        <a:lnTo>
                          <a:pt x="167" y="794"/>
                        </a:lnTo>
                        <a:lnTo>
                          <a:pt x="133" y="779"/>
                        </a:lnTo>
                        <a:lnTo>
                          <a:pt x="99" y="764"/>
                        </a:lnTo>
                        <a:lnTo>
                          <a:pt x="66" y="747"/>
                        </a:lnTo>
                        <a:lnTo>
                          <a:pt x="32" y="729"/>
                        </a:lnTo>
                        <a:lnTo>
                          <a:pt x="0" y="710"/>
                        </a:lnTo>
                        <a:lnTo>
                          <a:pt x="0" y="756"/>
                        </a:lnTo>
                        <a:lnTo>
                          <a:pt x="1" y="803"/>
                        </a:lnTo>
                        <a:lnTo>
                          <a:pt x="3" y="847"/>
                        </a:lnTo>
                        <a:lnTo>
                          <a:pt x="6" y="892"/>
                        </a:lnTo>
                        <a:lnTo>
                          <a:pt x="10" y="935"/>
                        </a:lnTo>
                        <a:lnTo>
                          <a:pt x="16" y="977"/>
                        </a:lnTo>
                        <a:lnTo>
                          <a:pt x="22" y="1020"/>
                        </a:lnTo>
                        <a:lnTo>
                          <a:pt x="30" y="1060"/>
                        </a:lnTo>
                        <a:lnTo>
                          <a:pt x="39" y="1100"/>
                        </a:lnTo>
                        <a:lnTo>
                          <a:pt x="50" y="1138"/>
                        </a:lnTo>
                        <a:lnTo>
                          <a:pt x="62" y="1174"/>
                        </a:lnTo>
                        <a:lnTo>
                          <a:pt x="76" y="1210"/>
                        </a:lnTo>
                        <a:lnTo>
                          <a:pt x="84" y="1227"/>
                        </a:lnTo>
                        <a:lnTo>
                          <a:pt x="93" y="1243"/>
                        </a:lnTo>
                        <a:lnTo>
                          <a:pt x="100" y="1260"/>
                        </a:lnTo>
                        <a:lnTo>
                          <a:pt x="109" y="1276"/>
                        </a:lnTo>
                        <a:lnTo>
                          <a:pt x="119" y="1290"/>
                        </a:lnTo>
                        <a:lnTo>
                          <a:pt x="129" y="1306"/>
                        </a:lnTo>
                        <a:lnTo>
                          <a:pt x="139" y="1319"/>
                        </a:lnTo>
                        <a:lnTo>
                          <a:pt x="150" y="1334"/>
                        </a:lnTo>
                        <a:lnTo>
                          <a:pt x="206" y="1397"/>
                        </a:lnTo>
                        <a:lnTo>
                          <a:pt x="265" y="1449"/>
                        </a:lnTo>
                        <a:lnTo>
                          <a:pt x="325" y="1493"/>
                        </a:lnTo>
                        <a:lnTo>
                          <a:pt x="386" y="1526"/>
                        </a:lnTo>
                        <a:lnTo>
                          <a:pt x="449" y="1552"/>
                        </a:lnTo>
                        <a:lnTo>
                          <a:pt x="513" y="1568"/>
                        </a:lnTo>
                        <a:lnTo>
                          <a:pt x="578" y="1578"/>
                        </a:lnTo>
                        <a:lnTo>
                          <a:pt x="643" y="1580"/>
                        </a:lnTo>
                        <a:lnTo>
                          <a:pt x="709" y="1575"/>
                        </a:lnTo>
                        <a:lnTo>
                          <a:pt x="776" y="1564"/>
                        </a:lnTo>
                        <a:lnTo>
                          <a:pt x="843" y="1546"/>
                        </a:lnTo>
                        <a:lnTo>
                          <a:pt x="908" y="1524"/>
                        </a:lnTo>
                        <a:lnTo>
                          <a:pt x="975" y="1497"/>
                        </a:lnTo>
                        <a:lnTo>
                          <a:pt x="1042" y="1465"/>
                        </a:lnTo>
                        <a:lnTo>
                          <a:pt x="1106" y="1428"/>
                        </a:lnTo>
                        <a:lnTo>
                          <a:pt x="1172" y="1389"/>
                        </a:lnTo>
                        <a:lnTo>
                          <a:pt x="1236" y="1347"/>
                        </a:lnTo>
                        <a:lnTo>
                          <a:pt x="1299" y="1301"/>
                        </a:lnTo>
                        <a:lnTo>
                          <a:pt x="1360" y="1253"/>
                        </a:lnTo>
                        <a:lnTo>
                          <a:pt x="1421" y="1204"/>
                        </a:lnTo>
                        <a:lnTo>
                          <a:pt x="1479" y="1154"/>
                        </a:lnTo>
                        <a:lnTo>
                          <a:pt x="1537" y="1104"/>
                        </a:lnTo>
                        <a:lnTo>
                          <a:pt x="1592" y="1053"/>
                        </a:lnTo>
                        <a:lnTo>
                          <a:pt x="1645" y="1002"/>
                        </a:lnTo>
                        <a:lnTo>
                          <a:pt x="1695" y="951"/>
                        </a:lnTo>
                        <a:lnTo>
                          <a:pt x="1744" y="902"/>
                        </a:lnTo>
                        <a:lnTo>
                          <a:pt x="1790" y="855"/>
                        </a:lnTo>
                        <a:lnTo>
                          <a:pt x="1832" y="809"/>
                        </a:lnTo>
                        <a:lnTo>
                          <a:pt x="1909" y="726"/>
                        </a:lnTo>
                        <a:lnTo>
                          <a:pt x="1971" y="657"/>
                        </a:lnTo>
                        <a:lnTo>
                          <a:pt x="1992" y="634"/>
                        </a:lnTo>
                        <a:lnTo>
                          <a:pt x="2014" y="606"/>
                        </a:lnTo>
                        <a:lnTo>
                          <a:pt x="2035" y="576"/>
                        </a:lnTo>
                        <a:lnTo>
                          <a:pt x="2057" y="542"/>
                        </a:lnTo>
                        <a:lnTo>
                          <a:pt x="2079" y="507"/>
                        </a:lnTo>
                        <a:lnTo>
                          <a:pt x="2100" y="469"/>
                        </a:lnTo>
                        <a:lnTo>
                          <a:pt x="2122" y="429"/>
                        </a:lnTo>
                        <a:lnTo>
                          <a:pt x="2143" y="387"/>
                        </a:lnTo>
                        <a:lnTo>
                          <a:pt x="2163" y="342"/>
                        </a:lnTo>
                        <a:lnTo>
                          <a:pt x="2183" y="296"/>
                        </a:lnTo>
                        <a:lnTo>
                          <a:pt x="2201" y="249"/>
                        </a:lnTo>
                        <a:lnTo>
                          <a:pt x="2218" y="201"/>
                        </a:lnTo>
                        <a:lnTo>
                          <a:pt x="2235" y="152"/>
                        </a:lnTo>
                        <a:lnTo>
                          <a:pt x="2250" y="102"/>
                        </a:lnTo>
                        <a:lnTo>
                          <a:pt x="2263" y="52"/>
                        </a:lnTo>
                        <a:lnTo>
                          <a:pt x="2275" y="0"/>
                        </a:lnTo>
                        <a:lnTo>
                          <a:pt x="2217" y="47"/>
                        </a:lnTo>
                        <a:lnTo>
                          <a:pt x="2158" y="93"/>
                        </a:lnTo>
                        <a:lnTo>
                          <a:pt x="2098" y="138"/>
                        </a:lnTo>
                        <a:lnTo>
                          <a:pt x="2038" y="183"/>
                        </a:lnTo>
                        <a:lnTo>
                          <a:pt x="1976" y="227"/>
                        </a:lnTo>
                        <a:lnTo>
                          <a:pt x="1914" y="271"/>
                        </a:lnTo>
                        <a:lnTo>
                          <a:pt x="1852" y="313"/>
                        </a:lnTo>
                        <a:lnTo>
                          <a:pt x="1788" y="355"/>
                        </a:lnTo>
                        <a:lnTo>
                          <a:pt x="1724" y="398"/>
                        </a:lnTo>
                        <a:lnTo>
                          <a:pt x="1658" y="438"/>
                        </a:lnTo>
                        <a:lnTo>
                          <a:pt x="1593" y="479"/>
                        </a:lnTo>
                        <a:lnTo>
                          <a:pt x="1525" y="518"/>
                        </a:lnTo>
                        <a:lnTo>
                          <a:pt x="1457" y="558"/>
                        </a:lnTo>
                        <a:lnTo>
                          <a:pt x="1388" y="596"/>
                        </a:lnTo>
                        <a:lnTo>
                          <a:pt x="1319" y="634"/>
                        </a:lnTo>
                        <a:lnTo>
                          <a:pt x="1248" y="671"/>
                        </a:lnTo>
                        <a:close/>
                      </a:path>
                    </a:pathLst>
                  </a:custGeom>
                  <a:solidFill>
                    <a:srgbClr val="312276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</p:grpSp>
          </p:grpSp>
          <p:grpSp>
            <p:nvGrpSpPr>
              <p:cNvPr id="258" name="Group 205"/>
              <p:cNvGrpSpPr>
                <a:grpSpLocks/>
              </p:cNvGrpSpPr>
              <p:nvPr/>
            </p:nvGrpSpPr>
            <p:grpSpPr bwMode="auto">
              <a:xfrm>
                <a:off x="6154979" y="1573433"/>
                <a:ext cx="438071" cy="188655"/>
                <a:chOff x="2759" y="2304"/>
                <a:chExt cx="1393" cy="766"/>
              </a:xfrm>
            </p:grpSpPr>
            <p:sp>
              <p:nvSpPr>
                <p:cNvPr id="259" name="Freeform 206"/>
                <p:cNvSpPr>
                  <a:spLocks/>
                </p:cNvSpPr>
                <p:nvPr/>
              </p:nvSpPr>
              <p:spPr bwMode="auto">
                <a:xfrm>
                  <a:off x="3640" y="2608"/>
                  <a:ext cx="508" cy="319"/>
                </a:xfrm>
                <a:custGeom>
                  <a:avLst/>
                  <a:gdLst>
                    <a:gd name="T0" fmla="*/ 0 w 3583"/>
                    <a:gd name="T1" fmla="*/ 0 h 2227"/>
                    <a:gd name="T2" fmla="*/ 0 w 3583"/>
                    <a:gd name="T3" fmla="*/ 0 h 2227"/>
                    <a:gd name="T4" fmla="*/ 0 w 3583"/>
                    <a:gd name="T5" fmla="*/ 0 h 2227"/>
                    <a:gd name="T6" fmla="*/ 0 w 3583"/>
                    <a:gd name="T7" fmla="*/ 0 h 2227"/>
                    <a:gd name="T8" fmla="*/ 0 w 3583"/>
                    <a:gd name="T9" fmla="*/ 0 h 2227"/>
                    <a:gd name="T10" fmla="*/ 0 w 3583"/>
                    <a:gd name="T11" fmla="*/ 0 h 2227"/>
                    <a:gd name="T12" fmla="*/ 0 w 3583"/>
                    <a:gd name="T13" fmla="*/ 0 h 2227"/>
                    <a:gd name="T14" fmla="*/ 0 w 3583"/>
                    <a:gd name="T15" fmla="*/ 0 h 2227"/>
                    <a:gd name="T16" fmla="*/ 0 w 3583"/>
                    <a:gd name="T17" fmla="*/ 0 h 2227"/>
                    <a:gd name="T18" fmla="*/ 0 w 3583"/>
                    <a:gd name="T19" fmla="*/ 0 h 2227"/>
                    <a:gd name="T20" fmla="*/ 0 w 3583"/>
                    <a:gd name="T21" fmla="*/ 0 h 2227"/>
                    <a:gd name="T22" fmla="*/ 0 w 3583"/>
                    <a:gd name="T23" fmla="*/ 0 h 2227"/>
                    <a:gd name="T24" fmla="*/ 0 w 3583"/>
                    <a:gd name="T25" fmla="*/ 0 h 2227"/>
                    <a:gd name="T26" fmla="*/ 0 w 3583"/>
                    <a:gd name="T27" fmla="*/ 0 h 2227"/>
                    <a:gd name="T28" fmla="*/ 0 w 3583"/>
                    <a:gd name="T29" fmla="*/ 0 h 2227"/>
                    <a:gd name="T30" fmla="*/ 0 w 3583"/>
                    <a:gd name="T31" fmla="*/ 0 h 2227"/>
                    <a:gd name="T32" fmla="*/ 0 w 3583"/>
                    <a:gd name="T33" fmla="*/ 0 h 2227"/>
                    <a:gd name="T34" fmla="*/ 0 w 3583"/>
                    <a:gd name="T35" fmla="*/ 0 h 2227"/>
                    <a:gd name="T36" fmla="*/ 0 w 3583"/>
                    <a:gd name="T37" fmla="*/ 0 h 2227"/>
                    <a:gd name="T38" fmla="*/ 0 w 3583"/>
                    <a:gd name="T39" fmla="*/ 0 h 2227"/>
                    <a:gd name="T40" fmla="*/ 0 w 3583"/>
                    <a:gd name="T41" fmla="*/ 0 h 2227"/>
                    <a:gd name="T42" fmla="*/ 0 w 3583"/>
                    <a:gd name="T43" fmla="*/ 0 h 2227"/>
                    <a:gd name="T44" fmla="*/ 0 w 3583"/>
                    <a:gd name="T45" fmla="*/ 0 h 2227"/>
                    <a:gd name="T46" fmla="*/ 0 w 3583"/>
                    <a:gd name="T47" fmla="*/ 0 h 2227"/>
                    <a:gd name="T48" fmla="*/ 0 w 3583"/>
                    <a:gd name="T49" fmla="*/ 0 h 2227"/>
                    <a:gd name="T50" fmla="*/ 0 w 3583"/>
                    <a:gd name="T51" fmla="*/ 0 h 2227"/>
                    <a:gd name="T52" fmla="*/ 0 w 3583"/>
                    <a:gd name="T53" fmla="*/ 0 h 2227"/>
                    <a:gd name="T54" fmla="*/ 0 w 3583"/>
                    <a:gd name="T55" fmla="*/ 0 h 2227"/>
                    <a:gd name="T56" fmla="*/ 0 w 3583"/>
                    <a:gd name="T57" fmla="*/ 0 h 2227"/>
                    <a:gd name="T58" fmla="*/ 0 w 3583"/>
                    <a:gd name="T59" fmla="*/ 0 h 2227"/>
                    <a:gd name="T60" fmla="*/ 0 w 3583"/>
                    <a:gd name="T61" fmla="*/ 0 h 2227"/>
                    <a:gd name="T62" fmla="*/ 0 w 3583"/>
                    <a:gd name="T63" fmla="*/ 0 h 2227"/>
                    <a:gd name="T64" fmla="*/ 0 w 3583"/>
                    <a:gd name="T65" fmla="*/ 0 h 2227"/>
                    <a:gd name="T66" fmla="*/ 0 w 3583"/>
                    <a:gd name="T67" fmla="*/ 0 h 2227"/>
                    <a:gd name="T68" fmla="*/ 0 w 3583"/>
                    <a:gd name="T69" fmla="*/ 0 h 2227"/>
                    <a:gd name="T70" fmla="*/ 0 w 3583"/>
                    <a:gd name="T71" fmla="*/ 0 h 2227"/>
                    <a:gd name="T72" fmla="*/ 0 w 3583"/>
                    <a:gd name="T73" fmla="*/ 0 h 2227"/>
                    <a:gd name="T74" fmla="*/ 0 w 3583"/>
                    <a:gd name="T75" fmla="*/ 0 h 2227"/>
                    <a:gd name="T76" fmla="*/ 0 w 3583"/>
                    <a:gd name="T77" fmla="*/ 0 h 2227"/>
                    <a:gd name="T78" fmla="*/ 0 w 3583"/>
                    <a:gd name="T79" fmla="*/ 0 h 2227"/>
                    <a:gd name="T80" fmla="*/ 0 w 3583"/>
                    <a:gd name="T81" fmla="*/ 0 h 2227"/>
                    <a:gd name="T82" fmla="*/ 0 w 3583"/>
                    <a:gd name="T83" fmla="*/ 0 h 2227"/>
                    <a:gd name="T84" fmla="*/ 0 w 3583"/>
                    <a:gd name="T85" fmla="*/ 0 h 2227"/>
                    <a:gd name="T86" fmla="*/ 0 w 3583"/>
                    <a:gd name="T87" fmla="*/ 0 h 2227"/>
                    <a:gd name="T88" fmla="*/ 0 w 3583"/>
                    <a:gd name="T89" fmla="*/ 0 h 2227"/>
                    <a:gd name="T90" fmla="*/ 0 w 3583"/>
                    <a:gd name="T91" fmla="*/ 0 h 2227"/>
                    <a:gd name="T92" fmla="*/ 0 w 3583"/>
                    <a:gd name="T93" fmla="*/ 0 h 2227"/>
                    <a:gd name="T94" fmla="*/ 0 w 3583"/>
                    <a:gd name="T95" fmla="*/ 0 h 2227"/>
                    <a:gd name="T96" fmla="*/ 0 w 3583"/>
                    <a:gd name="T97" fmla="*/ 0 h 2227"/>
                    <a:gd name="T98" fmla="*/ 0 w 3583"/>
                    <a:gd name="T99" fmla="*/ 0 h 2227"/>
                    <a:gd name="T100" fmla="*/ 0 w 3583"/>
                    <a:gd name="T101" fmla="*/ 0 h 2227"/>
                    <a:gd name="T102" fmla="*/ 0 w 3583"/>
                    <a:gd name="T103" fmla="*/ 0 h 2227"/>
                    <a:gd name="T104" fmla="*/ 0 w 3583"/>
                    <a:gd name="T105" fmla="*/ 0 h 2227"/>
                    <a:gd name="T106" fmla="*/ 0 w 3583"/>
                    <a:gd name="T107" fmla="*/ 0 h 2227"/>
                    <a:gd name="T108" fmla="*/ 0 w 3583"/>
                    <a:gd name="T109" fmla="*/ 0 h 2227"/>
                    <a:gd name="T110" fmla="*/ 0 w 3583"/>
                    <a:gd name="T111" fmla="*/ 0 h 2227"/>
                    <a:gd name="T112" fmla="*/ 0 w 3583"/>
                    <a:gd name="T113" fmla="*/ 0 h 2227"/>
                    <a:gd name="T114" fmla="*/ 0 w 3583"/>
                    <a:gd name="T115" fmla="*/ 0 h 2227"/>
                    <a:gd name="T116" fmla="*/ 0 w 3583"/>
                    <a:gd name="T117" fmla="*/ 0 h 2227"/>
                    <a:gd name="T118" fmla="*/ 0 w 3583"/>
                    <a:gd name="T119" fmla="*/ 0 h 2227"/>
                    <a:gd name="T120" fmla="*/ 0 w 3583"/>
                    <a:gd name="T121" fmla="*/ 0 h 2227"/>
                    <a:gd name="T122" fmla="*/ 0 w 3583"/>
                    <a:gd name="T123" fmla="*/ 0 h 2227"/>
                    <a:gd name="T124" fmla="*/ 0 w 3583"/>
                    <a:gd name="T125" fmla="*/ 0 h 2227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3583"/>
                    <a:gd name="T190" fmla="*/ 0 h 2227"/>
                    <a:gd name="T191" fmla="*/ 3583 w 3583"/>
                    <a:gd name="T192" fmla="*/ 2227 h 2227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3583" h="2227">
                      <a:moveTo>
                        <a:pt x="3554" y="1071"/>
                      </a:moveTo>
                      <a:lnTo>
                        <a:pt x="3545" y="1035"/>
                      </a:lnTo>
                      <a:lnTo>
                        <a:pt x="3533" y="998"/>
                      </a:lnTo>
                      <a:lnTo>
                        <a:pt x="3521" y="962"/>
                      </a:lnTo>
                      <a:lnTo>
                        <a:pt x="3506" y="925"/>
                      </a:lnTo>
                      <a:lnTo>
                        <a:pt x="3491" y="887"/>
                      </a:lnTo>
                      <a:lnTo>
                        <a:pt x="3473" y="849"/>
                      </a:lnTo>
                      <a:lnTo>
                        <a:pt x="3455" y="810"/>
                      </a:lnTo>
                      <a:lnTo>
                        <a:pt x="3435" y="771"/>
                      </a:lnTo>
                      <a:lnTo>
                        <a:pt x="3414" y="733"/>
                      </a:lnTo>
                      <a:lnTo>
                        <a:pt x="3392" y="694"/>
                      </a:lnTo>
                      <a:lnTo>
                        <a:pt x="3368" y="657"/>
                      </a:lnTo>
                      <a:lnTo>
                        <a:pt x="3344" y="619"/>
                      </a:lnTo>
                      <a:lnTo>
                        <a:pt x="3318" y="581"/>
                      </a:lnTo>
                      <a:lnTo>
                        <a:pt x="3291" y="544"/>
                      </a:lnTo>
                      <a:lnTo>
                        <a:pt x="3264" y="508"/>
                      </a:lnTo>
                      <a:lnTo>
                        <a:pt x="3236" y="472"/>
                      </a:lnTo>
                      <a:lnTo>
                        <a:pt x="3206" y="437"/>
                      </a:lnTo>
                      <a:lnTo>
                        <a:pt x="3176" y="404"/>
                      </a:lnTo>
                      <a:lnTo>
                        <a:pt x="3144" y="372"/>
                      </a:lnTo>
                      <a:lnTo>
                        <a:pt x="3113" y="340"/>
                      </a:lnTo>
                      <a:lnTo>
                        <a:pt x="3081" y="309"/>
                      </a:lnTo>
                      <a:lnTo>
                        <a:pt x="3049" y="282"/>
                      </a:lnTo>
                      <a:lnTo>
                        <a:pt x="3014" y="254"/>
                      </a:lnTo>
                      <a:lnTo>
                        <a:pt x="2981" y="228"/>
                      </a:lnTo>
                      <a:lnTo>
                        <a:pt x="2946" y="205"/>
                      </a:lnTo>
                      <a:lnTo>
                        <a:pt x="2912" y="183"/>
                      </a:lnTo>
                      <a:lnTo>
                        <a:pt x="2876" y="163"/>
                      </a:lnTo>
                      <a:lnTo>
                        <a:pt x="2841" y="145"/>
                      </a:lnTo>
                      <a:lnTo>
                        <a:pt x="2805" y="128"/>
                      </a:lnTo>
                      <a:lnTo>
                        <a:pt x="2769" y="115"/>
                      </a:lnTo>
                      <a:lnTo>
                        <a:pt x="2734" y="104"/>
                      </a:lnTo>
                      <a:lnTo>
                        <a:pt x="2697" y="95"/>
                      </a:lnTo>
                      <a:lnTo>
                        <a:pt x="2615" y="79"/>
                      </a:lnTo>
                      <a:lnTo>
                        <a:pt x="2531" y="66"/>
                      </a:lnTo>
                      <a:lnTo>
                        <a:pt x="2446" y="52"/>
                      </a:lnTo>
                      <a:lnTo>
                        <a:pt x="2359" y="41"/>
                      </a:lnTo>
                      <a:lnTo>
                        <a:pt x="2270" y="32"/>
                      </a:lnTo>
                      <a:lnTo>
                        <a:pt x="2180" y="23"/>
                      </a:lnTo>
                      <a:lnTo>
                        <a:pt x="2089" y="17"/>
                      </a:lnTo>
                      <a:lnTo>
                        <a:pt x="1998" y="11"/>
                      </a:lnTo>
                      <a:lnTo>
                        <a:pt x="1906" y="7"/>
                      </a:lnTo>
                      <a:lnTo>
                        <a:pt x="1814" y="3"/>
                      </a:lnTo>
                      <a:lnTo>
                        <a:pt x="1722" y="1"/>
                      </a:lnTo>
                      <a:lnTo>
                        <a:pt x="1631" y="0"/>
                      </a:lnTo>
                      <a:lnTo>
                        <a:pt x="1541" y="0"/>
                      </a:lnTo>
                      <a:lnTo>
                        <a:pt x="1450" y="1"/>
                      </a:lnTo>
                      <a:lnTo>
                        <a:pt x="1361" y="3"/>
                      </a:lnTo>
                      <a:lnTo>
                        <a:pt x="1274" y="6"/>
                      </a:lnTo>
                      <a:lnTo>
                        <a:pt x="1188" y="9"/>
                      </a:lnTo>
                      <a:lnTo>
                        <a:pt x="1103" y="13"/>
                      </a:lnTo>
                      <a:lnTo>
                        <a:pt x="1021" y="18"/>
                      </a:lnTo>
                      <a:lnTo>
                        <a:pt x="941" y="23"/>
                      </a:lnTo>
                      <a:lnTo>
                        <a:pt x="864" y="30"/>
                      </a:lnTo>
                      <a:lnTo>
                        <a:pt x="789" y="37"/>
                      </a:lnTo>
                      <a:lnTo>
                        <a:pt x="717" y="43"/>
                      </a:lnTo>
                      <a:lnTo>
                        <a:pt x="649" y="51"/>
                      </a:lnTo>
                      <a:lnTo>
                        <a:pt x="583" y="59"/>
                      </a:lnTo>
                      <a:lnTo>
                        <a:pt x="522" y="67"/>
                      </a:lnTo>
                      <a:lnTo>
                        <a:pt x="464" y="76"/>
                      </a:lnTo>
                      <a:lnTo>
                        <a:pt x="411" y="85"/>
                      </a:lnTo>
                      <a:lnTo>
                        <a:pt x="362" y="94"/>
                      </a:lnTo>
                      <a:lnTo>
                        <a:pt x="319" y="102"/>
                      </a:lnTo>
                      <a:lnTo>
                        <a:pt x="279" y="111"/>
                      </a:lnTo>
                      <a:lnTo>
                        <a:pt x="245" y="120"/>
                      </a:lnTo>
                      <a:lnTo>
                        <a:pt x="214" y="130"/>
                      </a:lnTo>
                      <a:lnTo>
                        <a:pt x="186" y="141"/>
                      </a:lnTo>
                      <a:lnTo>
                        <a:pt x="161" y="155"/>
                      </a:lnTo>
                      <a:lnTo>
                        <a:pt x="137" y="169"/>
                      </a:lnTo>
                      <a:lnTo>
                        <a:pt x="116" y="186"/>
                      </a:lnTo>
                      <a:lnTo>
                        <a:pt x="96" y="203"/>
                      </a:lnTo>
                      <a:lnTo>
                        <a:pt x="79" y="222"/>
                      </a:lnTo>
                      <a:lnTo>
                        <a:pt x="64" y="242"/>
                      </a:lnTo>
                      <a:lnTo>
                        <a:pt x="50" y="264"/>
                      </a:lnTo>
                      <a:lnTo>
                        <a:pt x="38" y="286"/>
                      </a:lnTo>
                      <a:lnTo>
                        <a:pt x="28" y="309"/>
                      </a:lnTo>
                      <a:lnTo>
                        <a:pt x="19" y="335"/>
                      </a:lnTo>
                      <a:lnTo>
                        <a:pt x="12" y="361"/>
                      </a:lnTo>
                      <a:lnTo>
                        <a:pt x="8" y="387"/>
                      </a:lnTo>
                      <a:lnTo>
                        <a:pt x="4" y="414"/>
                      </a:lnTo>
                      <a:lnTo>
                        <a:pt x="1" y="443"/>
                      </a:lnTo>
                      <a:lnTo>
                        <a:pt x="0" y="472"/>
                      </a:lnTo>
                      <a:lnTo>
                        <a:pt x="1" y="502"/>
                      </a:lnTo>
                      <a:lnTo>
                        <a:pt x="2" y="532"/>
                      </a:lnTo>
                      <a:lnTo>
                        <a:pt x="6" y="563"/>
                      </a:lnTo>
                      <a:lnTo>
                        <a:pt x="9" y="594"/>
                      </a:lnTo>
                      <a:lnTo>
                        <a:pt x="15" y="627"/>
                      </a:lnTo>
                      <a:lnTo>
                        <a:pt x="20" y="659"/>
                      </a:lnTo>
                      <a:lnTo>
                        <a:pt x="27" y="691"/>
                      </a:lnTo>
                      <a:lnTo>
                        <a:pt x="35" y="723"/>
                      </a:lnTo>
                      <a:lnTo>
                        <a:pt x="44" y="757"/>
                      </a:lnTo>
                      <a:lnTo>
                        <a:pt x="53" y="789"/>
                      </a:lnTo>
                      <a:lnTo>
                        <a:pt x="63" y="822"/>
                      </a:lnTo>
                      <a:lnTo>
                        <a:pt x="84" y="889"/>
                      </a:lnTo>
                      <a:lnTo>
                        <a:pt x="107" y="955"/>
                      </a:lnTo>
                      <a:lnTo>
                        <a:pt x="119" y="987"/>
                      </a:lnTo>
                      <a:lnTo>
                        <a:pt x="133" y="1021"/>
                      </a:lnTo>
                      <a:lnTo>
                        <a:pt x="148" y="1053"/>
                      </a:lnTo>
                      <a:lnTo>
                        <a:pt x="164" y="1085"/>
                      </a:lnTo>
                      <a:lnTo>
                        <a:pt x="179" y="1117"/>
                      </a:lnTo>
                      <a:lnTo>
                        <a:pt x="197" y="1149"/>
                      </a:lnTo>
                      <a:lnTo>
                        <a:pt x="215" y="1179"/>
                      </a:lnTo>
                      <a:lnTo>
                        <a:pt x="234" y="1210"/>
                      </a:lnTo>
                      <a:lnTo>
                        <a:pt x="254" y="1240"/>
                      </a:lnTo>
                      <a:lnTo>
                        <a:pt x="274" y="1269"/>
                      </a:lnTo>
                      <a:lnTo>
                        <a:pt x="295" y="1299"/>
                      </a:lnTo>
                      <a:lnTo>
                        <a:pt x="316" y="1327"/>
                      </a:lnTo>
                      <a:lnTo>
                        <a:pt x="340" y="1356"/>
                      </a:lnTo>
                      <a:lnTo>
                        <a:pt x="362" y="1383"/>
                      </a:lnTo>
                      <a:lnTo>
                        <a:pt x="386" y="1410"/>
                      </a:lnTo>
                      <a:lnTo>
                        <a:pt x="411" y="1437"/>
                      </a:lnTo>
                      <a:lnTo>
                        <a:pt x="435" y="1463"/>
                      </a:lnTo>
                      <a:lnTo>
                        <a:pt x="461" y="1489"/>
                      </a:lnTo>
                      <a:lnTo>
                        <a:pt x="487" y="1515"/>
                      </a:lnTo>
                      <a:lnTo>
                        <a:pt x="513" y="1539"/>
                      </a:lnTo>
                      <a:lnTo>
                        <a:pt x="540" y="1564"/>
                      </a:lnTo>
                      <a:lnTo>
                        <a:pt x="568" y="1587"/>
                      </a:lnTo>
                      <a:lnTo>
                        <a:pt x="596" y="1609"/>
                      </a:lnTo>
                      <a:lnTo>
                        <a:pt x="625" y="1632"/>
                      </a:lnTo>
                      <a:lnTo>
                        <a:pt x="652" y="1654"/>
                      </a:lnTo>
                      <a:lnTo>
                        <a:pt x="683" y="1675"/>
                      </a:lnTo>
                      <a:lnTo>
                        <a:pt x="711" y="1696"/>
                      </a:lnTo>
                      <a:lnTo>
                        <a:pt x="742" y="1715"/>
                      </a:lnTo>
                      <a:lnTo>
                        <a:pt x="772" y="1735"/>
                      </a:lnTo>
                      <a:lnTo>
                        <a:pt x="802" y="1753"/>
                      </a:lnTo>
                      <a:lnTo>
                        <a:pt x="832" y="1772"/>
                      </a:lnTo>
                      <a:lnTo>
                        <a:pt x="863" y="1788"/>
                      </a:lnTo>
                      <a:lnTo>
                        <a:pt x="917" y="1818"/>
                      </a:lnTo>
                      <a:lnTo>
                        <a:pt x="974" y="1847"/>
                      </a:lnTo>
                      <a:lnTo>
                        <a:pt x="1034" y="1876"/>
                      </a:lnTo>
                      <a:lnTo>
                        <a:pt x="1097" y="1905"/>
                      </a:lnTo>
                      <a:lnTo>
                        <a:pt x="1160" y="1934"/>
                      </a:lnTo>
                      <a:lnTo>
                        <a:pt x="1226" y="1962"/>
                      </a:lnTo>
                      <a:lnTo>
                        <a:pt x="1294" y="1989"/>
                      </a:lnTo>
                      <a:lnTo>
                        <a:pt x="1364" y="2015"/>
                      </a:lnTo>
                      <a:lnTo>
                        <a:pt x="1434" y="2040"/>
                      </a:lnTo>
                      <a:lnTo>
                        <a:pt x="1506" y="2064"/>
                      </a:lnTo>
                      <a:lnTo>
                        <a:pt x="1580" y="2088"/>
                      </a:lnTo>
                      <a:lnTo>
                        <a:pt x="1654" y="2110"/>
                      </a:lnTo>
                      <a:lnTo>
                        <a:pt x="1729" y="2130"/>
                      </a:lnTo>
                      <a:lnTo>
                        <a:pt x="1804" y="2149"/>
                      </a:lnTo>
                      <a:lnTo>
                        <a:pt x="1880" y="2166"/>
                      </a:lnTo>
                      <a:lnTo>
                        <a:pt x="1956" y="2181"/>
                      </a:lnTo>
                      <a:lnTo>
                        <a:pt x="2033" y="2195"/>
                      </a:lnTo>
                      <a:lnTo>
                        <a:pt x="2108" y="2206"/>
                      </a:lnTo>
                      <a:lnTo>
                        <a:pt x="2184" y="2215"/>
                      </a:lnTo>
                      <a:lnTo>
                        <a:pt x="2260" y="2221"/>
                      </a:lnTo>
                      <a:lnTo>
                        <a:pt x="2334" y="2225"/>
                      </a:lnTo>
                      <a:lnTo>
                        <a:pt x="2409" y="2227"/>
                      </a:lnTo>
                      <a:lnTo>
                        <a:pt x="2482" y="2226"/>
                      </a:lnTo>
                      <a:lnTo>
                        <a:pt x="2553" y="2221"/>
                      </a:lnTo>
                      <a:lnTo>
                        <a:pt x="2625" y="2215"/>
                      </a:lnTo>
                      <a:lnTo>
                        <a:pt x="2694" y="2205"/>
                      </a:lnTo>
                      <a:lnTo>
                        <a:pt x="2762" y="2191"/>
                      </a:lnTo>
                      <a:lnTo>
                        <a:pt x="2827" y="2175"/>
                      </a:lnTo>
                      <a:lnTo>
                        <a:pt x="2892" y="2155"/>
                      </a:lnTo>
                      <a:lnTo>
                        <a:pt x="2954" y="2131"/>
                      </a:lnTo>
                      <a:lnTo>
                        <a:pt x="3013" y="2103"/>
                      </a:lnTo>
                      <a:lnTo>
                        <a:pt x="3071" y="2072"/>
                      </a:lnTo>
                      <a:lnTo>
                        <a:pt x="3104" y="2051"/>
                      </a:lnTo>
                      <a:lnTo>
                        <a:pt x="3138" y="2030"/>
                      </a:lnTo>
                      <a:lnTo>
                        <a:pt x="3170" y="2007"/>
                      </a:lnTo>
                      <a:lnTo>
                        <a:pt x="3202" y="1984"/>
                      </a:lnTo>
                      <a:lnTo>
                        <a:pt x="3232" y="1960"/>
                      </a:lnTo>
                      <a:lnTo>
                        <a:pt x="3262" y="1935"/>
                      </a:lnTo>
                      <a:lnTo>
                        <a:pt x="3290" y="1911"/>
                      </a:lnTo>
                      <a:lnTo>
                        <a:pt x="3318" y="1885"/>
                      </a:lnTo>
                      <a:lnTo>
                        <a:pt x="3344" y="1859"/>
                      </a:lnTo>
                      <a:lnTo>
                        <a:pt x="3369" y="1832"/>
                      </a:lnTo>
                      <a:lnTo>
                        <a:pt x="3393" y="1804"/>
                      </a:lnTo>
                      <a:lnTo>
                        <a:pt x="3416" y="1775"/>
                      </a:lnTo>
                      <a:lnTo>
                        <a:pt x="3437" y="1746"/>
                      </a:lnTo>
                      <a:lnTo>
                        <a:pt x="3457" y="1716"/>
                      </a:lnTo>
                      <a:lnTo>
                        <a:pt x="3476" y="1686"/>
                      </a:lnTo>
                      <a:lnTo>
                        <a:pt x="3493" y="1655"/>
                      </a:lnTo>
                      <a:lnTo>
                        <a:pt x="3510" y="1623"/>
                      </a:lnTo>
                      <a:lnTo>
                        <a:pt x="3523" y="1590"/>
                      </a:lnTo>
                      <a:lnTo>
                        <a:pt x="3536" y="1557"/>
                      </a:lnTo>
                      <a:lnTo>
                        <a:pt x="3548" y="1524"/>
                      </a:lnTo>
                      <a:lnTo>
                        <a:pt x="3557" y="1489"/>
                      </a:lnTo>
                      <a:lnTo>
                        <a:pt x="3566" y="1455"/>
                      </a:lnTo>
                      <a:lnTo>
                        <a:pt x="3573" y="1419"/>
                      </a:lnTo>
                      <a:lnTo>
                        <a:pt x="3577" y="1382"/>
                      </a:lnTo>
                      <a:lnTo>
                        <a:pt x="3581" y="1346"/>
                      </a:lnTo>
                      <a:lnTo>
                        <a:pt x="3583" y="1308"/>
                      </a:lnTo>
                      <a:lnTo>
                        <a:pt x="3583" y="1270"/>
                      </a:lnTo>
                      <a:lnTo>
                        <a:pt x="3581" y="1231"/>
                      </a:lnTo>
                      <a:lnTo>
                        <a:pt x="3577" y="1192"/>
                      </a:lnTo>
                      <a:lnTo>
                        <a:pt x="3572" y="1152"/>
                      </a:lnTo>
                      <a:lnTo>
                        <a:pt x="3564" y="1112"/>
                      </a:lnTo>
                      <a:lnTo>
                        <a:pt x="3554" y="1071"/>
                      </a:lnTo>
                      <a:close/>
                    </a:path>
                  </a:pathLst>
                </a:custGeom>
                <a:solidFill>
                  <a:srgbClr val="242D54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260" name="Freeform 207"/>
                <p:cNvSpPr>
                  <a:spLocks/>
                </p:cNvSpPr>
                <p:nvPr/>
              </p:nvSpPr>
              <p:spPr bwMode="auto">
                <a:xfrm>
                  <a:off x="3638" y="2652"/>
                  <a:ext cx="508" cy="269"/>
                </a:xfrm>
                <a:custGeom>
                  <a:avLst/>
                  <a:gdLst>
                    <a:gd name="T0" fmla="*/ 0 w 3582"/>
                    <a:gd name="T1" fmla="*/ 0 h 1884"/>
                    <a:gd name="T2" fmla="*/ 0 w 3582"/>
                    <a:gd name="T3" fmla="*/ 0 h 1884"/>
                    <a:gd name="T4" fmla="*/ 0 w 3582"/>
                    <a:gd name="T5" fmla="*/ 0 h 1884"/>
                    <a:gd name="T6" fmla="*/ 0 w 3582"/>
                    <a:gd name="T7" fmla="*/ 0 h 1884"/>
                    <a:gd name="T8" fmla="*/ 0 w 3582"/>
                    <a:gd name="T9" fmla="*/ 0 h 1884"/>
                    <a:gd name="T10" fmla="*/ 0 w 3582"/>
                    <a:gd name="T11" fmla="*/ 0 h 1884"/>
                    <a:gd name="T12" fmla="*/ 0 w 3582"/>
                    <a:gd name="T13" fmla="*/ 0 h 1884"/>
                    <a:gd name="T14" fmla="*/ 0 w 3582"/>
                    <a:gd name="T15" fmla="*/ 0 h 1884"/>
                    <a:gd name="T16" fmla="*/ 0 w 3582"/>
                    <a:gd name="T17" fmla="*/ 0 h 1884"/>
                    <a:gd name="T18" fmla="*/ 0 w 3582"/>
                    <a:gd name="T19" fmla="*/ 0 h 1884"/>
                    <a:gd name="T20" fmla="*/ 0 w 3582"/>
                    <a:gd name="T21" fmla="*/ 0 h 1884"/>
                    <a:gd name="T22" fmla="*/ 0 w 3582"/>
                    <a:gd name="T23" fmla="*/ 0 h 1884"/>
                    <a:gd name="T24" fmla="*/ 0 w 3582"/>
                    <a:gd name="T25" fmla="*/ 0 h 1884"/>
                    <a:gd name="T26" fmla="*/ 0 w 3582"/>
                    <a:gd name="T27" fmla="*/ 0 h 1884"/>
                    <a:gd name="T28" fmla="*/ 0 w 3582"/>
                    <a:gd name="T29" fmla="*/ 0 h 1884"/>
                    <a:gd name="T30" fmla="*/ 0 w 3582"/>
                    <a:gd name="T31" fmla="*/ 0 h 1884"/>
                    <a:gd name="T32" fmla="*/ 0 w 3582"/>
                    <a:gd name="T33" fmla="*/ 0 h 1884"/>
                    <a:gd name="T34" fmla="*/ 0 w 3582"/>
                    <a:gd name="T35" fmla="*/ 0 h 1884"/>
                    <a:gd name="T36" fmla="*/ 0 w 3582"/>
                    <a:gd name="T37" fmla="*/ 0 h 1884"/>
                    <a:gd name="T38" fmla="*/ 0 w 3582"/>
                    <a:gd name="T39" fmla="*/ 0 h 1884"/>
                    <a:gd name="T40" fmla="*/ 0 w 3582"/>
                    <a:gd name="T41" fmla="*/ 0 h 1884"/>
                    <a:gd name="T42" fmla="*/ 0 w 3582"/>
                    <a:gd name="T43" fmla="*/ 0 h 1884"/>
                    <a:gd name="T44" fmla="*/ 0 w 3582"/>
                    <a:gd name="T45" fmla="*/ 0 h 1884"/>
                    <a:gd name="T46" fmla="*/ 0 w 3582"/>
                    <a:gd name="T47" fmla="*/ 0 h 1884"/>
                    <a:gd name="T48" fmla="*/ 0 w 3582"/>
                    <a:gd name="T49" fmla="*/ 0 h 1884"/>
                    <a:gd name="T50" fmla="*/ 0 w 3582"/>
                    <a:gd name="T51" fmla="*/ 0 h 1884"/>
                    <a:gd name="T52" fmla="*/ 0 w 3582"/>
                    <a:gd name="T53" fmla="*/ 0 h 1884"/>
                    <a:gd name="T54" fmla="*/ 0 w 3582"/>
                    <a:gd name="T55" fmla="*/ 0 h 1884"/>
                    <a:gd name="T56" fmla="*/ 0 w 3582"/>
                    <a:gd name="T57" fmla="*/ 0 h 1884"/>
                    <a:gd name="T58" fmla="*/ 0 w 3582"/>
                    <a:gd name="T59" fmla="*/ 0 h 1884"/>
                    <a:gd name="T60" fmla="*/ 0 w 3582"/>
                    <a:gd name="T61" fmla="*/ 0 h 1884"/>
                    <a:gd name="T62" fmla="*/ 0 w 3582"/>
                    <a:gd name="T63" fmla="*/ 0 h 1884"/>
                    <a:gd name="T64" fmla="*/ 0 w 3582"/>
                    <a:gd name="T65" fmla="*/ 0 h 1884"/>
                    <a:gd name="T66" fmla="*/ 0 w 3582"/>
                    <a:gd name="T67" fmla="*/ 0 h 1884"/>
                    <a:gd name="T68" fmla="*/ 0 w 3582"/>
                    <a:gd name="T69" fmla="*/ 0 h 1884"/>
                    <a:gd name="T70" fmla="*/ 0 w 3582"/>
                    <a:gd name="T71" fmla="*/ 0 h 1884"/>
                    <a:gd name="T72" fmla="*/ 0 w 3582"/>
                    <a:gd name="T73" fmla="*/ 0 h 1884"/>
                    <a:gd name="T74" fmla="*/ 0 w 3582"/>
                    <a:gd name="T75" fmla="*/ 0 h 1884"/>
                    <a:gd name="T76" fmla="*/ 0 w 3582"/>
                    <a:gd name="T77" fmla="*/ 0 h 1884"/>
                    <a:gd name="T78" fmla="*/ 0 w 3582"/>
                    <a:gd name="T79" fmla="*/ 0 h 1884"/>
                    <a:gd name="T80" fmla="*/ 0 w 3582"/>
                    <a:gd name="T81" fmla="*/ 0 h 1884"/>
                    <a:gd name="T82" fmla="*/ 0 w 3582"/>
                    <a:gd name="T83" fmla="*/ 0 h 1884"/>
                    <a:gd name="T84" fmla="*/ 0 w 3582"/>
                    <a:gd name="T85" fmla="*/ 0 h 1884"/>
                    <a:gd name="T86" fmla="*/ 0 w 3582"/>
                    <a:gd name="T87" fmla="*/ 0 h 1884"/>
                    <a:gd name="T88" fmla="*/ 0 w 3582"/>
                    <a:gd name="T89" fmla="*/ 0 h 1884"/>
                    <a:gd name="T90" fmla="*/ 0 w 3582"/>
                    <a:gd name="T91" fmla="*/ 0 h 1884"/>
                    <a:gd name="T92" fmla="*/ 0 w 3582"/>
                    <a:gd name="T93" fmla="*/ 0 h 1884"/>
                    <a:gd name="T94" fmla="*/ 0 w 3582"/>
                    <a:gd name="T95" fmla="*/ 0 h 1884"/>
                    <a:gd name="T96" fmla="*/ 0 w 3582"/>
                    <a:gd name="T97" fmla="*/ 0 h 1884"/>
                    <a:gd name="T98" fmla="*/ 0 w 3582"/>
                    <a:gd name="T99" fmla="*/ 0 h 1884"/>
                    <a:gd name="T100" fmla="*/ 0 w 3582"/>
                    <a:gd name="T101" fmla="*/ 0 h 1884"/>
                    <a:gd name="T102" fmla="*/ 0 w 3582"/>
                    <a:gd name="T103" fmla="*/ 0 h 1884"/>
                    <a:gd name="T104" fmla="*/ 0 w 3582"/>
                    <a:gd name="T105" fmla="*/ 0 h 1884"/>
                    <a:gd name="T106" fmla="*/ 0 w 3582"/>
                    <a:gd name="T107" fmla="*/ 0 h 1884"/>
                    <a:gd name="T108" fmla="*/ 0 w 3582"/>
                    <a:gd name="T109" fmla="*/ 0 h 1884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3582"/>
                    <a:gd name="T166" fmla="*/ 0 h 1884"/>
                    <a:gd name="T167" fmla="*/ 3582 w 3582"/>
                    <a:gd name="T168" fmla="*/ 1884 h 1884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3582" h="1884">
                      <a:moveTo>
                        <a:pt x="3553" y="728"/>
                      </a:moveTo>
                      <a:lnTo>
                        <a:pt x="3550" y="715"/>
                      </a:lnTo>
                      <a:lnTo>
                        <a:pt x="3547" y="702"/>
                      </a:lnTo>
                      <a:lnTo>
                        <a:pt x="3542" y="689"/>
                      </a:lnTo>
                      <a:lnTo>
                        <a:pt x="3539" y="677"/>
                      </a:lnTo>
                      <a:lnTo>
                        <a:pt x="3533" y="701"/>
                      </a:lnTo>
                      <a:lnTo>
                        <a:pt x="3527" y="725"/>
                      </a:lnTo>
                      <a:lnTo>
                        <a:pt x="3520" y="749"/>
                      </a:lnTo>
                      <a:lnTo>
                        <a:pt x="3512" y="773"/>
                      </a:lnTo>
                      <a:lnTo>
                        <a:pt x="3504" y="796"/>
                      </a:lnTo>
                      <a:lnTo>
                        <a:pt x="3495" y="819"/>
                      </a:lnTo>
                      <a:lnTo>
                        <a:pt x="3485" y="842"/>
                      </a:lnTo>
                      <a:lnTo>
                        <a:pt x="3475" y="864"/>
                      </a:lnTo>
                      <a:lnTo>
                        <a:pt x="3463" y="886"/>
                      </a:lnTo>
                      <a:lnTo>
                        <a:pt x="3452" y="908"/>
                      </a:lnTo>
                      <a:lnTo>
                        <a:pt x="3439" y="929"/>
                      </a:lnTo>
                      <a:lnTo>
                        <a:pt x="3426" y="951"/>
                      </a:lnTo>
                      <a:lnTo>
                        <a:pt x="3412" y="972"/>
                      </a:lnTo>
                      <a:lnTo>
                        <a:pt x="3398" y="992"/>
                      </a:lnTo>
                      <a:lnTo>
                        <a:pt x="3382" y="1012"/>
                      </a:lnTo>
                      <a:lnTo>
                        <a:pt x="3366" y="1032"/>
                      </a:lnTo>
                      <a:lnTo>
                        <a:pt x="3351" y="1052"/>
                      </a:lnTo>
                      <a:lnTo>
                        <a:pt x="3333" y="1071"/>
                      </a:lnTo>
                      <a:lnTo>
                        <a:pt x="3316" y="1090"/>
                      </a:lnTo>
                      <a:lnTo>
                        <a:pt x="3297" y="1108"/>
                      </a:lnTo>
                      <a:lnTo>
                        <a:pt x="3280" y="1126"/>
                      </a:lnTo>
                      <a:lnTo>
                        <a:pt x="3260" y="1144"/>
                      </a:lnTo>
                      <a:lnTo>
                        <a:pt x="3241" y="1162"/>
                      </a:lnTo>
                      <a:lnTo>
                        <a:pt x="3221" y="1179"/>
                      </a:lnTo>
                      <a:lnTo>
                        <a:pt x="3199" y="1195"/>
                      </a:lnTo>
                      <a:lnTo>
                        <a:pt x="3178" y="1212"/>
                      </a:lnTo>
                      <a:lnTo>
                        <a:pt x="3156" y="1229"/>
                      </a:lnTo>
                      <a:lnTo>
                        <a:pt x="3134" y="1244"/>
                      </a:lnTo>
                      <a:lnTo>
                        <a:pt x="3088" y="1276"/>
                      </a:lnTo>
                      <a:lnTo>
                        <a:pt x="3041" y="1304"/>
                      </a:lnTo>
                      <a:lnTo>
                        <a:pt x="2984" y="1336"/>
                      </a:lnTo>
                      <a:lnTo>
                        <a:pt x="2925" y="1363"/>
                      </a:lnTo>
                      <a:lnTo>
                        <a:pt x="2862" y="1387"/>
                      </a:lnTo>
                      <a:lnTo>
                        <a:pt x="2799" y="1407"/>
                      </a:lnTo>
                      <a:lnTo>
                        <a:pt x="2732" y="1424"/>
                      </a:lnTo>
                      <a:lnTo>
                        <a:pt x="2664" y="1437"/>
                      </a:lnTo>
                      <a:lnTo>
                        <a:pt x="2595" y="1447"/>
                      </a:lnTo>
                      <a:lnTo>
                        <a:pt x="2525" y="1455"/>
                      </a:lnTo>
                      <a:lnTo>
                        <a:pt x="2453" y="1458"/>
                      </a:lnTo>
                      <a:lnTo>
                        <a:pt x="2379" y="1459"/>
                      </a:lnTo>
                      <a:lnTo>
                        <a:pt x="2305" y="1458"/>
                      </a:lnTo>
                      <a:lnTo>
                        <a:pt x="2230" y="1454"/>
                      </a:lnTo>
                      <a:lnTo>
                        <a:pt x="2154" y="1447"/>
                      </a:lnTo>
                      <a:lnTo>
                        <a:pt x="2079" y="1438"/>
                      </a:lnTo>
                      <a:lnTo>
                        <a:pt x="2003" y="1427"/>
                      </a:lnTo>
                      <a:lnTo>
                        <a:pt x="1926" y="1414"/>
                      </a:lnTo>
                      <a:lnTo>
                        <a:pt x="1850" y="1398"/>
                      </a:lnTo>
                      <a:lnTo>
                        <a:pt x="1775" y="1381"/>
                      </a:lnTo>
                      <a:lnTo>
                        <a:pt x="1699" y="1362"/>
                      </a:lnTo>
                      <a:lnTo>
                        <a:pt x="1625" y="1342"/>
                      </a:lnTo>
                      <a:lnTo>
                        <a:pt x="1550" y="1320"/>
                      </a:lnTo>
                      <a:lnTo>
                        <a:pt x="1477" y="1298"/>
                      </a:lnTo>
                      <a:lnTo>
                        <a:pt x="1404" y="1273"/>
                      </a:lnTo>
                      <a:lnTo>
                        <a:pt x="1334" y="1248"/>
                      </a:lnTo>
                      <a:lnTo>
                        <a:pt x="1264" y="1221"/>
                      </a:lnTo>
                      <a:lnTo>
                        <a:pt x="1197" y="1194"/>
                      </a:lnTo>
                      <a:lnTo>
                        <a:pt x="1130" y="1166"/>
                      </a:lnTo>
                      <a:lnTo>
                        <a:pt x="1067" y="1139"/>
                      </a:lnTo>
                      <a:lnTo>
                        <a:pt x="1005" y="1110"/>
                      </a:lnTo>
                      <a:lnTo>
                        <a:pt x="944" y="1080"/>
                      </a:lnTo>
                      <a:lnTo>
                        <a:pt x="888" y="1051"/>
                      </a:lnTo>
                      <a:lnTo>
                        <a:pt x="833" y="1022"/>
                      </a:lnTo>
                      <a:lnTo>
                        <a:pt x="802" y="1004"/>
                      </a:lnTo>
                      <a:lnTo>
                        <a:pt x="772" y="986"/>
                      </a:lnTo>
                      <a:lnTo>
                        <a:pt x="742" y="967"/>
                      </a:lnTo>
                      <a:lnTo>
                        <a:pt x="712" y="948"/>
                      </a:lnTo>
                      <a:lnTo>
                        <a:pt x="682" y="928"/>
                      </a:lnTo>
                      <a:lnTo>
                        <a:pt x="653" y="907"/>
                      </a:lnTo>
                      <a:lnTo>
                        <a:pt x="624" y="886"/>
                      </a:lnTo>
                      <a:lnTo>
                        <a:pt x="595" y="865"/>
                      </a:lnTo>
                      <a:lnTo>
                        <a:pt x="566" y="843"/>
                      </a:lnTo>
                      <a:lnTo>
                        <a:pt x="538" y="819"/>
                      </a:lnTo>
                      <a:lnTo>
                        <a:pt x="512" y="796"/>
                      </a:lnTo>
                      <a:lnTo>
                        <a:pt x="484" y="771"/>
                      </a:lnTo>
                      <a:lnTo>
                        <a:pt x="457" y="747"/>
                      </a:lnTo>
                      <a:lnTo>
                        <a:pt x="431" y="722"/>
                      </a:lnTo>
                      <a:lnTo>
                        <a:pt x="406" y="696"/>
                      </a:lnTo>
                      <a:lnTo>
                        <a:pt x="381" y="670"/>
                      </a:lnTo>
                      <a:lnTo>
                        <a:pt x="357" y="643"/>
                      </a:lnTo>
                      <a:lnTo>
                        <a:pt x="333" y="616"/>
                      </a:lnTo>
                      <a:lnTo>
                        <a:pt x="310" y="588"/>
                      </a:lnTo>
                      <a:lnTo>
                        <a:pt x="288" y="560"/>
                      </a:lnTo>
                      <a:lnTo>
                        <a:pt x="266" y="531"/>
                      </a:lnTo>
                      <a:lnTo>
                        <a:pt x="244" y="502"/>
                      </a:lnTo>
                      <a:lnTo>
                        <a:pt x="224" y="472"/>
                      </a:lnTo>
                      <a:lnTo>
                        <a:pt x="204" y="442"/>
                      </a:lnTo>
                      <a:lnTo>
                        <a:pt x="185" y="412"/>
                      </a:lnTo>
                      <a:lnTo>
                        <a:pt x="168" y="381"/>
                      </a:lnTo>
                      <a:lnTo>
                        <a:pt x="150" y="350"/>
                      </a:lnTo>
                      <a:lnTo>
                        <a:pt x="134" y="317"/>
                      </a:lnTo>
                      <a:lnTo>
                        <a:pt x="119" y="286"/>
                      </a:lnTo>
                      <a:lnTo>
                        <a:pt x="104" y="253"/>
                      </a:lnTo>
                      <a:lnTo>
                        <a:pt x="90" y="221"/>
                      </a:lnTo>
                      <a:lnTo>
                        <a:pt x="77" y="187"/>
                      </a:lnTo>
                      <a:lnTo>
                        <a:pt x="69" y="164"/>
                      </a:lnTo>
                      <a:lnTo>
                        <a:pt x="61" y="140"/>
                      </a:lnTo>
                      <a:lnTo>
                        <a:pt x="53" y="117"/>
                      </a:lnTo>
                      <a:lnTo>
                        <a:pt x="45" y="94"/>
                      </a:lnTo>
                      <a:lnTo>
                        <a:pt x="37" y="70"/>
                      </a:lnTo>
                      <a:lnTo>
                        <a:pt x="31" y="47"/>
                      </a:lnTo>
                      <a:lnTo>
                        <a:pt x="23" y="24"/>
                      </a:lnTo>
                      <a:lnTo>
                        <a:pt x="17" y="0"/>
                      </a:lnTo>
                      <a:lnTo>
                        <a:pt x="13" y="16"/>
                      </a:lnTo>
                      <a:lnTo>
                        <a:pt x="10" y="33"/>
                      </a:lnTo>
                      <a:lnTo>
                        <a:pt x="6" y="49"/>
                      </a:lnTo>
                      <a:lnTo>
                        <a:pt x="4" y="66"/>
                      </a:lnTo>
                      <a:lnTo>
                        <a:pt x="1" y="100"/>
                      </a:lnTo>
                      <a:lnTo>
                        <a:pt x="0" y="136"/>
                      </a:lnTo>
                      <a:lnTo>
                        <a:pt x="1" y="173"/>
                      </a:lnTo>
                      <a:lnTo>
                        <a:pt x="4" y="211"/>
                      </a:lnTo>
                      <a:lnTo>
                        <a:pt x="8" y="250"/>
                      </a:lnTo>
                      <a:lnTo>
                        <a:pt x="14" y="288"/>
                      </a:lnTo>
                      <a:lnTo>
                        <a:pt x="22" y="329"/>
                      </a:lnTo>
                      <a:lnTo>
                        <a:pt x="31" y="369"/>
                      </a:lnTo>
                      <a:lnTo>
                        <a:pt x="41" y="409"/>
                      </a:lnTo>
                      <a:lnTo>
                        <a:pt x="52" y="450"/>
                      </a:lnTo>
                      <a:lnTo>
                        <a:pt x="64" y="491"/>
                      </a:lnTo>
                      <a:lnTo>
                        <a:pt x="77" y="531"/>
                      </a:lnTo>
                      <a:lnTo>
                        <a:pt x="91" y="572"/>
                      </a:lnTo>
                      <a:lnTo>
                        <a:pt x="105" y="612"/>
                      </a:lnTo>
                      <a:lnTo>
                        <a:pt x="119" y="646"/>
                      </a:lnTo>
                      <a:lnTo>
                        <a:pt x="132" y="678"/>
                      </a:lnTo>
                      <a:lnTo>
                        <a:pt x="146" y="710"/>
                      </a:lnTo>
                      <a:lnTo>
                        <a:pt x="162" y="742"/>
                      </a:lnTo>
                      <a:lnTo>
                        <a:pt x="179" y="775"/>
                      </a:lnTo>
                      <a:lnTo>
                        <a:pt x="195" y="806"/>
                      </a:lnTo>
                      <a:lnTo>
                        <a:pt x="214" y="837"/>
                      </a:lnTo>
                      <a:lnTo>
                        <a:pt x="233" y="867"/>
                      </a:lnTo>
                      <a:lnTo>
                        <a:pt x="252" y="897"/>
                      </a:lnTo>
                      <a:lnTo>
                        <a:pt x="272" y="927"/>
                      </a:lnTo>
                      <a:lnTo>
                        <a:pt x="293" y="956"/>
                      </a:lnTo>
                      <a:lnTo>
                        <a:pt x="316" y="985"/>
                      </a:lnTo>
                      <a:lnTo>
                        <a:pt x="338" y="1013"/>
                      </a:lnTo>
                      <a:lnTo>
                        <a:pt x="361" y="1041"/>
                      </a:lnTo>
                      <a:lnTo>
                        <a:pt x="385" y="1069"/>
                      </a:lnTo>
                      <a:lnTo>
                        <a:pt x="409" y="1095"/>
                      </a:lnTo>
                      <a:lnTo>
                        <a:pt x="435" y="1121"/>
                      </a:lnTo>
                      <a:lnTo>
                        <a:pt x="460" y="1146"/>
                      </a:lnTo>
                      <a:lnTo>
                        <a:pt x="486" y="1172"/>
                      </a:lnTo>
                      <a:lnTo>
                        <a:pt x="513" y="1197"/>
                      </a:lnTo>
                      <a:lnTo>
                        <a:pt x="539" y="1221"/>
                      </a:lnTo>
                      <a:lnTo>
                        <a:pt x="567" y="1244"/>
                      </a:lnTo>
                      <a:lnTo>
                        <a:pt x="595" y="1268"/>
                      </a:lnTo>
                      <a:lnTo>
                        <a:pt x="623" y="1290"/>
                      </a:lnTo>
                      <a:lnTo>
                        <a:pt x="652" y="1311"/>
                      </a:lnTo>
                      <a:lnTo>
                        <a:pt x="681" y="1332"/>
                      </a:lnTo>
                      <a:lnTo>
                        <a:pt x="711" y="1353"/>
                      </a:lnTo>
                      <a:lnTo>
                        <a:pt x="740" y="1373"/>
                      </a:lnTo>
                      <a:lnTo>
                        <a:pt x="770" y="1392"/>
                      </a:lnTo>
                      <a:lnTo>
                        <a:pt x="800" y="1411"/>
                      </a:lnTo>
                      <a:lnTo>
                        <a:pt x="831" y="1429"/>
                      </a:lnTo>
                      <a:lnTo>
                        <a:pt x="861" y="1446"/>
                      </a:lnTo>
                      <a:lnTo>
                        <a:pt x="916" y="1476"/>
                      </a:lnTo>
                      <a:lnTo>
                        <a:pt x="973" y="1505"/>
                      </a:lnTo>
                      <a:lnTo>
                        <a:pt x="1032" y="1535"/>
                      </a:lnTo>
                      <a:lnTo>
                        <a:pt x="1095" y="1563"/>
                      </a:lnTo>
                      <a:lnTo>
                        <a:pt x="1159" y="1592"/>
                      </a:lnTo>
                      <a:lnTo>
                        <a:pt x="1225" y="1619"/>
                      </a:lnTo>
                      <a:lnTo>
                        <a:pt x="1293" y="1646"/>
                      </a:lnTo>
                      <a:lnTo>
                        <a:pt x="1362" y="1673"/>
                      </a:lnTo>
                      <a:lnTo>
                        <a:pt x="1433" y="1698"/>
                      </a:lnTo>
                      <a:lnTo>
                        <a:pt x="1505" y="1723"/>
                      </a:lnTo>
                      <a:lnTo>
                        <a:pt x="1579" y="1745"/>
                      </a:lnTo>
                      <a:lnTo>
                        <a:pt x="1652" y="1767"/>
                      </a:lnTo>
                      <a:lnTo>
                        <a:pt x="1727" y="1787"/>
                      </a:lnTo>
                      <a:lnTo>
                        <a:pt x="1803" y="1806"/>
                      </a:lnTo>
                      <a:lnTo>
                        <a:pt x="1878" y="1823"/>
                      </a:lnTo>
                      <a:lnTo>
                        <a:pt x="1955" y="1839"/>
                      </a:lnTo>
                      <a:lnTo>
                        <a:pt x="2031" y="1852"/>
                      </a:lnTo>
                      <a:lnTo>
                        <a:pt x="2108" y="1863"/>
                      </a:lnTo>
                      <a:lnTo>
                        <a:pt x="2183" y="1872"/>
                      </a:lnTo>
                      <a:lnTo>
                        <a:pt x="2259" y="1879"/>
                      </a:lnTo>
                      <a:lnTo>
                        <a:pt x="2334" y="1883"/>
                      </a:lnTo>
                      <a:lnTo>
                        <a:pt x="2408" y="1884"/>
                      </a:lnTo>
                      <a:lnTo>
                        <a:pt x="2480" y="1883"/>
                      </a:lnTo>
                      <a:lnTo>
                        <a:pt x="2553" y="1879"/>
                      </a:lnTo>
                      <a:lnTo>
                        <a:pt x="2624" y="1872"/>
                      </a:lnTo>
                      <a:lnTo>
                        <a:pt x="2693" y="1862"/>
                      </a:lnTo>
                      <a:lnTo>
                        <a:pt x="2761" y="1849"/>
                      </a:lnTo>
                      <a:lnTo>
                        <a:pt x="2827" y="1832"/>
                      </a:lnTo>
                      <a:lnTo>
                        <a:pt x="2891" y="1812"/>
                      </a:lnTo>
                      <a:lnTo>
                        <a:pt x="2952" y="1789"/>
                      </a:lnTo>
                      <a:lnTo>
                        <a:pt x="3012" y="1761"/>
                      </a:lnTo>
                      <a:lnTo>
                        <a:pt x="3069" y="1730"/>
                      </a:lnTo>
                      <a:lnTo>
                        <a:pt x="3104" y="1708"/>
                      </a:lnTo>
                      <a:lnTo>
                        <a:pt x="3137" y="1687"/>
                      </a:lnTo>
                      <a:lnTo>
                        <a:pt x="3169" y="1665"/>
                      </a:lnTo>
                      <a:lnTo>
                        <a:pt x="3201" y="1642"/>
                      </a:lnTo>
                      <a:lnTo>
                        <a:pt x="3232" y="1618"/>
                      </a:lnTo>
                      <a:lnTo>
                        <a:pt x="3261" y="1594"/>
                      </a:lnTo>
                      <a:lnTo>
                        <a:pt x="3290" y="1568"/>
                      </a:lnTo>
                      <a:lnTo>
                        <a:pt x="3316" y="1543"/>
                      </a:lnTo>
                      <a:lnTo>
                        <a:pt x="3343" y="1516"/>
                      </a:lnTo>
                      <a:lnTo>
                        <a:pt x="3367" y="1489"/>
                      </a:lnTo>
                      <a:lnTo>
                        <a:pt x="3392" y="1461"/>
                      </a:lnTo>
                      <a:lnTo>
                        <a:pt x="3414" y="1432"/>
                      </a:lnTo>
                      <a:lnTo>
                        <a:pt x="3435" y="1404"/>
                      </a:lnTo>
                      <a:lnTo>
                        <a:pt x="3455" y="1373"/>
                      </a:lnTo>
                      <a:lnTo>
                        <a:pt x="3474" y="1343"/>
                      </a:lnTo>
                      <a:lnTo>
                        <a:pt x="3492" y="1312"/>
                      </a:lnTo>
                      <a:lnTo>
                        <a:pt x="3508" y="1280"/>
                      </a:lnTo>
                      <a:lnTo>
                        <a:pt x="3522" y="1248"/>
                      </a:lnTo>
                      <a:lnTo>
                        <a:pt x="3536" y="1215"/>
                      </a:lnTo>
                      <a:lnTo>
                        <a:pt x="3547" y="1181"/>
                      </a:lnTo>
                      <a:lnTo>
                        <a:pt x="3557" y="1148"/>
                      </a:lnTo>
                      <a:lnTo>
                        <a:pt x="3566" y="1112"/>
                      </a:lnTo>
                      <a:lnTo>
                        <a:pt x="3572" y="1076"/>
                      </a:lnTo>
                      <a:lnTo>
                        <a:pt x="3577" y="1041"/>
                      </a:lnTo>
                      <a:lnTo>
                        <a:pt x="3580" y="1003"/>
                      </a:lnTo>
                      <a:lnTo>
                        <a:pt x="3582" y="966"/>
                      </a:lnTo>
                      <a:lnTo>
                        <a:pt x="3581" y="928"/>
                      </a:lnTo>
                      <a:lnTo>
                        <a:pt x="3580" y="889"/>
                      </a:lnTo>
                      <a:lnTo>
                        <a:pt x="3576" y="849"/>
                      </a:lnTo>
                      <a:lnTo>
                        <a:pt x="3570" y="809"/>
                      </a:lnTo>
                      <a:lnTo>
                        <a:pt x="3562" y="769"/>
                      </a:lnTo>
                      <a:lnTo>
                        <a:pt x="3553" y="728"/>
                      </a:lnTo>
                      <a:close/>
                    </a:path>
                  </a:pathLst>
                </a:custGeom>
                <a:solidFill>
                  <a:srgbClr val="1B233E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261" name="Freeform 208"/>
                <p:cNvSpPr>
                  <a:spLocks/>
                </p:cNvSpPr>
                <p:nvPr/>
              </p:nvSpPr>
              <p:spPr bwMode="auto">
                <a:xfrm>
                  <a:off x="3634" y="2612"/>
                  <a:ext cx="508" cy="230"/>
                </a:xfrm>
                <a:custGeom>
                  <a:avLst/>
                  <a:gdLst>
                    <a:gd name="T0" fmla="*/ 0 w 3578"/>
                    <a:gd name="T1" fmla="*/ 0 h 1617"/>
                    <a:gd name="T2" fmla="*/ 0 w 3578"/>
                    <a:gd name="T3" fmla="*/ 0 h 1617"/>
                    <a:gd name="T4" fmla="*/ 0 w 3578"/>
                    <a:gd name="T5" fmla="*/ 0 h 1617"/>
                    <a:gd name="T6" fmla="*/ 0 w 3578"/>
                    <a:gd name="T7" fmla="*/ 0 h 1617"/>
                    <a:gd name="T8" fmla="*/ 0 w 3578"/>
                    <a:gd name="T9" fmla="*/ 0 h 1617"/>
                    <a:gd name="T10" fmla="*/ 0 w 3578"/>
                    <a:gd name="T11" fmla="*/ 0 h 1617"/>
                    <a:gd name="T12" fmla="*/ 0 w 3578"/>
                    <a:gd name="T13" fmla="*/ 0 h 1617"/>
                    <a:gd name="T14" fmla="*/ 0 w 3578"/>
                    <a:gd name="T15" fmla="*/ 0 h 1617"/>
                    <a:gd name="T16" fmla="*/ 0 w 3578"/>
                    <a:gd name="T17" fmla="*/ 0 h 1617"/>
                    <a:gd name="T18" fmla="*/ 0 w 3578"/>
                    <a:gd name="T19" fmla="*/ 0 h 1617"/>
                    <a:gd name="T20" fmla="*/ 0 w 3578"/>
                    <a:gd name="T21" fmla="*/ 0 h 1617"/>
                    <a:gd name="T22" fmla="*/ 0 w 3578"/>
                    <a:gd name="T23" fmla="*/ 0 h 1617"/>
                    <a:gd name="T24" fmla="*/ 0 w 3578"/>
                    <a:gd name="T25" fmla="*/ 0 h 1617"/>
                    <a:gd name="T26" fmla="*/ 0 w 3578"/>
                    <a:gd name="T27" fmla="*/ 0 h 1617"/>
                    <a:gd name="T28" fmla="*/ 0 w 3578"/>
                    <a:gd name="T29" fmla="*/ 0 h 1617"/>
                    <a:gd name="T30" fmla="*/ 0 w 3578"/>
                    <a:gd name="T31" fmla="*/ 0 h 1617"/>
                    <a:gd name="T32" fmla="*/ 0 w 3578"/>
                    <a:gd name="T33" fmla="*/ 0 h 1617"/>
                    <a:gd name="T34" fmla="*/ 0 w 3578"/>
                    <a:gd name="T35" fmla="*/ 0 h 1617"/>
                    <a:gd name="T36" fmla="*/ 0 w 3578"/>
                    <a:gd name="T37" fmla="*/ 0 h 1617"/>
                    <a:gd name="T38" fmla="*/ 0 w 3578"/>
                    <a:gd name="T39" fmla="*/ 0 h 1617"/>
                    <a:gd name="T40" fmla="*/ 0 w 3578"/>
                    <a:gd name="T41" fmla="*/ 0 h 1617"/>
                    <a:gd name="T42" fmla="*/ 0 w 3578"/>
                    <a:gd name="T43" fmla="*/ 0 h 1617"/>
                    <a:gd name="T44" fmla="*/ 0 w 3578"/>
                    <a:gd name="T45" fmla="*/ 0 h 1617"/>
                    <a:gd name="T46" fmla="*/ 0 w 3578"/>
                    <a:gd name="T47" fmla="*/ 0 h 1617"/>
                    <a:gd name="T48" fmla="*/ 0 w 3578"/>
                    <a:gd name="T49" fmla="*/ 0 h 1617"/>
                    <a:gd name="T50" fmla="*/ 0 w 3578"/>
                    <a:gd name="T51" fmla="*/ 0 h 1617"/>
                    <a:gd name="T52" fmla="*/ 0 w 3578"/>
                    <a:gd name="T53" fmla="*/ 0 h 1617"/>
                    <a:gd name="T54" fmla="*/ 0 w 3578"/>
                    <a:gd name="T55" fmla="*/ 0 h 1617"/>
                    <a:gd name="T56" fmla="*/ 0 w 3578"/>
                    <a:gd name="T57" fmla="*/ 0 h 1617"/>
                    <a:gd name="T58" fmla="*/ 0 w 3578"/>
                    <a:gd name="T59" fmla="*/ 0 h 1617"/>
                    <a:gd name="T60" fmla="*/ 0 w 3578"/>
                    <a:gd name="T61" fmla="*/ 0 h 1617"/>
                    <a:gd name="T62" fmla="*/ 0 w 3578"/>
                    <a:gd name="T63" fmla="*/ 0 h 1617"/>
                    <a:gd name="T64" fmla="*/ 0 w 3578"/>
                    <a:gd name="T65" fmla="*/ 0 h 1617"/>
                    <a:gd name="T66" fmla="*/ 0 w 3578"/>
                    <a:gd name="T67" fmla="*/ 0 h 1617"/>
                    <a:gd name="T68" fmla="*/ 0 w 3578"/>
                    <a:gd name="T69" fmla="*/ 0 h 1617"/>
                    <a:gd name="T70" fmla="*/ 0 w 3578"/>
                    <a:gd name="T71" fmla="*/ 0 h 1617"/>
                    <a:gd name="T72" fmla="*/ 0 w 3578"/>
                    <a:gd name="T73" fmla="*/ 0 h 1617"/>
                    <a:gd name="T74" fmla="*/ 0 w 3578"/>
                    <a:gd name="T75" fmla="*/ 0 h 1617"/>
                    <a:gd name="T76" fmla="*/ 0 w 3578"/>
                    <a:gd name="T77" fmla="*/ 0 h 1617"/>
                    <a:gd name="T78" fmla="*/ 0 w 3578"/>
                    <a:gd name="T79" fmla="*/ 0 h 1617"/>
                    <a:gd name="T80" fmla="*/ 0 w 3578"/>
                    <a:gd name="T81" fmla="*/ 0 h 1617"/>
                    <a:gd name="T82" fmla="*/ 0 w 3578"/>
                    <a:gd name="T83" fmla="*/ 0 h 1617"/>
                    <a:gd name="T84" fmla="*/ 0 w 3578"/>
                    <a:gd name="T85" fmla="*/ 0 h 1617"/>
                    <a:gd name="T86" fmla="*/ 0 w 3578"/>
                    <a:gd name="T87" fmla="*/ 0 h 1617"/>
                    <a:gd name="T88" fmla="*/ 0 w 3578"/>
                    <a:gd name="T89" fmla="*/ 0 h 1617"/>
                    <a:gd name="T90" fmla="*/ 0 w 3578"/>
                    <a:gd name="T91" fmla="*/ 0 h 1617"/>
                    <a:gd name="T92" fmla="*/ 0 w 3578"/>
                    <a:gd name="T93" fmla="*/ 0 h 1617"/>
                    <a:gd name="T94" fmla="*/ 0 w 3578"/>
                    <a:gd name="T95" fmla="*/ 0 h 1617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3578"/>
                    <a:gd name="T145" fmla="*/ 0 h 1617"/>
                    <a:gd name="T146" fmla="*/ 3578 w 3578"/>
                    <a:gd name="T147" fmla="*/ 1617 h 1617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3578" h="1617">
                      <a:moveTo>
                        <a:pt x="184" y="291"/>
                      </a:moveTo>
                      <a:lnTo>
                        <a:pt x="218" y="282"/>
                      </a:lnTo>
                      <a:lnTo>
                        <a:pt x="257" y="273"/>
                      </a:lnTo>
                      <a:lnTo>
                        <a:pt x="302" y="263"/>
                      </a:lnTo>
                      <a:lnTo>
                        <a:pt x="351" y="255"/>
                      </a:lnTo>
                      <a:lnTo>
                        <a:pt x="403" y="246"/>
                      </a:lnTo>
                      <a:lnTo>
                        <a:pt x="461" y="237"/>
                      </a:lnTo>
                      <a:lnTo>
                        <a:pt x="522" y="229"/>
                      </a:lnTo>
                      <a:lnTo>
                        <a:pt x="588" y="222"/>
                      </a:lnTo>
                      <a:lnTo>
                        <a:pt x="656" y="214"/>
                      </a:lnTo>
                      <a:lnTo>
                        <a:pt x="728" y="206"/>
                      </a:lnTo>
                      <a:lnTo>
                        <a:pt x="803" y="201"/>
                      </a:lnTo>
                      <a:lnTo>
                        <a:pt x="880" y="194"/>
                      </a:lnTo>
                      <a:lnTo>
                        <a:pt x="961" y="188"/>
                      </a:lnTo>
                      <a:lnTo>
                        <a:pt x="1043" y="184"/>
                      </a:lnTo>
                      <a:lnTo>
                        <a:pt x="1126" y="179"/>
                      </a:lnTo>
                      <a:lnTo>
                        <a:pt x="1213" y="176"/>
                      </a:lnTo>
                      <a:lnTo>
                        <a:pt x="1300" y="173"/>
                      </a:lnTo>
                      <a:lnTo>
                        <a:pt x="1389" y="172"/>
                      </a:lnTo>
                      <a:lnTo>
                        <a:pt x="1479" y="170"/>
                      </a:lnTo>
                      <a:lnTo>
                        <a:pt x="1571" y="170"/>
                      </a:lnTo>
                      <a:lnTo>
                        <a:pt x="1662" y="172"/>
                      </a:lnTo>
                      <a:lnTo>
                        <a:pt x="1753" y="174"/>
                      </a:lnTo>
                      <a:lnTo>
                        <a:pt x="1845" y="177"/>
                      </a:lnTo>
                      <a:lnTo>
                        <a:pt x="1937" y="182"/>
                      </a:lnTo>
                      <a:lnTo>
                        <a:pt x="2028" y="187"/>
                      </a:lnTo>
                      <a:lnTo>
                        <a:pt x="2118" y="194"/>
                      </a:lnTo>
                      <a:lnTo>
                        <a:pt x="2208" y="203"/>
                      </a:lnTo>
                      <a:lnTo>
                        <a:pt x="2297" y="212"/>
                      </a:lnTo>
                      <a:lnTo>
                        <a:pt x="2384" y="223"/>
                      </a:lnTo>
                      <a:lnTo>
                        <a:pt x="2470" y="235"/>
                      </a:lnTo>
                      <a:lnTo>
                        <a:pt x="2554" y="250"/>
                      </a:lnTo>
                      <a:lnTo>
                        <a:pt x="2636" y="265"/>
                      </a:lnTo>
                      <a:lnTo>
                        <a:pt x="2672" y="274"/>
                      </a:lnTo>
                      <a:lnTo>
                        <a:pt x="2708" y="285"/>
                      </a:lnTo>
                      <a:lnTo>
                        <a:pt x="2744" y="298"/>
                      </a:lnTo>
                      <a:lnTo>
                        <a:pt x="2780" y="314"/>
                      </a:lnTo>
                      <a:lnTo>
                        <a:pt x="2815" y="333"/>
                      </a:lnTo>
                      <a:lnTo>
                        <a:pt x="2850" y="353"/>
                      </a:lnTo>
                      <a:lnTo>
                        <a:pt x="2885" y="374"/>
                      </a:lnTo>
                      <a:lnTo>
                        <a:pt x="2919" y="399"/>
                      </a:lnTo>
                      <a:lnTo>
                        <a:pt x="2954" y="424"/>
                      </a:lnTo>
                      <a:lnTo>
                        <a:pt x="2987" y="451"/>
                      </a:lnTo>
                      <a:lnTo>
                        <a:pt x="3020" y="480"/>
                      </a:lnTo>
                      <a:lnTo>
                        <a:pt x="3052" y="510"/>
                      </a:lnTo>
                      <a:lnTo>
                        <a:pt x="3084" y="542"/>
                      </a:lnTo>
                      <a:lnTo>
                        <a:pt x="3114" y="574"/>
                      </a:lnTo>
                      <a:lnTo>
                        <a:pt x="3145" y="608"/>
                      </a:lnTo>
                      <a:lnTo>
                        <a:pt x="3174" y="642"/>
                      </a:lnTo>
                      <a:lnTo>
                        <a:pt x="3202" y="678"/>
                      </a:lnTo>
                      <a:lnTo>
                        <a:pt x="3230" y="715"/>
                      </a:lnTo>
                      <a:lnTo>
                        <a:pt x="3257" y="751"/>
                      </a:lnTo>
                      <a:lnTo>
                        <a:pt x="3282" y="789"/>
                      </a:lnTo>
                      <a:lnTo>
                        <a:pt x="3307" y="827"/>
                      </a:lnTo>
                      <a:lnTo>
                        <a:pt x="3330" y="865"/>
                      </a:lnTo>
                      <a:lnTo>
                        <a:pt x="3352" y="904"/>
                      </a:lnTo>
                      <a:lnTo>
                        <a:pt x="3374" y="942"/>
                      </a:lnTo>
                      <a:lnTo>
                        <a:pt x="3394" y="981"/>
                      </a:lnTo>
                      <a:lnTo>
                        <a:pt x="3413" y="1018"/>
                      </a:lnTo>
                      <a:lnTo>
                        <a:pt x="3429" y="1057"/>
                      </a:lnTo>
                      <a:lnTo>
                        <a:pt x="3445" y="1095"/>
                      </a:lnTo>
                      <a:lnTo>
                        <a:pt x="3459" y="1132"/>
                      </a:lnTo>
                      <a:lnTo>
                        <a:pt x="3473" y="1169"/>
                      </a:lnTo>
                      <a:lnTo>
                        <a:pt x="3484" y="1205"/>
                      </a:lnTo>
                      <a:lnTo>
                        <a:pt x="3494" y="1240"/>
                      </a:lnTo>
                      <a:lnTo>
                        <a:pt x="3499" y="1266"/>
                      </a:lnTo>
                      <a:lnTo>
                        <a:pt x="3505" y="1291"/>
                      </a:lnTo>
                      <a:lnTo>
                        <a:pt x="3509" y="1316"/>
                      </a:lnTo>
                      <a:lnTo>
                        <a:pt x="3513" y="1340"/>
                      </a:lnTo>
                      <a:lnTo>
                        <a:pt x="3516" y="1365"/>
                      </a:lnTo>
                      <a:lnTo>
                        <a:pt x="3518" y="1389"/>
                      </a:lnTo>
                      <a:lnTo>
                        <a:pt x="3520" y="1412"/>
                      </a:lnTo>
                      <a:lnTo>
                        <a:pt x="3522" y="1437"/>
                      </a:lnTo>
                      <a:lnTo>
                        <a:pt x="3522" y="1460"/>
                      </a:lnTo>
                      <a:lnTo>
                        <a:pt x="3522" y="1484"/>
                      </a:lnTo>
                      <a:lnTo>
                        <a:pt x="3520" y="1506"/>
                      </a:lnTo>
                      <a:lnTo>
                        <a:pt x="3519" y="1529"/>
                      </a:lnTo>
                      <a:lnTo>
                        <a:pt x="3517" y="1552"/>
                      </a:lnTo>
                      <a:lnTo>
                        <a:pt x="3514" y="1574"/>
                      </a:lnTo>
                      <a:lnTo>
                        <a:pt x="3510" y="1596"/>
                      </a:lnTo>
                      <a:lnTo>
                        <a:pt x="3506" y="1617"/>
                      </a:lnTo>
                      <a:lnTo>
                        <a:pt x="3519" y="1587"/>
                      </a:lnTo>
                      <a:lnTo>
                        <a:pt x="3532" y="1557"/>
                      </a:lnTo>
                      <a:lnTo>
                        <a:pt x="3542" y="1526"/>
                      </a:lnTo>
                      <a:lnTo>
                        <a:pt x="3552" y="1494"/>
                      </a:lnTo>
                      <a:lnTo>
                        <a:pt x="3559" y="1461"/>
                      </a:lnTo>
                      <a:lnTo>
                        <a:pt x="3566" y="1429"/>
                      </a:lnTo>
                      <a:lnTo>
                        <a:pt x="3572" y="1396"/>
                      </a:lnTo>
                      <a:lnTo>
                        <a:pt x="3575" y="1361"/>
                      </a:lnTo>
                      <a:lnTo>
                        <a:pt x="3577" y="1327"/>
                      </a:lnTo>
                      <a:lnTo>
                        <a:pt x="3578" y="1292"/>
                      </a:lnTo>
                      <a:lnTo>
                        <a:pt x="3577" y="1257"/>
                      </a:lnTo>
                      <a:lnTo>
                        <a:pt x="3575" y="1220"/>
                      </a:lnTo>
                      <a:lnTo>
                        <a:pt x="3572" y="1183"/>
                      </a:lnTo>
                      <a:lnTo>
                        <a:pt x="3566" y="1146"/>
                      </a:lnTo>
                      <a:lnTo>
                        <a:pt x="3558" y="1109"/>
                      </a:lnTo>
                      <a:lnTo>
                        <a:pt x="3549" y="1071"/>
                      </a:lnTo>
                      <a:lnTo>
                        <a:pt x="3541" y="1035"/>
                      </a:lnTo>
                      <a:lnTo>
                        <a:pt x="3529" y="1000"/>
                      </a:lnTo>
                      <a:lnTo>
                        <a:pt x="3516" y="963"/>
                      </a:lnTo>
                      <a:lnTo>
                        <a:pt x="3502" y="925"/>
                      </a:lnTo>
                      <a:lnTo>
                        <a:pt x="3486" y="887"/>
                      </a:lnTo>
                      <a:lnTo>
                        <a:pt x="3469" y="849"/>
                      </a:lnTo>
                      <a:lnTo>
                        <a:pt x="3450" y="810"/>
                      </a:lnTo>
                      <a:lnTo>
                        <a:pt x="3430" y="773"/>
                      </a:lnTo>
                      <a:lnTo>
                        <a:pt x="3409" y="734"/>
                      </a:lnTo>
                      <a:lnTo>
                        <a:pt x="3387" y="695"/>
                      </a:lnTo>
                      <a:lnTo>
                        <a:pt x="3364" y="657"/>
                      </a:lnTo>
                      <a:lnTo>
                        <a:pt x="3339" y="619"/>
                      </a:lnTo>
                      <a:lnTo>
                        <a:pt x="3313" y="581"/>
                      </a:lnTo>
                      <a:lnTo>
                        <a:pt x="3287" y="544"/>
                      </a:lnTo>
                      <a:lnTo>
                        <a:pt x="3259" y="509"/>
                      </a:lnTo>
                      <a:lnTo>
                        <a:pt x="3231" y="473"/>
                      </a:lnTo>
                      <a:lnTo>
                        <a:pt x="3201" y="438"/>
                      </a:lnTo>
                      <a:lnTo>
                        <a:pt x="3171" y="404"/>
                      </a:lnTo>
                      <a:lnTo>
                        <a:pt x="3141" y="372"/>
                      </a:lnTo>
                      <a:lnTo>
                        <a:pt x="3109" y="341"/>
                      </a:lnTo>
                      <a:lnTo>
                        <a:pt x="3076" y="311"/>
                      </a:lnTo>
                      <a:lnTo>
                        <a:pt x="3044" y="282"/>
                      </a:lnTo>
                      <a:lnTo>
                        <a:pt x="3011" y="254"/>
                      </a:lnTo>
                      <a:lnTo>
                        <a:pt x="2976" y="228"/>
                      </a:lnTo>
                      <a:lnTo>
                        <a:pt x="2942" y="205"/>
                      </a:lnTo>
                      <a:lnTo>
                        <a:pt x="2907" y="183"/>
                      </a:lnTo>
                      <a:lnTo>
                        <a:pt x="2872" y="163"/>
                      </a:lnTo>
                      <a:lnTo>
                        <a:pt x="2837" y="145"/>
                      </a:lnTo>
                      <a:lnTo>
                        <a:pt x="2800" y="128"/>
                      </a:lnTo>
                      <a:lnTo>
                        <a:pt x="2765" y="115"/>
                      </a:lnTo>
                      <a:lnTo>
                        <a:pt x="2729" y="104"/>
                      </a:lnTo>
                      <a:lnTo>
                        <a:pt x="2692" y="95"/>
                      </a:lnTo>
                      <a:lnTo>
                        <a:pt x="2611" y="79"/>
                      </a:lnTo>
                      <a:lnTo>
                        <a:pt x="2527" y="66"/>
                      </a:lnTo>
                      <a:lnTo>
                        <a:pt x="2441" y="53"/>
                      </a:lnTo>
                      <a:lnTo>
                        <a:pt x="2354" y="41"/>
                      </a:lnTo>
                      <a:lnTo>
                        <a:pt x="2265" y="33"/>
                      </a:lnTo>
                      <a:lnTo>
                        <a:pt x="2175" y="24"/>
                      </a:lnTo>
                      <a:lnTo>
                        <a:pt x="2085" y="17"/>
                      </a:lnTo>
                      <a:lnTo>
                        <a:pt x="1993" y="11"/>
                      </a:lnTo>
                      <a:lnTo>
                        <a:pt x="1902" y="7"/>
                      </a:lnTo>
                      <a:lnTo>
                        <a:pt x="1810" y="4"/>
                      </a:lnTo>
                      <a:lnTo>
                        <a:pt x="1719" y="1"/>
                      </a:lnTo>
                      <a:lnTo>
                        <a:pt x="1627" y="0"/>
                      </a:lnTo>
                      <a:lnTo>
                        <a:pt x="1536" y="0"/>
                      </a:lnTo>
                      <a:lnTo>
                        <a:pt x="1446" y="1"/>
                      </a:lnTo>
                      <a:lnTo>
                        <a:pt x="1357" y="4"/>
                      </a:lnTo>
                      <a:lnTo>
                        <a:pt x="1270" y="6"/>
                      </a:lnTo>
                      <a:lnTo>
                        <a:pt x="1183" y="9"/>
                      </a:lnTo>
                      <a:lnTo>
                        <a:pt x="1099" y="14"/>
                      </a:lnTo>
                      <a:lnTo>
                        <a:pt x="1017" y="18"/>
                      </a:lnTo>
                      <a:lnTo>
                        <a:pt x="937" y="24"/>
                      </a:lnTo>
                      <a:lnTo>
                        <a:pt x="859" y="30"/>
                      </a:lnTo>
                      <a:lnTo>
                        <a:pt x="785" y="37"/>
                      </a:lnTo>
                      <a:lnTo>
                        <a:pt x="712" y="44"/>
                      </a:lnTo>
                      <a:lnTo>
                        <a:pt x="644" y="51"/>
                      </a:lnTo>
                      <a:lnTo>
                        <a:pt x="579" y="59"/>
                      </a:lnTo>
                      <a:lnTo>
                        <a:pt x="518" y="67"/>
                      </a:lnTo>
                      <a:lnTo>
                        <a:pt x="460" y="76"/>
                      </a:lnTo>
                      <a:lnTo>
                        <a:pt x="406" y="85"/>
                      </a:lnTo>
                      <a:lnTo>
                        <a:pt x="358" y="94"/>
                      </a:lnTo>
                      <a:lnTo>
                        <a:pt x="314" y="103"/>
                      </a:lnTo>
                      <a:lnTo>
                        <a:pt x="274" y="112"/>
                      </a:lnTo>
                      <a:lnTo>
                        <a:pt x="240" y="120"/>
                      </a:lnTo>
                      <a:lnTo>
                        <a:pt x="212" y="129"/>
                      </a:lnTo>
                      <a:lnTo>
                        <a:pt x="185" y="140"/>
                      </a:lnTo>
                      <a:lnTo>
                        <a:pt x="160" y="153"/>
                      </a:lnTo>
                      <a:lnTo>
                        <a:pt x="138" y="166"/>
                      </a:lnTo>
                      <a:lnTo>
                        <a:pt x="118" y="181"/>
                      </a:lnTo>
                      <a:lnTo>
                        <a:pt x="99" y="197"/>
                      </a:lnTo>
                      <a:lnTo>
                        <a:pt x="81" y="214"/>
                      </a:lnTo>
                      <a:lnTo>
                        <a:pt x="67" y="233"/>
                      </a:lnTo>
                      <a:lnTo>
                        <a:pt x="52" y="252"/>
                      </a:lnTo>
                      <a:lnTo>
                        <a:pt x="41" y="273"/>
                      </a:lnTo>
                      <a:lnTo>
                        <a:pt x="30" y="294"/>
                      </a:lnTo>
                      <a:lnTo>
                        <a:pt x="21" y="317"/>
                      </a:lnTo>
                      <a:lnTo>
                        <a:pt x="15" y="341"/>
                      </a:lnTo>
                      <a:lnTo>
                        <a:pt x="8" y="365"/>
                      </a:lnTo>
                      <a:lnTo>
                        <a:pt x="3" y="390"/>
                      </a:lnTo>
                      <a:lnTo>
                        <a:pt x="0" y="416"/>
                      </a:lnTo>
                      <a:lnTo>
                        <a:pt x="8" y="405"/>
                      </a:lnTo>
                      <a:lnTo>
                        <a:pt x="16" y="395"/>
                      </a:lnTo>
                      <a:lnTo>
                        <a:pt x="25" y="385"/>
                      </a:lnTo>
                      <a:lnTo>
                        <a:pt x="33" y="375"/>
                      </a:lnTo>
                      <a:lnTo>
                        <a:pt x="42" y="366"/>
                      </a:lnTo>
                      <a:lnTo>
                        <a:pt x="52" y="357"/>
                      </a:lnTo>
                      <a:lnTo>
                        <a:pt x="64" y="349"/>
                      </a:lnTo>
                      <a:lnTo>
                        <a:pt x="75" y="341"/>
                      </a:lnTo>
                      <a:lnTo>
                        <a:pt x="86" y="333"/>
                      </a:lnTo>
                      <a:lnTo>
                        <a:pt x="98" y="326"/>
                      </a:lnTo>
                      <a:lnTo>
                        <a:pt x="111" y="319"/>
                      </a:lnTo>
                      <a:lnTo>
                        <a:pt x="125" y="312"/>
                      </a:lnTo>
                      <a:lnTo>
                        <a:pt x="138" y="306"/>
                      </a:lnTo>
                      <a:lnTo>
                        <a:pt x="153" y="301"/>
                      </a:lnTo>
                      <a:lnTo>
                        <a:pt x="168" y="295"/>
                      </a:lnTo>
                      <a:lnTo>
                        <a:pt x="184" y="291"/>
                      </a:lnTo>
                      <a:close/>
                    </a:path>
                  </a:pathLst>
                </a:custGeom>
                <a:solidFill>
                  <a:srgbClr val="1B457C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262" name="Freeform 209"/>
                <p:cNvSpPr>
                  <a:spLocks/>
                </p:cNvSpPr>
                <p:nvPr/>
              </p:nvSpPr>
              <p:spPr bwMode="auto">
                <a:xfrm>
                  <a:off x="3132" y="2304"/>
                  <a:ext cx="652" cy="558"/>
                </a:xfrm>
                <a:custGeom>
                  <a:avLst/>
                  <a:gdLst>
                    <a:gd name="T0" fmla="*/ 0 w 4574"/>
                    <a:gd name="T1" fmla="*/ 0 h 3909"/>
                    <a:gd name="T2" fmla="*/ 0 w 4574"/>
                    <a:gd name="T3" fmla="*/ 0 h 3909"/>
                    <a:gd name="T4" fmla="*/ 0 w 4574"/>
                    <a:gd name="T5" fmla="*/ 0 h 3909"/>
                    <a:gd name="T6" fmla="*/ 0 w 4574"/>
                    <a:gd name="T7" fmla="*/ 0 h 3909"/>
                    <a:gd name="T8" fmla="*/ 0 w 4574"/>
                    <a:gd name="T9" fmla="*/ 0 h 3909"/>
                    <a:gd name="T10" fmla="*/ 0 w 4574"/>
                    <a:gd name="T11" fmla="*/ 0 h 3909"/>
                    <a:gd name="T12" fmla="*/ 0 w 4574"/>
                    <a:gd name="T13" fmla="*/ 0 h 3909"/>
                    <a:gd name="T14" fmla="*/ 0 w 4574"/>
                    <a:gd name="T15" fmla="*/ 0 h 3909"/>
                    <a:gd name="T16" fmla="*/ 0 w 4574"/>
                    <a:gd name="T17" fmla="*/ 0 h 3909"/>
                    <a:gd name="T18" fmla="*/ 0 w 4574"/>
                    <a:gd name="T19" fmla="*/ 0 h 3909"/>
                    <a:gd name="T20" fmla="*/ 0 w 4574"/>
                    <a:gd name="T21" fmla="*/ 0 h 3909"/>
                    <a:gd name="T22" fmla="*/ 0 w 4574"/>
                    <a:gd name="T23" fmla="*/ 0 h 3909"/>
                    <a:gd name="T24" fmla="*/ 0 w 4574"/>
                    <a:gd name="T25" fmla="*/ 0 h 3909"/>
                    <a:gd name="T26" fmla="*/ 0 w 4574"/>
                    <a:gd name="T27" fmla="*/ 0 h 3909"/>
                    <a:gd name="T28" fmla="*/ 0 w 4574"/>
                    <a:gd name="T29" fmla="*/ 0 h 3909"/>
                    <a:gd name="T30" fmla="*/ 0 w 4574"/>
                    <a:gd name="T31" fmla="*/ 0 h 3909"/>
                    <a:gd name="T32" fmla="*/ 0 w 4574"/>
                    <a:gd name="T33" fmla="*/ 0 h 3909"/>
                    <a:gd name="T34" fmla="*/ 0 w 4574"/>
                    <a:gd name="T35" fmla="*/ 0 h 3909"/>
                    <a:gd name="T36" fmla="*/ 0 w 4574"/>
                    <a:gd name="T37" fmla="*/ 0 h 3909"/>
                    <a:gd name="T38" fmla="*/ 0 w 4574"/>
                    <a:gd name="T39" fmla="*/ 0 h 3909"/>
                    <a:gd name="T40" fmla="*/ 0 w 4574"/>
                    <a:gd name="T41" fmla="*/ 0 h 3909"/>
                    <a:gd name="T42" fmla="*/ 0 w 4574"/>
                    <a:gd name="T43" fmla="*/ 0 h 3909"/>
                    <a:gd name="T44" fmla="*/ 0 w 4574"/>
                    <a:gd name="T45" fmla="*/ 0 h 3909"/>
                    <a:gd name="T46" fmla="*/ 0 w 4574"/>
                    <a:gd name="T47" fmla="*/ 0 h 3909"/>
                    <a:gd name="T48" fmla="*/ 0 w 4574"/>
                    <a:gd name="T49" fmla="*/ 0 h 3909"/>
                    <a:gd name="T50" fmla="*/ 0 w 4574"/>
                    <a:gd name="T51" fmla="*/ 0 h 3909"/>
                    <a:gd name="T52" fmla="*/ 0 w 4574"/>
                    <a:gd name="T53" fmla="*/ 0 h 3909"/>
                    <a:gd name="T54" fmla="*/ 0 w 4574"/>
                    <a:gd name="T55" fmla="*/ 0 h 3909"/>
                    <a:gd name="T56" fmla="*/ 0 w 4574"/>
                    <a:gd name="T57" fmla="*/ 0 h 3909"/>
                    <a:gd name="T58" fmla="*/ 0 w 4574"/>
                    <a:gd name="T59" fmla="*/ 0 h 3909"/>
                    <a:gd name="T60" fmla="*/ 0 w 4574"/>
                    <a:gd name="T61" fmla="*/ 0 h 3909"/>
                    <a:gd name="T62" fmla="*/ 0 w 4574"/>
                    <a:gd name="T63" fmla="*/ 0 h 3909"/>
                    <a:gd name="T64" fmla="*/ 0 w 4574"/>
                    <a:gd name="T65" fmla="*/ 0 h 3909"/>
                    <a:gd name="T66" fmla="*/ 0 w 4574"/>
                    <a:gd name="T67" fmla="*/ 0 h 3909"/>
                    <a:gd name="T68" fmla="*/ 0 w 4574"/>
                    <a:gd name="T69" fmla="*/ 0 h 3909"/>
                    <a:gd name="T70" fmla="*/ 0 w 4574"/>
                    <a:gd name="T71" fmla="*/ 0 h 3909"/>
                    <a:gd name="T72" fmla="*/ 0 w 4574"/>
                    <a:gd name="T73" fmla="*/ 0 h 3909"/>
                    <a:gd name="T74" fmla="*/ 0 w 4574"/>
                    <a:gd name="T75" fmla="*/ 0 h 3909"/>
                    <a:gd name="T76" fmla="*/ 0 w 4574"/>
                    <a:gd name="T77" fmla="*/ 0 h 3909"/>
                    <a:gd name="T78" fmla="*/ 0 w 4574"/>
                    <a:gd name="T79" fmla="*/ 0 h 3909"/>
                    <a:gd name="T80" fmla="*/ 0 w 4574"/>
                    <a:gd name="T81" fmla="*/ 0 h 3909"/>
                    <a:gd name="T82" fmla="*/ 0 w 4574"/>
                    <a:gd name="T83" fmla="*/ 0 h 3909"/>
                    <a:gd name="T84" fmla="*/ 0 w 4574"/>
                    <a:gd name="T85" fmla="*/ 0 h 3909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4574"/>
                    <a:gd name="T130" fmla="*/ 0 h 3909"/>
                    <a:gd name="T131" fmla="*/ 4574 w 4574"/>
                    <a:gd name="T132" fmla="*/ 3909 h 3909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4574" h="3909">
                      <a:moveTo>
                        <a:pt x="4538" y="1754"/>
                      </a:moveTo>
                      <a:lnTo>
                        <a:pt x="4558" y="1950"/>
                      </a:lnTo>
                      <a:lnTo>
                        <a:pt x="4570" y="2133"/>
                      </a:lnTo>
                      <a:lnTo>
                        <a:pt x="4574" y="2305"/>
                      </a:lnTo>
                      <a:lnTo>
                        <a:pt x="4571" y="2465"/>
                      </a:lnTo>
                      <a:lnTo>
                        <a:pt x="4561" y="2614"/>
                      </a:lnTo>
                      <a:lnTo>
                        <a:pt x="4544" y="2753"/>
                      </a:lnTo>
                      <a:lnTo>
                        <a:pt x="4520" y="2881"/>
                      </a:lnTo>
                      <a:lnTo>
                        <a:pt x="4490" y="3000"/>
                      </a:lnTo>
                      <a:lnTo>
                        <a:pt x="4452" y="3109"/>
                      </a:lnTo>
                      <a:lnTo>
                        <a:pt x="4409" y="3209"/>
                      </a:lnTo>
                      <a:lnTo>
                        <a:pt x="4360" y="3301"/>
                      </a:lnTo>
                      <a:lnTo>
                        <a:pt x="4304" y="3383"/>
                      </a:lnTo>
                      <a:lnTo>
                        <a:pt x="4243" y="3459"/>
                      </a:lnTo>
                      <a:lnTo>
                        <a:pt x="4177" y="3525"/>
                      </a:lnTo>
                      <a:lnTo>
                        <a:pt x="4105" y="3587"/>
                      </a:lnTo>
                      <a:lnTo>
                        <a:pt x="4028" y="3640"/>
                      </a:lnTo>
                      <a:lnTo>
                        <a:pt x="3947" y="3687"/>
                      </a:lnTo>
                      <a:lnTo>
                        <a:pt x="3861" y="3729"/>
                      </a:lnTo>
                      <a:lnTo>
                        <a:pt x="3771" y="3765"/>
                      </a:lnTo>
                      <a:lnTo>
                        <a:pt x="3676" y="3796"/>
                      </a:lnTo>
                      <a:lnTo>
                        <a:pt x="3577" y="3821"/>
                      </a:lnTo>
                      <a:lnTo>
                        <a:pt x="3475" y="3844"/>
                      </a:lnTo>
                      <a:lnTo>
                        <a:pt x="3369" y="3862"/>
                      </a:lnTo>
                      <a:lnTo>
                        <a:pt x="3260" y="3876"/>
                      </a:lnTo>
                      <a:lnTo>
                        <a:pt x="3148" y="3887"/>
                      </a:lnTo>
                      <a:lnTo>
                        <a:pt x="3032" y="3895"/>
                      </a:lnTo>
                      <a:lnTo>
                        <a:pt x="2913" y="3902"/>
                      </a:lnTo>
                      <a:lnTo>
                        <a:pt x="2793" y="3905"/>
                      </a:lnTo>
                      <a:lnTo>
                        <a:pt x="2669" y="3907"/>
                      </a:lnTo>
                      <a:lnTo>
                        <a:pt x="2544" y="3908"/>
                      </a:lnTo>
                      <a:lnTo>
                        <a:pt x="2416" y="3909"/>
                      </a:lnTo>
                      <a:lnTo>
                        <a:pt x="2287" y="3909"/>
                      </a:lnTo>
                      <a:lnTo>
                        <a:pt x="2158" y="3909"/>
                      </a:lnTo>
                      <a:lnTo>
                        <a:pt x="2031" y="3909"/>
                      </a:lnTo>
                      <a:lnTo>
                        <a:pt x="1905" y="3908"/>
                      </a:lnTo>
                      <a:lnTo>
                        <a:pt x="1783" y="3906"/>
                      </a:lnTo>
                      <a:lnTo>
                        <a:pt x="1662" y="3903"/>
                      </a:lnTo>
                      <a:lnTo>
                        <a:pt x="1544" y="3897"/>
                      </a:lnTo>
                      <a:lnTo>
                        <a:pt x="1428" y="3889"/>
                      </a:lnTo>
                      <a:lnTo>
                        <a:pt x="1316" y="3879"/>
                      </a:lnTo>
                      <a:lnTo>
                        <a:pt x="1205" y="3866"/>
                      </a:lnTo>
                      <a:lnTo>
                        <a:pt x="1100" y="3849"/>
                      </a:lnTo>
                      <a:lnTo>
                        <a:pt x="997" y="3828"/>
                      </a:lnTo>
                      <a:lnTo>
                        <a:pt x="898" y="3803"/>
                      </a:lnTo>
                      <a:lnTo>
                        <a:pt x="804" y="3773"/>
                      </a:lnTo>
                      <a:lnTo>
                        <a:pt x="713" y="3737"/>
                      </a:lnTo>
                      <a:lnTo>
                        <a:pt x="627" y="3697"/>
                      </a:lnTo>
                      <a:lnTo>
                        <a:pt x="545" y="3650"/>
                      </a:lnTo>
                      <a:lnTo>
                        <a:pt x="469" y="3597"/>
                      </a:lnTo>
                      <a:lnTo>
                        <a:pt x="397" y="3537"/>
                      </a:lnTo>
                      <a:lnTo>
                        <a:pt x="331" y="3470"/>
                      </a:lnTo>
                      <a:lnTo>
                        <a:pt x="269" y="3394"/>
                      </a:lnTo>
                      <a:lnTo>
                        <a:pt x="215" y="3312"/>
                      </a:lnTo>
                      <a:lnTo>
                        <a:pt x="165" y="3221"/>
                      </a:lnTo>
                      <a:lnTo>
                        <a:pt x="121" y="3120"/>
                      </a:lnTo>
                      <a:lnTo>
                        <a:pt x="85" y="3011"/>
                      </a:lnTo>
                      <a:lnTo>
                        <a:pt x="53" y="2892"/>
                      </a:lnTo>
                      <a:lnTo>
                        <a:pt x="30" y="2763"/>
                      </a:lnTo>
                      <a:lnTo>
                        <a:pt x="12" y="2623"/>
                      </a:lnTo>
                      <a:lnTo>
                        <a:pt x="2" y="2473"/>
                      </a:lnTo>
                      <a:lnTo>
                        <a:pt x="0" y="2311"/>
                      </a:lnTo>
                      <a:lnTo>
                        <a:pt x="4" y="2138"/>
                      </a:lnTo>
                      <a:lnTo>
                        <a:pt x="18" y="1952"/>
                      </a:lnTo>
                      <a:lnTo>
                        <a:pt x="38" y="1754"/>
                      </a:lnTo>
                      <a:lnTo>
                        <a:pt x="51" y="1659"/>
                      </a:lnTo>
                      <a:lnTo>
                        <a:pt x="70" y="1568"/>
                      </a:lnTo>
                      <a:lnTo>
                        <a:pt x="95" y="1477"/>
                      </a:lnTo>
                      <a:lnTo>
                        <a:pt x="124" y="1388"/>
                      </a:lnTo>
                      <a:lnTo>
                        <a:pt x="156" y="1301"/>
                      </a:lnTo>
                      <a:lnTo>
                        <a:pt x="194" y="1216"/>
                      </a:lnTo>
                      <a:lnTo>
                        <a:pt x="236" y="1134"/>
                      </a:lnTo>
                      <a:lnTo>
                        <a:pt x="282" y="1053"/>
                      </a:lnTo>
                      <a:lnTo>
                        <a:pt x="332" y="975"/>
                      </a:lnTo>
                      <a:lnTo>
                        <a:pt x="386" y="899"/>
                      </a:lnTo>
                      <a:lnTo>
                        <a:pt x="444" y="826"/>
                      </a:lnTo>
                      <a:lnTo>
                        <a:pt x="505" y="755"/>
                      </a:lnTo>
                      <a:lnTo>
                        <a:pt x="571" y="687"/>
                      </a:lnTo>
                      <a:lnTo>
                        <a:pt x="639" y="621"/>
                      </a:lnTo>
                      <a:lnTo>
                        <a:pt x="711" y="558"/>
                      </a:lnTo>
                      <a:lnTo>
                        <a:pt x="786" y="497"/>
                      </a:lnTo>
                      <a:lnTo>
                        <a:pt x="864" y="441"/>
                      </a:lnTo>
                      <a:lnTo>
                        <a:pt x="944" y="387"/>
                      </a:lnTo>
                      <a:lnTo>
                        <a:pt x="1027" y="336"/>
                      </a:lnTo>
                      <a:lnTo>
                        <a:pt x="1113" y="288"/>
                      </a:lnTo>
                      <a:lnTo>
                        <a:pt x="1201" y="244"/>
                      </a:lnTo>
                      <a:lnTo>
                        <a:pt x="1291" y="204"/>
                      </a:lnTo>
                      <a:lnTo>
                        <a:pt x="1383" y="166"/>
                      </a:lnTo>
                      <a:lnTo>
                        <a:pt x="1478" y="132"/>
                      </a:lnTo>
                      <a:lnTo>
                        <a:pt x="1574" y="101"/>
                      </a:lnTo>
                      <a:lnTo>
                        <a:pt x="1672" y="76"/>
                      </a:lnTo>
                      <a:lnTo>
                        <a:pt x="1772" y="52"/>
                      </a:lnTo>
                      <a:lnTo>
                        <a:pt x="1872" y="33"/>
                      </a:lnTo>
                      <a:lnTo>
                        <a:pt x="1974" y="19"/>
                      </a:lnTo>
                      <a:lnTo>
                        <a:pt x="2078" y="9"/>
                      </a:lnTo>
                      <a:lnTo>
                        <a:pt x="2183" y="2"/>
                      </a:lnTo>
                      <a:lnTo>
                        <a:pt x="2287" y="0"/>
                      </a:lnTo>
                      <a:lnTo>
                        <a:pt x="2393" y="2"/>
                      </a:lnTo>
                      <a:lnTo>
                        <a:pt x="2498" y="9"/>
                      </a:lnTo>
                      <a:lnTo>
                        <a:pt x="2600" y="19"/>
                      </a:lnTo>
                      <a:lnTo>
                        <a:pt x="2702" y="33"/>
                      </a:lnTo>
                      <a:lnTo>
                        <a:pt x="2804" y="52"/>
                      </a:lnTo>
                      <a:lnTo>
                        <a:pt x="2903" y="76"/>
                      </a:lnTo>
                      <a:lnTo>
                        <a:pt x="3001" y="101"/>
                      </a:lnTo>
                      <a:lnTo>
                        <a:pt x="3097" y="132"/>
                      </a:lnTo>
                      <a:lnTo>
                        <a:pt x="3192" y="166"/>
                      </a:lnTo>
                      <a:lnTo>
                        <a:pt x="3284" y="204"/>
                      </a:lnTo>
                      <a:lnTo>
                        <a:pt x="3375" y="244"/>
                      </a:lnTo>
                      <a:lnTo>
                        <a:pt x="3463" y="288"/>
                      </a:lnTo>
                      <a:lnTo>
                        <a:pt x="3548" y="336"/>
                      </a:lnTo>
                      <a:lnTo>
                        <a:pt x="3632" y="387"/>
                      </a:lnTo>
                      <a:lnTo>
                        <a:pt x="3712" y="441"/>
                      </a:lnTo>
                      <a:lnTo>
                        <a:pt x="3790" y="497"/>
                      </a:lnTo>
                      <a:lnTo>
                        <a:pt x="3864" y="558"/>
                      </a:lnTo>
                      <a:lnTo>
                        <a:pt x="3936" y="621"/>
                      </a:lnTo>
                      <a:lnTo>
                        <a:pt x="4005" y="687"/>
                      </a:lnTo>
                      <a:lnTo>
                        <a:pt x="4069" y="755"/>
                      </a:lnTo>
                      <a:lnTo>
                        <a:pt x="4131" y="826"/>
                      </a:lnTo>
                      <a:lnTo>
                        <a:pt x="4189" y="899"/>
                      </a:lnTo>
                      <a:lnTo>
                        <a:pt x="4243" y="975"/>
                      </a:lnTo>
                      <a:lnTo>
                        <a:pt x="4293" y="1053"/>
                      </a:lnTo>
                      <a:lnTo>
                        <a:pt x="4340" y="1134"/>
                      </a:lnTo>
                      <a:lnTo>
                        <a:pt x="4382" y="1216"/>
                      </a:lnTo>
                      <a:lnTo>
                        <a:pt x="4419" y="1301"/>
                      </a:lnTo>
                      <a:lnTo>
                        <a:pt x="4452" y="1388"/>
                      </a:lnTo>
                      <a:lnTo>
                        <a:pt x="4481" y="1477"/>
                      </a:lnTo>
                      <a:lnTo>
                        <a:pt x="4504" y="1568"/>
                      </a:lnTo>
                      <a:lnTo>
                        <a:pt x="4523" y="1659"/>
                      </a:lnTo>
                      <a:lnTo>
                        <a:pt x="4538" y="1754"/>
                      </a:lnTo>
                      <a:close/>
                    </a:path>
                  </a:pathLst>
                </a:custGeom>
                <a:solidFill>
                  <a:srgbClr val="242D54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263" name="Freeform 210"/>
                <p:cNvSpPr>
                  <a:spLocks/>
                </p:cNvSpPr>
                <p:nvPr/>
              </p:nvSpPr>
              <p:spPr bwMode="auto">
                <a:xfrm>
                  <a:off x="3132" y="2460"/>
                  <a:ext cx="652" cy="406"/>
                </a:xfrm>
                <a:custGeom>
                  <a:avLst/>
                  <a:gdLst>
                    <a:gd name="T0" fmla="*/ 0 w 4574"/>
                    <a:gd name="T1" fmla="*/ 0 h 2849"/>
                    <a:gd name="T2" fmla="*/ 0 w 4574"/>
                    <a:gd name="T3" fmla="*/ 0 h 2849"/>
                    <a:gd name="T4" fmla="*/ 0 w 4574"/>
                    <a:gd name="T5" fmla="*/ 0 h 2849"/>
                    <a:gd name="T6" fmla="*/ 0 w 4574"/>
                    <a:gd name="T7" fmla="*/ 0 h 2849"/>
                    <a:gd name="T8" fmla="*/ 0 w 4574"/>
                    <a:gd name="T9" fmla="*/ 0 h 2849"/>
                    <a:gd name="T10" fmla="*/ 0 w 4574"/>
                    <a:gd name="T11" fmla="*/ 0 h 2849"/>
                    <a:gd name="T12" fmla="*/ 0 w 4574"/>
                    <a:gd name="T13" fmla="*/ 0 h 2849"/>
                    <a:gd name="T14" fmla="*/ 0 w 4574"/>
                    <a:gd name="T15" fmla="*/ 0 h 2849"/>
                    <a:gd name="T16" fmla="*/ 0 w 4574"/>
                    <a:gd name="T17" fmla="*/ 0 h 2849"/>
                    <a:gd name="T18" fmla="*/ 0 w 4574"/>
                    <a:gd name="T19" fmla="*/ 0 h 2849"/>
                    <a:gd name="T20" fmla="*/ 0 w 4574"/>
                    <a:gd name="T21" fmla="*/ 0 h 2849"/>
                    <a:gd name="T22" fmla="*/ 0 w 4574"/>
                    <a:gd name="T23" fmla="*/ 0 h 2849"/>
                    <a:gd name="T24" fmla="*/ 0 w 4574"/>
                    <a:gd name="T25" fmla="*/ 0 h 2849"/>
                    <a:gd name="T26" fmla="*/ 0 w 4574"/>
                    <a:gd name="T27" fmla="*/ 0 h 2849"/>
                    <a:gd name="T28" fmla="*/ 0 w 4574"/>
                    <a:gd name="T29" fmla="*/ 0 h 2849"/>
                    <a:gd name="T30" fmla="*/ 0 w 4574"/>
                    <a:gd name="T31" fmla="*/ 0 h 2849"/>
                    <a:gd name="T32" fmla="*/ 0 w 4574"/>
                    <a:gd name="T33" fmla="*/ 0 h 2849"/>
                    <a:gd name="T34" fmla="*/ 0 w 4574"/>
                    <a:gd name="T35" fmla="*/ 0 h 2849"/>
                    <a:gd name="T36" fmla="*/ 0 w 4574"/>
                    <a:gd name="T37" fmla="*/ 0 h 2849"/>
                    <a:gd name="T38" fmla="*/ 0 w 4574"/>
                    <a:gd name="T39" fmla="*/ 0 h 2849"/>
                    <a:gd name="T40" fmla="*/ 0 w 4574"/>
                    <a:gd name="T41" fmla="*/ 0 h 2849"/>
                    <a:gd name="T42" fmla="*/ 0 w 4574"/>
                    <a:gd name="T43" fmla="*/ 0 h 2849"/>
                    <a:gd name="T44" fmla="*/ 0 w 4574"/>
                    <a:gd name="T45" fmla="*/ 0 h 2849"/>
                    <a:gd name="T46" fmla="*/ 0 w 4574"/>
                    <a:gd name="T47" fmla="*/ 0 h 2849"/>
                    <a:gd name="T48" fmla="*/ 0 w 4574"/>
                    <a:gd name="T49" fmla="*/ 0 h 2849"/>
                    <a:gd name="T50" fmla="*/ 0 w 4574"/>
                    <a:gd name="T51" fmla="*/ 0 h 2849"/>
                    <a:gd name="T52" fmla="*/ 0 w 4574"/>
                    <a:gd name="T53" fmla="*/ 0 h 2849"/>
                    <a:gd name="T54" fmla="*/ 0 w 4574"/>
                    <a:gd name="T55" fmla="*/ 0 h 2849"/>
                    <a:gd name="T56" fmla="*/ 0 w 4574"/>
                    <a:gd name="T57" fmla="*/ 0 h 2849"/>
                    <a:gd name="T58" fmla="*/ 0 w 4574"/>
                    <a:gd name="T59" fmla="*/ 0 h 2849"/>
                    <a:gd name="T60" fmla="*/ 0 w 4574"/>
                    <a:gd name="T61" fmla="*/ 0 h 2849"/>
                    <a:gd name="T62" fmla="*/ 0 w 4574"/>
                    <a:gd name="T63" fmla="*/ 0 h 2849"/>
                    <a:gd name="T64" fmla="*/ 0 w 4574"/>
                    <a:gd name="T65" fmla="*/ 0 h 2849"/>
                    <a:gd name="T66" fmla="*/ 0 w 4574"/>
                    <a:gd name="T67" fmla="*/ 0 h 2849"/>
                    <a:gd name="T68" fmla="*/ 0 w 4574"/>
                    <a:gd name="T69" fmla="*/ 0 h 2849"/>
                    <a:gd name="T70" fmla="*/ 0 w 4574"/>
                    <a:gd name="T71" fmla="*/ 0 h 2849"/>
                    <a:gd name="T72" fmla="*/ 0 w 4574"/>
                    <a:gd name="T73" fmla="*/ 0 h 2849"/>
                    <a:gd name="T74" fmla="*/ 0 w 4574"/>
                    <a:gd name="T75" fmla="*/ 0 h 2849"/>
                    <a:gd name="T76" fmla="*/ 0 w 4574"/>
                    <a:gd name="T77" fmla="*/ 0 h 2849"/>
                    <a:gd name="T78" fmla="*/ 0 w 4574"/>
                    <a:gd name="T79" fmla="*/ 0 h 2849"/>
                    <a:gd name="T80" fmla="*/ 0 w 4574"/>
                    <a:gd name="T81" fmla="*/ 0 h 2849"/>
                    <a:gd name="T82" fmla="*/ 0 w 4574"/>
                    <a:gd name="T83" fmla="*/ 0 h 2849"/>
                    <a:gd name="T84" fmla="*/ 0 w 4574"/>
                    <a:gd name="T85" fmla="*/ 0 h 2849"/>
                    <a:gd name="T86" fmla="*/ 0 w 4574"/>
                    <a:gd name="T87" fmla="*/ 0 h 2849"/>
                    <a:gd name="T88" fmla="*/ 0 w 4574"/>
                    <a:gd name="T89" fmla="*/ 0 h 2849"/>
                    <a:gd name="T90" fmla="*/ 0 w 4574"/>
                    <a:gd name="T91" fmla="*/ 0 h 2849"/>
                    <a:gd name="T92" fmla="*/ 0 w 4574"/>
                    <a:gd name="T93" fmla="*/ 0 h 2849"/>
                    <a:gd name="T94" fmla="*/ 0 w 4574"/>
                    <a:gd name="T95" fmla="*/ 0 h 2849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4574"/>
                    <a:gd name="T145" fmla="*/ 0 h 2849"/>
                    <a:gd name="T146" fmla="*/ 4574 w 4574"/>
                    <a:gd name="T147" fmla="*/ 2849 h 2849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4574" h="2849">
                      <a:moveTo>
                        <a:pt x="4538" y="693"/>
                      </a:moveTo>
                      <a:lnTo>
                        <a:pt x="4531" y="646"/>
                      </a:lnTo>
                      <a:lnTo>
                        <a:pt x="4523" y="601"/>
                      </a:lnTo>
                      <a:lnTo>
                        <a:pt x="4515" y="554"/>
                      </a:lnTo>
                      <a:lnTo>
                        <a:pt x="4505" y="509"/>
                      </a:lnTo>
                      <a:lnTo>
                        <a:pt x="4494" y="464"/>
                      </a:lnTo>
                      <a:lnTo>
                        <a:pt x="4482" y="419"/>
                      </a:lnTo>
                      <a:lnTo>
                        <a:pt x="4468" y="375"/>
                      </a:lnTo>
                      <a:lnTo>
                        <a:pt x="4453" y="331"/>
                      </a:lnTo>
                      <a:lnTo>
                        <a:pt x="4438" y="288"/>
                      </a:lnTo>
                      <a:lnTo>
                        <a:pt x="4421" y="246"/>
                      </a:lnTo>
                      <a:lnTo>
                        <a:pt x="4403" y="203"/>
                      </a:lnTo>
                      <a:lnTo>
                        <a:pt x="4384" y="161"/>
                      </a:lnTo>
                      <a:lnTo>
                        <a:pt x="4364" y="120"/>
                      </a:lnTo>
                      <a:lnTo>
                        <a:pt x="4343" y="80"/>
                      </a:lnTo>
                      <a:lnTo>
                        <a:pt x="4321" y="40"/>
                      </a:lnTo>
                      <a:lnTo>
                        <a:pt x="4297" y="0"/>
                      </a:lnTo>
                      <a:lnTo>
                        <a:pt x="4274" y="32"/>
                      </a:lnTo>
                      <a:lnTo>
                        <a:pt x="4251" y="64"/>
                      </a:lnTo>
                      <a:lnTo>
                        <a:pt x="4226" y="95"/>
                      </a:lnTo>
                      <a:lnTo>
                        <a:pt x="4200" y="125"/>
                      </a:lnTo>
                      <a:lnTo>
                        <a:pt x="4175" y="155"/>
                      </a:lnTo>
                      <a:lnTo>
                        <a:pt x="4148" y="184"/>
                      </a:lnTo>
                      <a:lnTo>
                        <a:pt x="4121" y="212"/>
                      </a:lnTo>
                      <a:lnTo>
                        <a:pt x="4094" y="239"/>
                      </a:lnTo>
                      <a:lnTo>
                        <a:pt x="4054" y="273"/>
                      </a:lnTo>
                      <a:lnTo>
                        <a:pt x="4012" y="307"/>
                      </a:lnTo>
                      <a:lnTo>
                        <a:pt x="3970" y="339"/>
                      </a:lnTo>
                      <a:lnTo>
                        <a:pt x="3926" y="370"/>
                      </a:lnTo>
                      <a:lnTo>
                        <a:pt x="3880" y="400"/>
                      </a:lnTo>
                      <a:lnTo>
                        <a:pt x="3833" y="429"/>
                      </a:lnTo>
                      <a:lnTo>
                        <a:pt x="3784" y="457"/>
                      </a:lnTo>
                      <a:lnTo>
                        <a:pt x="3735" y="484"/>
                      </a:lnTo>
                      <a:lnTo>
                        <a:pt x="3684" y="509"/>
                      </a:lnTo>
                      <a:lnTo>
                        <a:pt x="3633" y="534"/>
                      </a:lnTo>
                      <a:lnTo>
                        <a:pt x="3581" y="557"/>
                      </a:lnTo>
                      <a:lnTo>
                        <a:pt x="3527" y="579"/>
                      </a:lnTo>
                      <a:lnTo>
                        <a:pt x="3474" y="602"/>
                      </a:lnTo>
                      <a:lnTo>
                        <a:pt x="3419" y="623"/>
                      </a:lnTo>
                      <a:lnTo>
                        <a:pt x="3363" y="643"/>
                      </a:lnTo>
                      <a:lnTo>
                        <a:pt x="3309" y="662"/>
                      </a:lnTo>
                      <a:lnTo>
                        <a:pt x="3252" y="680"/>
                      </a:lnTo>
                      <a:lnTo>
                        <a:pt x="3197" y="697"/>
                      </a:lnTo>
                      <a:lnTo>
                        <a:pt x="3141" y="715"/>
                      </a:lnTo>
                      <a:lnTo>
                        <a:pt x="3084" y="731"/>
                      </a:lnTo>
                      <a:lnTo>
                        <a:pt x="2972" y="762"/>
                      </a:lnTo>
                      <a:lnTo>
                        <a:pt x="2860" y="790"/>
                      </a:lnTo>
                      <a:lnTo>
                        <a:pt x="2750" y="815"/>
                      </a:lnTo>
                      <a:lnTo>
                        <a:pt x="2643" y="840"/>
                      </a:lnTo>
                      <a:lnTo>
                        <a:pt x="2539" y="863"/>
                      </a:lnTo>
                      <a:lnTo>
                        <a:pt x="2439" y="884"/>
                      </a:lnTo>
                      <a:lnTo>
                        <a:pt x="2368" y="899"/>
                      </a:lnTo>
                      <a:lnTo>
                        <a:pt x="2297" y="910"/>
                      </a:lnTo>
                      <a:lnTo>
                        <a:pt x="2226" y="921"/>
                      </a:lnTo>
                      <a:lnTo>
                        <a:pt x="2154" y="929"/>
                      </a:lnTo>
                      <a:lnTo>
                        <a:pt x="2081" y="936"/>
                      </a:lnTo>
                      <a:lnTo>
                        <a:pt x="2009" y="941"/>
                      </a:lnTo>
                      <a:lnTo>
                        <a:pt x="1935" y="944"/>
                      </a:lnTo>
                      <a:lnTo>
                        <a:pt x="1862" y="948"/>
                      </a:lnTo>
                      <a:lnTo>
                        <a:pt x="1787" y="948"/>
                      </a:lnTo>
                      <a:lnTo>
                        <a:pt x="1713" y="948"/>
                      </a:lnTo>
                      <a:lnTo>
                        <a:pt x="1638" y="947"/>
                      </a:lnTo>
                      <a:lnTo>
                        <a:pt x="1563" y="944"/>
                      </a:lnTo>
                      <a:lnTo>
                        <a:pt x="1488" y="940"/>
                      </a:lnTo>
                      <a:lnTo>
                        <a:pt x="1412" y="936"/>
                      </a:lnTo>
                      <a:lnTo>
                        <a:pt x="1337" y="930"/>
                      </a:lnTo>
                      <a:lnTo>
                        <a:pt x="1261" y="924"/>
                      </a:lnTo>
                      <a:lnTo>
                        <a:pt x="1185" y="917"/>
                      </a:lnTo>
                      <a:lnTo>
                        <a:pt x="1111" y="910"/>
                      </a:lnTo>
                      <a:lnTo>
                        <a:pt x="1035" y="901"/>
                      </a:lnTo>
                      <a:lnTo>
                        <a:pt x="959" y="892"/>
                      </a:lnTo>
                      <a:lnTo>
                        <a:pt x="809" y="873"/>
                      </a:lnTo>
                      <a:lnTo>
                        <a:pt x="660" y="853"/>
                      </a:lnTo>
                      <a:lnTo>
                        <a:pt x="512" y="833"/>
                      </a:lnTo>
                      <a:lnTo>
                        <a:pt x="366" y="812"/>
                      </a:lnTo>
                      <a:lnTo>
                        <a:pt x="221" y="792"/>
                      </a:lnTo>
                      <a:lnTo>
                        <a:pt x="80" y="773"/>
                      </a:lnTo>
                      <a:lnTo>
                        <a:pt x="68" y="771"/>
                      </a:lnTo>
                      <a:lnTo>
                        <a:pt x="55" y="770"/>
                      </a:lnTo>
                      <a:lnTo>
                        <a:pt x="42" y="769"/>
                      </a:lnTo>
                      <a:lnTo>
                        <a:pt x="30" y="766"/>
                      </a:lnTo>
                      <a:lnTo>
                        <a:pt x="12" y="958"/>
                      </a:lnTo>
                      <a:lnTo>
                        <a:pt x="2" y="1137"/>
                      </a:lnTo>
                      <a:lnTo>
                        <a:pt x="0" y="1305"/>
                      </a:lnTo>
                      <a:lnTo>
                        <a:pt x="6" y="1461"/>
                      </a:lnTo>
                      <a:lnTo>
                        <a:pt x="18" y="1607"/>
                      </a:lnTo>
                      <a:lnTo>
                        <a:pt x="37" y="1741"/>
                      </a:lnTo>
                      <a:lnTo>
                        <a:pt x="62" y="1866"/>
                      </a:lnTo>
                      <a:lnTo>
                        <a:pt x="95" y="1981"/>
                      </a:lnTo>
                      <a:lnTo>
                        <a:pt x="132" y="2086"/>
                      </a:lnTo>
                      <a:lnTo>
                        <a:pt x="177" y="2183"/>
                      </a:lnTo>
                      <a:lnTo>
                        <a:pt x="227" y="2271"/>
                      </a:lnTo>
                      <a:lnTo>
                        <a:pt x="284" y="2351"/>
                      </a:lnTo>
                      <a:lnTo>
                        <a:pt x="345" y="2423"/>
                      </a:lnTo>
                      <a:lnTo>
                        <a:pt x="412" y="2489"/>
                      </a:lnTo>
                      <a:lnTo>
                        <a:pt x="483" y="2547"/>
                      </a:lnTo>
                      <a:lnTo>
                        <a:pt x="560" y="2598"/>
                      </a:lnTo>
                      <a:lnTo>
                        <a:pt x="641" y="2643"/>
                      </a:lnTo>
                      <a:lnTo>
                        <a:pt x="728" y="2683"/>
                      </a:lnTo>
                      <a:lnTo>
                        <a:pt x="818" y="2716"/>
                      </a:lnTo>
                      <a:lnTo>
                        <a:pt x="912" y="2745"/>
                      </a:lnTo>
                      <a:lnTo>
                        <a:pt x="1009" y="2770"/>
                      </a:lnTo>
                      <a:lnTo>
                        <a:pt x="1112" y="2791"/>
                      </a:lnTo>
                      <a:lnTo>
                        <a:pt x="1217" y="2806"/>
                      </a:lnTo>
                      <a:lnTo>
                        <a:pt x="1326" y="2820"/>
                      </a:lnTo>
                      <a:lnTo>
                        <a:pt x="1437" y="2830"/>
                      </a:lnTo>
                      <a:lnTo>
                        <a:pt x="1552" y="2837"/>
                      </a:lnTo>
                      <a:lnTo>
                        <a:pt x="1668" y="2842"/>
                      </a:lnTo>
                      <a:lnTo>
                        <a:pt x="1789" y="2845"/>
                      </a:lnTo>
                      <a:lnTo>
                        <a:pt x="1910" y="2847"/>
                      </a:lnTo>
                      <a:lnTo>
                        <a:pt x="2035" y="2849"/>
                      </a:lnTo>
                      <a:lnTo>
                        <a:pt x="2160" y="2849"/>
                      </a:lnTo>
                      <a:lnTo>
                        <a:pt x="2287" y="2849"/>
                      </a:lnTo>
                      <a:lnTo>
                        <a:pt x="2416" y="2849"/>
                      </a:lnTo>
                      <a:lnTo>
                        <a:pt x="2544" y="2849"/>
                      </a:lnTo>
                      <a:lnTo>
                        <a:pt x="2669" y="2846"/>
                      </a:lnTo>
                      <a:lnTo>
                        <a:pt x="2793" y="2844"/>
                      </a:lnTo>
                      <a:lnTo>
                        <a:pt x="2913" y="2841"/>
                      </a:lnTo>
                      <a:lnTo>
                        <a:pt x="3032" y="2834"/>
                      </a:lnTo>
                      <a:lnTo>
                        <a:pt x="3148" y="2826"/>
                      </a:lnTo>
                      <a:lnTo>
                        <a:pt x="3260" y="2815"/>
                      </a:lnTo>
                      <a:lnTo>
                        <a:pt x="3369" y="2801"/>
                      </a:lnTo>
                      <a:lnTo>
                        <a:pt x="3475" y="2783"/>
                      </a:lnTo>
                      <a:lnTo>
                        <a:pt x="3577" y="2761"/>
                      </a:lnTo>
                      <a:lnTo>
                        <a:pt x="3676" y="2735"/>
                      </a:lnTo>
                      <a:lnTo>
                        <a:pt x="3771" y="2704"/>
                      </a:lnTo>
                      <a:lnTo>
                        <a:pt x="3861" y="2668"/>
                      </a:lnTo>
                      <a:lnTo>
                        <a:pt x="3947" y="2627"/>
                      </a:lnTo>
                      <a:lnTo>
                        <a:pt x="4028" y="2579"/>
                      </a:lnTo>
                      <a:lnTo>
                        <a:pt x="4105" y="2526"/>
                      </a:lnTo>
                      <a:lnTo>
                        <a:pt x="4177" y="2465"/>
                      </a:lnTo>
                      <a:lnTo>
                        <a:pt x="4243" y="2398"/>
                      </a:lnTo>
                      <a:lnTo>
                        <a:pt x="4304" y="2322"/>
                      </a:lnTo>
                      <a:lnTo>
                        <a:pt x="4360" y="2240"/>
                      </a:lnTo>
                      <a:lnTo>
                        <a:pt x="4409" y="2149"/>
                      </a:lnTo>
                      <a:lnTo>
                        <a:pt x="4452" y="2048"/>
                      </a:lnTo>
                      <a:lnTo>
                        <a:pt x="4490" y="1939"/>
                      </a:lnTo>
                      <a:lnTo>
                        <a:pt x="4520" y="1820"/>
                      </a:lnTo>
                      <a:lnTo>
                        <a:pt x="4544" y="1692"/>
                      </a:lnTo>
                      <a:lnTo>
                        <a:pt x="4561" y="1554"/>
                      </a:lnTo>
                      <a:lnTo>
                        <a:pt x="4571" y="1404"/>
                      </a:lnTo>
                      <a:lnTo>
                        <a:pt x="4574" y="1244"/>
                      </a:lnTo>
                      <a:lnTo>
                        <a:pt x="4570" y="1072"/>
                      </a:lnTo>
                      <a:lnTo>
                        <a:pt x="4558" y="889"/>
                      </a:lnTo>
                      <a:lnTo>
                        <a:pt x="4538" y="693"/>
                      </a:lnTo>
                      <a:close/>
                    </a:path>
                  </a:pathLst>
                </a:custGeom>
                <a:solidFill>
                  <a:srgbClr val="1B233E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264" name="Freeform 211"/>
                <p:cNvSpPr>
                  <a:spLocks/>
                </p:cNvSpPr>
                <p:nvPr/>
              </p:nvSpPr>
              <p:spPr bwMode="auto">
                <a:xfrm>
                  <a:off x="2759" y="2608"/>
                  <a:ext cx="511" cy="319"/>
                </a:xfrm>
                <a:custGeom>
                  <a:avLst/>
                  <a:gdLst>
                    <a:gd name="T0" fmla="*/ 0 w 3582"/>
                    <a:gd name="T1" fmla="*/ 0 h 2227"/>
                    <a:gd name="T2" fmla="*/ 0 w 3582"/>
                    <a:gd name="T3" fmla="*/ 0 h 2227"/>
                    <a:gd name="T4" fmla="*/ 0 w 3582"/>
                    <a:gd name="T5" fmla="*/ 0 h 2227"/>
                    <a:gd name="T6" fmla="*/ 0 w 3582"/>
                    <a:gd name="T7" fmla="*/ 0 h 2227"/>
                    <a:gd name="T8" fmla="*/ 0 w 3582"/>
                    <a:gd name="T9" fmla="*/ 0 h 2227"/>
                    <a:gd name="T10" fmla="*/ 0 w 3582"/>
                    <a:gd name="T11" fmla="*/ 0 h 2227"/>
                    <a:gd name="T12" fmla="*/ 0 w 3582"/>
                    <a:gd name="T13" fmla="*/ 0 h 2227"/>
                    <a:gd name="T14" fmla="*/ 0 w 3582"/>
                    <a:gd name="T15" fmla="*/ 0 h 2227"/>
                    <a:gd name="T16" fmla="*/ 0 w 3582"/>
                    <a:gd name="T17" fmla="*/ 0 h 2227"/>
                    <a:gd name="T18" fmla="*/ 0 w 3582"/>
                    <a:gd name="T19" fmla="*/ 0 h 2227"/>
                    <a:gd name="T20" fmla="*/ 0 w 3582"/>
                    <a:gd name="T21" fmla="*/ 0 h 2227"/>
                    <a:gd name="T22" fmla="*/ 0 w 3582"/>
                    <a:gd name="T23" fmla="*/ 0 h 2227"/>
                    <a:gd name="T24" fmla="*/ 0 w 3582"/>
                    <a:gd name="T25" fmla="*/ 0 h 2227"/>
                    <a:gd name="T26" fmla="*/ 0 w 3582"/>
                    <a:gd name="T27" fmla="*/ 0 h 2227"/>
                    <a:gd name="T28" fmla="*/ 0 w 3582"/>
                    <a:gd name="T29" fmla="*/ 0 h 2227"/>
                    <a:gd name="T30" fmla="*/ 0 w 3582"/>
                    <a:gd name="T31" fmla="*/ 0 h 2227"/>
                    <a:gd name="T32" fmla="*/ 0 w 3582"/>
                    <a:gd name="T33" fmla="*/ 0 h 2227"/>
                    <a:gd name="T34" fmla="*/ 0 w 3582"/>
                    <a:gd name="T35" fmla="*/ 0 h 2227"/>
                    <a:gd name="T36" fmla="*/ 0 w 3582"/>
                    <a:gd name="T37" fmla="*/ 0 h 2227"/>
                    <a:gd name="T38" fmla="*/ 0 w 3582"/>
                    <a:gd name="T39" fmla="*/ 0 h 2227"/>
                    <a:gd name="T40" fmla="*/ 0 w 3582"/>
                    <a:gd name="T41" fmla="*/ 0 h 2227"/>
                    <a:gd name="T42" fmla="*/ 0 w 3582"/>
                    <a:gd name="T43" fmla="*/ 0 h 2227"/>
                    <a:gd name="T44" fmla="*/ 0 w 3582"/>
                    <a:gd name="T45" fmla="*/ 0 h 2227"/>
                    <a:gd name="T46" fmla="*/ 0 w 3582"/>
                    <a:gd name="T47" fmla="*/ 0 h 2227"/>
                    <a:gd name="T48" fmla="*/ 0 w 3582"/>
                    <a:gd name="T49" fmla="*/ 0 h 2227"/>
                    <a:gd name="T50" fmla="*/ 0 w 3582"/>
                    <a:gd name="T51" fmla="*/ 0 h 2227"/>
                    <a:gd name="T52" fmla="*/ 0 w 3582"/>
                    <a:gd name="T53" fmla="*/ 0 h 2227"/>
                    <a:gd name="T54" fmla="*/ 0 w 3582"/>
                    <a:gd name="T55" fmla="*/ 0 h 2227"/>
                    <a:gd name="T56" fmla="*/ 0 w 3582"/>
                    <a:gd name="T57" fmla="*/ 0 h 2227"/>
                    <a:gd name="T58" fmla="*/ 0 w 3582"/>
                    <a:gd name="T59" fmla="*/ 0 h 2227"/>
                    <a:gd name="T60" fmla="*/ 0 w 3582"/>
                    <a:gd name="T61" fmla="*/ 0 h 2227"/>
                    <a:gd name="T62" fmla="*/ 0 w 3582"/>
                    <a:gd name="T63" fmla="*/ 0 h 2227"/>
                    <a:gd name="T64" fmla="*/ 0 w 3582"/>
                    <a:gd name="T65" fmla="*/ 0 h 2227"/>
                    <a:gd name="T66" fmla="*/ 0 w 3582"/>
                    <a:gd name="T67" fmla="*/ 0 h 2227"/>
                    <a:gd name="T68" fmla="*/ 0 w 3582"/>
                    <a:gd name="T69" fmla="*/ 0 h 2227"/>
                    <a:gd name="T70" fmla="*/ 0 w 3582"/>
                    <a:gd name="T71" fmla="*/ 0 h 2227"/>
                    <a:gd name="T72" fmla="*/ 0 w 3582"/>
                    <a:gd name="T73" fmla="*/ 0 h 2227"/>
                    <a:gd name="T74" fmla="*/ 0 w 3582"/>
                    <a:gd name="T75" fmla="*/ 0 h 2227"/>
                    <a:gd name="T76" fmla="*/ 0 w 3582"/>
                    <a:gd name="T77" fmla="*/ 0 h 2227"/>
                    <a:gd name="T78" fmla="*/ 0 w 3582"/>
                    <a:gd name="T79" fmla="*/ 0 h 2227"/>
                    <a:gd name="T80" fmla="*/ 0 w 3582"/>
                    <a:gd name="T81" fmla="*/ 0 h 2227"/>
                    <a:gd name="T82" fmla="*/ 0 w 3582"/>
                    <a:gd name="T83" fmla="*/ 0 h 2227"/>
                    <a:gd name="T84" fmla="*/ 0 w 3582"/>
                    <a:gd name="T85" fmla="*/ 0 h 2227"/>
                    <a:gd name="T86" fmla="*/ 0 w 3582"/>
                    <a:gd name="T87" fmla="*/ 0 h 2227"/>
                    <a:gd name="T88" fmla="*/ 0 w 3582"/>
                    <a:gd name="T89" fmla="*/ 0 h 2227"/>
                    <a:gd name="T90" fmla="*/ 0 w 3582"/>
                    <a:gd name="T91" fmla="*/ 0 h 2227"/>
                    <a:gd name="T92" fmla="*/ 0 w 3582"/>
                    <a:gd name="T93" fmla="*/ 0 h 2227"/>
                    <a:gd name="T94" fmla="*/ 0 w 3582"/>
                    <a:gd name="T95" fmla="*/ 0 h 2227"/>
                    <a:gd name="T96" fmla="*/ 0 w 3582"/>
                    <a:gd name="T97" fmla="*/ 0 h 2227"/>
                    <a:gd name="T98" fmla="*/ 0 w 3582"/>
                    <a:gd name="T99" fmla="*/ 0 h 2227"/>
                    <a:gd name="T100" fmla="*/ 0 w 3582"/>
                    <a:gd name="T101" fmla="*/ 0 h 2227"/>
                    <a:gd name="T102" fmla="*/ 0 w 3582"/>
                    <a:gd name="T103" fmla="*/ 0 h 2227"/>
                    <a:gd name="T104" fmla="*/ 0 w 3582"/>
                    <a:gd name="T105" fmla="*/ 0 h 2227"/>
                    <a:gd name="T106" fmla="*/ 0 w 3582"/>
                    <a:gd name="T107" fmla="*/ 0 h 2227"/>
                    <a:gd name="T108" fmla="*/ 0 w 3582"/>
                    <a:gd name="T109" fmla="*/ 0 h 2227"/>
                    <a:gd name="T110" fmla="*/ 0 w 3582"/>
                    <a:gd name="T111" fmla="*/ 0 h 2227"/>
                    <a:gd name="T112" fmla="*/ 0 w 3582"/>
                    <a:gd name="T113" fmla="*/ 0 h 2227"/>
                    <a:gd name="T114" fmla="*/ 0 w 3582"/>
                    <a:gd name="T115" fmla="*/ 0 h 2227"/>
                    <a:gd name="T116" fmla="*/ 0 w 3582"/>
                    <a:gd name="T117" fmla="*/ 0 h 2227"/>
                    <a:gd name="T118" fmla="*/ 0 w 3582"/>
                    <a:gd name="T119" fmla="*/ 0 h 2227"/>
                    <a:gd name="T120" fmla="*/ 0 w 3582"/>
                    <a:gd name="T121" fmla="*/ 0 h 2227"/>
                    <a:gd name="T122" fmla="*/ 0 w 3582"/>
                    <a:gd name="T123" fmla="*/ 0 h 2227"/>
                    <a:gd name="T124" fmla="*/ 0 w 3582"/>
                    <a:gd name="T125" fmla="*/ 0 h 2227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3582"/>
                    <a:gd name="T190" fmla="*/ 0 h 2227"/>
                    <a:gd name="T191" fmla="*/ 3582 w 3582"/>
                    <a:gd name="T192" fmla="*/ 2227 h 2227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3582" h="2227">
                      <a:moveTo>
                        <a:pt x="29" y="1071"/>
                      </a:moveTo>
                      <a:lnTo>
                        <a:pt x="38" y="1035"/>
                      </a:lnTo>
                      <a:lnTo>
                        <a:pt x="49" y="998"/>
                      </a:lnTo>
                      <a:lnTo>
                        <a:pt x="63" y="962"/>
                      </a:lnTo>
                      <a:lnTo>
                        <a:pt x="77" y="925"/>
                      </a:lnTo>
                      <a:lnTo>
                        <a:pt x="93" y="887"/>
                      </a:lnTo>
                      <a:lnTo>
                        <a:pt x="109" y="849"/>
                      </a:lnTo>
                      <a:lnTo>
                        <a:pt x="128" y="810"/>
                      </a:lnTo>
                      <a:lnTo>
                        <a:pt x="148" y="771"/>
                      </a:lnTo>
                      <a:lnTo>
                        <a:pt x="169" y="733"/>
                      </a:lnTo>
                      <a:lnTo>
                        <a:pt x="192" y="694"/>
                      </a:lnTo>
                      <a:lnTo>
                        <a:pt x="215" y="657"/>
                      </a:lnTo>
                      <a:lnTo>
                        <a:pt x="240" y="619"/>
                      </a:lnTo>
                      <a:lnTo>
                        <a:pt x="265" y="581"/>
                      </a:lnTo>
                      <a:lnTo>
                        <a:pt x="292" y="544"/>
                      </a:lnTo>
                      <a:lnTo>
                        <a:pt x="320" y="508"/>
                      </a:lnTo>
                      <a:lnTo>
                        <a:pt x="347" y="472"/>
                      </a:lnTo>
                      <a:lnTo>
                        <a:pt x="378" y="437"/>
                      </a:lnTo>
                      <a:lnTo>
                        <a:pt x="408" y="404"/>
                      </a:lnTo>
                      <a:lnTo>
                        <a:pt x="438" y="372"/>
                      </a:lnTo>
                      <a:lnTo>
                        <a:pt x="470" y="340"/>
                      </a:lnTo>
                      <a:lnTo>
                        <a:pt x="502" y="309"/>
                      </a:lnTo>
                      <a:lnTo>
                        <a:pt x="534" y="282"/>
                      </a:lnTo>
                      <a:lnTo>
                        <a:pt x="568" y="254"/>
                      </a:lnTo>
                      <a:lnTo>
                        <a:pt x="602" y="228"/>
                      </a:lnTo>
                      <a:lnTo>
                        <a:pt x="637" y="205"/>
                      </a:lnTo>
                      <a:lnTo>
                        <a:pt x="671" y="183"/>
                      </a:lnTo>
                      <a:lnTo>
                        <a:pt x="707" y="163"/>
                      </a:lnTo>
                      <a:lnTo>
                        <a:pt x="743" y="145"/>
                      </a:lnTo>
                      <a:lnTo>
                        <a:pt x="778" y="128"/>
                      </a:lnTo>
                      <a:lnTo>
                        <a:pt x="814" y="115"/>
                      </a:lnTo>
                      <a:lnTo>
                        <a:pt x="849" y="104"/>
                      </a:lnTo>
                      <a:lnTo>
                        <a:pt x="886" y="95"/>
                      </a:lnTo>
                      <a:lnTo>
                        <a:pt x="967" y="79"/>
                      </a:lnTo>
                      <a:lnTo>
                        <a:pt x="1052" y="66"/>
                      </a:lnTo>
                      <a:lnTo>
                        <a:pt x="1138" y="52"/>
                      </a:lnTo>
                      <a:lnTo>
                        <a:pt x="1225" y="41"/>
                      </a:lnTo>
                      <a:lnTo>
                        <a:pt x="1314" y="32"/>
                      </a:lnTo>
                      <a:lnTo>
                        <a:pt x="1404" y="23"/>
                      </a:lnTo>
                      <a:lnTo>
                        <a:pt x="1494" y="17"/>
                      </a:lnTo>
                      <a:lnTo>
                        <a:pt x="1585" y="11"/>
                      </a:lnTo>
                      <a:lnTo>
                        <a:pt x="1676" y="7"/>
                      </a:lnTo>
                      <a:lnTo>
                        <a:pt x="1769" y="3"/>
                      </a:lnTo>
                      <a:lnTo>
                        <a:pt x="1860" y="1"/>
                      </a:lnTo>
                      <a:lnTo>
                        <a:pt x="1951" y="0"/>
                      </a:lnTo>
                      <a:lnTo>
                        <a:pt x="2043" y="0"/>
                      </a:lnTo>
                      <a:lnTo>
                        <a:pt x="2133" y="1"/>
                      </a:lnTo>
                      <a:lnTo>
                        <a:pt x="2222" y="3"/>
                      </a:lnTo>
                      <a:lnTo>
                        <a:pt x="2309" y="6"/>
                      </a:lnTo>
                      <a:lnTo>
                        <a:pt x="2395" y="9"/>
                      </a:lnTo>
                      <a:lnTo>
                        <a:pt x="2480" y="13"/>
                      </a:lnTo>
                      <a:lnTo>
                        <a:pt x="2561" y="18"/>
                      </a:lnTo>
                      <a:lnTo>
                        <a:pt x="2641" y="23"/>
                      </a:lnTo>
                      <a:lnTo>
                        <a:pt x="2719" y="30"/>
                      </a:lnTo>
                      <a:lnTo>
                        <a:pt x="2794" y="37"/>
                      </a:lnTo>
                      <a:lnTo>
                        <a:pt x="2866" y="43"/>
                      </a:lnTo>
                      <a:lnTo>
                        <a:pt x="2934" y="51"/>
                      </a:lnTo>
                      <a:lnTo>
                        <a:pt x="3000" y="59"/>
                      </a:lnTo>
                      <a:lnTo>
                        <a:pt x="3061" y="67"/>
                      </a:lnTo>
                      <a:lnTo>
                        <a:pt x="3119" y="76"/>
                      </a:lnTo>
                      <a:lnTo>
                        <a:pt x="3172" y="85"/>
                      </a:lnTo>
                      <a:lnTo>
                        <a:pt x="3220" y="94"/>
                      </a:lnTo>
                      <a:lnTo>
                        <a:pt x="3265" y="102"/>
                      </a:lnTo>
                      <a:lnTo>
                        <a:pt x="3304" y="111"/>
                      </a:lnTo>
                      <a:lnTo>
                        <a:pt x="3338" y="120"/>
                      </a:lnTo>
                      <a:lnTo>
                        <a:pt x="3368" y="130"/>
                      </a:lnTo>
                      <a:lnTo>
                        <a:pt x="3397" y="141"/>
                      </a:lnTo>
                      <a:lnTo>
                        <a:pt x="3423" y="155"/>
                      </a:lnTo>
                      <a:lnTo>
                        <a:pt x="3446" y="169"/>
                      </a:lnTo>
                      <a:lnTo>
                        <a:pt x="3467" y="186"/>
                      </a:lnTo>
                      <a:lnTo>
                        <a:pt x="3487" y="203"/>
                      </a:lnTo>
                      <a:lnTo>
                        <a:pt x="3504" y="222"/>
                      </a:lnTo>
                      <a:lnTo>
                        <a:pt x="3520" y="242"/>
                      </a:lnTo>
                      <a:lnTo>
                        <a:pt x="3533" y="264"/>
                      </a:lnTo>
                      <a:lnTo>
                        <a:pt x="3545" y="286"/>
                      </a:lnTo>
                      <a:lnTo>
                        <a:pt x="3555" y="309"/>
                      </a:lnTo>
                      <a:lnTo>
                        <a:pt x="3563" y="335"/>
                      </a:lnTo>
                      <a:lnTo>
                        <a:pt x="3570" y="361"/>
                      </a:lnTo>
                      <a:lnTo>
                        <a:pt x="3575" y="387"/>
                      </a:lnTo>
                      <a:lnTo>
                        <a:pt x="3579" y="414"/>
                      </a:lnTo>
                      <a:lnTo>
                        <a:pt x="3582" y="443"/>
                      </a:lnTo>
                      <a:lnTo>
                        <a:pt x="3582" y="472"/>
                      </a:lnTo>
                      <a:lnTo>
                        <a:pt x="3582" y="502"/>
                      </a:lnTo>
                      <a:lnTo>
                        <a:pt x="3581" y="532"/>
                      </a:lnTo>
                      <a:lnTo>
                        <a:pt x="3577" y="563"/>
                      </a:lnTo>
                      <a:lnTo>
                        <a:pt x="3574" y="594"/>
                      </a:lnTo>
                      <a:lnTo>
                        <a:pt x="3569" y="627"/>
                      </a:lnTo>
                      <a:lnTo>
                        <a:pt x="3563" y="659"/>
                      </a:lnTo>
                      <a:lnTo>
                        <a:pt x="3556" y="691"/>
                      </a:lnTo>
                      <a:lnTo>
                        <a:pt x="3548" y="723"/>
                      </a:lnTo>
                      <a:lnTo>
                        <a:pt x="3540" y="757"/>
                      </a:lnTo>
                      <a:lnTo>
                        <a:pt x="3531" y="789"/>
                      </a:lnTo>
                      <a:lnTo>
                        <a:pt x="3521" y="822"/>
                      </a:lnTo>
                      <a:lnTo>
                        <a:pt x="3500" y="889"/>
                      </a:lnTo>
                      <a:lnTo>
                        <a:pt x="3476" y="955"/>
                      </a:lnTo>
                      <a:lnTo>
                        <a:pt x="3464" y="987"/>
                      </a:lnTo>
                      <a:lnTo>
                        <a:pt x="3449" y="1021"/>
                      </a:lnTo>
                      <a:lnTo>
                        <a:pt x="3435" y="1053"/>
                      </a:lnTo>
                      <a:lnTo>
                        <a:pt x="3419" y="1085"/>
                      </a:lnTo>
                      <a:lnTo>
                        <a:pt x="3404" y="1117"/>
                      </a:lnTo>
                      <a:lnTo>
                        <a:pt x="3386" y="1149"/>
                      </a:lnTo>
                      <a:lnTo>
                        <a:pt x="3368" y="1179"/>
                      </a:lnTo>
                      <a:lnTo>
                        <a:pt x="3349" y="1210"/>
                      </a:lnTo>
                      <a:lnTo>
                        <a:pt x="3329" y="1240"/>
                      </a:lnTo>
                      <a:lnTo>
                        <a:pt x="3309" y="1269"/>
                      </a:lnTo>
                      <a:lnTo>
                        <a:pt x="3288" y="1299"/>
                      </a:lnTo>
                      <a:lnTo>
                        <a:pt x="3266" y="1327"/>
                      </a:lnTo>
                      <a:lnTo>
                        <a:pt x="3244" y="1356"/>
                      </a:lnTo>
                      <a:lnTo>
                        <a:pt x="3220" y="1383"/>
                      </a:lnTo>
                      <a:lnTo>
                        <a:pt x="3197" y="1410"/>
                      </a:lnTo>
                      <a:lnTo>
                        <a:pt x="3172" y="1437"/>
                      </a:lnTo>
                      <a:lnTo>
                        <a:pt x="3148" y="1463"/>
                      </a:lnTo>
                      <a:lnTo>
                        <a:pt x="3122" y="1489"/>
                      </a:lnTo>
                      <a:lnTo>
                        <a:pt x="3095" y="1515"/>
                      </a:lnTo>
                      <a:lnTo>
                        <a:pt x="3070" y="1539"/>
                      </a:lnTo>
                      <a:lnTo>
                        <a:pt x="3042" y="1564"/>
                      </a:lnTo>
                      <a:lnTo>
                        <a:pt x="3015" y="1587"/>
                      </a:lnTo>
                      <a:lnTo>
                        <a:pt x="2988" y="1609"/>
                      </a:lnTo>
                      <a:lnTo>
                        <a:pt x="2959" y="1632"/>
                      </a:lnTo>
                      <a:lnTo>
                        <a:pt x="2930" y="1654"/>
                      </a:lnTo>
                      <a:lnTo>
                        <a:pt x="2901" y="1675"/>
                      </a:lnTo>
                      <a:lnTo>
                        <a:pt x="2872" y="1696"/>
                      </a:lnTo>
                      <a:lnTo>
                        <a:pt x="2842" y="1715"/>
                      </a:lnTo>
                      <a:lnTo>
                        <a:pt x="2812" y="1735"/>
                      </a:lnTo>
                      <a:lnTo>
                        <a:pt x="2782" y="1753"/>
                      </a:lnTo>
                      <a:lnTo>
                        <a:pt x="2752" y="1772"/>
                      </a:lnTo>
                      <a:lnTo>
                        <a:pt x="2720" y="1788"/>
                      </a:lnTo>
                      <a:lnTo>
                        <a:pt x="2666" y="1818"/>
                      </a:lnTo>
                      <a:lnTo>
                        <a:pt x="2609" y="1847"/>
                      </a:lnTo>
                      <a:lnTo>
                        <a:pt x="2549" y="1876"/>
                      </a:lnTo>
                      <a:lnTo>
                        <a:pt x="2487" y="1905"/>
                      </a:lnTo>
                      <a:lnTo>
                        <a:pt x="2423" y="1934"/>
                      </a:lnTo>
                      <a:lnTo>
                        <a:pt x="2356" y="1962"/>
                      </a:lnTo>
                      <a:lnTo>
                        <a:pt x="2289" y="1989"/>
                      </a:lnTo>
                      <a:lnTo>
                        <a:pt x="2220" y="2015"/>
                      </a:lnTo>
                      <a:lnTo>
                        <a:pt x="2148" y="2040"/>
                      </a:lnTo>
                      <a:lnTo>
                        <a:pt x="2077" y="2064"/>
                      </a:lnTo>
                      <a:lnTo>
                        <a:pt x="2004" y="2088"/>
                      </a:lnTo>
                      <a:lnTo>
                        <a:pt x="1929" y="2110"/>
                      </a:lnTo>
                      <a:lnTo>
                        <a:pt x="1854" y="2130"/>
                      </a:lnTo>
                      <a:lnTo>
                        <a:pt x="1779" y="2149"/>
                      </a:lnTo>
                      <a:lnTo>
                        <a:pt x="1703" y="2166"/>
                      </a:lnTo>
                      <a:lnTo>
                        <a:pt x="1627" y="2181"/>
                      </a:lnTo>
                      <a:lnTo>
                        <a:pt x="1551" y="2195"/>
                      </a:lnTo>
                      <a:lnTo>
                        <a:pt x="1475" y="2206"/>
                      </a:lnTo>
                      <a:lnTo>
                        <a:pt x="1398" y="2215"/>
                      </a:lnTo>
                      <a:lnTo>
                        <a:pt x="1324" y="2221"/>
                      </a:lnTo>
                      <a:lnTo>
                        <a:pt x="1248" y="2225"/>
                      </a:lnTo>
                      <a:lnTo>
                        <a:pt x="1174" y="2227"/>
                      </a:lnTo>
                      <a:lnTo>
                        <a:pt x="1101" y="2226"/>
                      </a:lnTo>
                      <a:lnTo>
                        <a:pt x="1029" y="2221"/>
                      </a:lnTo>
                      <a:lnTo>
                        <a:pt x="959" y="2215"/>
                      </a:lnTo>
                      <a:lnTo>
                        <a:pt x="888" y="2205"/>
                      </a:lnTo>
                      <a:lnTo>
                        <a:pt x="822" y="2191"/>
                      </a:lnTo>
                      <a:lnTo>
                        <a:pt x="755" y="2175"/>
                      </a:lnTo>
                      <a:lnTo>
                        <a:pt x="691" y="2155"/>
                      </a:lnTo>
                      <a:lnTo>
                        <a:pt x="629" y="2131"/>
                      </a:lnTo>
                      <a:lnTo>
                        <a:pt x="570" y="2103"/>
                      </a:lnTo>
                      <a:lnTo>
                        <a:pt x="512" y="2072"/>
                      </a:lnTo>
                      <a:lnTo>
                        <a:pt x="479" y="2051"/>
                      </a:lnTo>
                      <a:lnTo>
                        <a:pt x="445" y="2030"/>
                      </a:lnTo>
                      <a:lnTo>
                        <a:pt x="412" y="2007"/>
                      </a:lnTo>
                      <a:lnTo>
                        <a:pt x="381" y="1984"/>
                      </a:lnTo>
                      <a:lnTo>
                        <a:pt x="351" y="1960"/>
                      </a:lnTo>
                      <a:lnTo>
                        <a:pt x="321" y="1935"/>
                      </a:lnTo>
                      <a:lnTo>
                        <a:pt x="293" y="1911"/>
                      </a:lnTo>
                      <a:lnTo>
                        <a:pt x="265" y="1885"/>
                      </a:lnTo>
                      <a:lnTo>
                        <a:pt x="240" y="1859"/>
                      </a:lnTo>
                      <a:lnTo>
                        <a:pt x="214" y="1832"/>
                      </a:lnTo>
                      <a:lnTo>
                        <a:pt x="191" y="1804"/>
                      </a:lnTo>
                      <a:lnTo>
                        <a:pt x="167" y="1775"/>
                      </a:lnTo>
                      <a:lnTo>
                        <a:pt x="146" y="1746"/>
                      </a:lnTo>
                      <a:lnTo>
                        <a:pt x="126" y="1716"/>
                      </a:lnTo>
                      <a:lnTo>
                        <a:pt x="107" y="1686"/>
                      </a:lnTo>
                      <a:lnTo>
                        <a:pt x="90" y="1655"/>
                      </a:lnTo>
                      <a:lnTo>
                        <a:pt x="74" y="1623"/>
                      </a:lnTo>
                      <a:lnTo>
                        <a:pt x="59" y="1590"/>
                      </a:lnTo>
                      <a:lnTo>
                        <a:pt x="47" y="1557"/>
                      </a:lnTo>
                      <a:lnTo>
                        <a:pt x="35" y="1524"/>
                      </a:lnTo>
                      <a:lnTo>
                        <a:pt x="25" y="1489"/>
                      </a:lnTo>
                      <a:lnTo>
                        <a:pt x="17" y="1455"/>
                      </a:lnTo>
                      <a:lnTo>
                        <a:pt x="10" y="1419"/>
                      </a:lnTo>
                      <a:lnTo>
                        <a:pt x="5" y="1382"/>
                      </a:lnTo>
                      <a:lnTo>
                        <a:pt x="1" y="1346"/>
                      </a:lnTo>
                      <a:lnTo>
                        <a:pt x="0" y="1308"/>
                      </a:lnTo>
                      <a:lnTo>
                        <a:pt x="0" y="1270"/>
                      </a:lnTo>
                      <a:lnTo>
                        <a:pt x="2" y="1231"/>
                      </a:lnTo>
                      <a:lnTo>
                        <a:pt x="6" y="1192"/>
                      </a:lnTo>
                      <a:lnTo>
                        <a:pt x="11" y="1152"/>
                      </a:lnTo>
                      <a:lnTo>
                        <a:pt x="19" y="1112"/>
                      </a:lnTo>
                      <a:lnTo>
                        <a:pt x="29" y="1071"/>
                      </a:lnTo>
                      <a:close/>
                    </a:path>
                  </a:pathLst>
                </a:custGeom>
                <a:solidFill>
                  <a:srgbClr val="242D54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265" name="Freeform 212"/>
                <p:cNvSpPr>
                  <a:spLocks/>
                </p:cNvSpPr>
                <p:nvPr/>
              </p:nvSpPr>
              <p:spPr bwMode="auto">
                <a:xfrm>
                  <a:off x="2763" y="2652"/>
                  <a:ext cx="509" cy="269"/>
                </a:xfrm>
                <a:custGeom>
                  <a:avLst/>
                  <a:gdLst>
                    <a:gd name="T0" fmla="*/ 0 w 3582"/>
                    <a:gd name="T1" fmla="*/ 0 h 1884"/>
                    <a:gd name="T2" fmla="*/ 0 w 3582"/>
                    <a:gd name="T3" fmla="*/ 0 h 1884"/>
                    <a:gd name="T4" fmla="*/ 0 w 3582"/>
                    <a:gd name="T5" fmla="*/ 0 h 1884"/>
                    <a:gd name="T6" fmla="*/ 0 w 3582"/>
                    <a:gd name="T7" fmla="*/ 0 h 1884"/>
                    <a:gd name="T8" fmla="*/ 0 w 3582"/>
                    <a:gd name="T9" fmla="*/ 0 h 1884"/>
                    <a:gd name="T10" fmla="*/ 0 w 3582"/>
                    <a:gd name="T11" fmla="*/ 0 h 1884"/>
                    <a:gd name="T12" fmla="*/ 0 w 3582"/>
                    <a:gd name="T13" fmla="*/ 0 h 1884"/>
                    <a:gd name="T14" fmla="*/ 0 w 3582"/>
                    <a:gd name="T15" fmla="*/ 0 h 1884"/>
                    <a:gd name="T16" fmla="*/ 0 w 3582"/>
                    <a:gd name="T17" fmla="*/ 0 h 1884"/>
                    <a:gd name="T18" fmla="*/ 0 w 3582"/>
                    <a:gd name="T19" fmla="*/ 0 h 1884"/>
                    <a:gd name="T20" fmla="*/ 0 w 3582"/>
                    <a:gd name="T21" fmla="*/ 0 h 1884"/>
                    <a:gd name="T22" fmla="*/ 0 w 3582"/>
                    <a:gd name="T23" fmla="*/ 0 h 1884"/>
                    <a:gd name="T24" fmla="*/ 0 w 3582"/>
                    <a:gd name="T25" fmla="*/ 0 h 1884"/>
                    <a:gd name="T26" fmla="*/ 0 w 3582"/>
                    <a:gd name="T27" fmla="*/ 0 h 1884"/>
                    <a:gd name="T28" fmla="*/ 0 w 3582"/>
                    <a:gd name="T29" fmla="*/ 0 h 1884"/>
                    <a:gd name="T30" fmla="*/ 0 w 3582"/>
                    <a:gd name="T31" fmla="*/ 0 h 1884"/>
                    <a:gd name="T32" fmla="*/ 0 w 3582"/>
                    <a:gd name="T33" fmla="*/ 0 h 1884"/>
                    <a:gd name="T34" fmla="*/ 0 w 3582"/>
                    <a:gd name="T35" fmla="*/ 0 h 1884"/>
                    <a:gd name="T36" fmla="*/ 0 w 3582"/>
                    <a:gd name="T37" fmla="*/ 0 h 1884"/>
                    <a:gd name="T38" fmla="*/ 0 w 3582"/>
                    <a:gd name="T39" fmla="*/ 0 h 1884"/>
                    <a:gd name="T40" fmla="*/ 0 w 3582"/>
                    <a:gd name="T41" fmla="*/ 0 h 1884"/>
                    <a:gd name="T42" fmla="*/ 0 w 3582"/>
                    <a:gd name="T43" fmla="*/ 0 h 1884"/>
                    <a:gd name="T44" fmla="*/ 0 w 3582"/>
                    <a:gd name="T45" fmla="*/ 0 h 1884"/>
                    <a:gd name="T46" fmla="*/ 0 w 3582"/>
                    <a:gd name="T47" fmla="*/ 0 h 1884"/>
                    <a:gd name="T48" fmla="*/ 0 w 3582"/>
                    <a:gd name="T49" fmla="*/ 0 h 1884"/>
                    <a:gd name="T50" fmla="*/ 0 w 3582"/>
                    <a:gd name="T51" fmla="*/ 0 h 1884"/>
                    <a:gd name="T52" fmla="*/ 0 w 3582"/>
                    <a:gd name="T53" fmla="*/ 0 h 1884"/>
                    <a:gd name="T54" fmla="*/ 0 w 3582"/>
                    <a:gd name="T55" fmla="*/ 0 h 1884"/>
                    <a:gd name="T56" fmla="*/ 0 w 3582"/>
                    <a:gd name="T57" fmla="*/ 0 h 1884"/>
                    <a:gd name="T58" fmla="*/ 0 w 3582"/>
                    <a:gd name="T59" fmla="*/ 0 h 1884"/>
                    <a:gd name="T60" fmla="*/ 0 w 3582"/>
                    <a:gd name="T61" fmla="*/ 0 h 1884"/>
                    <a:gd name="T62" fmla="*/ 0 w 3582"/>
                    <a:gd name="T63" fmla="*/ 0 h 1884"/>
                    <a:gd name="T64" fmla="*/ 0 w 3582"/>
                    <a:gd name="T65" fmla="*/ 0 h 1884"/>
                    <a:gd name="T66" fmla="*/ 0 w 3582"/>
                    <a:gd name="T67" fmla="*/ 0 h 1884"/>
                    <a:gd name="T68" fmla="*/ 0 w 3582"/>
                    <a:gd name="T69" fmla="*/ 0 h 1884"/>
                    <a:gd name="T70" fmla="*/ 0 w 3582"/>
                    <a:gd name="T71" fmla="*/ 0 h 1884"/>
                    <a:gd name="T72" fmla="*/ 0 w 3582"/>
                    <a:gd name="T73" fmla="*/ 0 h 1884"/>
                    <a:gd name="T74" fmla="*/ 0 w 3582"/>
                    <a:gd name="T75" fmla="*/ 0 h 1884"/>
                    <a:gd name="T76" fmla="*/ 0 w 3582"/>
                    <a:gd name="T77" fmla="*/ 0 h 1884"/>
                    <a:gd name="T78" fmla="*/ 0 w 3582"/>
                    <a:gd name="T79" fmla="*/ 0 h 1884"/>
                    <a:gd name="T80" fmla="*/ 0 w 3582"/>
                    <a:gd name="T81" fmla="*/ 0 h 1884"/>
                    <a:gd name="T82" fmla="*/ 0 w 3582"/>
                    <a:gd name="T83" fmla="*/ 0 h 1884"/>
                    <a:gd name="T84" fmla="*/ 0 w 3582"/>
                    <a:gd name="T85" fmla="*/ 0 h 1884"/>
                    <a:gd name="T86" fmla="*/ 0 w 3582"/>
                    <a:gd name="T87" fmla="*/ 0 h 1884"/>
                    <a:gd name="T88" fmla="*/ 0 w 3582"/>
                    <a:gd name="T89" fmla="*/ 0 h 1884"/>
                    <a:gd name="T90" fmla="*/ 0 w 3582"/>
                    <a:gd name="T91" fmla="*/ 0 h 1884"/>
                    <a:gd name="T92" fmla="*/ 0 w 3582"/>
                    <a:gd name="T93" fmla="*/ 0 h 1884"/>
                    <a:gd name="T94" fmla="*/ 0 w 3582"/>
                    <a:gd name="T95" fmla="*/ 0 h 1884"/>
                    <a:gd name="T96" fmla="*/ 0 w 3582"/>
                    <a:gd name="T97" fmla="*/ 0 h 1884"/>
                    <a:gd name="T98" fmla="*/ 0 w 3582"/>
                    <a:gd name="T99" fmla="*/ 0 h 1884"/>
                    <a:gd name="T100" fmla="*/ 0 w 3582"/>
                    <a:gd name="T101" fmla="*/ 0 h 1884"/>
                    <a:gd name="T102" fmla="*/ 0 w 3582"/>
                    <a:gd name="T103" fmla="*/ 0 h 1884"/>
                    <a:gd name="T104" fmla="*/ 0 w 3582"/>
                    <a:gd name="T105" fmla="*/ 0 h 1884"/>
                    <a:gd name="T106" fmla="*/ 0 w 3582"/>
                    <a:gd name="T107" fmla="*/ 0 h 1884"/>
                    <a:gd name="T108" fmla="*/ 0 w 3582"/>
                    <a:gd name="T109" fmla="*/ 0 h 1884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3582"/>
                    <a:gd name="T166" fmla="*/ 0 h 1884"/>
                    <a:gd name="T167" fmla="*/ 3582 w 3582"/>
                    <a:gd name="T168" fmla="*/ 1884 h 1884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3582" h="1884">
                      <a:moveTo>
                        <a:pt x="29" y="728"/>
                      </a:moveTo>
                      <a:lnTo>
                        <a:pt x="32" y="715"/>
                      </a:lnTo>
                      <a:lnTo>
                        <a:pt x="36" y="702"/>
                      </a:lnTo>
                      <a:lnTo>
                        <a:pt x="40" y="689"/>
                      </a:lnTo>
                      <a:lnTo>
                        <a:pt x="43" y="677"/>
                      </a:lnTo>
                      <a:lnTo>
                        <a:pt x="49" y="701"/>
                      </a:lnTo>
                      <a:lnTo>
                        <a:pt x="56" y="725"/>
                      </a:lnTo>
                      <a:lnTo>
                        <a:pt x="62" y="749"/>
                      </a:lnTo>
                      <a:lnTo>
                        <a:pt x="70" y="773"/>
                      </a:lnTo>
                      <a:lnTo>
                        <a:pt x="78" y="796"/>
                      </a:lnTo>
                      <a:lnTo>
                        <a:pt x="87" y="819"/>
                      </a:lnTo>
                      <a:lnTo>
                        <a:pt x="97" y="842"/>
                      </a:lnTo>
                      <a:lnTo>
                        <a:pt x="107" y="864"/>
                      </a:lnTo>
                      <a:lnTo>
                        <a:pt x="118" y="886"/>
                      </a:lnTo>
                      <a:lnTo>
                        <a:pt x="130" y="908"/>
                      </a:lnTo>
                      <a:lnTo>
                        <a:pt x="142" y="929"/>
                      </a:lnTo>
                      <a:lnTo>
                        <a:pt x="156" y="951"/>
                      </a:lnTo>
                      <a:lnTo>
                        <a:pt x="170" y="972"/>
                      </a:lnTo>
                      <a:lnTo>
                        <a:pt x="185" y="992"/>
                      </a:lnTo>
                      <a:lnTo>
                        <a:pt x="199" y="1012"/>
                      </a:lnTo>
                      <a:lnTo>
                        <a:pt x="216" y="1032"/>
                      </a:lnTo>
                      <a:lnTo>
                        <a:pt x="231" y="1052"/>
                      </a:lnTo>
                      <a:lnTo>
                        <a:pt x="249" y="1071"/>
                      </a:lnTo>
                      <a:lnTo>
                        <a:pt x="266" y="1090"/>
                      </a:lnTo>
                      <a:lnTo>
                        <a:pt x="285" y="1108"/>
                      </a:lnTo>
                      <a:lnTo>
                        <a:pt x="303" y="1126"/>
                      </a:lnTo>
                      <a:lnTo>
                        <a:pt x="322" y="1144"/>
                      </a:lnTo>
                      <a:lnTo>
                        <a:pt x="342" y="1162"/>
                      </a:lnTo>
                      <a:lnTo>
                        <a:pt x="362" y="1179"/>
                      </a:lnTo>
                      <a:lnTo>
                        <a:pt x="383" y="1195"/>
                      </a:lnTo>
                      <a:lnTo>
                        <a:pt x="404" y="1212"/>
                      </a:lnTo>
                      <a:lnTo>
                        <a:pt x="426" y="1229"/>
                      </a:lnTo>
                      <a:lnTo>
                        <a:pt x="448" y="1244"/>
                      </a:lnTo>
                      <a:lnTo>
                        <a:pt x="494" y="1276"/>
                      </a:lnTo>
                      <a:lnTo>
                        <a:pt x="541" y="1304"/>
                      </a:lnTo>
                      <a:lnTo>
                        <a:pt x="599" y="1336"/>
                      </a:lnTo>
                      <a:lnTo>
                        <a:pt x="658" y="1363"/>
                      </a:lnTo>
                      <a:lnTo>
                        <a:pt x="720" y="1387"/>
                      </a:lnTo>
                      <a:lnTo>
                        <a:pt x="783" y="1407"/>
                      </a:lnTo>
                      <a:lnTo>
                        <a:pt x="850" y="1424"/>
                      </a:lnTo>
                      <a:lnTo>
                        <a:pt x="917" y="1437"/>
                      </a:lnTo>
                      <a:lnTo>
                        <a:pt x="987" y="1447"/>
                      </a:lnTo>
                      <a:lnTo>
                        <a:pt x="1057" y="1455"/>
                      </a:lnTo>
                      <a:lnTo>
                        <a:pt x="1130" y="1458"/>
                      </a:lnTo>
                      <a:lnTo>
                        <a:pt x="1203" y="1459"/>
                      </a:lnTo>
                      <a:lnTo>
                        <a:pt x="1277" y="1458"/>
                      </a:lnTo>
                      <a:lnTo>
                        <a:pt x="1352" y="1454"/>
                      </a:lnTo>
                      <a:lnTo>
                        <a:pt x="1427" y="1447"/>
                      </a:lnTo>
                      <a:lnTo>
                        <a:pt x="1504" y="1438"/>
                      </a:lnTo>
                      <a:lnTo>
                        <a:pt x="1579" y="1427"/>
                      </a:lnTo>
                      <a:lnTo>
                        <a:pt x="1656" y="1414"/>
                      </a:lnTo>
                      <a:lnTo>
                        <a:pt x="1732" y="1398"/>
                      </a:lnTo>
                      <a:lnTo>
                        <a:pt x="1807" y="1381"/>
                      </a:lnTo>
                      <a:lnTo>
                        <a:pt x="1883" y="1362"/>
                      </a:lnTo>
                      <a:lnTo>
                        <a:pt x="1958" y="1342"/>
                      </a:lnTo>
                      <a:lnTo>
                        <a:pt x="2032" y="1320"/>
                      </a:lnTo>
                      <a:lnTo>
                        <a:pt x="2106" y="1298"/>
                      </a:lnTo>
                      <a:lnTo>
                        <a:pt x="2177" y="1273"/>
                      </a:lnTo>
                      <a:lnTo>
                        <a:pt x="2248" y="1248"/>
                      </a:lnTo>
                      <a:lnTo>
                        <a:pt x="2317" y="1221"/>
                      </a:lnTo>
                      <a:lnTo>
                        <a:pt x="2385" y="1194"/>
                      </a:lnTo>
                      <a:lnTo>
                        <a:pt x="2452" y="1166"/>
                      </a:lnTo>
                      <a:lnTo>
                        <a:pt x="2515" y="1139"/>
                      </a:lnTo>
                      <a:lnTo>
                        <a:pt x="2578" y="1110"/>
                      </a:lnTo>
                      <a:lnTo>
                        <a:pt x="2637" y="1080"/>
                      </a:lnTo>
                      <a:lnTo>
                        <a:pt x="2695" y="1051"/>
                      </a:lnTo>
                      <a:lnTo>
                        <a:pt x="2749" y="1022"/>
                      </a:lnTo>
                      <a:lnTo>
                        <a:pt x="2780" y="1004"/>
                      </a:lnTo>
                      <a:lnTo>
                        <a:pt x="2810" y="986"/>
                      </a:lnTo>
                      <a:lnTo>
                        <a:pt x="2840" y="967"/>
                      </a:lnTo>
                      <a:lnTo>
                        <a:pt x="2870" y="948"/>
                      </a:lnTo>
                      <a:lnTo>
                        <a:pt x="2900" y="928"/>
                      </a:lnTo>
                      <a:lnTo>
                        <a:pt x="2929" y="907"/>
                      </a:lnTo>
                      <a:lnTo>
                        <a:pt x="2958" y="886"/>
                      </a:lnTo>
                      <a:lnTo>
                        <a:pt x="2987" y="865"/>
                      </a:lnTo>
                      <a:lnTo>
                        <a:pt x="3015" y="843"/>
                      </a:lnTo>
                      <a:lnTo>
                        <a:pt x="3044" y="819"/>
                      </a:lnTo>
                      <a:lnTo>
                        <a:pt x="3071" y="796"/>
                      </a:lnTo>
                      <a:lnTo>
                        <a:pt x="3099" y="771"/>
                      </a:lnTo>
                      <a:lnTo>
                        <a:pt x="3124" y="747"/>
                      </a:lnTo>
                      <a:lnTo>
                        <a:pt x="3151" y="722"/>
                      </a:lnTo>
                      <a:lnTo>
                        <a:pt x="3176" y="696"/>
                      </a:lnTo>
                      <a:lnTo>
                        <a:pt x="3201" y="670"/>
                      </a:lnTo>
                      <a:lnTo>
                        <a:pt x="3225" y="643"/>
                      </a:lnTo>
                      <a:lnTo>
                        <a:pt x="3249" y="616"/>
                      </a:lnTo>
                      <a:lnTo>
                        <a:pt x="3272" y="588"/>
                      </a:lnTo>
                      <a:lnTo>
                        <a:pt x="3294" y="560"/>
                      </a:lnTo>
                      <a:lnTo>
                        <a:pt x="3317" y="531"/>
                      </a:lnTo>
                      <a:lnTo>
                        <a:pt x="3338" y="502"/>
                      </a:lnTo>
                      <a:lnTo>
                        <a:pt x="3358" y="472"/>
                      </a:lnTo>
                      <a:lnTo>
                        <a:pt x="3378" y="442"/>
                      </a:lnTo>
                      <a:lnTo>
                        <a:pt x="3397" y="412"/>
                      </a:lnTo>
                      <a:lnTo>
                        <a:pt x="3415" y="381"/>
                      </a:lnTo>
                      <a:lnTo>
                        <a:pt x="3431" y="350"/>
                      </a:lnTo>
                      <a:lnTo>
                        <a:pt x="3448" y="317"/>
                      </a:lnTo>
                      <a:lnTo>
                        <a:pt x="3464" y="286"/>
                      </a:lnTo>
                      <a:lnTo>
                        <a:pt x="3478" y="253"/>
                      </a:lnTo>
                      <a:lnTo>
                        <a:pt x="3493" y="221"/>
                      </a:lnTo>
                      <a:lnTo>
                        <a:pt x="3505" y="187"/>
                      </a:lnTo>
                      <a:lnTo>
                        <a:pt x="3514" y="164"/>
                      </a:lnTo>
                      <a:lnTo>
                        <a:pt x="3521" y="140"/>
                      </a:lnTo>
                      <a:lnTo>
                        <a:pt x="3529" y="117"/>
                      </a:lnTo>
                      <a:lnTo>
                        <a:pt x="3537" y="94"/>
                      </a:lnTo>
                      <a:lnTo>
                        <a:pt x="3545" y="70"/>
                      </a:lnTo>
                      <a:lnTo>
                        <a:pt x="3552" y="47"/>
                      </a:lnTo>
                      <a:lnTo>
                        <a:pt x="3558" y="24"/>
                      </a:lnTo>
                      <a:lnTo>
                        <a:pt x="3565" y="0"/>
                      </a:lnTo>
                      <a:lnTo>
                        <a:pt x="3569" y="16"/>
                      </a:lnTo>
                      <a:lnTo>
                        <a:pt x="3573" y="33"/>
                      </a:lnTo>
                      <a:lnTo>
                        <a:pt x="3576" y="49"/>
                      </a:lnTo>
                      <a:lnTo>
                        <a:pt x="3578" y="66"/>
                      </a:lnTo>
                      <a:lnTo>
                        <a:pt x="3582" y="100"/>
                      </a:lnTo>
                      <a:lnTo>
                        <a:pt x="3582" y="136"/>
                      </a:lnTo>
                      <a:lnTo>
                        <a:pt x="3582" y="173"/>
                      </a:lnTo>
                      <a:lnTo>
                        <a:pt x="3578" y="211"/>
                      </a:lnTo>
                      <a:lnTo>
                        <a:pt x="3574" y="250"/>
                      </a:lnTo>
                      <a:lnTo>
                        <a:pt x="3568" y="288"/>
                      </a:lnTo>
                      <a:lnTo>
                        <a:pt x="3560" y="329"/>
                      </a:lnTo>
                      <a:lnTo>
                        <a:pt x="3552" y="369"/>
                      </a:lnTo>
                      <a:lnTo>
                        <a:pt x="3541" y="409"/>
                      </a:lnTo>
                      <a:lnTo>
                        <a:pt x="3530" y="450"/>
                      </a:lnTo>
                      <a:lnTo>
                        <a:pt x="3518" y="491"/>
                      </a:lnTo>
                      <a:lnTo>
                        <a:pt x="3505" y="531"/>
                      </a:lnTo>
                      <a:lnTo>
                        <a:pt x="3491" y="572"/>
                      </a:lnTo>
                      <a:lnTo>
                        <a:pt x="3477" y="612"/>
                      </a:lnTo>
                      <a:lnTo>
                        <a:pt x="3464" y="646"/>
                      </a:lnTo>
                      <a:lnTo>
                        <a:pt x="3450" y="678"/>
                      </a:lnTo>
                      <a:lnTo>
                        <a:pt x="3436" y="710"/>
                      </a:lnTo>
                      <a:lnTo>
                        <a:pt x="3420" y="742"/>
                      </a:lnTo>
                      <a:lnTo>
                        <a:pt x="3403" y="775"/>
                      </a:lnTo>
                      <a:lnTo>
                        <a:pt x="3387" y="806"/>
                      </a:lnTo>
                      <a:lnTo>
                        <a:pt x="3368" y="837"/>
                      </a:lnTo>
                      <a:lnTo>
                        <a:pt x="3349" y="867"/>
                      </a:lnTo>
                      <a:lnTo>
                        <a:pt x="3330" y="897"/>
                      </a:lnTo>
                      <a:lnTo>
                        <a:pt x="3309" y="927"/>
                      </a:lnTo>
                      <a:lnTo>
                        <a:pt x="3288" y="956"/>
                      </a:lnTo>
                      <a:lnTo>
                        <a:pt x="3267" y="985"/>
                      </a:lnTo>
                      <a:lnTo>
                        <a:pt x="3244" y="1013"/>
                      </a:lnTo>
                      <a:lnTo>
                        <a:pt x="3221" y="1041"/>
                      </a:lnTo>
                      <a:lnTo>
                        <a:pt x="3196" y="1069"/>
                      </a:lnTo>
                      <a:lnTo>
                        <a:pt x="3173" y="1095"/>
                      </a:lnTo>
                      <a:lnTo>
                        <a:pt x="3147" y="1121"/>
                      </a:lnTo>
                      <a:lnTo>
                        <a:pt x="3122" y="1146"/>
                      </a:lnTo>
                      <a:lnTo>
                        <a:pt x="3096" y="1172"/>
                      </a:lnTo>
                      <a:lnTo>
                        <a:pt x="3070" y="1197"/>
                      </a:lnTo>
                      <a:lnTo>
                        <a:pt x="3043" y="1221"/>
                      </a:lnTo>
                      <a:lnTo>
                        <a:pt x="3015" y="1244"/>
                      </a:lnTo>
                      <a:lnTo>
                        <a:pt x="2987" y="1268"/>
                      </a:lnTo>
                      <a:lnTo>
                        <a:pt x="2959" y="1290"/>
                      </a:lnTo>
                      <a:lnTo>
                        <a:pt x="2930" y="1311"/>
                      </a:lnTo>
                      <a:lnTo>
                        <a:pt x="2902" y="1332"/>
                      </a:lnTo>
                      <a:lnTo>
                        <a:pt x="2871" y="1353"/>
                      </a:lnTo>
                      <a:lnTo>
                        <a:pt x="2843" y="1373"/>
                      </a:lnTo>
                      <a:lnTo>
                        <a:pt x="2812" y="1392"/>
                      </a:lnTo>
                      <a:lnTo>
                        <a:pt x="2781" y="1411"/>
                      </a:lnTo>
                      <a:lnTo>
                        <a:pt x="2751" y="1429"/>
                      </a:lnTo>
                      <a:lnTo>
                        <a:pt x="2721" y="1446"/>
                      </a:lnTo>
                      <a:lnTo>
                        <a:pt x="2666" y="1476"/>
                      </a:lnTo>
                      <a:lnTo>
                        <a:pt x="2609" y="1505"/>
                      </a:lnTo>
                      <a:lnTo>
                        <a:pt x="2549" y="1535"/>
                      </a:lnTo>
                      <a:lnTo>
                        <a:pt x="2487" y="1563"/>
                      </a:lnTo>
                      <a:lnTo>
                        <a:pt x="2423" y="1592"/>
                      </a:lnTo>
                      <a:lnTo>
                        <a:pt x="2357" y="1619"/>
                      </a:lnTo>
                      <a:lnTo>
                        <a:pt x="2289" y="1646"/>
                      </a:lnTo>
                      <a:lnTo>
                        <a:pt x="2220" y="1673"/>
                      </a:lnTo>
                      <a:lnTo>
                        <a:pt x="2149" y="1698"/>
                      </a:lnTo>
                      <a:lnTo>
                        <a:pt x="2077" y="1723"/>
                      </a:lnTo>
                      <a:lnTo>
                        <a:pt x="2003" y="1745"/>
                      </a:lnTo>
                      <a:lnTo>
                        <a:pt x="1930" y="1767"/>
                      </a:lnTo>
                      <a:lnTo>
                        <a:pt x="1854" y="1787"/>
                      </a:lnTo>
                      <a:lnTo>
                        <a:pt x="1780" y="1806"/>
                      </a:lnTo>
                      <a:lnTo>
                        <a:pt x="1703" y="1823"/>
                      </a:lnTo>
                      <a:lnTo>
                        <a:pt x="1627" y="1839"/>
                      </a:lnTo>
                      <a:lnTo>
                        <a:pt x="1550" y="1852"/>
                      </a:lnTo>
                      <a:lnTo>
                        <a:pt x="1475" y="1863"/>
                      </a:lnTo>
                      <a:lnTo>
                        <a:pt x="1399" y="1872"/>
                      </a:lnTo>
                      <a:lnTo>
                        <a:pt x="1323" y="1879"/>
                      </a:lnTo>
                      <a:lnTo>
                        <a:pt x="1249" y="1883"/>
                      </a:lnTo>
                      <a:lnTo>
                        <a:pt x="1174" y="1884"/>
                      </a:lnTo>
                      <a:lnTo>
                        <a:pt x="1102" y="1883"/>
                      </a:lnTo>
                      <a:lnTo>
                        <a:pt x="1029" y="1879"/>
                      </a:lnTo>
                      <a:lnTo>
                        <a:pt x="958" y="1872"/>
                      </a:lnTo>
                      <a:lnTo>
                        <a:pt x="889" y="1862"/>
                      </a:lnTo>
                      <a:lnTo>
                        <a:pt x="821" y="1849"/>
                      </a:lnTo>
                      <a:lnTo>
                        <a:pt x="756" y="1832"/>
                      </a:lnTo>
                      <a:lnTo>
                        <a:pt x="691" y="1812"/>
                      </a:lnTo>
                      <a:lnTo>
                        <a:pt x="630" y="1789"/>
                      </a:lnTo>
                      <a:lnTo>
                        <a:pt x="570" y="1761"/>
                      </a:lnTo>
                      <a:lnTo>
                        <a:pt x="513" y="1730"/>
                      </a:lnTo>
                      <a:lnTo>
                        <a:pt x="479" y="1708"/>
                      </a:lnTo>
                      <a:lnTo>
                        <a:pt x="445" y="1687"/>
                      </a:lnTo>
                      <a:lnTo>
                        <a:pt x="413" y="1665"/>
                      </a:lnTo>
                      <a:lnTo>
                        <a:pt x="382" y="1642"/>
                      </a:lnTo>
                      <a:lnTo>
                        <a:pt x="351" y="1618"/>
                      </a:lnTo>
                      <a:lnTo>
                        <a:pt x="322" y="1594"/>
                      </a:lnTo>
                      <a:lnTo>
                        <a:pt x="293" y="1568"/>
                      </a:lnTo>
                      <a:lnTo>
                        <a:pt x="266" y="1543"/>
                      </a:lnTo>
                      <a:lnTo>
                        <a:pt x="239" y="1516"/>
                      </a:lnTo>
                      <a:lnTo>
                        <a:pt x="215" y="1489"/>
                      </a:lnTo>
                      <a:lnTo>
                        <a:pt x="190" y="1461"/>
                      </a:lnTo>
                      <a:lnTo>
                        <a:pt x="168" y="1432"/>
                      </a:lnTo>
                      <a:lnTo>
                        <a:pt x="147" y="1404"/>
                      </a:lnTo>
                      <a:lnTo>
                        <a:pt x="127" y="1373"/>
                      </a:lnTo>
                      <a:lnTo>
                        <a:pt x="108" y="1343"/>
                      </a:lnTo>
                      <a:lnTo>
                        <a:pt x="90" y="1312"/>
                      </a:lnTo>
                      <a:lnTo>
                        <a:pt x="74" y="1280"/>
                      </a:lnTo>
                      <a:lnTo>
                        <a:pt x="60" y="1248"/>
                      </a:lnTo>
                      <a:lnTo>
                        <a:pt x="47" y="1215"/>
                      </a:lnTo>
                      <a:lnTo>
                        <a:pt x="36" y="1181"/>
                      </a:lnTo>
                      <a:lnTo>
                        <a:pt x="26" y="1148"/>
                      </a:lnTo>
                      <a:lnTo>
                        <a:pt x="17" y="1112"/>
                      </a:lnTo>
                      <a:lnTo>
                        <a:pt x="10" y="1076"/>
                      </a:lnTo>
                      <a:lnTo>
                        <a:pt x="5" y="1041"/>
                      </a:lnTo>
                      <a:lnTo>
                        <a:pt x="2" y="1003"/>
                      </a:lnTo>
                      <a:lnTo>
                        <a:pt x="0" y="966"/>
                      </a:lnTo>
                      <a:lnTo>
                        <a:pt x="0" y="928"/>
                      </a:lnTo>
                      <a:lnTo>
                        <a:pt x="2" y="889"/>
                      </a:lnTo>
                      <a:lnTo>
                        <a:pt x="7" y="849"/>
                      </a:lnTo>
                      <a:lnTo>
                        <a:pt x="12" y="809"/>
                      </a:lnTo>
                      <a:lnTo>
                        <a:pt x="20" y="769"/>
                      </a:lnTo>
                      <a:lnTo>
                        <a:pt x="29" y="728"/>
                      </a:lnTo>
                      <a:close/>
                    </a:path>
                  </a:pathLst>
                </a:custGeom>
                <a:solidFill>
                  <a:srgbClr val="1B233E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266" name="Freeform 213"/>
                <p:cNvSpPr>
                  <a:spLocks/>
                </p:cNvSpPr>
                <p:nvPr/>
              </p:nvSpPr>
              <p:spPr bwMode="auto">
                <a:xfrm>
                  <a:off x="2767" y="2612"/>
                  <a:ext cx="509" cy="230"/>
                </a:xfrm>
                <a:custGeom>
                  <a:avLst/>
                  <a:gdLst>
                    <a:gd name="T0" fmla="*/ 0 w 3578"/>
                    <a:gd name="T1" fmla="*/ 0 h 1617"/>
                    <a:gd name="T2" fmla="*/ 0 w 3578"/>
                    <a:gd name="T3" fmla="*/ 0 h 1617"/>
                    <a:gd name="T4" fmla="*/ 0 w 3578"/>
                    <a:gd name="T5" fmla="*/ 0 h 1617"/>
                    <a:gd name="T6" fmla="*/ 0 w 3578"/>
                    <a:gd name="T7" fmla="*/ 0 h 1617"/>
                    <a:gd name="T8" fmla="*/ 0 w 3578"/>
                    <a:gd name="T9" fmla="*/ 0 h 1617"/>
                    <a:gd name="T10" fmla="*/ 0 w 3578"/>
                    <a:gd name="T11" fmla="*/ 0 h 1617"/>
                    <a:gd name="T12" fmla="*/ 0 w 3578"/>
                    <a:gd name="T13" fmla="*/ 0 h 1617"/>
                    <a:gd name="T14" fmla="*/ 0 w 3578"/>
                    <a:gd name="T15" fmla="*/ 0 h 1617"/>
                    <a:gd name="T16" fmla="*/ 0 w 3578"/>
                    <a:gd name="T17" fmla="*/ 0 h 1617"/>
                    <a:gd name="T18" fmla="*/ 0 w 3578"/>
                    <a:gd name="T19" fmla="*/ 0 h 1617"/>
                    <a:gd name="T20" fmla="*/ 0 w 3578"/>
                    <a:gd name="T21" fmla="*/ 0 h 1617"/>
                    <a:gd name="T22" fmla="*/ 0 w 3578"/>
                    <a:gd name="T23" fmla="*/ 0 h 1617"/>
                    <a:gd name="T24" fmla="*/ 0 w 3578"/>
                    <a:gd name="T25" fmla="*/ 0 h 1617"/>
                    <a:gd name="T26" fmla="*/ 0 w 3578"/>
                    <a:gd name="T27" fmla="*/ 0 h 1617"/>
                    <a:gd name="T28" fmla="*/ 0 w 3578"/>
                    <a:gd name="T29" fmla="*/ 0 h 1617"/>
                    <a:gd name="T30" fmla="*/ 0 w 3578"/>
                    <a:gd name="T31" fmla="*/ 0 h 1617"/>
                    <a:gd name="T32" fmla="*/ 0 w 3578"/>
                    <a:gd name="T33" fmla="*/ 0 h 1617"/>
                    <a:gd name="T34" fmla="*/ 0 w 3578"/>
                    <a:gd name="T35" fmla="*/ 0 h 1617"/>
                    <a:gd name="T36" fmla="*/ 0 w 3578"/>
                    <a:gd name="T37" fmla="*/ 0 h 1617"/>
                    <a:gd name="T38" fmla="*/ 0 w 3578"/>
                    <a:gd name="T39" fmla="*/ 0 h 1617"/>
                    <a:gd name="T40" fmla="*/ 0 w 3578"/>
                    <a:gd name="T41" fmla="*/ 0 h 1617"/>
                    <a:gd name="T42" fmla="*/ 0 w 3578"/>
                    <a:gd name="T43" fmla="*/ 0 h 1617"/>
                    <a:gd name="T44" fmla="*/ 0 w 3578"/>
                    <a:gd name="T45" fmla="*/ 0 h 1617"/>
                    <a:gd name="T46" fmla="*/ 0 w 3578"/>
                    <a:gd name="T47" fmla="*/ 0 h 1617"/>
                    <a:gd name="T48" fmla="*/ 0 w 3578"/>
                    <a:gd name="T49" fmla="*/ 0 h 1617"/>
                    <a:gd name="T50" fmla="*/ 0 w 3578"/>
                    <a:gd name="T51" fmla="*/ 0 h 1617"/>
                    <a:gd name="T52" fmla="*/ 0 w 3578"/>
                    <a:gd name="T53" fmla="*/ 0 h 1617"/>
                    <a:gd name="T54" fmla="*/ 0 w 3578"/>
                    <a:gd name="T55" fmla="*/ 0 h 1617"/>
                    <a:gd name="T56" fmla="*/ 0 w 3578"/>
                    <a:gd name="T57" fmla="*/ 0 h 1617"/>
                    <a:gd name="T58" fmla="*/ 0 w 3578"/>
                    <a:gd name="T59" fmla="*/ 0 h 1617"/>
                    <a:gd name="T60" fmla="*/ 0 w 3578"/>
                    <a:gd name="T61" fmla="*/ 0 h 1617"/>
                    <a:gd name="T62" fmla="*/ 0 w 3578"/>
                    <a:gd name="T63" fmla="*/ 0 h 1617"/>
                    <a:gd name="T64" fmla="*/ 0 w 3578"/>
                    <a:gd name="T65" fmla="*/ 0 h 1617"/>
                    <a:gd name="T66" fmla="*/ 0 w 3578"/>
                    <a:gd name="T67" fmla="*/ 0 h 1617"/>
                    <a:gd name="T68" fmla="*/ 0 w 3578"/>
                    <a:gd name="T69" fmla="*/ 0 h 1617"/>
                    <a:gd name="T70" fmla="*/ 0 w 3578"/>
                    <a:gd name="T71" fmla="*/ 0 h 1617"/>
                    <a:gd name="T72" fmla="*/ 0 w 3578"/>
                    <a:gd name="T73" fmla="*/ 0 h 1617"/>
                    <a:gd name="T74" fmla="*/ 0 w 3578"/>
                    <a:gd name="T75" fmla="*/ 0 h 1617"/>
                    <a:gd name="T76" fmla="*/ 0 w 3578"/>
                    <a:gd name="T77" fmla="*/ 0 h 1617"/>
                    <a:gd name="T78" fmla="*/ 0 w 3578"/>
                    <a:gd name="T79" fmla="*/ 0 h 1617"/>
                    <a:gd name="T80" fmla="*/ 0 w 3578"/>
                    <a:gd name="T81" fmla="*/ 0 h 1617"/>
                    <a:gd name="T82" fmla="*/ 0 w 3578"/>
                    <a:gd name="T83" fmla="*/ 0 h 1617"/>
                    <a:gd name="T84" fmla="*/ 0 w 3578"/>
                    <a:gd name="T85" fmla="*/ 0 h 1617"/>
                    <a:gd name="T86" fmla="*/ 0 w 3578"/>
                    <a:gd name="T87" fmla="*/ 0 h 1617"/>
                    <a:gd name="T88" fmla="*/ 0 w 3578"/>
                    <a:gd name="T89" fmla="*/ 0 h 1617"/>
                    <a:gd name="T90" fmla="*/ 0 w 3578"/>
                    <a:gd name="T91" fmla="*/ 0 h 1617"/>
                    <a:gd name="T92" fmla="*/ 0 w 3578"/>
                    <a:gd name="T93" fmla="*/ 0 h 1617"/>
                    <a:gd name="T94" fmla="*/ 0 w 3578"/>
                    <a:gd name="T95" fmla="*/ 0 h 1617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3578"/>
                    <a:gd name="T145" fmla="*/ 0 h 1617"/>
                    <a:gd name="T146" fmla="*/ 3578 w 3578"/>
                    <a:gd name="T147" fmla="*/ 1617 h 1617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3578" h="1617">
                      <a:moveTo>
                        <a:pt x="3395" y="291"/>
                      </a:moveTo>
                      <a:lnTo>
                        <a:pt x="3360" y="282"/>
                      </a:lnTo>
                      <a:lnTo>
                        <a:pt x="3321" y="273"/>
                      </a:lnTo>
                      <a:lnTo>
                        <a:pt x="3277" y="263"/>
                      </a:lnTo>
                      <a:lnTo>
                        <a:pt x="3228" y="255"/>
                      </a:lnTo>
                      <a:lnTo>
                        <a:pt x="3174" y="246"/>
                      </a:lnTo>
                      <a:lnTo>
                        <a:pt x="3117" y="237"/>
                      </a:lnTo>
                      <a:lnTo>
                        <a:pt x="3056" y="229"/>
                      </a:lnTo>
                      <a:lnTo>
                        <a:pt x="2990" y="222"/>
                      </a:lnTo>
                      <a:lnTo>
                        <a:pt x="2921" y="214"/>
                      </a:lnTo>
                      <a:lnTo>
                        <a:pt x="2850" y="206"/>
                      </a:lnTo>
                      <a:lnTo>
                        <a:pt x="2776" y="201"/>
                      </a:lnTo>
                      <a:lnTo>
                        <a:pt x="2698" y="194"/>
                      </a:lnTo>
                      <a:lnTo>
                        <a:pt x="2618" y="188"/>
                      </a:lnTo>
                      <a:lnTo>
                        <a:pt x="2535" y="184"/>
                      </a:lnTo>
                      <a:lnTo>
                        <a:pt x="2452" y="179"/>
                      </a:lnTo>
                      <a:lnTo>
                        <a:pt x="2365" y="176"/>
                      </a:lnTo>
                      <a:lnTo>
                        <a:pt x="2277" y="173"/>
                      </a:lnTo>
                      <a:lnTo>
                        <a:pt x="2189" y="172"/>
                      </a:lnTo>
                      <a:lnTo>
                        <a:pt x="2099" y="170"/>
                      </a:lnTo>
                      <a:lnTo>
                        <a:pt x="2008" y="170"/>
                      </a:lnTo>
                      <a:lnTo>
                        <a:pt x="1916" y="172"/>
                      </a:lnTo>
                      <a:lnTo>
                        <a:pt x="1825" y="174"/>
                      </a:lnTo>
                      <a:lnTo>
                        <a:pt x="1733" y="177"/>
                      </a:lnTo>
                      <a:lnTo>
                        <a:pt x="1642" y="182"/>
                      </a:lnTo>
                      <a:lnTo>
                        <a:pt x="1550" y="187"/>
                      </a:lnTo>
                      <a:lnTo>
                        <a:pt x="1459" y="194"/>
                      </a:lnTo>
                      <a:lnTo>
                        <a:pt x="1370" y="203"/>
                      </a:lnTo>
                      <a:lnTo>
                        <a:pt x="1281" y="212"/>
                      </a:lnTo>
                      <a:lnTo>
                        <a:pt x="1194" y="223"/>
                      </a:lnTo>
                      <a:lnTo>
                        <a:pt x="1108" y="235"/>
                      </a:lnTo>
                      <a:lnTo>
                        <a:pt x="1024" y="250"/>
                      </a:lnTo>
                      <a:lnTo>
                        <a:pt x="943" y="265"/>
                      </a:lnTo>
                      <a:lnTo>
                        <a:pt x="906" y="274"/>
                      </a:lnTo>
                      <a:lnTo>
                        <a:pt x="870" y="285"/>
                      </a:lnTo>
                      <a:lnTo>
                        <a:pt x="834" y="298"/>
                      </a:lnTo>
                      <a:lnTo>
                        <a:pt x="798" y="314"/>
                      </a:lnTo>
                      <a:lnTo>
                        <a:pt x="762" y="333"/>
                      </a:lnTo>
                      <a:lnTo>
                        <a:pt x="728" y="353"/>
                      </a:lnTo>
                      <a:lnTo>
                        <a:pt x="692" y="374"/>
                      </a:lnTo>
                      <a:lnTo>
                        <a:pt x="659" y="399"/>
                      </a:lnTo>
                      <a:lnTo>
                        <a:pt x="624" y="424"/>
                      </a:lnTo>
                      <a:lnTo>
                        <a:pt x="591" y="451"/>
                      </a:lnTo>
                      <a:lnTo>
                        <a:pt x="557" y="480"/>
                      </a:lnTo>
                      <a:lnTo>
                        <a:pt x="526" y="510"/>
                      </a:lnTo>
                      <a:lnTo>
                        <a:pt x="494" y="542"/>
                      </a:lnTo>
                      <a:lnTo>
                        <a:pt x="463" y="574"/>
                      </a:lnTo>
                      <a:lnTo>
                        <a:pt x="433" y="608"/>
                      </a:lnTo>
                      <a:lnTo>
                        <a:pt x="404" y="642"/>
                      </a:lnTo>
                      <a:lnTo>
                        <a:pt x="375" y="678"/>
                      </a:lnTo>
                      <a:lnTo>
                        <a:pt x="348" y="715"/>
                      </a:lnTo>
                      <a:lnTo>
                        <a:pt x="322" y="751"/>
                      </a:lnTo>
                      <a:lnTo>
                        <a:pt x="296" y="789"/>
                      </a:lnTo>
                      <a:lnTo>
                        <a:pt x="271" y="827"/>
                      </a:lnTo>
                      <a:lnTo>
                        <a:pt x="248" y="865"/>
                      </a:lnTo>
                      <a:lnTo>
                        <a:pt x="226" y="904"/>
                      </a:lnTo>
                      <a:lnTo>
                        <a:pt x="205" y="942"/>
                      </a:lnTo>
                      <a:lnTo>
                        <a:pt x="185" y="981"/>
                      </a:lnTo>
                      <a:lnTo>
                        <a:pt x="166" y="1018"/>
                      </a:lnTo>
                      <a:lnTo>
                        <a:pt x="149" y="1057"/>
                      </a:lnTo>
                      <a:lnTo>
                        <a:pt x="133" y="1095"/>
                      </a:lnTo>
                      <a:lnTo>
                        <a:pt x="119" y="1132"/>
                      </a:lnTo>
                      <a:lnTo>
                        <a:pt x="106" y="1169"/>
                      </a:lnTo>
                      <a:lnTo>
                        <a:pt x="94" y="1205"/>
                      </a:lnTo>
                      <a:lnTo>
                        <a:pt x="86" y="1240"/>
                      </a:lnTo>
                      <a:lnTo>
                        <a:pt x="79" y="1266"/>
                      </a:lnTo>
                      <a:lnTo>
                        <a:pt x="73" y="1291"/>
                      </a:lnTo>
                      <a:lnTo>
                        <a:pt x="69" y="1316"/>
                      </a:lnTo>
                      <a:lnTo>
                        <a:pt x="66" y="1340"/>
                      </a:lnTo>
                      <a:lnTo>
                        <a:pt x="62" y="1365"/>
                      </a:lnTo>
                      <a:lnTo>
                        <a:pt x="60" y="1389"/>
                      </a:lnTo>
                      <a:lnTo>
                        <a:pt x="58" y="1412"/>
                      </a:lnTo>
                      <a:lnTo>
                        <a:pt x="57" y="1437"/>
                      </a:lnTo>
                      <a:lnTo>
                        <a:pt x="57" y="1460"/>
                      </a:lnTo>
                      <a:lnTo>
                        <a:pt x="57" y="1484"/>
                      </a:lnTo>
                      <a:lnTo>
                        <a:pt x="58" y="1506"/>
                      </a:lnTo>
                      <a:lnTo>
                        <a:pt x="59" y="1529"/>
                      </a:lnTo>
                      <a:lnTo>
                        <a:pt x="61" y="1552"/>
                      </a:lnTo>
                      <a:lnTo>
                        <a:pt x="64" y="1574"/>
                      </a:lnTo>
                      <a:lnTo>
                        <a:pt x="68" y="1596"/>
                      </a:lnTo>
                      <a:lnTo>
                        <a:pt x="72" y="1617"/>
                      </a:lnTo>
                      <a:lnTo>
                        <a:pt x="59" y="1587"/>
                      </a:lnTo>
                      <a:lnTo>
                        <a:pt x="47" y="1557"/>
                      </a:lnTo>
                      <a:lnTo>
                        <a:pt x="35" y="1526"/>
                      </a:lnTo>
                      <a:lnTo>
                        <a:pt x="27" y="1494"/>
                      </a:lnTo>
                      <a:lnTo>
                        <a:pt x="19" y="1461"/>
                      </a:lnTo>
                      <a:lnTo>
                        <a:pt x="12" y="1429"/>
                      </a:lnTo>
                      <a:lnTo>
                        <a:pt x="7" y="1396"/>
                      </a:lnTo>
                      <a:lnTo>
                        <a:pt x="3" y="1361"/>
                      </a:lnTo>
                      <a:lnTo>
                        <a:pt x="1" y="1327"/>
                      </a:lnTo>
                      <a:lnTo>
                        <a:pt x="0" y="1292"/>
                      </a:lnTo>
                      <a:lnTo>
                        <a:pt x="1" y="1257"/>
                      </a:lnTo>
                      <a:lnTo>
                        <a:pt x="3" y="1220"/>
                      </a:lnTo>
                      <a:lnTo>
                        <a:pt x="7" y="1183"/>
                      </a:lnTo>
                      <a:lnTo>
                        <a:pt x="12" y="1146"/>
                      </a:lnTo>
                      <a:lnTo>
                        <a:pt x="20" y="1109"/>
                      </a:lnTo>
                      <a:lnTo>
                        <a:pt x="29" y="1071"/>
                      </a:lnTo>
                      <a:lnTo>
                        <a:pt x="38" y="1035"/>
                      </a:lnTo>
                      <a:lnTo>
                        <a:pt x="49" y="1000"/>
                      </a:lnTo>
                      <a:lnTo>
                        <a:pt x="62" y="963"/>
                      </a:lnTo>
                      <a:lnTo>
                        <a:pt x="77" y="925"/>
                      </a:lnTo>
                      <a:lnTo>
                        <a:pt x="92" y="887"/>
                      </a:lnTo>
                      <a:lnTo>
                        <a:pt x="109" y="849"/>
                      </a:lnTo>
                      <a:lnTo>
                        <a:pt x="128" y="810"/>
                      </a:lnTo>
                      <a:lnTo>
                        <a:pt x="148" y="773"/>
                      </a:lnTo>
                      <a:lnTo>
                        <a:pt x="169" y="734"/>
                      </a:lnTo>
                      <a:lnTo>
                        <a:pt x="191" y="695"/>
                      </a:lnTo>
                      <a:lnTo>
                        <a:pt x="215" y="657"/>
                      </a:lnTo>
                      <a:lnTo>
                        <a:pt x="239" y="619"/>
                      </a:lnTo>
                      <a:lnTo>
                        <a:pt x="265" y="581"/>
                      </a:lnTo>
                      <a:lnTo>
                        <a:pt x="291" y="544"/>
                      </a:lnTo>
                      <a:lnTo>
                        <a:pt x="319" y="509"/>
                      </a:lnTo>
                      <a:lnTo>
                        <a:pt x="347" y="473"/>
                      </a:lnTo>
                      <a:lnTo>
                        <a:pt x="376" y="438"/>
                      </a:lnTo>
                      <a:lnTo>
                        <a:pt x="407" y="404"/>
                      </a:lnTo>
                      <a:lnTo>
                        <a:pt x="437" y="372"/>
                      </a:lnTo>
                      <a:lnTo>
                        <a:pt x="470" y="341"/>
                      </a:lnTo>
                      <a:lnTo>
                        <a:pt x="502" y="311"/>
                      </a:lnTo>
                      <a:lnTo>
                        <a:pt x="534" y="282"/>
                      </a:lnTo>
                      <a:lnTo>
                        <a:pt x="567" y="254"/>
                      </a:lnTo>
                      <a:lnTo>
                        <a:pt x="602" y="228"/>
                      </a:lnTo>
                      <a:lnTo>
                        <a:pt x="637" y="205"/>
                      </a:lnTo>
                      <a:lnTo>
                        <a:pt x="671" y="183"/>
                      </a:lnTo>
                      <a:lnTo>
                        <a:pt x="706" y="163"/>
                      </a:lnTo>
                      <a:lnTo>
                        <a:pt x="741" y="145"/>
                      </a:lnTo>
                      <a:lnTo>
                        <a:pt x="777" y="128"/>
                      </a:lnTo>
                      <a:lnTo>
                        <a:pt x="813" y="115"/>
                      </a:lnTo>
                      <a:lnTo>
                        <a:pt x="849" y="104"/>
                      </a:lnTo>
                      <a:lnTo>
                        <a:pt x="886" y="95"/>
                      </a:lnTo>
                      <a:lnTo>
                        <a:pt x="967" y="79"/>
                      </a:lnTo>
                      <a:lnTo>
                        <a:pt x="1052" y="66"/>
                      </a:lnTo>
                      <a:lnTo>
                        <a:pt x="1137" y="53"/>
                      </a:lnTo>
                      <a:lnTo>
                        <a:pt x="1224" y="41"/>
                      </a:lnTo>
                      <a:lnTo>
                        <a:pt x="1313" y="33"/>
                      </a:lnTo>
                      <a:lnTo>
                        <a:pt x="1403" y="24"/>
                      </a:lnTo>
                      <a:lnTo>
                        <a:pt x="1494" y="17"/>
                      </a:lnTo>
                      <a:lnTo>
                        <a:pt x="1585" y="11"/>
                      </a:lnTo>
                      <a:lnTo>
                        <a:pt x="1676" y="7"/>
                      </a:lnTo>
                      <a:lnTo>
                        <a:pt x="1768" y="4"/>
                      </a:lnTo>
                      <a:lnTo>
                        <a:pt x="1860" y="1"/>
                      </a:lnTo>
                      <a:lnTo>
                        <a:pt x="1951" y="0"/>
                      </a:lnTo>
                      <a:lnTo>
                        <a:pt x="2042" y="0"/>
                      </a:lnTo>
                      <a:lnTo>
                        <a:pt x="2132" y="1"/>
                      </a:lnTo>
                      <a:lnTo>
                        <a:pt x="2221" y="4"/>
                      </a:lnTo>
                      <a:lnTo>
                        <a:pt x="2308" y="6"/>
                      </a:lnTo>
                      <a:lnTo>
                        <a:pt x="2395" y="9"/>
                      </a:lnTo>
                      <a:lnTo>
                        <a:pt x="2479" y="14"/>
                      </a:lnTo>
                      <a:lnTo>
                        <a:pt x="2561" y="18"/>
                      </a:lnTo>
                      <a:lnTo>
                        <a:pt x="2641" y="24"/>
                      </a:lnTo>
                      <a:lnTo>
                        <a:pt x="2719" y="30"/>
                      </a:lnTo>
                      <a:lnTo>
                        <a:pt x="2793" y="37"/>
                      </a:lnTo>
                      <a:lnTo>
                        <a:pt x="2866" y="44"/>
                      </a:lnTo>
                      <a:lnTo>
                        <a:pt x="2934" y="51"/>
                      </a:lnTo>
                      <a:lnTo>
                        <a:pt x="2999" y="59"/>
                      </a:lnTo>
                      <a:lnTo>
                        <a:pt x="3061" y="67"/>
                      </a:lnTo>
                      <a:lnTo>
                        <a:pt x="3117" y="76"/>
                      </a:lnTo>
                      <a:lnTo>
                        <a:pt x="3171" y="85"/>
                      </a:lnTo>
                      <a:lnTo>
                        <a:pt x="3220" y="94"/>
                      </a:lnTo>
                      <a:lnTo>
                        <a:pt x="3264" y="103"/>
                      </a:lnTo>
                      <a:lnTo>
                        <a:pt x="3303" y="112"/>
                      </a:lnTo>
                      <a:lnTo>
                        <a:pt x="3338" y="120"/>
                      </a:lnTo>
                      <a:lnTo>
                        <a:pt x="3367" y="129"/>
                      </a:lnTo>
                      <a:lnTo>
                        <a:pt x="3393" y="140"/>
                      </a:lnTo>
                      <a:lnTo>
                        <a:pt x="3418" y="153"/>
                      </a:lnTo>
                      <a:lnTo>
                        <a:pt x="3440" y="166"/>
                      </a:lnTo>
                      <a:lnTo>
                        <a:pt x="3460" y="181"/>
                      </a:lnTo>
                      <a:lnTo>
                        <a:pt x="3479" y="197"/>
                      </a:lnTo>
                      <a:lnTo>
                        <a:pt x="3496" y="214"/>
                      </a:lnTo>
                      <a:lnTo>
                        <a:pt x="3511" y="233"/>
                      </a:lnTo>
                      <a:lnTo>
                        <a:pt x="3525" y="252"/>
                      </a:lnTo>
                      <a:lnTo>
                        <a:pt x="3537" y="273"/>
                      </a:lnTo>
                      <a:lnTo>
                        <a:pt x="3547" y="294"/>
                      </a:lnTo>
                      <a:lnTo>
                        <a:pt x="3556" y="317"/>
                      </a:lnTo>
                      <a:lnTo>
                        <a:pt x="3564" y="341"/>
                      </a:lnTo>
                      <a:lnTo>
                        <a:pt x="3570" y="365"/>
                      </a:lnTo>
                      <a:lnTo>
                        <a:pt x="3575" y="390"/>
                      </a:lnTo>
                      <a:lnTo>
                        <a:pt x="3578" y="416"/>
                      </a:lnTo>
                      <a:lnTo>
                        <a:pt x="3570" y="405"/>
                      </a:lnTo>
                      <a:lnTo>
                        <a:pt x="3563" y="395"/>
                      </a:lnTo>
                      <a:lnTo>
                        <a:pt x="3554" y="385"/>
                      </a:lnTo>
                      <a:lnTo>
                        <a:pt x="3545" y="375"/>
                      </a:lnTo>
                      <a:lnTo>
                        <a:pt x="3536" y="366"/>
                      </a:lnTo>
                      <a:lnTo>
                        <a:pt x="3526" y="357"/>
                      </a:lnTo>
                      <a:lnTo>
                        <a:pt x="3515" y="349"/>
                      </a:lnTo>
                      <a:lnTo>
                        <a:pt x="3504" y="341"/>
                      </a:lnTo>
                      <a:lnTo>
                        <a:pt x="3492" y="333"/>
                      </a:lnTo>
                      <a:lnTo>
                        <a:pt x="3480" y="326"/>
                      </a:lnTo>
                      <a:lnTo>
                        <a:pt x="3467" y="319"/>
                      </a:lnTo>
                      <a:lnTo>
                        <a:pt x="3454" y="312"/>
                      </a:lnTo>
                      <a:lnTo>
                        <a:pt x="3440" y="306"/>
                      </a:lnTo>
                      <a:lnTo>
                        <a:pt x="3426" y="301"/>
                      </a:lnTo>
                      <a:lnTo>
                        <a:pt x="3410" y="295"/>
                      </a:lnTo>
                      <a:lnTo>
                        <a:pt x="3395" y="291"/>
                      </a:lnTo>
                      <a:close/>
                    </a:path>
                  </a:pathLst>
                </a:custGeom>
                <a:solidFill>
                  <a:srgbClr val="1B457C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267" name="Freeform 214"/>
                <p:cNvSpPr>
                  <a:spLocks/>
                </p:cNvSpPr>
                <p:nvPr/>
              </p:nvSpPr>
              <p:spPr bwMode="auto">
                <a:xfrm>
                  <a:off x="2950" y="2489"/>
                  <a:ext cx="984" cy="575"/>
                </a:xfrm>
                <a:custGeom>
                  <a:avLst/>
                  <a:gdLst>
                    <a:gd name="T0" fmla="*/ 0 w 6882"/>
                    <a:gd name="T1" fmla="*/ 0 h 4066"/>
                    <a:gd name="T2" fmla="*/ 0 w 6882"/>
                    <a:gd name="T3" fmla="*/ 0 h 4066"/>
                    <a:gd name="T4" fmla="*/ 0 w 6882"/>
                    <a:gd name="T5" fmla="*/ 0 h 4066"/>
                    <a:gd name="T6" fmla="*/ 0 w 6882"/>
                    <a:gd name="T7" fmla="*/ 0 h 4066"/>
                    <a:gd name="T8" fmla="*/ 0 w 6882"/>
                    <a:gd name="T9" fmla="*/ 0 h 4066"/>
                    <a:gd name="T10" fmla="*/ 0 w 6882"/>
                    <a:gd name="T11" fmla="*/ 0 h 4066"/>
                    <a:gd name="T12" fmla="*/ 0 w 6882"/>
                    <a:gd name="T13" fmla="*/ 0 h 4066"/>
                    <a:gd name="T14" fmla="*/ 0 w 6882"/>
                    <a:gd name="T15" fmla="*/ 0 h 4066"/>
                    <a:gd name="T16" fmla="*/ 0 w 6882"/>
                    <a:gd name="T17" fmla="*/ 0 h 4066"/>
                    <a:gd name="T18" fmla="*/ 0 w 6882"/>
                    <a:gd name="T19" fmla="*/ 0 h 4066"/>
                    <a:gd name="T20" fmla="*/ 0 w 6882"/>
                    <a:gd name="T21" fmla="*/ 0 h 4066"/>
                    <a:gd name="T22" fmla="*/ 0 w 6882"/>
                    <a:gd name="T23" fmla="*/ 0 h 4066"/>
                    <a:gd name="T24" fmla="*/ 0 w 6882"/>
                    <a:gd name="T25" fmla="*/ 0 h 4066"/>
                    <a:gd name="T26" fmla="*/ 0 w 6882"/>
                    <a:gd name="T27" fmla="*/ 0 h 4066"/>
                    <a:gd name="T28" fmla="*/ 0 w 6882"/>
                    <a:gd name="T29" fmla="*/ 0 h 4066"/>
                    <a:gd name="T30" fmla="*/ 0 w 6882"/>
                    <a:gd name="T31" fmla="*/ 0 h 4066"/>
                    <a:gd name="T32" fmla="*/ 0 w 6882"/>
                    <a:gd name="T33" fmla="*/ 0 h 4066"/>
                    <a:gd name="T34" fmla="*/ 0 w 6882"/>
                    <a:gd name="T35" fmla="*/ 0 h 4066"/>
                    <a:gd name="T36" fmla="*/ 0 w 6882"/>
                    <a:gd name="T37" fmla="*/ 0 h 4066"/>
                    <a:gd name="T38" fmla="*/ 0 w 6882"/>
                    <a:gd name="T39" fmla="*/ 0 h 4066"/>
                    <a:gd name="T40" fmla="*/ 0 w 6882"/>
                    <a:gd name="T41" fmla="*/ 0 h 4066"/>
                    <a:gd name="T42" fmla="*/ 0 w 6882"/>
                    <a:gd name="T43" fmla="*/ 0 h 4066"/>
                    <a:gd name="T44" fmla="*/ 0 w 6882"/>
                    <a:gd name="T45" fmla="*/ 0 h 4066"/>
                    <a:gd name="T46" fmla="*/ 0 w 6882"/>
                    <a:gd name="T47" fmla="*/ 0 h 4066"/>
                    <a:gd name="T48" fmla="*/ 0 w 6882"/>
                    <a:gd name="T49" fmla="*/ 0 h 4066"/>
                    <a:gd name="T50" fmla="*/ 0 w 6882"/>
                    <a:gd name="T51" fmla="*/ 0 h 4066"/>
                    <a:gd name="T52" fmla="*/ 0 w 6882"/>
                    <a:gd name="T53" fmla="*/ 0 h 4066"/>
                    <a:gd name="T54" fmla="*/ 0 w 6882"/>
                    <a:gd name="T55" fmla="*/ 0 h 4066"/>
                    <a:gd name="T56" fmla="*/ 0 w 6882"/>
                    <a:gd name="T57" fmla="*/ 0 h 4066"/>
                    <a:gd name="T58" fmla="*/ 0 w 6882"/>
                    <a:gd name="T59" fmla="*/ 0 h 4066"/>
                    <a:gd name="T60" fmla="*/ 0 w 6882"/>
                    <a:gd name="T61" fmla="*/ 0 h 4066"/>
                    <a:gd name="T62" fmla="*/ 0 w 6882"/>
                    <a:gd name="T63" fmla="*/ 0 h 4066"/>
                    <a:gd name="T64" fmla="*/ 0 w 6882"/>
                    <a:gd name="T65" fmla="*/ 0 h 4066"/>
                    <a:gd name="T66" fmla="*/ 0 w 6882"/>
                    <a:gd name="T67" fmla="*/ 0 h 4066"/>
                    <a:gd name="T68" fmla="*/ 0 w 6882"/>
                    <a:gd name="T69" fmla="*/ 0 h 4066"/>
                    <a:gd name="T70" fmla="*/ 0 w 6882"/>
                    <a:gd name="T71" fmla="*/ 0 h 4066"/>
                    <a:gd name="T72" fmla="*/ 0 w 6882"/>
                    <a:gd name="T73" fmla="*/ 0 h 4066"/>
                    <a:gd name="T74" fmla="*/ 0 w 6882"/>
                    <a:gd name="T75" fmla="*/ 0 h 4066"/>
                    <a:gd name="T76" fmla="*/ 0 w 6882"/>
                    <a:gd name="T77" fmla="*/ 0 h 4066"/>
                    <a:gd name="T78" fmla="*/ 0 w 6882"/>
                    <a:gd name="T79" fmla="*/ 0 h 4066"/>
                    <a:gd name="T80" fmla="*/ 0 w 6882"/>
                    <a:gd name="T81" fmla="*/ 0 h 4066"/>
                    <a:gd name="T82" fmla="*/ 0 w 6882"/>
                    <a:gd name="T83" fmla="*/ 0 h 4066"/>
                    <a:gd name="T84" fmla="*/ 0 w 6882"/>
                    <a:gd name="T85" fmla="*/ 0 h 4066"/>
                    <a:gd name="T86" fmla="*/ 0 w 6882"/>
                    <a:gd name="T87" fmla="*/ 0 h 4066"/>
                    <a:gd name="T88" fmla="*/ 0 w 6882"/>
                    <a:gd name="T89" fmla="*/ 0 h 4066"/>
                    <a:gd name="T90" fmla="*/ 0 w 6882"/>
                    <a:gd name="T91" fmla="*/ 0 h 4066"/>
                    <a:gd name="T92" fmla="*/ 0 w 6882"/>
                    <a:gd name="T93" fmla="*/ 0 h 4066"/>
                    <a:gd name="T94" fmla="*/ 0 w 6882"/>
                    <a:gd name="T95" fmla="*/ 0 h 406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6882"/>
                    <a:gd name="T145" fmla="*/ 0 h 4066"/>
                    <a:gd name="T146" fmla="*/ 6882 w 6882"/>
                    <a:gd name="T147" fmla="*/ 4066 h 4066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6882" h="4066">
                      <a:moveTo>
                        <a:pt x="6852" y="4060"/>
                      </a:moveTo>
                      <a:lnTo>
                        <a:pt x="6873" y="3833"/>
                      </a:lnTo>
                      <a:lnTo>
                        <a:pt x="6882" y="3612"/>
                      </a:lnTo>
                      <a:lnTo>
                        <a:pt x="6877" y="3395"/>
                      </a:lnTo>
                      <a:lnTo>
                        <a:pt x="6863" y="3183"/>
                      </a:lnTo>
                      <a:lnTo>
                        <a:pt x="6836" y="2978"/>
                      </a:lnTo>
                      <a:lnTo>
                        <a:pt x="6799" y="2777"/>
                      </a:lnTo>
                      <a:lnTo>
                        <a:pt x="6752" y="2582"/>
                      </a:lnTo>
                      <a:lnTo>
                        <a:pt x="6694" y="2394"/>
                      </a:lnTo>
                      <a:lnTo>
                        <a:pt x="6627" y="2211"/>
                      </a:lnTo>
                      <a:lnTo>
                        <a:pt x="6551" y="2035"/>
                      </a:lnTo>
                      <a:lnTo>
                        <a:pt x="6467" y="1865"/>
                      </a:lnTo>
                      <a:lnTo>
                        <a:pt x="6373" y="1701"/>
                      </a:lnTo>
                      <a:lnTo>
                        <a:pt x="6273" y="1543"/>
                      </a:lnTo>
                      <a:lnTo>
                        <a:pt x="6165" y="1393"/>
                      </a:lnTo>
                      <a:lnTo>
                        <a:pt x="6050" y="1249"/>
                      </a:lnTo>
                      <a:lnTo>
                        <a:pt x="5929" y="1112"/>
                      </a:lnTo>
                      <a:lnTo>
                        <a:pt x="5801" y="983"/>
                      </a:lnTo>
                      <a:lnTo>
                        <a:pt x="5669" y="861"/>
                      </a:lnTo>
                      <a:lnTo>
                        <a:pt x="5531" y="746"/>
                      </a:lnTo>
                      <a:lnTo>
                        <a:pt x="5387" y="639"/>
                      </a:lnTo>
                      <a:lnTo>
                        <a:pt x="5240" y="540"/>
                      </a:lnTo>
                      <a:lnTo>
                        <a:pt x="5089" y="449"/>
                      </a:lnTo>
                      <a:lnTo>
                        <a:pt x="4934" y="366"/>
                      </a:lnTo>
                      <a:lnTo>
                        <a:pt x="4777" y="290"/>
                      </a:lnTo>
                      <a:lnTo>
                        <a:pt x="4617" y="223"/>
                      </a:lnTo>
                      <a:lnTo>
                        <a:pt x="4454" y="164"/>
                      </a:lnTo>
                      <a:lnTo>
                        <a:pt x="4290" y="114"/>
                      </a:lnTo>
                      <a:lnTo>
                        <a:pt x="4125" y="73"/>
                      </a:lnTo>
                      <a:lnTo>
                        <a:pt x="3958" y="42"/>
                      </a:lnTo>
                      <a:lnTo>
                        <a:pt x="3792" y="18"/>
                      </a:lnTo>
                      <a:lnTo>
                        <a:pt x="3625" y="4"/>
                      </a:lnTo>
                      <a:lnTo>
                        <a:pt x="3459" y="0"/>
                      </a:lnTo>
                      <a:lnTo>
                        <a:pt x="3292" y="4"/>
                      </a:lnTo>
                      <a:lnTo>
                        <a:pt x="3124" y="20"/>
                      </a:lnTo>
                      <a:lnTo>
                        <a:pt x="2956" y="43"/>
                      </a:lnTo>
                      <a:lnTo>
                        <a:pt x="2789" y="77"/>
                      </a:lnTo>
                      <a:lnTo>
                        <a:pt x="2622" y="121"/>
                      </a:lnTo>
                      <a:lnTo>
                        <a:pt x="2456" y="172"/>
                      </a:lnTo>
                      <a:lnTo>
                        <a:pt x="2292" y="233"/>
                      </a:lnTo>
                      <a:lnTo>
                        <a:pt x="2130" y="302"/>
                      </a:lnTo>
                      <a:lnTo>
                        <a:pt x="1970" y="381"/>
                      </a:lnTo>
                      <a:lnTo>
                        <a:pt x="1813" y="467"/>
                      </a:lnTo>
                      <a:lnTo>
                        <a:pt x="1660" y="562"/>
                      </a:lnTo>
                      <a:lnTo>
                        <a:pt x="1510" y="664"/>
                      </a:lnTo>
                      <a:lnTo>
                        <a:pt x="1365" y="773"/>
                      </a:lnTo>
                      <a:lnTo>
                        <a:pt x="1224" y="891"/>
                      </a:lnTo>
                      <a:lnTo>
                        <a:pt x="1089" y="1016"/>
                      </a:lnTo>
                      <a:lnTo>
                        <a:pt x="959" y="1147"/>
                      </a:lnTo>
                      <a:lnTo>
                        <a:pt x="836" y="1286"/>
                      </a:lnTo>
                      <a:lnTo>
                        <a:pt x="719" y="1432"/>
                      </a:lnTo>
                      <a:lnTo>
                        <a:pt x="609" y="1583"/>
                      </a:lnTo>
                      <a:lnTo>
                        <a:pt x="506" y="1742"/>
                      </a:lnTo>
                      <a:lnTo>
                        <a:pt x="413" y="1906"/>
                      </a:lnTo>
                      <a:lnTo>
                        <a:pt x="327" y="2077"/>
                      </a:lnTo>
                      <a:lnTo>
                        <a:pt x="250" y="2253"/>
                      </a:lnTo>
                      <a:lnTo>
                        <a:pt x="183" y="2434"/>
                      </a:lnTo>
                      <a:lnTo>
                        <a:pt x="125" y="2621"/>
                      </a:lnTo>
                      <a:lnTo>
                        <a:pt x="77" y="2814"/>
                      </a:lnTo>
                      <a:lnTo>
                        <a:pt x="40" y="3011"/>
                      </a:lnTo>
                      <a:lnTo>
                        <a:pt x="16" y="3213"/>
                      </a:lnTo>
                      <a:lnTo>
                        <a:pt x="1" y="3420"/>
                      </a:lnTo>
                      <a:lnTo>
                        <a:pt x="0" y="3631"/>
                      </a:lnTo>
                      <a:lnTo>
                        <a:pt x="10" y="3847"/>
                      </a:lnTo>
                      <a:lnTo>
                        <a:pt x="35" y="4066"/>
                      </a:lnTo>
                      <a:lnTo>
                        <a:pt x="101" y="4016"/>
                      </a:lnTo>
                      <a:lnTo>
                        <a:pt x="181" y="3959"/>
                      </a:lnTo>
                      <a:lnTo>
                        <a:pt x="274" y="3897"/>
                      </a:lnTo>
                      <a:lnTo>
                        <a:pt x="378" y="3829"/>
                      </a:lnTo>
                      <a:lnTo>
                        <a:pt x="494" y="3757"/>
                      </a:lnTo>
                      <a:lnTo>
                        <a:pt x="622" y="3681"/>
                      </a:lnTo>
                      <a:lnTo>
                        <a:pt x="761" y="3604"/>
                      </a:lnTo>
                      <a:lnTo>
                        <a:pt x="912" y="3525"/>
                      </a:lnTo>
                      <a:lnTo>
                        <a:pt x="1072" y="3447"/>
                      </a:lnTo>
                      <a:lnTo>
                        <a:pt x="1243" y="3369"/>
                      </a:lnTo>
                      <a:lnTo>
                        <a:pt x="1424" y="3295"/>
                      </a:lnTo>
                      <a:lnTo>
                        <a:pt x="1613" y="3222"/>
                      </a:lnTo>
                      <a:lnTo>
                        <a:pt x="1812" y="3154"/>
                      </a:lnTo>
                      <a:lnTo>
                        <a:pt x="2019" y="3092"/>
                      </a:lnTo>
                      <a:lnTo>
                        <a:pt x="2235" y="3037"/>
                      </a:lnTo>
                      <a:lnTo>
                        <a:pt x="2460" y="2988"/>
                      </a:lnTo>
                      <a:lnTo>
                        <a:pt x="2691" y="2946"/>
                      </a:lnTo>
                      <a:lnTo>
                        <a:pt x="2931" y="2916"/>
                      </a:lnTo>
                      <a:lnTo>
                        <a:pt x="3177" y="2895"/>
                      </a:lnTo>
                      <a:lnTo>
                        <a:pt x="3429" y="2886"/>
                      </a:lnTo>
                      <a:lnTo>
                        <a:pt x="3687" y="2891"/>
                      </a:lnTo>
                      <a:lnTo>
                        <a:pt x="3952" y="2907"/>
                      </a:lnTo>
                      <a:lnTo>
                        <a:pt x="4223" y="2940"/>
                      </a:lnTo>
                      <a:lnTo>
                        <a:pt x="4499" y="2988"/>
                      </a:lnTo>
                      <a:lnTo>
                        <a:pt x="4779" y="3052"/>
                      </a:lnTo>
                      <a:lnTo>
                        <a:pt x="5064" y="3134"/>
                      </a:lnTo>
                      <a:lnTo>
                        <a:pt x="5354" y="3236"/>
                      </a:lnTo>
                      <a:lnTo>
                        <a:pt x="5647" y="3356"/>
                      </a:lnTo>
                      <a:lnTo>
                        <a:pt x="5943" y="3498"/>
                      </a:lnTo>
                      <a:lnTo>
                        <a:pt x="6244" y="3662"/>
                      </a:lnTo>
                      <a:lnTo>
                        <a:pt x="6547" y="3849"/>
                      </a:lnTo>
                      <a:lnTo>
                        <a:pt x="6852" y="4060"/>
                      </a:lnTo>
                      <a:close/>
                    </a:path>
                  </a:pathLst>
                </a:custGeom>
                <a:solidFill>
                  <a:srgbClr val="242D54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268" name="Freeform 215"/>
                <p:cNvSpPr>
                  <a:spLocks/>
                </p:cNvSpPr>
                <p:nvPr/>
              </p:nvSpPr>
              <p:spPr bwMode="auto">
                <a:xfrm>
                  <a:off x="2950" y="2628"/>
                  <a:ext cx="984" cy="436"/>
                </a:xfrm>
                <a:custGeom>
                  <a:avLst/>
                  <a:gdLst>
                    <a:gd name="T0" fmla="*/ 0 w 6883"/>
                    <a:gd name="T1" fmla="*/ 0 h 3057"/>
                    <a:gd name="T2" fmla="*/ 0 w 6883"/>
                    <a:gd name="T3" fmla="*/ 0 h 3057"/>
                    <a:gd name="T4" fmla="*/ 0 w 6883"/>
                    <a:gd name="T5" fmla="*/ 0 h 3057"/>
                    <a:gd name="T6" fmla="*/ 0 w 6883"/>
                    <a:gd name="T7" fmla="*/ 0 h 3057"/>
                    <a:gd name="T8" fmla="*/ 0 w 6883"/>
                    <a:gd name="T9" fmla="*/ 0 h 3057"/>
                    <a:gd name="T10" fmla="*/ 0 w 6883"/>
                    <a:gd name="T11" fmla="*/ 0 h 3057"/>
                    <a:gd name="T12" fmla="*/ 0 w 6883"/>
                    <a:gd name="T13" fmla="*/ 0 h 3057"/>
                    <a:gd name="T14" fmla="*/ 0 w 6883"/>
                    <a:gd name="T15" fmla="*/ 0 h 3057"/>
                    <a:gd name="T16" fmla="*/ 0 w 6883"/>
                    <a:gd name="T17" fmla="*/ 0 h 3057"/>
                    <a:gd name="T18" fmla="*/ 0 w 6883"/>
                    <a:gd name="T19" fmla="*/ 0 h 3057"/>
                    <a:gd name="T20" fmla="*/ 0 w 6883"/>
                    <a:gd name="T21" fmla="*/ 0 h 3057"/>
                    <a:gd name="T22" fmla="*/ 0 w 6883"/>
                    <a:gd name="T23" fmla="*/ 0 h 3057"/>
                    <a:gd name="T24" fmla="*/ 0 w 6883"/>
                    <a:gd name="T25" fmla="*/ 0 h 3057"/>
                    <a:gd name="T26" fmla="*/ 0 w 6883"/>
                    <a:gd name="T27" fmla="*/ 0 h 3057"/>
                    <a:gd name="T28" fmla="*/ 0 w 6883"/>
                    <a:gd name="T29" fmla="*/ 0 h 3057"/>
                    <a:gd name="T30" fmla="*/ 0 w 6883"/>
                    <a:gd name="T31" fmla="*/ 0 h 3057"/>
                    <a:gd name="T32" fmla="*/ 0 w 6883"/>
                    <a:gd name="T33" fmla="*/ 0 h 3057"/>
                    <a:gd name="T34" fmla="*/ 0 w 6883"/>
                    <a:gd name="T35" fmla="*/ 0 h 3057"/>
                    <a:gd name="T36" fmla="*/ 0 w 6883"/>
                    <a:gd name="T37" fmla="*/ 0 h 3057"/>
                    <a:gd name="T38" fmla="*/ 0 w 6883"/>
                    <a:gd name="T39" fmla="*/ 0 h 3057"/>
                    <a:gd name="T40" fmla="*/ 0 w 6883"/>
                    <a:gd name="T41" fmla="*/ 0 h 3057"/>
                    <a:gd name="T42" fmla="*/ 0 w 6883"/>
                    <a:gd name="T43" fmla="*/ 0 h 3057"/>
                    <a:gd name="T44" fmla="*/ 0 w 6883"/>
                    <a:gd name="T45" fmla="*/ 0 h 3057"/>
                    <a:gd name="T46" fmla="*/ 0 w 6883"/>
                    <a:gd name="T47" fmla="*/ 0 h 3057"/>
                    <a:gd name="T48" fmla="*/ 0 w 6883"/>
                    <a:gd name="T49" fmla="*/ 0 h 3057"/>
                    <a:gd name="T50" fmla="*/ 0 w 6883"/>
                    <a:gd name="T51" fmla="*/ 0 h 3057"/>
                    <a:gd name="T52" fmla="*/ 0 w 6883"/>
                    <a:gd name="T53" fmla="*/ 0 h 3057"/>
                    <a:gd name="T54" fmla="*/ 0 w 6883"/>
                    <a:gd name="T55" fmla="*/ 0 h 3057"/>
                    <a:gd name="T56" fmla="*/ 0 w 6883"/>
                    <a:gd name="T57" fmla="*/ 0 h 3057"/>
                    <a:gd name="T58" fmla="*/ 0 w 6883"/>
                    <a:gd name="T59" fmla="*/ 0 h 3057"/>
                    <a:gd name="T60" fmla="*/ 0 w 6883"/>
                    <a:gd name="T61" fmla="*/ 0 h 3057"/>
                    <a:gd name="T62" fmla="*/ 0 w 6883"/>
                    <a:gd name="T63" fmla="*/ 0 h 3057"/>
                    <a:gd name="T64" fmla="*/ 0 w 6883"/>
                    <a:gd name="T65" fmla="*/ 0 h 3057"/>
                    <a:gd name="T66" fmla="*/ 0 w 6883"/>
                    <a:gd name="T67" fmla="*/ 0 h 3057"/>
                    <a:gd name="T68" fmla="*/ 0 w 6883"/>
                    <a:gd name="T69" fmla="*/ 0 h 3057"/>
                    <a:gd name="T70" fmla="*/ 0 w 6883"/>
                    <a:gd name="T71" fmla="*/ 0 h 3057"/>
                    <a:gd name="T72" fmla="*/ 0 w 6883"/>
                    <a:gd name="T73" fmla="*/ 0 h 3057"/>
                    <a:gd name="T74" fmla="*/ 0 w 6883"/>
                    <a:gd name="T75" fmla="*/ 0 h 3057"/>
                    <a:gd name="T76" fmla="*/ 0 w 6883"/>
                    <a:gd name="T77" fmla="*/ 0 h 3057"/>
                    <a:gd name="T78" fmla="*/ 0 w 6883"/>
                    <a:gd name="T79" fmla="*/ 0 h 3057"/>
                    <a:gd name="T80" fmla="*/ 0 w 6883"/>
                    <a:gd name="T81" fmla="*/ 0 h 3057"/>
                    <a:gd name="T82" fmla="*/ 0 w 6883"/>
                    <a:gd name="T83" fmla="*/ 0 h 3057"/>
                    <a:gd name="T84" fmla="*/ 0 w 6883"/>
                    <a:gd name="T85" fmla="*/ 0 h 3057"/>
                    <a:gd name="T86" fmla="*/ 0 w 6883"/>
                    <a:gd name="T87" fmla="*/ 0 h 3057"/>
                    <a:gd name="T88" fmla="*/ 0 w 6883"/>
                    <a:gd name="T89" fmla="*/ 0 h 3057"/>
                    <a:gd name="T90" fmla="*/ 0 w 6883"/>
                    <a:gd name="T91" fmla="*/ 0 h 3057"/>
                    <a:gd name="T92" fmla="*/ 0 w 6883"/>
                    <a:gd name="T93" fmla="*/ 0 h 3057"/>
                    <a:gd name="T94" fmla="*/ 0 w 6883"/>
                    <a:gd name="T95" fmla="*/ 0 h 3057"/>
                    <a:gd name="T96" fmla="*/ 0 w 6883"/>
                    <a:gd name="T97" fmla="*/ 0 h 3057"/>
                    <a:gd name="T98" fmla="*/ 0 w 6883"/>
                    <a:gd name="T99" fmla="*/ 0 h 3057"/>
                    <a:gd name="T100" fmla="*/ 0 w 6883"/>
                    <a:gd name="T101" fmla="*/ 0 h 3057"/>
                    <a:gd name="T102" fmla="*/ 0 w 6883"/>
                    <a:gd name="T103" fmla="*/ 0 h 3057"/>
                    <a:gd name="T104" fmla="*/ 0 w 6883"/>
                    <a:gd name="T105" fmla="*/ 0 h 3057"/>
                    <a:gd name="T106" fmla="*/ 0 w 6883"/>
                    <a:gd name="T107" fmla="*/ 0 h 3057"/>
                    <a:gd name="T108" fmla="*/ 0 w 6883"/>
                    <a:gd name="T109" fmla="*/ 0 h 3057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6883"/>
                    <a:gd name="T166" fmla="*/ 0 h 3057"/>
                    <a:gd name="T167" fmla="*/ 6883 w 6883"/>
                    <a:gd name="T168" fmla="*/ 3057 h 3057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6883" h="3057">
                      <a:moveTo>
                        <a:pt x="5829" y="0"/>
                      </a:moveTo>
                      <a:lnTo>
                        <a:pt x="5815" y="20"/>
                      </a:lnTo>
                      <a:lnTo>
                        <a:pt x="5804" y="39"/>
                      </a:lnTo>
                      <a:lnTo>
                        <a:pt x="5793" y="58"/>
                      </a:lnTo>
                      <a:lnTo>
                        <a:pt x="5782" y="75"/>
                      </a:lnTo>
                      <a:lnTo>
                        <a:pt x="5760" y="113"/>
                      </a:lnTo>
                      <a:lnTo>
                        <a:pt x="5736" y="150"/>
                      </a:lnTo>
                      <a:lnTo>
                        <a:pt x="5714" y="186"/>
                      </a:lnTo>
                      <a:lnTo>
                        <a:pt x="5691" y="220"/>
                      </a:lnTo>
                      <a:lnTo>
                        <a:pt x="5667" y="252"/>
                      </a:lnTo>
                      <a:lnTo>
                        <a:pt x="5644" y="285"/>
                      </a:lnTo>
                      <a:lnTo>
                        <a:pt x="5619" y="315"/>
                      </a:lnTo>
                      <a:lnTo>
                        <a:pt x="5595" y="345"/>
                      </a:lnTo>
                      <a:lnTo>
                        <a:pt x="5571" y="374"/>
                      </a:lnTo>
                      <a:lnTo>
                        <a:pt x="5546" y="401"/>
                      </a:lnTo>
                      <a:lnTo>
                        <a:pt x="5520" y="428"/>
                      </a:lnTo>
                      <a:lnTo>
                        <a:pt x="5495" y="454"/>
                      </a:lnTo>
                      <a:lnTo>
                        <a:pt x="5469" y="478"/>
                      </a:lnTo>
                      <a:lnTo>
                        <a:pt x="5443" y="503"/>
                      </a:lnTo>
                      <a:lnTo>
                        <a:pt x="5416" y="526"/>
                      </a:lnTo>
                      <a:lnTo>
                        <a:pt x="5388" y="549"/>
                      </a:lnTo>
                      <a:lnTo>
                        <a:pt x="5360" y="572"/>
                      </a:lnTo>
                      <a:lnTo>
                        <a:pt x="5331" y="593"/>
                      </a:lnTo>
                      <a:lnTo>
                        <a:pt x="5302" y="614"/>
                      </a:lnTo>
                      <a:lnTo>
                        <a:pt x="5272" y="635"/>
                      </a:lnTo>
                      <a:lnTo>
                        <a:pt x="5242" y="655"/>
                      </a:lnTo>
                      <a:lnTo>
                        <a:pt x="5212" y="674"/>
                      </a:lnTo>
                      <a:lnTo>
                        <a:pt x="5180" y="693"/>
                      </a:lnTo>
                      <a:lnTo>
                        <a:pt x="5149" y="712"/>
                      </a:lnTo>
                      <a:lnTo>
                        <a:pt x="5082" y="749"/>
                      </a:lnTo>
                      <a:lnTo>
                        <a:pt x="5013" y="784"/>
                      </a:lnTo>
                      <a:lnTo>
                        <a:pt x="4942" y="820"/>
                      </a:lnTo>
                      <a:lnTo>
                        <a:pt x="4866" y="856"/>
                      </a:lnTo>
                      <a:lnTo>
                        <a:pt x="4803" y="883"/>
                      </a:lnTo>
                      <a:lnTo>
                        <a:pt x="4739" y="910"/>
                      </a:lnTo>
                      <a:lnTo>
                        <a:pt x="4677" y="935"/>
                      </a:lnTo>
                      <a:lnTo>
                        <a:pt x="4613" y="958"/>
                      </a:lnTo>
                      <a:lnTo>
                        <a:pt x="4551" y="979"/>
                      </a:lnTo>
                      <a:lnTo>
                        <a:pt x="4489" y="999"/>
                      </a:lnTo>
                      <a:lnTo>
                        <a:pt x="4427" y="1017"/>
                      </a:lnTo>
                      <a:lnTo>
                        <a:pt x="4365" y="1034"/>
                      </a:lnTo>
                      <a:lnTo>
                        <a:pt x="4304" y="1049"/>
                      </a:lnTo>
                      <a:lnTo>
                        <a:pt x="4243" y="1064"/>
                      </a:lnTo>
                      <a:lnTo>
                        <a:pt x="4180" y="1076"/>
                      </a:lnTo>
                      <a:lnTo>
                        <a:pt x="4119" y="1087"/>
                      </a:lnTo>
                      <a:lnTo>
                        <a:pt x="4058" y="1098"/>
                      </a:lnTo>
                      <a:lnTo>
                        <a:pt x="3997" y="1107"/>
                      </a:lnTo>
                      <a:lnTo>
                        <a:pt x="3934" y="1115"/>
                      </a:lnTo>
                      <a:lnTo>
                        <a:pt x="3873" y="1123"/>
                      </a:lnTo>
                      <a:lnTo>
                        <a:pt x="3812" y="1128"/>
                      </a:lnTo>
                      <a:lnTo>
                        <a:pt x="3750" y="1134"/>
                      </a:lnTo>
                      <a:lnTo>
                        <a:pt x="3687" y="1139"/>
                      </a:lnTo>
                      <a:lnTo>
                        <a:pt x="3625" y="1143"/>
                      </a:lnTo>
                      <a:lnTo>
                        <a:pt x="3563" y="1146"/>
                      </a:lnTo>
                      <a:lnTo>
                        <a:pt x="3500" y="1148"/>
                      </a:lnTo>
                      <a:lnTo>
                        <a:pt x="3437" y="1150"/>
                      </a:lnTo>
                      <a:lnTo>
                        <a:pt x="3373" y="1153"/>
                      </a:lnTo>
                      <a:lnTo>
                        <a:pt x="3245" y="1155"/>
                      </a:lnTo>
                      <a:lnTo>
                        <a:pt x="3115" y="1155"/>
                      </a:lnTo>
                      <a:lnTo>
                        <a:pt x="2983" y="1156"/>
                      </a:lnTo>
                      <a:lnTo>
                        <a:pt x="2848" y="1156"/>
                      </a:lnTo>
                      <a:lnTo>
                        <a:pt x="2790" y="1157"/>
                      </a:lnTo>
                      <a:lnTo>
                        <a:pt x="2729" y="1159"/>
                      </a:lnTo>
                      <a:lnTo>
                        <a:pt x="2663" y="1165"/>
                      </a:lnTo>
                      <a:lnTo>
                        <a:pt x="2594" y="1172"/>
                      </a:lnTo>
                      <a:lnTo>
                        <a:pt x="2521" y="1182"/>
                      </a:lnTo>
                      <a:lnTo>
                        <a:pt x="2445" y="1193"/>
                      </a:lnTo>
                      <a:lnTo>
                        <a:pt x="2366" y="1207"/>
                      </a:lnTo>
                      <a:lnTo>
                        <a:pt x="2285" y="1223"/>
                      </a:lnTo>
                      <a:lnTo>
                        <a:pt x="2200" y="1241"/>
                      </a:lnTo>
                      <a:lnTo>
                        <a:pt x="2114" y="1262"/>
                      </a:lnTo>
                      <a:lnTo>
                        <a:pt x="2024" y="1284"/>
                      </a:lnTo>
                      <a:lnTo>
                        <a:pt x="1934" y="1310"/>
                      </a:lnTo>
                      <a:lnTo>
                        <a:pt x="1841" y="1337"/>
                      </a:lnTo>
                      <a:lnTo>
                        <a:pt x="1747" y="1367"/>
                      </a:lnTo>
                      <a:lnTo>
                        <a:pt x="1652" y="1400"/>
                      </a:lnTo>
                      <a:lnTo>
                        <a:pt x="1555" y="1434"/>
                      </a:lnTo>
                      <a:lnTo>
                        <a:pt x="1457" y="1472"/>
                      </a:lnTo>
                      <a:lnTo>
                        <a:pt x="1358" y="1512"/>
                      </a:lnTo>
                      <a:lnTo>
                        <a:pt x="1259" y="1554"/>
                      </a:lnTo>
                      <a:lnTo>
                        <a:pt x="1159" y="1600"/>
                      </a:lnTo>
                      <a:lnTo>
                        <a:pt x="1058" y="1648"/>
                      </a:lnTo>
                      <a:lnTo>
                        <a:pt x="959" y="1698"/>
                      </a:lnTo>
                      <a:lnTo>
                        <a:pt x="859" y="1751"/>
                      </a:lnTo>
                      <a:lnTo>
                        <a:pt x="760" y="1807"/>
                      </a:lnTo>
                      <a:lnTo>
                        <a:pt x="661" y="1866"/>
                      </a:lnTo>
                      <a:lnTo>
                        <a:pt x="563" y="1928"/>
                      </a:lnTo>
                      <a:lnTo>
                        <a:pt x="466" y="1992"/>
                      </a:lnTo>
                      <a:lnTo>
                        <a:pt x="372" y="2060"/>
                      </a:lnTo>
                      <a:lnTo>
                        <a:pt x="277" y="2130"/>
                      </a:lnTo>
                      <a:lnTo>
                        <a:pt x="185" y="2203"/>
                      </a:lnTo>
                      <a:lnTo>
                        <a:pt x="93" y="2279"/>
                      </a:lnTo>
                      <a:lnTo>
                        <a:pt x="6" y="2358"/>
                      </a:lnTo>
                      <a:lnTo>
                        <a:pt x="2" y="2442"/>
                      </a:lnTo>
                      <a:lnTo>
                        <a:pt x="0" y="2528"/>
                      </a:lnTo>
                      <a:lnTo>
                        <a:pt x="1" y="2615"/>
                      </a:lnTo>
                      <a:lnTo>
                        <a:pt x="3" y="2702"/>
                      </a:lnTo>
                      <a:lnTo>
                        <a:pt x="8" y="2790"/>
                      </a:lnTo>
                      <a:lnTo>
                        <a:pt x="16" y="2878"/>
                      </a:lnTo>
                      <a:lnTo>
                        <a:pt x="24" y="2968"/>
                      </a:lnTo>
                      <a:lnTo>
                        <a:pt x="36" y="3057"/>
                      </a:lnTo>
                      <a:lnTo>
                        <a:pt x="102" y="3008"/>
                      </a:lnTo>
                      <a:lnTo>
                        <a:pt x="182" y="2951"/>
                      </a:lnTo>
                      <a:lnTo>
                        <a:pt x="275" y="2888"/>
                      </a:lnTo>
                      <a:lnTo>
                        <a:pt x="379" y="2820"/>
                      </a:lnTo>
                      <a:lnTo>
                        <a:pt x="495" y="2747"/>
                      </a:lnTo>
                      <a:lnTo>
                        <a:pt x="623" y="2672"/>
                      </a:lnTo>
                      <a:lnTo>
                        <a:pt x="762" y="2595"/>
                      </a:lnTo>
                      <a:lnTo>
                        <a:pt x="913" y="2516"/>
                      </a:lnTo>
                      <a:lnTo>
                        <a:pt x="1073" y="2438"/>
                      </a:lnTo>
                      <a:lnTo>
                        <a:pt x="1244" y="2360"/>
                      </a:lnTo>
                      <a:lnTo>
                        <a:pt x="1425" y="2286"/>
                      </a:lnTo>
                      <a:lnTo>
                        <a:pt x="1614" y="2213"/>
                      </a:lnTo>
                      <a:lnTo>
                        <a:pt x="1813" y="2145"/>
                      </a:lnTo>
                      <a:lnTo>
                        <a:pt x="2020" y="2083"/>
                      </a:lnTo>
                      <a:lnTo>
                        <a:pt x="2236" y="2027"/>
                      </a:lnTo>
                      <a:lnTo>
                        <a:pt x="2461" y="1978"/>
                      </a:lnTo>
                      <a:lnTo>
                        <a:pt x="2692" y="1938"/>
                      </a:lnTo>
                      <a:lnTo>
                        <a:pt x="2932" y="1907"/>
                      </a:lnTo>
                      <a:lnTo>
                        <a:pt x="3178" y="1887"/>
                      </a:lnTo>
                      <a:lnTo>
                        <a:pt x="3430" y="1878"/>
                      </a:lnTo>
                      <a:lnTo>
                        <a:pt x="3688" y="1882"/>
                      </a:lnTo>
                      <a:lnTo>
                        <a:pt x="3953" y="1898"/>
                      </a:lnTo>
                      <a:lnTo>
                        <a:pt x="4224" y="1931"/>
                      </a:lnTo>
                      <a:lnTo>
                        <a:pt x="4500" y="1978"/>
                      </a:lnTo>
                      <a:lnTo>
                        <a:pt x="4780" y="2043"/>
                      </a:lnTo>
                      <a:lnTo>
                        <a:pt x="5065" y="2125"/>
                      </a:lnTo>
                      <a:lnTo>
                        <a:pt x="5355" y="2227"/>
                      </a:lnTo>
                      <a:lnTo>
                        <a:pt x="5648" y="2348"/>
                      </a:lnTo>
                      <a:lnTo>
                        <a:pt x="5946" y="2489"/>
                      </a:lnTo>
                      <a:lnTo>
                        <a:pt x="6245" y="2654"/>
                      </a:lnTo>
                      <a:lnTo>
                        <a:pt x="6548" y="2841"/>
                      </a:lnTo>
                      <a:lnTo>
                        <a:pt x="6853" y="3051"/>
                      </a:lnTo>
                      <a:lnTo>
                        <a:pt x="6866" y="2932"/>
                      </a:lnTo>
                      <a:lnTo>
                        <a:pt x="6875" y="2813"/>
                      </a:lnTo>
                      <a:lnTo>
                        <a:pt x="6881" y="2696"/>
                      </a:lnTo>
                      <a:lnTo>
                        <a:pt x="6883" y="2582"/>
                      </a:lnTo>
                      <a:lnTo>
                        <a:pt x="6882" y="2467"/>
                      </a:lnTo>
                      <a:lnTo>
                        <a:pt x="6877" y="2355"/>
                      </a:lnTo>
                      <a:lnTo>
                        <a:pt x="6869" y="2243"/>
                      </a:lnTo>
                      <a:lnTo>
                        <a:pt x="6859" y="2133"/>
                      </a:lnTo>
                      <a:lnTo>
                        <a:pt x="6846" y="2025"/>
                      </a:lnTo>
                      <a:lnTo>
                        <a:pt x="6829" y="1918"/>
                      </a:lnTo>
                      <a:lnTo>
                        <a:pt x="6809" y="1814"/>
                      </a:lnTo>
                      <a:lnTo>
                        <a:pt x="6787" y="1709"/>
                      </a:lnTo>
                      <a:lnTo>
                        <a:pt x="6761" y="1608"/>
                      </a:lnTo>
                      <a:lnTo>
                        <a:pt x="6734" y="1508"/>
                      </a:lnTo>
                      <a:lnTo>
                        <a:pt x="6702" y="1409"/>
                      </a:lnTo>
                      <a:lnTo>
                        <a:pt x="6669" y="1312"/>
                      </a:lnTo>
                      <a:lnTo>
                        <a:pt x="6633" y="1216"/>
                      </a:lnTo>
                      <a:lnTo>
                        <a:pt x="6594" y="1123"/>
                      </a:lnTo>
                      <a:lnTo>
                        <a:pt x="6554" y="1030"/>
                      </a:lnTo>
                      <a:lnTo>
                        <a:pt x="6511" y="940"/>
                      </a:lnTo>
                      <a:lnTo>
                        <a:pt x="6465" y="851"/>
                      </a:lnTo>
                      <a:lnTo>
                        <a:pt x="6418" y="765"/>
                      </a:lnTo>
                      <a:lnTo>
                        <a:pt x="6367" y="680"/>
                      </a:lnTo>
                      <a:lnTo>
                        <a:pt x="6315" y="596"/>
                      </a:lnTo>
                      <a:lnTo>
                        <a:pt x="6261" y="515"/>
                      </a:lnTo>
                      <a:lnTo>
                        <a:pt x="6205" y="436"/>
                      </a:lnTo>
                      <a:lnTo>
                        <a:pt x="6146" y="358"/>
                      </a:lnTo>
                      <a:lnTo>
                        <a:pt x="6086" y="282"/>
                      </a:lnTo>
                      <a:lnTo>
                        <a:pt x="6025" y="209"/>
                      </a:lnTo>
                      <a:lnTo>
                        <a:pt x="5961" y="138"/>
                      </a:lnTo>
                      <a:lnTo>
                        <a:pt x="5896" y="68"/>
                      </a:lnTo>
                      <a:lnTo>
                        <a:pt x="5829" y="0"/>
                      </a:lnTo>
                      <a:close/>
                    </a:path>
                  </a:pathLst>
                </a:custGeom>
                <a:solidFill>
                  <a:srgbClr val="1B233E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269" name="Freeform 216"/>
                <p:cNvSpPr>
                  <a:spLocks/>
                </p:cNvSpPr>
                <p:nvPr/>
              </p:nvSpPr>
              <p:spPr bwMode="auto">
                <a:xfrm>
                  <a:off x="3077" y="2487"/>
                  <a:ext cx="441" cy="208"/>
                </a:xfrm>
                <a:custGeom>
                  <a:avLst/>
                  <a:gdLst>
                    <a:gd name="T0" fmla="*/ 0 w 3086"/>
                    <a:gd name="T1" fmla="*/ 0 h 1483"/>
                    <a:gd name="T2" fmla="*/ 0 w 3086"/>
                    <a:gd name="T3" fmla="*/ 0 h 1483"/>
                    <a:gd name="T4" fmla="*/ 0 w 3086"/>
                    <a:gd name="T5" fmla="*/ 0 h 1483"/>
                    <a:gd name="T6" fmla="*/ 0 w 3086"/>
                    <a:gd name="T7" fmla="*/ 0 h 1483"/>
                    <a:gd name="T8" fmla="*/ 0 w 3086"/>
                    <a:gd name="T9" fmla="*/ 0 h 1483"/>
                    <a:gd name="T10" fmla="*/ 0 w 3086"/>
                    <a:gd name="T11" fmla="*/ 0 h 1483"/>
                    <a:gd name="T12" fmla="*/ 0 w 3086"/>
                    <a:gd name="T13" fmla="*/ 0 h 1483"/>
                    <a:gd name="T14" fmla="*/ 0 w 3086"/>
                    <a:gd name="T15" fmla="*/ 0 h 1483"/>
                    <a:gd name="T16" fmla="*/ 0 w 3086"/>
                    <a:gd name="T17" fmla="*/ 0 h 1483"/>
                    <a:gd name="T18" fmla="*/ 0 w 3086"/>
                    <a:gd name="T19" fmla="*/ 0 h 1483"/>
                    <a:gd name="T20" fmla="*/ 0 w 3086"/>
                    <a:gd name="T21" fmla="*/ 0 h 1483"/>
                    <a:gd name="T22" fmla="*/ 0 w 3086"/>
                    <a:gd name="T23" fmla="*/ 0 h 1483"/>
                    <a:gd name="T24" fmla="*/ 0 w 3086"/>
                    <a:gd name="T25" fmla="*/ 0 h 1483"/>
                    <a:gd name="T26" fmla="*/ 0 w 3086"/>
                    <a:gd name="T27" fmla="*/ 0 h 1483"/>
                    <a:gd name="T28" fmla="*/ 0 w 3086"/>
                    <a:gd name="T29" fmla="*/ 0 h 1483"/>
                    <a:gd name="T30" fmla="*/ 0 w 3086"/>
                    <a:gd name="T31" fmla="*/ 0 h 1483"/>
                    <a:gd name="T32" fmla="*/ 0 w 3086"/>
                    <a:gd name="T33" fmla="*/ 0 h 1483"/>
                    <a:gd name="T34" fmla="*/ 0 w 3086"/>
                    <a:gd name="T35" fmla="*/ 0 h 1483"/>
                    <a:gd name="T36" fmla="*/ 0 w 3086"/>
                    <a:gd name="T37" fmla="*/ 0 h 1483"/>
                    <a:gd name="T38" fmla="*/ 0 w 3086"/>
                    <a:gd name="T39" fmla="*/ 0 h 1483"/>
                    <a:gd name="T40" fmla="*/ 0 w 3086"/>
                    <a:gd name="T41" fmla="*/ 0 h 1483"/>
                    <a:gd name="T42" fmla="*/ 0 w 3086"/>
                    <a:gd name="T43" fmla="*/ 0 h 1483"/>
                    <a:gd name="T44" fmla="*/ 0 w 3086"/>
                    <a:gd name="T45" fmla="*/ 0 h 1483"/>
                    <a:gd name="T46" fmla="*/ 0 w 3086"/>
                    <a:gd name="T47" fmla="*/ 0 h 1483"/>
                    <a:gd name="T48" fmla="*/ 0 w 3086"/>
                    <a:gd name="T49" fmla="*/ 0 h 1483"/>
                    <a:gd name="T50" fmla="*/ 0 w 3086"/>
                    <a:gd name="T51" fmla="*/ 0 h 1483"/>
                    <a:gd name="T52" fmla="*/ 0 w 3086"/>
                    <a:gd name="T53" fmla="*/ 0 h 1483"/>
                    <a:gd name="T54" fmla="*/ 0 w 3086"/>
                    <a:gd name="T55" fmla="*/ 0 h 1483"/>
                    <a:gd name="T56" fmla="*/ 0 w 3086"/>
                    <a:gd name="T57" fmla="*/ 0 h 1483"/>
                    <a:gd name="T58" fmla="*/ 0 w 3086"/>
                    <a:gd name="T59" fmla="*/ 0 h 1483"/>
                    <a:gd name="T60" fmla="*/ 0 w 3086"/>
                    <a:gd name="T61" fmla="*/ 0 h 1483"/>
                    <a:gd name="T62" fmla="*/ 0 w 3086"/>
                    <a:gd name="T63" fmla="*/ 0 h 1483"/>
                    <a:gd name="T64" fmla="*/ 0 w 3086"/>
                    <a:gd name="T65" fmla="*/ 0 h 1483"/>
                    <a:gd name="T66" fmla="*/ 0 w 3086"/>
                    <a:gd name="T67" fmla="*/ 0 h 1483"/>
                    <a:gd name="T68" fmla="*/ 0 w 3086"/>
                    <a:gd name="T69" fmla="*/ 0 h 1483"/>
                    <a:gd name="T70" fmla="*/ 0 w 3086"/>
                    <a:gd name="T71" fmla="*/ 0 h 1483"/>
                    <a:gd name="T72" fmla="*/ 0 w 3086"/>
                    <a:gd name="T73" fmla="*/ 0 h 1483"/>
                    <a:gd name="T74" fmla="*/ 0 w 3086"/>
                    <a:gd name="T75" fmla="*/ 0 h 1483"/>
                    <a:gd name="T76" fmla="*/ 0 w 3086"/>
                    <a:gd name="T77" fmla="*/ 0 h 1483"/>
                    <a:gd name="T78" fmla="*/ 0 w 3086"/>
                    <a:gd name="T79" fmla="*/ 0 h 1483"/>
                    <a:gd name="T80" fmla="*/ 0 w 3086"/>
                    <a:gd name="T81" fmla="*/ 0 h 1483"/>
                    <a:gd name="T82" fmla="*/ 0 w 3086"/>
                    <a:gd name="T83" fmla="*/ 0 h 1483"/>
                    <a:gd name="T84" fmla="*/ 0 w 3086"/>
                    <a:gd name="T85" fmla="*/ 0 h 1483"/>
                    <a:gd name="T86" fmla="*/ 0 w 3086"/>
                    <a:gd name="T87" fmla="*/ 0 h 1483"/>
                    <a:gd name="T88" fmla="*/ 0 w 3086"/>
                    <a:gd name="T89" fmla="*/ 0 h 1483"/>
                    <a:gd name="T90" fmla="*/ 0 w 3086"/>
                    <a:gd name="T91" fmla="*/ 0 h 1483"/>
                    <a:gd name="T92" fmla="*/ 0 w 3086"/>
                    <a:gd name="T93" fmla="*/ 0 h 1483"/>
                    <a:gd name="T94" fmla="*/ 0 w 3086"/>
                    <a:gd name="T95" fmla="*/ 0 h 1483"/>
                    <a:gd name="T96" fmla="*/ 0 w 3086"/>
                    <a:gd name="T97" fmla="*/ 0 h 1483"/>
                    <a:gd name="T98" fmla="*/ 0 w 3086"/>
                    <a:gd name="T99" fmla="*/ 0 h 1483"/>
                    <a:gd name="T100" fmla="*/ 0 w 3086"/>
                    <a:gd name="T101" fmla="*/ 0 h 1483"/>
                    <a:gd name="T102" fmla="*/ 0 w 3086"/>
                    <a:gd name="T103" fmla="*/ 0 h 1483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3086"/>
                    <a:gd name="T157" fmla="*/ 0 h 1483"/>
                    <a:gd name="T158" fmla="*/ 3086 w 3086"/>
                    <a:gd name="T159" fmla="*/ 1483 h 1483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3086" h="1483">
                      <a:moveTo>
                        <a:pt x="1769" y="1302"/>
                      </a:moveTo>
                      <a:lnTo>
                        <a:pt x="1826" y="1278"/>
                      </a:lnTo>
                      <a:lnTo>
                        <a:pt x="1881" y="1252"/>
                      </a:lnTo>
                      <a:lnTo>
                        <a:pt x="1937" y="1224"/>
                      </a:lnTo>
                      <a:lnTo>
                        <a:pt x="1990" y="1196"/>
                      </a:lnTo>
                      <a:lnTo>
                        <a:pt x="2043" y="1167"/>
                      </a:lnTo>
                      <a:lnTo>
                        <a:pt x="2094" y="1138"/>
                      </a:lnTo>
                      <a:lnTo>
                        <a:pt x="2145" y="1107"/>
                      </a:lnTo>
                      <a:lnTo>
                        <a:pt x="2194" y="1075"/>
                      </a:lnTo>
                      <a:lnTo>
                        <a:pt x="2242" y="1043"/>
                      </a:lnTo>
                      <a:lnTo>
                        <a:pt x="2289" y="1008"/>
                      </a:lnTo>
                      <a:lnTo>
                        <a:pt x="2335" y="974"/>
                      </a:lnTo>
                      <a:lnTo>
                        <a:pt x="2380" y="938"/>
                      </a:lnTo>
                      <a:lnTo>
                        <a:pt x="2424" y="901"/>
                      </a:lnTo>
                      <a:lnTo>
                        <a:pt x="2467" y="864"/>
                      </a:lnTo>
                      <a:lnTo>
                        <a:pt x="2509" y="825"/>
                      </a:lnTo>
                      <a:lnTo>
                        <a:pt x="2550" y="786"/>
                      </a:lnTo>
                      <a:lnTo>
                        <a:pt x="2590" y="744"/>
                      </a:lnTo>
                      <a:lnTo>
                        <a:pt x="2629" y="703"/>
                      </a:lnTo>
                      <a:lnTo>
                        <a:pt x="2667" y="661"/>
                      </a:lnTo>
                      <a:lnTo>
                        <a:pt x="2704" y="617"/>
                      </a:lnTo>
                      <a:lnTo>
                        <a:pt x="2741" y="573"/>
                      </a:lnTo>
                      <a:lnTo>
                        <a:pt x="2776" y="527"/>
                      </a:lnTo>
                      <a:lnTo>
                        <a:pt x="2811" y="481"/>
                      </a:lnTo>
                      <a:lnTo>
                        <a:pt x="2844" y="433"/>
                      </a:lnTo>
                      <a:lnTo>
                        <a:pt x="2877" y="385"/>
                      </a:lnTo>
                      <a:lnTo>
                        <a:pt x="2910" y="336"/>
                      </a:lnTo>
                      <a:lnTo>
                        <a:pt x="2941" y="286"/>
                      </a:lnTo>
                      <a:lnTo>
                        <a:pt x="2971" y="235"/>
                      </a:lnTo>
                      <a:lnTo>
                        <a:pt x="3001" y="182"/>
                      </a:lnTo>
                      <a:lnTo>
                        <a:pt x="3030" y="129"/>
                      </a:lnTo>
                      <a:lnTo>
                        <a:pt x="3058" y="76"/>
                      </a:lnTo>
                      <a:lnTo>
                        <a:pt x="3086" y="20"/>
                      </a:lnTo>
                      <a:lnTo>
                        <a:pt x="3042" y="16"/>
                      </a:lnTo>
                      <a:lnTo>
                        <a:pt x="2999" y="11"/>
                      </a:lnTo>
                      <a:lnTo>
                        <a:pt x="2955" y="8"/>
                      </a:lnTo>
                      <a:lnTo>
                        <a:pt x="2913" y="6"/>
                      </a:lnTo>
                      <a:lnTo>
                        <a:pt x="2870" y="3"/>
                      </a:lnTo>
                      <a:lnTo>
                        <a:pt x="2826" y="1"/>
                      </a:lnTo>
                      <a:lnTo>
                        <a:pt x="2783" y="0"/>
                      </a:lnTo>
                      <a:lnTo>
                        <a:pt x="2739" y="0"/>
                      </a:lnTo>
                      <a:lnTo>
                        <a:pt x="2646" y="1"/>
                      </a:lnTo>
                      <a:lnTo>
                        <a:pt x="2552" y="7"/>
                      </a:lnTo>
                      <a:lnTo>
                        <a:pt x="2458" y="14"/>
                      </a:lnTo>
                      <a:lnTo>
                        <a:pt x="2363" y="24"/>
                      </a:lnTo>
                      <a:lnTo>
                        <a:pt x="2270" y="39"/>
                      </a:lnTo>
                      <a:lnTo>
                        <a:pt x="2175" y="56"/>
                      </a:lnTo>
                      <a:lnTo>
                        <a:pt x="2081" y="76"/>
                      </a:lnTo>
                      <a:lnTo>
                        <a:pt x="1987" y="98"/>
                      </a:lnTo>
                      <a:lnTo>
                        <a:pt x="1892" y="124"/>
                      </a:lnTo>
                      <a:lnTo>
                        <a:pt x="1800" y="152"/>
                      </a:lnTo>
                      <a:lnTo>
                        <a:pt x="1707" y="184"/>
                      </a:lnTo>
                      <a:lnTo>
                        <a:pt x="1614" y="218"/>
                      </a:lnTo>
                      <a:lnTo>
                        <a:pt x="1522" y="255"/>
                      </a:lnTo>
                      <a:lnTo>
                        <a:pt x="1432" y="294"/>
                      </a:lnTo>
                      <a:lnTo>
                        <a:pt x="1340" y="336"/>
                      </a:lnTo>
                      <a:lnTo>
                        <a:pt x="1251" y="381"/>
                      </a:lnTo>
                      <a:lnTo>
                        <a:pt x="1162" y="428"/>
                      </a:lnTo>
                      <a:lnTo>
                        <a:pt x="1076" y="479"/>
                      </a:lnTo>
                      <a:lnTo>
                        <a:pt x="989" y="532"/>
                      </a:lnTo>
                      <a:lnTo>
                        <a:pt x="903" y="586"/>
                      </a:lnTo>
                      <a:lnTo>
                        <a:pt x="820" y="644"/>
                      </a:lnTo>
                      <a:lnTo>
                        <a:pt x="736" y="704"/>
                      </a:lnTo>
                      <a:lnTo>
                        <a:pt x="655" y="767"/>
                      </a:lnTo>
                      <a:lnTo>
                        <a:pt x="576" y="831"/>
                      </a:lnTo>
                      <a:lnTo>
                        <a:pt x="497" y="898"/>
                      </a:lnTo>
                      <a:lnTo>
                        <a:pt x="421" y="968"/>
                      </a:lnTo>
                      <a:lnTo>
                        <a:pt x="345" y="1039"/>
                      </a:lnTo>
                      <a:lnTo>
                        <a:pt x="273" y="1114"/>
                      </a:lnTo>
                      <a:lnTo>
                        <a:pt x="202" y="1190"/>
                      </a:lnTo>
                      <a:lnTo>
                        <a:pt x="133" y="1269"/>
                      </a:lnTo>
                      <a:lnTo>
                        <a:pt x="66" y="1349"/>
                      </a:lnTo>
                      <a:lnTo>
                        <a:pt x="0" y="1431"/>
                      </a:lnTo>
                      <a:lnTo>
                        <a:pt x="58" y="1440"/>
                      </a:lnTo>
                      <a:lnTo>
                        <a:pt x="116" y="1449"/>
                      </a:lnTo>
                      <a:lnTo>
                        <a:pt x="175" y="1457"/>
                      </a:lnTo>
                      <a:lnTo>
                        <a:pt x="234" y="1462"/>
                      </a:lnTo>
                      <a:lnTo>
                        <a:pt x="294" y="1468"/>
                      </a:lnTo>
                      <a:lnTo>
                        <a:pt x="353" y="1473"/>
                      </a:lnTo>
                      <a:lnTo>
                        <a:pt x="413" y="1477"/>
                      </a:lnTo>
                      <a:lnTo>
                        <a:pt x="474" y="1480"/>
                      </a:lnTo>
                      <a:lnTo>
                        <a:pt x="535" y="1482"/>
                      </a:lnTo>
                      <a:lnTo>
                        <a:pt x="595" y="1483"/>
                      </a:lnTo>
                      <a:lnTo>
                        <a:pt x="655" y="1483"/>
                      </a:lnTo>
                      <a:lnTo>
                        <a:pt x="715" y="1483"/>
                      </a:lnTo>
                      <a:lnTo>
                        <a:pt x="775" y="1481"/>
                      </a:lnTo>
                      <a:lnTo>
                        <a:pt x="835" y="1480"/>
                      </a:lnTo>
                      <a:lnTo>
                        <a:pt x="894" y="1477"/>
                      </a:lnTo>
                      <a:lnTo>
                        <a:pt x="953" y="1472"/>
                      </a:lnTo>
                      <a:lnTo>
                        <a:pt x="1012" y="1468"/>
                      </a:lnTo>
                      <a:lnTo>
                        <a:pt x="1069" y="1462"/>
                      </a:lnTo>
                      <a:lnTo>
                        <a:pt x="1127" y="1457"/>
                      </a:lnTo>
                      <a:lnTo>
                        <a:pt x="1182" y="1449"/>
                      </a:lnTo>
                      <a:lnTo>
                        <a:pt x="1238" y="1441"/>
                      </a:lnTo>
                      <a:lnTo>
                        <a:pt x="1293" y="1432"/>
                      </a:lnTo>
                      <a:lnTo>
                        <a:pt x="1346" y="1423"/>
                      </a:lnTo>
                      <a:lnTo>
                        <a:pt x="1398" y="1413"/>
                      </a:lnTo>
                      <a:lnTo>
                        <a:pt x="1449" y="1402"/>
                      </a:lnTo>
                      <a:lnTo>
                        <a:pt x="1500" y="1390"/>
                      </a:lnTo>
                      <a:lnTo>
                        <a:pt x="1547" y="1378"/>
                      </a:lnTo>
                      <a:lnTo>
                        <a:pt x="1595" y="1363"/>
                      </a:lnTo>
                      <a:lnTo>
                        <a:pt x="1641" y="1350"/>
                      </a:lnTo>
                      <a:lnTo>
                        <a:pt x="1685" y="1334"/>
                      </a:lnTo>
                      <a:lnTo>
                        <a:pt x="1728" y="1319"/>
                      </a:lnTo>
                      <a:lnTo>
                        <a:pt x="1769" y="1302"/>
                      </a:lnTo>
                      <a:close/>
                    </a:path>
                  </a:pathLst>
                </a:custGeom>
                <a:solidFill>
                  <a:srgbClr val="243D6A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</p:grpSp>
          <p:grpSp>
            <p:nvGrpSpPr>
              <p:cNvPr id="309" name="Group 166"/>
              <p:cNvGrpSpPr>
                <a:grpSpLocks/>
              </p:cNvGrpSpPr>
              <p:nvPr/>
            </p:nvGrpSpPr>
            <p:grpSpPr bwMode="auto">
              <a:xfrm>
                <a:off x="7570577" y="1574825"/>
                <a:ext cx="444833" cy="717547"/>
                <a:chOff x="192" y="480"/>
                <a:chExt cx="1038" cy="1824"/>
              </a:xfrm>
            </p:grpSpPr>
            <p:pic>
              <p:nvPicPr>
                <p:cNvPr id="322" name="Picture 167" descr="j0417464"/>
                <p:cNvPicPr>
                  <a:picLocks noChangeAspect="1" noChangeArrowheads="1"/>
                </p:cNvPicPr>
                <p:nvPr/>
              </p:nvPicPr>
              <p:blipFill>
                <a:blip r:embed="rId4" cstate="print"/>
                <a:srcRect/>
                <a:stretch>
                  <a:fillRect/>
                </a:stretch>
              </p:blipFill>
              <p:spPr bwMode="auto">
                <a:xfrm>
                  <a:off x="192" y="480"/>
                  <a:ext cx="1038" cy="168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grpSp>
              <p:nvGrpSpPr>
                <p:cNvPr id="323" name="Group 168"/>
                <p:cNvGrpSpPr>
                  <a:grpSpLocks/>
                </p:cNvGrpSpPr>
                <p:nvPr/>
              </p:nvGrpSpPr>
              <p:grpSpPr bwMode="auto">
                <a:xfrm>
                  <a:off x="279" y="1545"/>
                  <a:ext cx="885" cy="759"/>
                  <a:chOff x="3160" y="3505"/>
                  <a:chExt cx="602" cy="660"/>
                </a:xfrm>
              </p:grpSpPr>
              <p:sp>
                <p:nvSpPr>
                  <p:cNvPr id="324" name="Freeform 169"/>
                  <p:cNvSpPr>
                    <a:spLocks/>
                  </p:cNvSpPr>
                  <p:nvPr/>
                </p:nvSpPr>
                <p:spPr bwMode="auto">
                  <a:xfrm>
                    <a:off x="3292" y="3975"/>
                    <a:ext cx="136" cy="177"/>
                  </a:xfrm>
                  <a:custGeom>
                    <a:avLst/>
                    <a:gdLst>
                      <a:gd name="T0" fmla="*/ 0 w 955"/>
                      <a:gd name="T1" fmla="*/ 0 h 1249"/>
                      <a:gd name="T2" fmla="*/ 0 w 955"/>
                      <a:gd name="T3" fmla="*/ 0 h 1249"/>
                      <a:gd name="T4" fmla="*/ 0 w 955"/>
                      <a:gd name="T5" fmla="*/ 0 h 1249"/>
                      <a:gd name="T6" fmla="*/ 0 w 955"/>
                      <a:gd name="T7" fmla="*/ 0 h 1249"/>
                      <a:gd name="T8" fmla="*/ 0 w 955"/>
                      <a:gd name="T9" fmla="*/ 0 h 1249"/>
                      <a:gd name="T10" fmla="*/ 0 w 955"/>
                      <a:gd name="T11" fmla="*/ 0 h 1249"/>
                      <a:gd name="T12" fmla="*/ 0 w 955"/>
                      <a:gd name="T13" fmla="*/ 0 h 1249"/>
                      <a:gd name="T14" fmla="*/ 0 w 955"/>
                      <a:gd name="T15" fmla="*/ 0 h 1249"/>
                      <a:gd name="T16" fmla="*/ 0 w 955"/>
                      <a:gd name="T17" fmla="*/ 0 h 1249"/>
                      <a:gd name="T18" fmla="*/ 0 w 955"/>
                      <a:gd name="T19" fmla="*/ 0 h 1249"/>
                      <a:gd name="T20" fmla="*/ 0 w 955"/>
                      <a:gd name="T21" fmla="*/ 0 h 1249"/>
                      <a:gd name="T22" fmla="*/ 0 w 955"/>
                      <a:gd name="T23" fmla="*/ 0 h 1249"/>
                      <a:gd name="T24" fmla="*/ 0 w 955"/>
                      <a:gd name="T25" fmla="*/ 0 h 1249"/>
                      <a:gd name="T26" fmla="*/ 0 w 955"/>
                      <a:gd name="T27" fmla="*/ 0 h 1249"/>
                      <a:gd name="T28" fmla="*/ 0 w 955"/>
                      <a:gd name="T29" fmla="*/ 0 h 1249"/>
                      <a:gd name="T30" fmla="*/ 0 w 955"/>
                      <a:gd name="T31" fmla="*/ 0 h 1249"/>
                      <a:gd name="T32" fmla="*/ 0 w 955"/>
                      <a:gd name="T33" fmla="*/ 0 h 1249"/>
                      <a:gd name="T34" fmla="*/ 0 w 955"/>
                      <a:gd name="T35" fmla="*/ 0 h 1249"/>
                      <a:gd name="T36" fmla="*/ 0 w 955"/>
                      <a:gd name="T37" fmla="*/ 0 h 1249"/>
                      <a:gd name="T38" fmla="*/ 0 w 955"/>
                      <a:gd name="T39" fmla="*/ 0 h 1249"/>
                      <a:gd name="T40" fmla="*/ 0 w 955"/>
                      <a:gd name="T41" fmla="*/ 0 h 1249"/>
                      <a:gd name="T42" fmla="*/ 0 w 955"/>
                      <a:gd name="T43" fmla="*/ 0 h 1249"/>
                      <a:gd name="T44" fmla="*/ 0 w 955"/>
                      <a:gd name="T45" fmla="*/ 0 h 1249"/>
                      <a:gd name="T46" fmla="*/ 0 w 955"/>
                      <a:gd name="T47" fmla="*/ 0 h 1249"/>
                      <a:gd name="T48" fmla="*/ 0 w 955"/>
                      <a:gd name="T49" fmla="*/ 0 h 1249"/>
                      <a:gd name="T50" fmla="*/ 0 w 955"/>
                      <a:gd name="T51" fmla="*/ 0 h 1249"/>
                      <a:gd name="T52" fmla="*/ 0 w 955"/>
                      <a:gd name="T53" fmla="*/ 0 h 1249"/>
                      <a:gd name="T54" fmla="*/ 0 w 955"/>
                      <a:gd name="T55" fmla="*/ 0 h 1249"/>
                      <a:gd name="T56" fmla="*/ 0 w 955"/>
                      <a:gd name="T57" fmla="*/ 0 h 1249"/>
                      <a:gd name="T58" fmla="*/ 0 w 955"/>
                      <a:gd name="T59" fmla="*/ 0 h 1249"/>
                      <a:gd name="T60" fmla="*/ 0 w 955"/>
                      <a:gd name="T61" fmla="*/ 0 h 1249"/>
                      <a:gd name="T62" fmla="*/ 0 w 955"/>
                      <a:gd name="T63" fmla="*/ 0 h 1249"/>
                      <a:gd name="T64" fmla="*/ 0 w 955"/>
                      <a:gd name="T65" fmla="*/ 0 h 1249"/>
                      <a:gd name="T66" fmla="*/ 0 w 955"/>
                      <a:gd name="T67" fmla="*/ 0 h 1249"/>
                      <a:gd name="T68" fmla="*/ 0 w 955"/>
                      <a:gd name="T69" fmla="*/ 0 h 1249"/>
                      <a:gd name="T70" fmla="*/ 0 w 955"/>
                      <a:gd name="T71" fmla="*/ 0 h 1249"/>
                      <a:gd name="T72" fmla="*/ 0 w 955"/>
                      <a:gd name="T73" fmla="*/ 0 h 1249"/>
                      <a:gd name="T74" fmla="*/ 0 w 955"/>
                      <a:gd name="T75" fmla="*/ 0 h 1249"/>
                      <a:gd name="T76" fmla="*/ 0 w 955"/>
                      <a:gd name="T77" fmla="*/ 0 h 1249"/>
                      <a:gd name="T78" fmla="*/ 0 w 955"/>
                      <a:gd name="T79" fmla="*/ 0 h 1249"/>
                      <a:gd name="T80" fmla="*/ 0 w 955"/>
                      <a:gd name="T81" fmla="*/ 0 h 1249"/>
                      <a:gd name="T82" fmla="*/ 0 w 955"/>
                      <a:gd name="T83" fmla="*/ 0 h 1249"/>
                      <a:gd name="T84" fmla="*/ 0 w 955"/>
                      <a:gd name="T85" fmla="*/ 0 h 1249"/>
                      <a:gd name="T86" fmla="*/ 0 w 955"/>
                      <a:gd name="T87" fmla="*/ 0 h 1249"/>
                      <a:gd name="T88" fmla="*/ 0 w 955"/>
                      <a:gd name="T89" fmla="*/ 0 h 1249"/>
                      <a:gd name="T90" fmla="*/ 0 w 955"/>
                      <a:gd name="T91" fmla="*/ 0 h 1249"/>
                      <a:gd name="T92" fmla="*/ 0 w 955"/>
                      <a:gd name="T93" fmla="*/ 0 h 1249"/>
                      <a:gd name="T94" fmla="*/ 0 w 955"/>
                      <a:gd name="T95" fmla="*/ 0 h 1249"/>
                      <a:gd name="T96" fmla="*/ 0 w 955"/>
                      <a:gd name="T97" fmla="*/ 0 h 1249"/>
                      <a:gd name="T98" fmla="*/ 0 w 955"/>
                      <a:gd name="T99" fmla="*/ 0 h 1249"/>
                      <a:gd name="T100" fmla="*/ 0 w 955"/>
                      <a:gd name="T101" fmla="*/ 0 h 1249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w 955"/>
                      <a:gd name="T154" fmla="*/ 0 h 1249"/>
                      <a:gd name="T155" fmla="*/ 955 w 955"/>
                      <a:gd name="T156" fmla="*/ 1249 h 1249"/>
                    </a:gdLst>
                    <a:ahLst/>
                    <a:cxnLst>
                      <a:cxn ang="T102">
                        <a:pos x="T0" y="T1"/>
                      </a:cxn>
                      <a:cxn ang="T103">
                        <a:pos x="T2" y="T3"/>
                      </a:cxn>
                      <a:cxn ang="T104">
                        <a:pos x="T4" y="T5"/>
                      </a:cxn>
                      <a:cxn ang="T105">
                        <a:pos x="T6" y="T7"/>
                      </a:cxn>
                      <a:cxn ang="T106">
                        <a:pos x="T8" y="T9"/>
                      </a:cxn>
                      <a:cxn ang="T107">
                        <a:pos x="T10" y="T11"/>
                      </a:cxn>
                      <a:cxn ang="T108">
                        <a:pos x="T12" y="T13"/>
                      </a:cxn>
                      <a:cxn ang="T109">
                        <a:pos x="T14" y="T15"/>
                      </a:cxn>
                      <a:cxn ang="T110">
                        <a:pos x="T16" y="T17"/>
                      </a:cxn>
                      <a:cxn ang="T111">
                        <a:pos x="T18" y="T19"/>
                      </a:cxn>
                      <a:cxn ang="T112">
                        <a:pos x="T20" y="T21"/>
                      </a:cxn>
                      <a:cxn ang="T113">
                        <a:pos x="T22" y="T23"/>
                      </a:cxn>
                      <a:cxn ang="T114">
                        <a:pos x="T24" y="T25"/>
                      </a:cxn>
                      <a:cxn ang="T115">
                        <a:pos x="T26" y="T27"/>
                      </a:cxn>
                      <a:cxn ang="T116">
                        <a:pos x="T28" y="T29"/>
                      </a:cxn>
                      <a:cxn ang="T117">
                        <a:pos x="T30" y="T31"/>
                      </a:cxn>
                      <a:cxn ang="T118">
                        <a:pos x="T32" y="T33"/>
                      </a:cxn>
                      <a:cxn ang="T119">
                        <a:pos x="T34" y="T35"/>
                      </a:cxn>
                      <a:cxn ang="T120">
                        <a:pos x="T36" y="T37"/>
                      </a:cxn>
                      <a:cxn ang="T121">
                        <a:pos x="T38" y="T39"/>
                      </a:cxn>
                      <a:cxn ang="T122">
                        <a:pos x="T40" y="T41"/>
                      </a:cxn>
                      <a:cxn ang="T123">
                        <a:pos x="T42" y="T43"/>
                      </a:cxn>
                      <a:cxn ang="T124">
                        <a:pos x="T44" y="T45"/>
                      </a:cxn>
                      <a:cxn ang="T125">
                        <a:pos x="T46" y="T47"/>
                      </a:cxn>
                      <a:cxn ang="T126">
                        <a:pos x="T48" y="T49"/>
                      </a:cxn>
                      <a:cxn ang="T127">
                        <a:pos x="T50" y="T51"/>
                      </a:cxn>
                      <a:cxn ang="T128">
                        <a:pos x="T52" y="T53"/>
                      </a:cxn>
                      <a:cxn ang="T129">
                        <a:pos x="T54" y="T55"/>
                      </a:cxn>
                      <a:cxn ang="T130">
                        <a:pos x="T56" y="T57"/>
                      </a:cxn>
                      <a:cxn ang="T131">
                        <a:pos x="T58" y="T59"/>
                      </a:cxn>
                      <a:cxn ang="T132">
                        <a:pos x="T60" y="T61"/>
                      </a:cxn>
                      <a:cxn ang="T133">
                        <a:pos x="T62" y="T63"/>
                      </a:cxn>
                      <a:cxn ang="T134">
                        <a:pos x="T64" y="T65"/>
                      </a:cxn>
                      <a:cxn ang="T135">
                        <a:pos x="T66" y="T67"/>
                      </a:cxn>
                      <a:cxn ang="T136">
                        <a:pos x="T68" y="T69"/>
                      </a:cxn>
                      <a:cxn ang="T137">
                        <a:pos x="T70" y="T71"/>
                      </a:cxn>
                      <a:cxn ang="T138">
                        <a:pos x="T72" y="T73"/>
                      </a:cxn>
                      <a:cxn ang="T139">
                        <a:pos x="T74" y="T75"/>
                      </a:cxn>
                      <a:cxn ang="T140">
                        <a:pos x="T76" y="T77"/>
                      </a:cxn>
                      <a:cxn ang="T141">
                        <a:pos x="T78" y="T79"/>
                      </a:cxn>
                      <a:cxn ang="T142">
                        <a:pos x="T80" y="T81"/>
                      </a:cxn>
                      <a:cxn ang="T143">
                        <a:pos x="T82" y="T83"/>
                      </a:cxn>
                      <a:cxn ang="T144">
                        <a:pos x="T84" y="T85"/>
                      </a:cxn>
                      <a:cxn ang="T145">
                        <a:pos x="T86" y="T87"/>
                      </a:cxn>
                      <a:cxn ang="T146">
                        <a:pos x="T88" y="T89"/>
                      </a:cxn>
                      <a:cxn ang="T147">
                        <a:pos x="T90" y="T91"/>
                      </a:cxn>
                      <a:cxn ang="T148">
                        <a:pos x="T92" y="T93"/>
                      </a:cxn>
                      <a:cxn ang="T149">
                        <a:pos x="T94" y="T95"/>
                      </a:cxn>
                      <a:cxn ang="T150">
                        <a:pos x="T96" y="T97"/>
                      </a:cxn>
                      <a:cxn ang="T151">
                        <a:pos x="T98" y="T99"/>
                      </a:cxn>
                      <a:cxn ang="T152">
                        <a:pos x="T100" y="T101"/>
                      </a:cxn>
                    </a:cxnLst>
                    <a:rect l="T153" t="T154" r="T155" b="T156"/>
                    <a:pathLst>
                      <a:path w="955" h="1249">
                        <a:moveTo>
                          <a:pt x="953" y="531"/>
                        </a:moveTo>
                        <a:lnTo>
                          <a:pt x="955" y="463"/>
                        </a:lnTo>
                        <a:lnTo>
                          <a:pt x="951" y="401"/>
                        </a:lnTo>
                        <a:lnTo>
                          <a:pt x="942" y="344"/>
                        </a:lnTo>
                        <a:lnTo>
                          <a:pt x="929" y="292"/>
                        </a:lnTo>
                        <a:lnTo>
                          <a:pt x="911" y="245"/>
                        </a:lnTo>
                        <a:lnTo>
                          <a:pt x="889" y="202"/>
                        </a:lnTo>
                        <a:lnTo>
                          <a:pt x="863" y="164"/>
                        </a:lnTo>
                        <a:lnTo>
                          <a:pt x="834" y="130"/>
                        </a:lnTo>
                        <a:lnTo>
                          <a:pt x="802" y="100"/>
                        </a:lnTo>
                        <a:lnTo>
                          <a:pt x="768" y="75"/>
                        </a:lnTo>
                        <a:lnTo>
                          <a:pt x="731" y="54"/>
                        </a:lnTo>
                        <a:lnTo>
                          <a:pt x="692" y="36"/>
                        </a:lnTo>
                        <a:lnTo>
                          <a:pt x="652" y="23"/>
                        </a:lnTo>
                        <a:lnTo>
                          <a:pt x="611" y="11"/>
                        </a:lnTo>
                        <a:lnTo>
                          <a:pt x="567" y="5"/>
                        </a:lnTo>
                        <a:lnTo>
                          <a:pt x="524" y="0"/>
                        </a:lnTo>
                        <a:lnTo>
                          <a:pt x="480" y="0"/>
                        </a:lnTo>
                        <a:lnTo>
                          <a:pt x="437" y="2"/>
                        </a:lnTo>
                        <a:lnTo>
                          <a:pt x="395" y="7"/>
                        </a:lnTo>
                        <a:lnTo>
                          <a:pt x="352" y="15"/>
                        </a:lnTo>
                        <a:lnTo>
                          <a:pt x="311" y="25"/>
                        </a:lnTo>
                        <a:lnTo>
                          <a:pt x="272" y="37"/>
                        </a:lnTo>
                        <a:lnTo>
                          <a:pt x="234" y="53"/>
                        </a:lnTo>
                        <a:lnTo>
                          <a:pt x="199" y="69"/>
                        </a:lnTo>
                        <a:lnTo>
                          <a:pt x="165" y="88"/>
                        </a:lnTo>
                        <a:lnTo>
                          <a:pt x="135" y="109"/>
                        </a:lnTo>
                        <a:lnTo>
                          <a:pt x="109" y="132"/>
                        </a:lnTo>
                        <a:lnTo>
                          <a:pt x="85" y="155"/>
                        </a:lnTo>
                        <a:lnTo>
                          <a:pt x="66" y="181"/>
                        </a:lnTo>
                        <a:lnTo>
                          <a:pt x="51" y="207"/>
                        </a:lnTo>
                        <a:lnTo>
                          <a:pt x="41" y="235"/>
                        </a:lnTo>
                        <a:lnTo>
                          <a:pt x="35" y="264"/>
                        </a:lnTo>
                        <a:lnTo>
                          <a:pt x="25" y="352"/>
                        </a:lnTo>
                        <a:lnTo>
                          <a:pt x="14" y="448"/>
                        </a:lnTo>
                        <a:lnTo>
                          <a:pt x="10" y="497"/>
                        </a:lnTo>
                        <a:lnTo>
                          <a:pt x="5" y="547"/>
                        </a:lnTo>
                        <a:lnTo>
                          <a:pt x="2" y="596"/>
                        </a:lnTo>
                        <a:lnTo>
                          <a:pt x="1" y="645"/>
                        </a:lnTo>
                        <a:lnTo>
                          <a:pt x="0" y="692"/>
                        </a:lnTo>
                        <a:lnTo>
                          <a:pt x="2" y="738"/>
                        </a:lnTo>
                        <a:lnTo>
                          <a:pt x="3" y="760"/>
                        </a:lnTo>
                        <a:lnTo>
                          <a:pt x="5" y="781"/>
                        </a:lnTo>
                        <a:lnTo>
                          <a:pt x="8" y="803"/>
                        </a:lnTo>
                        <a:lnTo>
                          <a:pt x="12" y="823"/>
                        </a:lnTo>
                        <a:lnTo>
                          <a:pt x="15" y="843"/>
                        </a:lnTo>
                        <a:lnTo>
                          <a:pt x="21" y="860"/>
                        </a:lnTo>
                        <a:lnTo>
                          <a:pt x="26" y="878"/>
                        </a:lnTo>
                        <a:lnTo>
                          <a:pt x="33" y="895"/>
                        </a:lnTo>
                        <a:lnTo>
                          <a:pt x="40" y="911"/>
                        </a:lnTo>
                        <a:lnTo>
                          <a:pt x="47" y="926"/>
                        </a:lnTo>
                        <a:lnTo>
                          <a:pt x="57" y="939"/>
                        </a:lnTo>
                        <a:lnTo>
                          <a:pt x="67" y="952"/>
                        </a:lnTo>
                        <a:lnTo>
                          <a:pt x="79" y="963"/>
                        </a:lnTo>
                        <a:lnTo>
                          <a:pt x="91" y="975"/>
                        </a:lnTo>
                        <a:lnTo>
                          <a:pt x="104" y="987"/>
                        </a:lnTo>
                        <a:lnTo>
                          <a:pt x="120" y="1001"/>
                        </a:lnTo>
                        <a:lnTo>
                          <a:pt x="153" y="1026"/>
                        </a:lnTo>
                        <a:lnTo>
                          <a:pt x="190" y="1052"/>
                        </a:lnTo>
                        <a:lnTo>
                          <a:pt x="231" y="1079"/>
                        </a:lnTo>
                        <a:lnTo>
                          <a:pt x="274" y="1104"/>
                        </a:lnTo>
                        <a:lnTo>
                          <a:pt x="320" y="1129"/>
                        </a:lnTo>
                        <a:lnTo>
                          <a:pt x="368" y="1152"/>
                        </a:lnTo>
                        <a:lnTo>
                          <a:pt x="416" y="1174"/>
                        </a:lnTo>
                        <a:lnTo>
                          <a:pt x="465" y="1194"/>
                        </a:lnTo>
                        <a:lnTo>
                          <a:pt x="489" y="1203"/>
                        </a:lnTo>
                        <a:lnTo>
                          <a:pt x="514" y="1212"/>
                        </a:lnTo>
                        <a:lnTo>
                          <a:pt x="538" y="1220"/>
                        </a:lnTo>
                        <a:lnTo>
                          <a:pt x="563" y="1227"/>
                        </a:lnTo>
                        <a:lnTo>
                          <a:pt x="586" y="1232"/>
                        </a:lnTo>
                        <a:lnTo>
                          <a:pt x="609" y="1238"/>
                        </a:lnTo>
                        <a:lnTo>
                          <a:pt x="633" y="1242"/>
                        </a:lnTo>
                        <a:lnTo>
                          <a:pt x="655" y="1246"/>
                        </a:lnTo>
                        <a:lnTo>
                          <a:pt x="676" y="1248"/>
                        </a:lnTo>
                        <a:lnTo>
                          <a:pt x="697" y="1249"/>
                        </a:lnTo>
                        <a:lnTo>
                          <a:pt x="719" y="1249"/>
                        </a:lnTo>
                        <a:lnTo>
                          <a:pt x="737" y="1248"/>
                        </a:lnTo>
                        <a:lnTo>
                          <a:pt x="762" y="1244"/>
                        </a:lnTo>
                        <a:lnTo>
                          <a:pt x="784" y="1239"/>
                        </a:lnTo>
                        <a:lnTo>
                          <a:pt x="805" y="1231"/>
                        </a:lnTo>
                        <a:lnTo>
                          <a:pt x="824" y="1221"/>
                        </a:lnTo>
                        <a:lnTo>
                          <a:pt x="841" y="1210"/>
                        </a:lnTo>
                        <a:lnTo>
                          <a:pt x="858" y="1197"/>
                        </a:lnTo>
                        <a:lnTo>
                          <a:pt x="871" y="1181"/>
                        </a:lnTo>
                        <a:lnTo>
                          <a:pt x="883" y="1164"/>
                        </a:lnTo>
                        <a:lnTo>
                          <a:pt x="894" y="1146"/>
                        </a:lnTo>
                        <a:lnTo>
                          <a:pt x="904" y="1126"/>
                        </a:lnTo>
                        <a:lnTo>
                          <a:pt x="913" y="1105"/>
                        </a:lnTo>
                        <a:lnTo>
                          <a:pt x="921" y="1083"/>
                        </a:lnTo>
                        <a:lnTo>
                          <a:pt x="928" y="1060"/>
                        </a:lnTo>
                        <a:lnTo>
                          <a:pt x="932" y="1035"/>
                        </a:lnTo>
                        <a:lnTo>
                          <a:pt x="937" y="1010"/>
                        </a:lnTo>
                        <a:lnTo>
                          <a:pt x="941" y="984"/>
                        </a:lnTo>
                        <a:lnTo>
                          <a:pt x="943" y="957"/>
                        </a:lnTo>
                        <a:lnTo>
                          <a:pt x="946" y="929"/>
                        </a:lnTo>
                        <a:lnTo>
                          <a:pt x="948" y="902"/>
                        </a:lnTo>
                        <a:lnTo>
                          <a:pt x="949" y="873"/>
                        </a:lnTo>
                        <a:lnTo>
                          <a:pt x="950" y="815"/>
                        </a:lnTo>
                        <a:lnTo>
                          <a:pt x="950" y="756"/>
                        </a:lnTo>
                        <a:lnTo>
                          <a:pt x="950" y="698"/>
                        </a:lnTo>
                        <a:lnTo>
                          <a:pt x="950" y="640"/>
                        </a:lnTo>
                        <a:lnTo>
                          <a:pt x="951" y="584"/>
                        </a:lnTo>
                        <a:lnTo>
                          <a:pt x="953" y="531"/>
                        </a:lnTo>
                        <a:close/>
                      </a:path>
                    </a:pathLst>
                  </a:custGeom>
                  <a:solidFill>
                    <a:srgbClr val="273669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325" name="Freeform 170"/>
                  <p:cNvSpPr>
                    <a:spLocks/>
                  </p:cNvSpPr>
                  <p:nvPr/>
                </p:nvSpPr>
                <p:spPr bwMode="auto">
                  <a:xfrm>
                    <a:off x="3357" y="3975"/>
                    <a:ext cx="71" cy="138"/>
                  </a:xfrm>
                  <a:custGeom>
                    <a:avLst/>
                    <a:gdLst>
                      <a:gd name="T0" fmla="*/ 0 w 502"/>
                      <a:gd name="T1" fmla="*/ 0 h 967"/>
                      <a:gd name="T2" fmla="*/ 0 w 502"/>
                      <a:gd name="T3" fmla="*/ 0 h 967"/>
                      <a:gd name="T4" fmla="*/ 0 w 502"/>
                      <a:gd name="T5" fmla="*/ 0 h 967"/>
                      <a:gd name="T6" fmla="*/ 0 w 502"/>
                      <a:gd name="T7" fmla="*/ 0 h 967"/>
                      <a:gd name="T8" fmla="*/ 0 w 502"/>
                      <a:gd name="T9" fmla="*/ 0 h 967"/>
                      <a:gd name="T10" fmla="*/ 0 w 502"/>
                      <a:gd name="T11" fmla="*/ 0 h 967"/>
                      <a:gd name="T12" fmla="*/ 0 w 502"/>
                      <a:gd name="T13" fmla="*/ 0 h 967"/>
                      <a:gd name="T14" fmla="*/ 0 w 502"/>
                      <a:gd name="T15" fmla="*/ 0 h 967"/>
                      <a:gd name="T16" fmla="*/ 0 w 502"/>
                      <a:gd name="T17" fmla="*/ 0 h 967"/>
                      <a:gd name="T18" fmla="*/ 0 w 502"/>
                      <a:gd name="T19" fmla="*/ 0 h 967"/>
                      <a:gd name="T20" fmla="*/ 0 w 502"/>
                      <a:gd name="T21" fmla="*/ 0 h 967"/>
                      <a:gd name="T22" fmla="*/ 0 w 502"/>
                      <a:gd name="T23" fmla="*/ 0 h 967"/>
                      <a:gd name="T24" fmla="*/ 0 w 502"/>
                      <a:gd name="T25" fmla="*/ 0 h 967"/>
                      <a:gd name="T26" fmla="*/ 0 w 502"/>
                      <a:gd name="T27" fmla="*/ 0 h 967"/>
                      <a:gd name="T28" fmla="*/ 0 w 502"/>
                      <a:gd name="T29" fmla="*/ 0 h 967"/>
                      <a:gd name="T30" fmla="*/ 0 w 502"/>
                      <a:gd name="T31" fmla="*/ 0 h 967"/>
                      <a:gd name="T32" fmla="*/ 0 w 502"/>
                      <a:gd name="T33" fmla="*/ 0 h 967"/>
                      <a:gd name="T34" fmla="*/ 0 w 502"/>
                      <a:gd name="T35" fmla="*/ 0 h 967"/>
                      <a:gd name="T36" fmla="*/ 0 w 502"/>
                      <a:gd name="T37" fmla="*/ 0 h 967"/>
                      <a:gd name="T38" fmla="*/ 0 w 502"/>
                      <a:gd name="T39" fmla="*/ 0 h 967"/>
                      <a:gd name="T40" fmla="*/ 0 w 502"/>
                      <a:gd name="T41" fmla="*/ 0 h 967"/>
                      <a:gd name="T42" fmla="*/ 0 w 502"/>
                      <a:gd name="T43" fmla="*/ 0 h 967"/>
                      <a:gd name="T44" fmla="*/ 0 w 502"/>
                      <a:gd name="T45" fmla="*/ 0 h 967"/>
                      <a:gd name="T46" fmla="*/ 0 w 502"/>
                      <a:gd name="T47" fmla="*/ 0 h 967"/>
                      <a:gd name="T48" fmla="*/ 0 w 502"/>
                      <a:gd name="T49" fmla="*/ 0 h 967"/>
                      <a:gd name="T50" fmla="*/ 0 w 502"/>
                      <a:gd name="T51" fmla="*/ 0 h 967"/>
                      <a:gd name="T52" fmla="*/ 0 w 502"/>
                      <a:gd name="T53" fmla="*/ 0 h 967"/>
                      <a:gd name="T54" fmla="*/ 0 w 502"/>
                      <a:gd name="T55" fmla="*/ 0 h 967"/>
                      <a:gd name="T56" fmla="*/ 0 w 502"/>
                      <a:gd name="T57" fmla="*/ 0 h 967"/>
                      <a:gd name="T58" fmla="*/ 0 w 502"/>
                      <a:gd name="T59" fmla="*/ 0 h 967"/>
                      <a:gd name="T60" fmla="*/ 0 w 502"/>
                      <a:gd name="T61" fmla="*/ 0 h 967"/>
                      <a:gd name="T62" fmla="*/ 0 w 502"/>
                      <a:gd name="T63" fmla="*/ 0 h 967"/>
                      <a:gd name="T64" fmla="*/ 0 w 502"/>
                      <a:gd name="T65" fmla="*/ 0 h 967"/>
                      <a:gd name="T66" fmla="*/ 0 w 502"/>
                      <a:gd name="T67" fmla="*/ 0 h 967"/>
                      <a:gd name="T68" fmla="*/ 0 w 502"/>
                      <a:gd name="T69" fmla="*/ 0 h 967"/>
                      <a:gd name="T70" fmla="*/ 0 w 502"/>
                      <a:gd name="T71" fmla="*/ 0 h 967"/>
                      <a:gd name="T72" fmla="*/ 0 w 502"/>
                      <a:gd name="T73" fmla="*/ 0 h 967"/>
                      <a:gd name="T74" fmla="*/ 0 w 502"/>
                      <a:gd name="T75" fmla="*/ 0 h 967"/>
                      <a:gd name="T76" fmla="*/ 0 w 502"/>
                      <a:gd name="T77" fmla="*/ 0 h 967"/>
                      <a:gd name="T78" fmla="*/ 0 w 502"/>
                      <a:gd name="T79" fmla="*/ 0 h 967"/>
                      <a:gd name="T80" fmla="*/ 0 w 502"/>
                      <a:gd name="T81" fmla="*/ 0 h 967"/>
                      <a:gd name="T82" fmla="*/ 0 w 502"/>
                      <a:gd name="T83" fmla="*/ 0 h 967"/>
                      <a:gd name="T84" fmla="*/ 0 w 502"/>
                      <a:gd name="T85" fmla="*/ 0 h 96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502"/>
                      <a:gd name="T130" fmla="*/ 0 h 967"/>
                      <a:gd name="T131" fmla="*/ 502 w 502"/>
                      <a:gd name="T132" fmla="*/ 967 h 96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502" h="967">
                        <a:moveTo>
                          <a:pt x="499" y="379"/>
                        </a:moveTo>
                        <a:lnTo>
                          <a:pt x="496" y="358"/>
                        </a:lnTo>
                        <a:lnTo>
                          <a:pt x="492" y="337"/>
                        </a:lnTo>
                        <a:lnTo>
                          <a:pt x="485" y="315"/>
                        </a:lnTo>
                        <a:lnTo>
                          <a:pt x="478" y="291"/>
                        </a:lnTo>
                        <a:lnTo>
                          <a:pt x="469" y="269"/>
                        </a:lnTo>
                        <a:lnTo>
                          <a:pt x="458" y="246"/>
                        </a:lnTo>
                        <a:lnTo>
                          <a:pt x="447" y="224"/>
                        </a:lnTo>
                        <a:lnTo>
                          <a:pt x="434" y="200"/>
                        </a:lnTo>
                        <a:lnTo>
                          <a:pt x="420" y="179"/>
                        </a:lnTo>
                        <a:lnTo>
                          <a:pt x="405" y="157"/>
                        </a:lnTo>
                        <a:lnTo>
                          <a:pt x="389" y="137"/>
                        </a:lnTo>
                        <a:lnTo>
                          <a:pt x="373" y="118"/>
                        </a:lnTo>
                        <a:lnTo>
                          <a:pt x="355" y="100"/>
                        </a:lnTo>
                        <a:lnTo>
                          <a:pt x="337" y="83"/>
                        </a:lnTo>
                        <a:lnTo>
                          <a:pt x="318" y="69"/>
                        </a:lnTo>
                        <a:lnTo>
                          <a:pt x="298" y="55"/>
                        </a:lnTo>
                        <a:lnTo>
                          <a:pt x="288" y="50"/>
                        </a:lnTo>
                        <a:lnTo>
                          <a:pt x="272" y="43"/>
                        </a:lnTo>
                        <a:lnTo>
                          <a:pt x="255" y="37"/>
                        </a:lnTo>
                        <a:lnTo>
                          <a:pt x="233" y="30"/>
                        </a:lnTo>
                        <a:lnTo>
                          <a:pt x="210" y="22"/>
                        </a:lnTo>
                        <a:lnTo>
                          <a:pt x="186" y="15"/>
                        </a:lnTo>
                        <a:lnTo>
                          <a:pt x="160" y="10"/>
                        </a:lnTo>
                        <a:lnTo>
                          <a:pt x="134" y="5"/>
                        </a:lnTo>
                        <a:lnTo>
                          <a:pt x="110" y="2"/>
                        </a:lnTo>
                        <a:lnTo>
                          <a:pt x="86" y="0"/>
                        </a:lnTo>
                        <a:lnTo>
                          <a:pt x="75" y="0"/>
                        </a:lnTo>
                        <a:lnTo>
                          <a:pt x="65" y="1"/>
                        </a:lnTo>
                        <a:lnTo>
                          <a:pt x="55" y="2"/>
                        </a:lnTo>
                        <a:lnTo>
                          <a:pt x="46" y="3"/>
                        </a:lnTo>
                        <a:lnTo>
                          <a:pt x="39" y="5"/>
                        </a:lnTo>
                        <a:lnTo>
                          <a:pt x="32" y="9"/>
                        </a:lnTo>
                        <a:lnTo>
                          <a:pt x="25" y="13"/>
                        </a:lnTo>
                        <a:lnTo>
                          <a:pt x="21" y="18"/>
                        </a:lnTo>
                        <a:lnTo>
                          <a:pt x="17" y="23"/>
                        </a:lnTo>
                        <a:lnTo>
                          <a:pt x="15" y="30"/>
                        </a:lnTo>
                        <a:lnTo>
                          <a:pt x="14" y="38"/>
                        </a:lnTo>
                        <a:lnTo>
                          <a:pt x="14" y="45"/>
                        </a:lnTo>
                        <a:lnTo>
                          <a:pt x="14" y="62"/>
                        </a:lnTo>
                        <a:lnTo>
                          <a:pt x="13" y="107"/>
                        </a:lnTo>
                        <a:lnTo>
                          <a:pt x="12" y="172"/>
                        </a:lnTo>
                        <a:lnTo>
                          <a:pt x="10" y="252"/>
                        </a:lnTo>
                        <a:lnTo>
                          <a:pt x="7" y="341"/>
                        </a:lnTo>
                        <a:lnTo>
                          <a:pt x="6" y="433"/>
                        </a:lnTo>
                        <a:lnTo>
                          <a:pt x="5" y="520"/>
                        </a:lnTo>
                        <a:lnTo>
                          <a:pt x="5" y="596"/>
                        </a:lnTo>
                        <a:lnTo>
                          <a:pt x="4" y="630"/>
                        </a:lnTo>
                        <a:lnTo>
                          <a:pt x="2" y="664"/>
                        </a:lnTo>
                        <a:lnTo>
                          <a:pt x="0" y="700"/>
                        </a:lnTo>
                        <a:lnTo>
                          <a:pt x="0" y="737"/>
                        </a:lnTo>
                        <a:lnTo>
                          <a:pt x="1" y="754"/>
                        </a:lnTo>
                        <a:lnTo>
                          <a:pt x="3" y="771"/>
                        </a:lnTo>
                        <a:lnTo>
                          <a:pt x="6" y="788"/>
                        </a:lnTo>
                        <a:lnTo>
                          <a:pt x="12" y="803"/>
                        </a:lnTo>
                        <a:lnTo>
                          <a:pt x="17" y="819"/>
                        </a:lnTo>
                        <a:lnTo>
                          <a:pt x="25" y="833"/>
                        </a:lnTo>
                        <a:lnTo>
                          <a:pt x="30" y="840"/>
                        </a:lnTo>
                        <a:lnTo>
                          <a:pt x="35" y="847"/>
                        </a:lnTo>
                        <a:lnTo>
                          <a:pt x="41" y="853"/>
                        </a:lnTo>
                        <a:lnTo>
                          <a:pt x="48" y="859"/>
                        </a:lnTo>
                        <a:lnTo>
                          <a:pt x="56" y="867"/>
                        </a:lnTo>
                        <a:lnTo>
                          <a:pt x="68" y="875"/>
                        </a:lnTo>
                        <a:lnTo>
                          <a:pt x="78" y="882"/>
                        </a:lnTo>
                        <a:lnTo>
                          <a:pt x="90" y="888"/>
                        </a:lnTo>
                        <a:lnTo>
                          <a:pt x="113" y="900"/>
                        </a:lnTo>
                        <a:lnTo>
                          <a:pt x="140" y="910"/>
                        </a:lnTo>
                        <a:lnTo>
                          <a:pt x="167" y="919"/>
                        </a:lnTo>
                        <a:lnTo>
                          <a:pt x="196" y="927"/>
                        </a:lnTo>
                        <a:lnTo>
                          <a:pt x="224" y="933"/>
                        </a:lnTo>
                        <a:lnTo>
                          <a:pt x="255" y="939"/>
                        </a:lnTo>
                        <a:lnTo>
                          <a:pt x="316" y="947"/>
                        </a:lnTo>
                        <a:lnTo>
                          <a:pt x="376" y="954"/>
                        </a:lnTo>
                        <a:lnTo>
                          <a:pt x="433" y="960"/>
                        </a:lnTo>
                        <a:lnTo>
                          <a:pt x="485" y="967"/>
                        </a:lnTo>
                        <a:lnTo>
                          <a:pt x="483" y="946"/>
                        </a:lnTo>
                        <a:lnTo>
                          <a:pt x="482" y="918"/>
                        </a:lnTo>
                        <a:lnTo>
                          <a:pt x="482" y="886"/>
                        </a:lnTo>
                        <a:lnTo>
                          <a:pt x="483" y="850"/>
                        </a:lnTo>
                        <a:lnTo>
                          <a:pt x="486" y="768"/>
                        </a:lnTo>
                        <a:lnTo>
                          <a:pt x="492" y="679"/>
                        </a:lnTo>
                        <a:lnTo>
                          <a:pt x="496" y="589"/>
                        </a:lnTo>
                        <a:lnTo>
                          <a:pt x="501" y="505"/>
                        </a:lnTo>
                        <a:lnTo>
                          <a:pt x="501" y="467"/>
                        </a:lnTo>
                        <a:lnTo>
                          <a:pt x="502" y="433"/>
                        </a:lnTo>
                        <a:lnTo>
                          <a:pt x="501" y="404"/>
                        </a:lnTo>
                        <a:lnTo>
                          <a:pt x="499" y="379"/>
                        </a:lnTo>
                        <a:close/>
                      </a:path>
                    </a:pathLst>
                  </a:custGeom>
                  <a:solidFill>
                    <a:srgbClr val="242B53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326" name="Freeform 171"/>
                  <p:cNvSpPr>
                    <a:spLocks/>
                  </p:cNvSpPr>
                  <p:nvPr/>
                </p:nvSpPr>
                <p:spPr bwMode="auto">
                  <a:xfrm>
                    <a:off x="3254" y="4059"/>
                    <a:ext cx="170" cy="105"/>
                  </a:xfrm>
                  <a:custGeom>
                    <a:avLst/>
                    <a:gdLst>
                      <a:gd name="T0" fmla="*/ 0 w 1192"/>
                      <a:gd name="T1" fmla="*/ 0 h 736"/>
                      <a:gd name="T2" fmla="*/ 0 w 1192"/>
                      <a:gd name="T3" fmla="*/ 0 h 736"/>
                      <a:gd name="T4" fmla="*/ 0 w 1192"/>
                      <a:gd name="T5" fmla="*/ 0 h 736"/>
                      <a:gd name="T6" fmla="*/ 0 w 1192"/>
                      <a:gd name="T7" fmla="*/ 0 h 736"/>
                      <a:gd name="T8" fmla="*/ 0 w 1192"/>
                      <a:gd name="T9" fmla="*/ 0 h 736"/>
                      <a:gd name="T10" fmla="*/ 0 w 1192"/>
                      <a:gd name="T11" fmla="*/ 0 h 736"/>
                      <a:gd name="T12" fmla="*/ 0 w 1192"/>
                      <a:gd name="T13" fmla="*/ 0 h 736"/>
                      <a:gd name="T14" fmla="*/ 0 w 1192"/>
                      <a:gd name="T15" fmla="*/ 0 h 736"/>
                      <a:gd name="T16" fmla="*/ 0 w 1192"/>
                      <a:gd name="T17" fmla="*/ 0 h 736"/>
                      <a:gd name="T18" fmla="*/ 0 w 1192"/>
                      <a:gd name="T19" fmla="*/ 0 h 736"/>
                      <a:gd name="T20" fmla="*/ 0 w 1192"/>
                      <a:gd name="T21" fmla="*/ 0 h 736"/>
                      <a:gd name="T22" fmla="*/ 0 w 1192"/>
                      <a:gd name="T23" fmla="*/ 0 h 736"/>
                      <a:gd name="T24" fmla="*/ 0 w 1192"/>
                      <a:gd name="T25" fmla="*/ 0 h 736"/>
                      <a:gd name="T26" fmla="*/ 0 w 1192"/>
                      <a:gd name="T27" fmla="*/ 0 h 736"/>
                      <a:gd name="T28" fmla="*/ 0 w 1192"/>
                      <a:gd name="T29" fmla="*/ 0 h 736"/>
                      <a:gd name="T30" fmla="*/ 0 w 1192"/>
                      <a:gd name="T31" fmla="*/ 0 h 736"/>
                      <a:gd name="T32" fmla="*/ 0 w 1192"/>
                      <a:gd name="T33" fmla="*/ 0 h 736"/>
                      <a:gd name="T34" fmla="*/ 0 w 1192"/>
                      <a:gd name="T35" fmla="*/ 0 h 736"/>
                      <a:gd name="T36" fmla="*/ 0 w 1192"/>
                      <a:gd name="T37" fmla="*/ 0 h 736"/>
                      <a:gd name="T38" fmla="*/ 0 w 1192"/>
                      <a:gd name="T39" fmla="*/ 0 h 736"/>
                      <a:gd name="T40" fmla="*/ 0 w 1192"/>
                      <a:gd name="T41" fmla="*/ 0 h 736"/>
                      <a:gd name="T42" fmla="*/ 0 w 1192"/>
                      <a:gd name="T43" fmla="*/ 0 h 736"/>
                      <a:gd name="T44" fmla="*/ 0 w 1192"/>
                      <a:gd name="T45" fmla="*/ 0 h 736"/>
                      <a:gd name="T46" fmla="*/ 0 w 1192"/>
                      <a:gd name="T47" fmla="*/ 0 h 736"/>
                      <a:gd name="T48" fmla="*/ 0 w 1192"/>
                      <a:gd name="T49" fmla="*/ 0 h 736"/>
                      <a:gd name="T50" fmla="*/ 0 w 1192"/>
                      <a:gd name="T51" fmla="*/ 0 h 736"/>
                      <a:gd name="T52" fmla="*/ 0 w 1192"/>
                      <a:gd name="T53" fmla="*/ 0 h 736"/>
                      <a:gd name="T54" fmla="*/ 0 w 1192"/>
                      <a:gd name="T55" fmla="*/ 0 h 736"/>
                      <a:gd name="T56" fmla="*/ 0 w 1192"/>
                      <a:gd name="T57" fmla="*/ 0 h 736"/>
                      <a:gd name="T58" fmla="*/ 0 w 1192"/>
                      <a:gd name="T59" fmla="*/ 0 h 736"/>
                      <a:gd name="T60" fmla="*/ 0 w 1192"/>
                      <a:gd name="T61" fmla="*/ 0 h 736"/>
                      <a:gd name="T62" fmla="*/ 0 w 1192"/>
                      <a:gd name="T63" fmla="*/ 0 h 736"/>
                      <a:gd name="T64" fmla="*/ 0 w 1192"/>
                      <a:gd name="T65" fmla="*/ 0 h 736"/>
                      <a:gd name="T66" fmla="*/ 0 w 1192"/>
                      <a:gd name="T67" fmla="*/ 0 h 736"/>
                      <a:gd name="T68" fmla="*/ 0 w 1192"/>
                      <a:gd name="T69" fmla="*/ 0 h 736"/>
                      <a:gd name="T70" fmla="*/ 0 w 1192"/>
                      <a:gd name="T71" fmla="*/ 0 h 736"/>
                      <a:gd name="T72" fmla="*/ 0 w 1192"/>
                      <a:gd name="T73" fmla="*/ 0 h 736"/>
                      <a:gd name="T74" fmla="*/ 0 w 1192"/>
                      <a:gd name="T75" fmla="*/ 0 h 736"/>
                      <a:gd name="T76" fmla="*/ 0 w 1192"/>
                      <a:gd name="T77" fmla="*/ 0 h 736"/>
                      <a:gd name="T78" fmla="*/ 0 w 1192"/>
                      <a:gd name="T79" fmla="*/ 0 h 736"/>
                      <a:gd name="T80" fmla="*/ 0 w 1192"/>
                      <a:gd name="T81" fmla="*/ 0 h 736"/>
                      <a:gd name="T82" fmla="*/ 0 w 1192"/>
                      <a:gd name="T83" fmla="*/ 0 h 736"/>
                      <a:gd name="T84" fmla="*/ 0 w 1192"/>
                      <a:gd name="T85" fmla="*/ 0 h 736"/>
                      <a:gd name="T86" fmla="*/ 0 w 1192"/>
                      <a:gd name="T87" fmla="*/ 0 h 736"/>
                      <a:gd name="T88" fmla="*/ 0 w 1192"/>
                      <a:gd name="T89" fmla="*/ 0 h 736"/>
                      <a:gd name="T90" fmla="*/ 0 w 1192"/>
                      <a:gd name="T91" fmla="*/ 0 h 736"/>
                      <a:gd name="T92" fmla="*/ 0 w 1192"/>
                      <a:gd name="T93" fmla="*/ 0 h 736"/>
                      <a:gd name="T94" fmla="*/ 0 w 1192"/>
                      <a:gd name="T95" fmla="*/ 0 h 736"/>
                      <a:gd name="T96" fmla="*/ 0 w 1192"/>
                      <a:gd name="T97" fmla="*/ 0 h 736"/>
                      <a:gd name="T98" fmla="*/ 0 w 1192"/>
                      <a:gd name="T99" fmla="*/ 0 h 736"/>
                      <a:gd name="T100" fmla="*/ 0 w 1192"/>
                      <a:gd name="T101" fmla="*/ 0 h 736"/>
                      <a:gd name="T102" fmla="*/ 0 w 1192"/>
                      <a:gd name="T103" fmla="*/ 0 h 736"/>
                      <a:gd name="T104" fmla="*/ 0 w 1192"/>
                      <a:gd name="T105" fmla="*/ 0 h 736"/>
                      <a:gd name="T106" fmla="*/ 0 w 1192"/>
                      <a:gd name="T107" fmla="*/ 0 h 736"/>
                      <a:gd name="T108" fmla="*/ 0 w 1192"/>
                      <a:gd name="T109" fmla="*/ 0 h 736"/>
                      <a:gd name="T110" fmla="*/ 0 w 1192"/>
                      <a:gd name="T111" fmla="*/ 0 h 736"/>
                      <a:gd name="T112" fmla="*/ 0 w 1192"/>
                      <a:gd name="T113" fmla="*/ 0 h 736"/>
                      <a:gd name="T114" fmla="*/ 0 w 1192"/>
                      <a:gd name="T115" fmla="*/ 0 h 736"/>
                      <a:gd name="T116" fmla="*/ 0 w 1192"/>
                      <a:gd name="T117" fmla="*/ 0 h 736"/>
                      <a:gd name="T118" fmla="*/ 0 w 1192"/>
                      <a:gd name="T119" fmla="*/ 0 h 736"/>
                      <a:gd name="T120" fmla="*/ 0 w 1192"/>
                      <a:gd name="T121" fmla="*/ 0 h 736"/>
                      <a:gd name="T122" fmla="*/ 0 w 1192"/>
                      <a:gd name="T123" fmla="*/ 0 h 736"/>
                      <a:gd name="T124" fmla="*/ 0 w 1192"/>
                      <a:gd name="T125" fmla="*/ 0 h 7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60000 65536"/>
                      <a:gd name="T184" fmla="*/ 0 60000 65536"/>
                      <a:gd name="T185" fmla="*/ 0 60000 65536"/>
                      <a:gd name="T186" fmla="*/ 0 60000 65536"/>
                      <a:gd name="T187" fmla="*/ 0 60000 65536"/>
                      <a:gd name="T188" fmla="*/ 0 60000 65536"/>
                      <a:gd name="T189" fmla="*/ 0 w 1192"/>
                      <a:gd name="T190" fmla="*/ 0 h 736"/>
                      <a:gd name="T191" fmla="*/ 1192 w 1192"/>
                      <a:gd name="T192" fmla="*/ 736 h 736"/>
                    </a:gdLst>
                    <a:ahLst/>
                    <a:cxnLst>
                      <a:cxn ang="T126">
                        <a:pos x="T0" y="T1"/>
                      </a:cxn>
                      <a:cxn ang="T127">
                        <a:pos x="T2" y="T3"/>
                      </a:cxn>
                      <a:cxn ang="T128">
                        <a:pos x="T4" y="T5"/>
                      </a:cxn>
                      <a:cxn ang="T129">
                        <a:pos x="T6" y="T7"/>
                      </a:cxn>
                      <a:cxn ang="T130">
                        <a:pos x="T8" y="T9"/>
                      </a:cxn>
                      <a:cxn ang="T131">
                        <a:pos x="T10" y="T11"/>
                      </a:cxn>
                      <a:cxn ang="T132">
                        <a:pos x="T12" y="T13"/>
                      </a:cxn>
                      <a:cxn ang="T133">
                        <a:pos x="T14" y="T15"/>
                      </a:cxn>
                      <a:cxn ang="T134">
                        <a:pos x="T16" y="T17"/>
                      </a:cxn>
                      <a:cxn ang="T135">
                        <a:pos x="T18" y="T19"/>
                      </a:cxn>
                      <a:cxn ang="T136">
                        <a:pos x="T20" y="T21"/>
                      </a:cxn>
                      <a:cxn ang="T137">
                        <a:pos x="T22" y="T23"/>
                      </a:cxn>
                      <a:cxn ang="T138">
                        <a:pos x="T24" y="T25"/>
                      </a:cxn>
                      <a:cxn ang="T139">
                        <a:pos x="T26" y="T27"/>
                      </a:cxn>
                      <a:cxn ang="T140">
                        <a:pos x="T28" y="T29"/>
                      </a:cxn>
                      <a:cxn ang="T141">
                        <a:pos x="T30" y="T31"/>
                      </a:cxn>
                      <a:cxn ang="T142">
                        <a:pos x="T32" y="T33"/>
                      </a:cxn>
                      <a:cxn ang="T143">
                        <a:pos x="T34" y="T35"/>
                      </a:cxn>
                      <a:cxn ang="T144">
                        <a:pos x="T36" y="T37"/>
                      </a:cxn>
                      <a:cxn ang="T145">
                        <a:pos x="T38" y="T39"/>
                      </a:cxn>
                      <a:cxn ang="T146">
                        <a:pos x="T40" y="T41"/>
                      </a:cxn>
                      <a:cxn ang="T147">
                        <a:pos x="T42" y="T43"/>
                      </a:cxn>
                      <a:cxn ang="T148">
                        <a:pos x="T44" y="T45"/>
                      </a:cxn>
                      <a:cxn ang="T149">
                        <a:pos x="T46" y="T47"/>
                      </a:cxn>
                      <a:cxn ang="T150">
                        <a:pos x="T48" y="T49"/>
                      </a:cxn>
                      <a:cxn ang="T151">
                        <a:pos x="T50" y="T51"/>
                      </a:cxn>
                      <a:cxn ang="T152">
                        <a:pos x="T52" y="T53"/>
                      </a:cxn>
                      <a:cxn ang="T153">
                        <a:pos x="T54" y="T55"/>
                      </a:cxn>
                      <a:cxn ang="T154">
                        <a:pos x="T56" y="T57"/>
                      </a:cxn>
                      <a:cxn ang="T155">
                        <a:pos x="T58" y="T59"/>
                      </a:cxn>
                      <a:cxn ang="T156">
                        <a:pos x="T60" y="T61"/>
                      </a:cxn>
                      <a:cxn ang="T157">
                        <a:pos x="T62" y="T63"/>
                      </a:cxn>
                      <a:cxn ang="T158">
                        <a:pos x="T64" y="T65"/>
                      </a:cxn>
                      <a:cxn ang="T159">
                        <a:pos x="T66" y="T67"/>
                      </a:cxn>
                      <a:cxn ang="T160">
                        <a:pos x="T68" y="T69"/>
                      </a:cxn>
                      <a:cxn ang="T161">
                        <a:pos x="T70" y="T71"/>
                      </a:cxn>
                      <a:cxn ang="T162">
                        <a:pos x="T72" y="T73"/>
                      </a:cxn>
                      <a:cxn ang="T163">
                        <a:pos x="T74" y="T75"/>
                      </a:cxn>
                      <a:cxn ang="T164">
                        <a:pos x="T76" y="T77"/>
                      </a:cxn>
                      <a:cxn ang="T165">
                        <a:pos x="T78" y="T79"/>
                      </a:cxn>
                      <a:cxn ang="T166">
                        <a:pos x="T80" y="T81"/>
                      </a:cxn>
                      <a:cxn ang="T167">
                        <a:pos x="T82" y="T83"/>
                      </a:cxn>
                      <a:cxn ang="T168">
                        <a:pos x="T84" y="T85"/>
                      </a:cxn>
                      <a:cxn ang="T169">
                        <a:pos x="T86" y="T87"/>
                      </a:cxn>
                      <a:cxn ang="T170">
                        <a:pos x="T88" y="T89"/>
                      </a:cxn>
                      <a:cxn ang="T171">
                        <a:pos x="T90" y="T91"/>
                      </a:cxn>
                      <a:cxn ang="T172">
                        <a:pos x="T92" y="T93"/>
                      </a:cxn>
                      <a:cxn ang="T173">
                        <a:pos x="T94" y="T95"/>
                      </a:cxn>
                      <a:cxn ang="T174">
                        <a:pos x="T96" y="T97"/>
                      </a:cxn>
                      <a:cxn ang="T175">
                        <a:pos x="T98" y="T99"/>
                      </a:cxn>
                      <a:cxn ang="T176">
                        <a:pos x="T100" y="T101"/>
                      </a:cxn>
                      <a:cxn ang="T177">
                        <a:pos x="T102" y="T103"/>
                      </a:cxn>
                      <a:cxn ang="T178">
                        <a:pos x="T104" y="T105"/>
                      </a:cxn>
                      <a:cxn ang="T179">
                        <a:pos x="T106" y="T107"/>
                      </a:cxn>
                      <a:cxn ang="T180">
                        <a:pos x="T108" y="T109"/>
                      </a:cxn>
                      <a:cxn ang="T181">
                        <a:pos x="T110" y="T111"/>
                      </a:cxn>
                      <a:cxn ang="T182">
                        <a:pos x="T112" y="T113"/>
                      </a:cxn>
                      <a:cxn ang="T183">
                        <a:pos x="T114" y="T115"/>
                      </a:cxn>
                      <a:cxn ang="T184">
                        <a:pos x="T116" y="T117"/>
                      </a:cxn>
                      <a:cxn ang="T185">
                        <a:pos x="T118" y="T119"/>
                      </a:cxn>
                      <a:cxn ang="T186">
                        <a:pos x="T120" y="T121"/>
                      </a:cxn>
                      <a:cxn ang="T187">
                        <a:pos x="T122" y="T123"/>
                      </a:cxn>
                      <a:cxn ang="T188">
                        <a:pos x="T124" y="T125"/>
                      </a:cxn>
                    </a:cxnLst>
                    <a:rect l="T189" t="T190" r="T191" b="T192"/>
                    <a:pathLst>
                      <a:path w="1192" h="736">
                        <a:moveTo>
                          <a:pt x="1192" y="368"/>
                        </a:moveTo>
                        <a:lnTo>
                          <a:pt x="1192" y="387"/>
                        </a:lnTo>
                        <a:lnTo>
                          <a:pt x="1191" y="405"/>
                        </a:lnTo>
                        <a:lnTo>
                          <a:pt x="1190" y="424"/>
                        </a:lnTo>
                        <a:lnTo>
                          <a:pt x="1187" y="442"/>
                        </a:lnTo>
                        <a:lnTo>
                          <a:pt x="1184" y="460"/>
                        </a:lnTo>
                        <a:lnTo>
                          <a:pt x="1181" y="478"/>
                        </a:lnTo>
                        <a:lnTo>
                          <a:pt x="1176" y="495"/>
                        </a:lnTo>
                        <a:lnTo>
                          <a:pt x="1171" y="511"/>
                        </a:lnTo>
                        <a:lnTo>
                          <a:pt x="1164" y="528"/>
                        </a:lnTo>
                        <a:lnTo>
                          <a:pt x="1156" y="543"/>
                        </a:lnTo>
                        <a:lnTo>
                          <a:pt x="1147" y="559"/>
                        </a:lnTo>
                        <a:lnTo>
                          <a:pt x="1137" y="574"/>
                        </a:lnTo>
                        <a:lnTo>
                          <a:pt x="1126" y="588"/>
                        </a:lnTo>
                        <a:lnTo>
                          <a:pt x="1114" y="602"/>
                        </a:lnTo>
                        <a:lnTo>
                          <a:pt x="1101" y="616"/>
                        </a:lnTo>
                        <a:lnTo>
                          <a:pt x="1085" y="628"/>
                        </a:lnTo>
                        <a:lnTo>
                          <a:pt x="1068" y="640"/>
                        </a:lnTo>
                        <a:lnTo>
                          <a:pt x="1051" y="653"/>
                        </a:lnTo>
                        <a:lnTo>
                          <a:pt x="1031" y="664"/>
                        </a:lnTo>
                        <a:lnTo>
                          <a:pt x="1008" y="674"/>
                        </a:lnTo>
                        <a:lnTo>
                          <a:pt x="985" y="683"/>
                        </a:lnTo>
                        <a:lnTo>
                          <a:pt x="960" y="691"/>
                        </a:lnTo>
                        <a:lnTo>
                          <a:pt x="934" y="700"/>
                        </a:lnTo>
                        <a:lnTo>
                          <a:pt x="905" y="707"/>
                        </a:lnTo>
                        <a:lnTo>
                          <a:pt x="874" y="714"/>
                        </a:lnTo>
                        <a:lnTo>
                          <a:pt x="840" y="719"/>
                        </a:lnTo>
                        <a:lnTo>
                          <a:pt x="806" y="725"/>
                        </a:lnTo>
                        <a:lnTo>
                          <a:pt x="768" y="728"/>
                        </a:lnTo>
                        <a:lnTo>
                          <a:pt x="729" y="732"/>
                        </a:lnTo>
                        <a:lnTo>
                          <a:pt x="687" y="734"/>
                        </a:lnTo>
                        <a:lnTo>
                          <a:pt x="642" y="736"/>
                        </a:lnTo>
                        <a:lnTo>
                          <a:pt x="595" y="736"/>
                        </a:lnTo>
                        <a:lnTo>
                          <a:pt x="544" y="736"/>
                        </a:lnTo>
                        <a:lnTo>
                          <a:pt x="495" y="734"/>
                        </a:lnTo>
                        <a:lnTo>
                          <a:pt x="450" y="732"/>
                        </a:lnTo>
                        <a:lnTo>
                          <a:pt x="407" y="728"/>
                        </a:lnTo>
                        <a:lnTo>
                          <a:pt x="367" y="725"/>
                        </a:lnTo>
                        <a:lnTo>
                          <a:pt x="329" y="719"/>
                        </a:lnTo>
                        <a:lnTo>
                          <a:pt x="295" y="714"/>
                        </a:lnTo>
                        <a:lnTo>
                          <a:pt x="263" y="707"/>
                        </a:lnTo>
                        <a:lnTo>
                          <a:pt x="234" y="700"/>
                        </a:lnTo>
                        <a:lnTo>
                          <a:pt x="206" y="691"/>
                        </a:lnTo>
                        <a:lnTo>
                          <a:pt x="180" y="683"/>
                        </a:lnTo>
                        <a:lnTo>
                          <a:pt x="158" y="674"/>
                        </a:lnTo>
                        <a:lnTo>
                          <a:pt x="137" y="664"/>
                        </a:lnTo>
                        <a:lnTo>
                          <a:pt x="118" y="653"/>
                        </a:lnTo>
                        <a:lnTo>
                          <a:pt x="100" y="640"/>
                        </a:lnTo>
                        <a:lnTo>
                          <a:pt x="84" y="628"/>
                        </a:lnTo>
                        <a:lnTo>
                          <a:pt x="71" y="616"/>
                        </a:lnTo>
                        <a:lnTo>
                          <a:pt x="59" y="602"/>
                        </a:lnTo>
                        <a:lnTo>
                          <a:pt x="48" y="588"/>
                        </a:lnTo>
                        <a:lnTo>
                          <a:pt x="39" y="574"/>
                        </a:lnTo>
                        <a:lnTo>
                          <a:pt x="30" y="559"/>
                        </a:lnTo>
                        <a:lnTo>
                          <a:pt x="23" y="543"/>
                        </a:lnTo>
                        <a:lnTo>
                          <a:pt x="18" y="528"/>
                        </a:lnTo>
                        <a:lnTo>
                          <a:pt x="13" y="511"/>
                        </a:lnTo>
                        <a:lnTo>
                          <a:pt x="9" y="495"/>
                        </a:lnTo>
                        <a:lnTo>
                          <a:pt x="5" y="478"/>
                        </a:lnTo>
                        <a:lnTo>
                          <a:pt x="3" y="460"/>
                        </a:lnTo>
                        <a:lnTo>
                          <a:pt x="2" y="442"/>
                        </a:lnTo>
                        <a:lnTo>
                          <a:pt x="0" y="405"/>
                        </a:lnTo>
                        <a:lnTo>
                          <a:pt x="0" y="368"/>
                        </a:lnTo>
                        <a:lnTo>
                          <a:pt x="0" y="349"/>
                        </a:lnTo>
                        <a:lnTo>
                          <a:pt x="2" y="331"/>
                        </a:lnTo>
                        <a:lnTo>
                          <a:pt x="7" y="312"/>
                        </a:lnTo>
                        <a:lnTo>
                          <a:pt x="12" y="294"/>
                        </a:lnTo>
                        <a:lnTo>
                          <a:pt x="19" y="276"/>
                        </a:lnTo>
                        <a:lnTo>
                          <a:pt x="27" y="259"/>
                        </a:lnTo>
                        <a:lnTo>
                          <a:pt x="36" y="242"/>
                        </a:lnTo>
                        <a:lnTo>
                          <a:pt x="47" y="225"/>
                        </a:lnTo>
                        <a:lnTo>
                          <a:pt x="59" y="209"/>
                        </a:lnTo>
                        <a:lnTo>
                          <a:pt x="71" y="193"/>
                        </a:lnTo>
                        <a:lnTo>
                          <a:pt x="86" y="177"/>
                        </a:lnTo>
                        <a:lnTo>
                          <a:pt x="101" y="163"/>
                        </a:lnTo>
                        <a:lnTo>
                          <a:pt x="118" y="148"/>
                        </a:lnTo>
                        <a:lnTo>
                          <a:pt x="136" y="134"/>
                        </a:lnTo>
                        <a:lnTo>
                          <a:pt x="155" y="121"/>
                        </a:lnTo>
                        <a:lnTo>
                          <a:pt x="175" y="108"/>
                        </a:lnTo>
                        <a:lnTo>
                          <a:pt x="195" y="96"/>
                        </a:lnTo>
                        <a:lnTo>
                          <a:pt x="217" y="84"/>
                        </a:lnTo>
                        <a:lnTo>
                          <a:pt x="239" y="73"/>
                        </a:lnTo>
                        <a:lnTo>
                          <a:pt x="263" y="63"/>
                        </a:lnTo>
                        <a:lnTo>
                          <a:pt x="287" y="54"/>
                        </a:lnTo>
                        <a:lnTo>
                          <a:pt x="312" y="45"/>
                        </a:lnTo>
                        <a:lnTo>
                          <a:pt x="337" y="36"/>
                        </a:lnTo>
                        <a:lnTo>
                          <a:pt x="364" y="29"/>
                        </a:lnTo>
                        <a:lnTo>
                          <a:pt x="391" y="23"/>
                        </a:lnTo>
                        <a:lnTo>
                          <a:pt x="418" y="17"/>
                        </a:lnTo>
                        <a:lnTo>
                          <a:pt x="446" y="12"/>
                        </a:lnTo>
                        <a:lnTo>
                          <a:pt x="475" y="7"/>
                        </a:lnTo>
                        <a:lnTo>
                          <a:pt x="505" y="5"/>
                        </a:lnTo>
                        <a:lnTo>
                          <a:pt x="535" y="2"/>
                        </a:lnTo>
                        <a:lnTo>
                          <a:pt x="565" y="0"/>
                        </a:lnTo>
                        <a:lnTo>
                          <a:pt x="595" y="0"/>
                        </a:lnTo>
                        <a:lnTo>
                          <a:pt x="627" y="0"/>
                        </a:lnTo>
                        <a:lnTo>
                          <a:pt x="657" y="2"/>
                        </a:lnTo>
                        <a:lnTo>
                          <a:pt x="687" y="5"/>
                        </a:lnTo>
                        <a:lnTo>
                          <a:pt x="716" y="7"/>
                        </a:lnTo>
                        <a:lnTo>
                          <a:pt x="744" y="12"/>
                        </a:lnTo>
                        <a:lnTo>
                          <a:pt x="773" y="17"/>
                        </a:lnTo>
                        <a:lnTo>
                          <a:pt x="800" y="23"/>
                        </a:lnTo>
                        <a:lnTo>
                          <a:pt x="828" y="29"/>
                        </a:lnTo>
                        <a:lnTo>
                          <a:pt x="855" y="36"/>
                        </a:lnTo>
                        <a:lnTo>
                          <a:pt x="880" y="45"/>
                        </a:lnTo>
                        <a:lnTo>
                          <a:pt x="905" y="54"/>
                        </a:lnTo>
                        <a:lnTo>
                          <a:pt x="929" y="63"/>
                        </a:lnTo>
                        <a:lnTo>
                          <a:pt x="953" y="73"/>
                        </a:lnTo>
                        <a:lnTo>
                          <a:pt x="975" y="84"/>
                        </a:lnTo>
                        <a:lnTo>
                          <a:pt x="996" y="96"/>
                        </a:lnTo>
                        <a:lnTo>
                          <a:pt x="1017" y="108"/>
                        </a:lnTo>
                        <a:lnTo>
                          <a:pt x="1037" y="121"/>
                        </a:lnTo>
                        <a:lnTo>
                          <a:pt x="1056" y="134"/>
                        </a:lnTo>
                        <a:lnTo>
                          <a:pt x="1073" y="148"/>
                        </a:lnTo>
                        <a:lnTo>
                          <a:pt x="1090" y="163"/>
                        </a:lnTo>
                        <a:lnTo>
                          <a:pt x="1105" y="177"/>
                        </a:lnTo>
                        <a:lnTo>
                          <a:pt x="1120" y="193"/>
                        </a:lnTo>
                        <a:lnTo>
                          <a:pt x="1133" y="209"/>
                        </a:lnTo>
                        <a:lnTo>
                          <a:pt x="1145" y="225"/>
                        </a:lnTo>
                        <a:lnTo>
                          <a:pt x="1155" y="242"/>
                        </a:lnTo>
                        <a:lnTo>
                          <a:pt x="1165" y="259"/>
                        </a:lnTo>
                        <a:lnTo>
                          <a:pt x="1173" y="276"/>
                        </a:lnTo>
                        <a:lnTo>
                          <a:pt x="1180" y="294"/>
                        </a:lnTo>
                        <a:lnTo>
                          <a:pt x="1185" y="312"/>
                        </a:lnTo>
                        <a:lnTo>
                          <a:pt x="1189" y="331"/>
                        </a:lnTo>
                        <a:lnTo>
                          <a:pt x="1191" y="349"/>
                        </a:lnTo>
                        <a:lnTo>
                          <a:pt x="1192" y="368"/>
                        </a:lnTo>
                        <a:close/>
                      </a:path>
                    </a:pathLst>
                  </a:custGeom>
                  <a:solidFill>
                    <a:srgbClr val="273669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327" name="Freeform 172"/>
                  <p:cNvSpPr>
                    <a:spLocks/>
                  </p:cNvSpPr>
                  <p:nvPr/>
                </p:nvSpPr>
                <p:spPr bwMode="auto">
                  <a:xfrm>
                    <a:off x="3295" y="4059"/>
                    <a:ext cx="85" cy="29"/>
                  </a:xfrm>
                  <a:custGeom>
                    <a:avLst/>
                    <a:gdLst>
                      <a:gd name="T0" fmla="*/ 0 w 593"/>
                      <a:gd name="T1" fmla="*/ 0 h 194"/>
                      <a:gd name="T2" fmla="*/ 0 w 593"/>
                      <a:gd name="T3" fmla="*/ 0 h 194"/>
                      <a:gd name="T4" fmla="*/ 0 w 593"/>
                      <a:gd name="T5" fmla="*/ 0 h 194"/>
                      <a:gd name="T6" fmla="*/ 0 w 593"/>
                      <a:gd name="T7" fmla="*/ 0 h 194"/>
                      <a:gd name="T8" fmla="*/ 0 w 593"/>
                      <a:gd name="T9" fmla="*/ 0 h 194"/>
                      <a:gd name="T10" fmla="*/ 0 w 593"/>
                      <a:gd name="T11" fmla="*/ 0 h 194"/>
                      <a:gd name="T12" fmla="*/ 0 w 593"/>
                      <a:gd name="T13" fmla="*/ 0 h 194"/>
                      <a:gd name="T14" fmla="*/ 0 w 593"/>
                      <a:gd name="T15" fmla="*/ 0 h 194"/>
                      <a:gd name="T16" fmla="*/ 0 w 593"/>
                      <a:gd name="T17" fmla="*/ 0 h 194"/>
                      <a:gd name="T18" fmla="*/ 0 w 593"/>
                      <a:gd name="T19" fmla="*/ 0 h 194"/>
                      <a:gd name="T20" fmla="*/ 0 w 593"/>
                      <a:gd name="T21" fmla="*/ 0 h 194"/>
                      <a:gd name="T22" fmla="*/ 0 w 593"/>
                      <a:gd name="T23" fmla="*/ 0 h 194"/>
                      <a:gd name="T24" fmla="*/ 0 w 593"/>
                      <a:gd name="T25" fmla="*/ 0 h 194"/>
                      <a:gd name="T26" fmla="*/ 0 w 593"/>
                      <a:gd name="T27" fmla="*/ 0 h 194"/>
                      <a:gd name="T28" fmla="*/ 0 w 593"/>
                      <a:gd name="T29" fmla="*/ 0 h 194"/>
                      <a:gd name="T30" fmla="*/ 0 w 593"/>
                      <a:gd name="T31" fmla="*/ 0 h 194"/>
                      <a:gd name="T32" fmla="*/ 0 w 593"/>
                      <a:gd name="T33" fmla="*/ 0 h 194"/>
                      <a:gd name="T34" fmla="*/ 0 w 593"/>
                      <a:gd name="T35" fmla="*/ 0 h 194"/>
                      <a:gd name="T36" fmla="*/ 0 w 593"/>
                      <a:gd name="T37" fmla="*/ 0 h 194"/>
                      <a:gd name="T38" fmla="*/ 0 w 593"/>
                      <a:gd name="T39" fmla="*/ 0 h 194"/>
                      <a:gd name="T40" fmla="*/ 0 w 593"/>
                      <a:gd name="T41" fmla="*/ 0 h 194"/>
                      <a:gd name="T42" fmla="*/ 0 w 593"/>
                      <a:gd name="T43" fmla="*/ 0 h 194"/>
                      <a:gd name="T44" fmla="*/ 0 w 593"/>
                      <a:gd name="T45" fmla="*/ 0 h 194"/>
                      <a:gd name="T46" fmla="*/ 0 w 593"/>
                      <a:gd name="T47" fmla="*/ 0 h 194"/>
                      <a:gd name="T48" fmla="*/ 0 w 593"/>
                      <a:gd name="T49" fmla="*/ 0 h 194"/>
                      <a:gd name="T50" fmla="*/ 0 w 593"/>
                      <a:gd name="T51" fmla="*/ 0 h 194"/>
                      <a:gd name="T52" fmla="*/ 0 w 593"/>
                      <a:gd name="T53" fmla="*/ 0 h 194"/>
                      <a:gd name="T54" fmla="*/ 0 w 593"/>
                      <a:gd name="T55" fmla="*/ 0 h 194"/>
                      <a:gd name="T56" fmla="*/ 0 w 593"/>
                      <a:gd name="T57" fmla="*/ 0 h 194"/>
                      <a:gd name="T58" fmla="*/ 0 w 593"/>
                      <a:gd name="T59" fmla="*/ 0 h 194"/>
                      <a:gd name="T60" fmla="*/ 0 w 593"/>
                      <a:gd name="T61" fmla="*/ 0 h 194"/>
                      <a:gd name="T62" fmla="*/ 0 w 593"/>
                      <a:gd name="T63" fmla="*/ 0 h 194"/>
                      <a:gd name="T64" fmla="*/ 0 w 593"/>
                      <a:gd name="T65" fmla="*/ 0 h 194"/>
                      <a:gd name="T66" fmla="*/ 0 w 593"/>
                      <a:gd name="T67" fmla="*/ 0 h 194"/>
                      <a:gd name="T68" fmla="*/ 0 w 593"/>
                      <a:gd name="T69" fmla="*/ 0 h 194"/>
                      <a:gd name="T70" fmla="*/ 0 w 593"/>
                      <a:gd name="T71" fmla="*/ 0 h 194"/>
                      <a:gd name="T72" fmla="*/ 0 w 593"/>
                      <a:gd name="T73" fmla="*/ 0 h 194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w 593"/>
                      <a:gd name="T112" fmla="*/ 0 h 194"/>
                      <a:gd name="T113" fmla="*/ 593 w 593"/>
                      <a:gd name="T114" fmla="*/ 194 h 194"/>
                    </a:gdLst>
                    <a:ahLst/>
                    <a:cxnLst>
                      <a:cxn ang="T74">
                        <a:pos x="T0" y="T1"/>
                      </a:cxn>
                      <a:cxn ang="T75">
                        <a:pos x="T2" y="T3"/>
                      </a:cxn>
                      <a:cxn ang="T76">
                        <a:pos x="T4" y="T5"/>
                      </a:cxn>
                      <a:cxn ang="T77">
                        <a:pos x="T6" y="T7"/>
                      </a:cxn>
                      <a:cxn ang="T78">
                        <a:pos x="T8" y="T9"/>
                      </a:cxn>
                      <a:cxn ang="T79">
                        <a:pos x="T10" y="T11"/>
                      </a:cxn>
                      <a:cxn ang="T80">
                        <a:pos x="T12" y="T13"/>
                      </a:cxn>
                      <a:cxn ang="T81">
                        <a:pos x="T14" y="T15"/>
                      </a:cxn>
                      <a:cxn ang="T82">
                        <a:pos x="T16" y="T17"/>
                      </a:cxn>
                      <a:cxn ang="T83">
                        <a:pos x="T18" y="T19"/>
                      </a:cxn>
                      <a:cxn ang="T84">
                        <a:pos x="T20" y="T21"/>
                      </a:cxn>
                      <a:cxn ang="T85">
                        <a:pos x="T22" y="T23"/>
                      </a:cxn>
                      <a:cxn ang="T86">
                        <a:pos x="T24" y="T25"/>
                      </a:cxn>
                      <a:cxn ang="T87">
                        <a:pos x="T26" y="T27"/>
                      </a:cxn>
                      <a:cxn ang="T88">
                        <a:pos x="T28" y="T29"/>
                      </a:cxn>
                      <a:cxn ang="T89">
                        <a:pos x="T30" y="T31"/>
                      </a:cxn>
                      <a:cxn ang="T90">
                        <a:pos x="T32" y="T33"/>
                      </a:cxn>
                      <a:cxn ang="T91">
                        <a:pos x="T34" y="T35"/>
                      </a:cxn>
                      <a:cxn ang="T92">
                        <a:pos x="T36" y="T37"/>
                      </a:cxn>
                      <a:cxn ang="T93">
                        <a:pos x="T38" y="T39"/>
                      </a:cxn>
                      <a:cxn ang="T94">
                        <a:pos x="T40" y="T41"/>
                      </a:cxn>
                      <a:cxn ang="T95">
                        <a:pos x="T42" y="T43"/>
                      </a:cxn>
                      <a:cxn ang="T96">
                        <a:pos x="T44" y="T45"/>
                      </a:cxn>
                      <a:cxn ang="T97">
                        <a:pos x="T46" y="T47"/>
                      </a:cxn>
                      <a:cxn ang="T98">
                        <a:pos x="T48" y="T49"/>
                      </a:cxn>
                      <a:cxn ang="T99">
                        <a:pos x="T50" y="T51"/>
                      </a:cxn>
                      <a:cxn ang="T100">
                        <a:pos x="T52" y="T53"/>
                      </a:cxn>
                      <a:cxn ang="T101">
                        <a:pos x="T54" y="T55"/>
                      </a:cxn>
                      <a:cxn ang="T102">
                        <a:pos x="T56" y="T57"/>
                      </a:cxn>
                      <a:cxn ang="T103">
                        <a:pos x="T58" y="T59"/>
                      </a:cxn>
                      <a:cxn ang="T104">
                        <a:pos x="T60" y="T61"/>
                      </a:cxn>
                      <a:cxn ang="T105">
                        <a:pos x="T62" y="T63"/>
                      </a:cxn>
                      <a:cxn ang="T106">
                        <a:pos x="T64" y="T65"/>
                      </a:cxn>
                      <a:cxn ang="T107">
                        <a:pos x="T66" y="T67"/>
                      </a:cxn>
                      <a:cxn ang="T108">
                        <a:pos x="T68" y="T69"/>
                      </a:cxn>
                      <a:cxn ang="T109">
                        <a:pos x="T70" y="T71"/>
                      </a:cxn>
                      <a:cxn ang="T110">
                        <a:pos x="T72" y="T73"/>
                      </a:cxn>
                    </a:cxnLst>
                    <a:rect l="T111" t="T112" r="T113" b="T114"/>
                    <a:pathLst>
                      <a:path w="593" h="194">
                        <a:moveTo>
                          <a:pt x="593" y="98"/>
                        </a:moveTo>
                        <a:lnTo>
                          <a:pt x="593" y="102"/>
                        </a:lnTo>
                        <a:lnTo>
                          <a:pt x="592" y="108"/>
                        </a:lnTo>
                        <a:lnTo>
                          <a:pt x="590" y="112"/>
                        </a:lnTo>
                        <a:lnTo>
                          <a:pt x="588" y="117"/>
                        </a:lnTo>
                        <a:lnTo>
                          <a:pt x="580" y="127"/>
                        </a:lnTo>
                        <a:lnTo>
                          <a:pt x="570" y="136"/>
                        </a:lnTo>
                        <a:lnTo>
                          <a:pt x="558" y="143"/>
                        </a:lnTo>
                        <a:lnTo>
                          <a:pt x="543" y="152"/>
                        </a:lnTo>
                        <a:lnTo>
                          <a:pt x="525" y="159"/>
                        </a:lnTo>
                        <a:lnTo>
                          <a:pt x="506" y="167"/>
                        </a:lnTo>
                        <a:lnTo>
                          <a:pt x="485" y="172"/>
                        </a:lnTo>
                        <a:lnTo>
                          <a:pt x="463" y="178"/>
                        </a:lnTo>
                        <a:lnTo>
                          <a:pt x="438" y="183"/>
                        </a:lnTo>
                        <a:lnTo>
                          <a:pt x="412" y="187"/>
                        </a:lnTo>
                        <a:lnTo>
                          <a:pt x="385" y="190"/>
                        </a:lnTo>
                        <a:lnTo>
                          <a:pt x="356" y="192"/>
                        </a:lnTo>
                        <a:lnTo>
                          <a:pt x="327" y="194"/>
                        </a:lnTo>
                        <a:lnTo>
                          <a:pt x="297" y="194"/>
                        </a:lnTo>
                        <a:lnTo>
                          <a:pt x="266" y="194"/>
                        </a:lnTo>
                        <a:lnTo>
                          <a:pt x="237" y="192"/>
                        </a:lnTo>
                        <a:lnTo>
                          <a:pt x="208" y="190"/>
                        </a:lnTo>
                        <a:lnTo>
                          <a:pt x="181" y="187"/>
                        </a:lnTo>
                        <a:lnTo>
                          <a:pt x="156" y="183"/>
                        </a:lnTo>
                        <a:lnTo>
                          <a:pt x="131" y="178"/>
                        </a:lnTo>
                        <a:lnTo>
                          <a:pt x="108" y="172"/>
                        </a:lnTo>
                        <a:lnTo>
                          <a:pt x="87" y="167"/>
                        </a:lnTo>
                        <a:lnTo>
                          <a:pt x="68" y="159"/>
                        </a:lnTo>
                        <a:lnTo>
                          <a:pt x="51" y="152"/>
                        </a:lnTo>
                        <a:lnTo>
                          <a:pt x="36" y="143"/>
                        </a:lnTo>
                        <a:lnTo>
                          <a:pt x="23" y="136"/>
                        </a:lnTo>
                        <a:lnTo>
                          <a:pt x="18" y="131"/>
                        </a:lnTo>
                        <a:lnTo>
                          <a:pt x="13" y="127"/>
                        </a:lnTo>
                        <a:lnTo>
                          <a:pt x="9" y="122"/>
                        </a:lnTo>
                        <a:lnTo>
                          <a:pt x="5" y="117"/>
                        </a:lnTo>
                        <a:lnTo>
                          <a:pt x="3" y="112"/>
                        </a:lnTo>
                        <a:lnTo>
                          <a:pt x="1" y="108"/>
                        </a:lnTo>
                        <a:lnTo>
                          <a:pt x="0" y="102"/>
                        </a:lnTo>
                        <a:lnTo>
                          <a:pt x="0" y="98"/>
                        </a:lnTo>
                        <a:lnTo>
                          <a:pt x="0" y="92"/>
                        </a:lnTo>
                        <a:lnTo>
                          <a:pt x="1" y="88"/>
                        </a:lnTo>
                        <a:lnTo>
                          <a:pt x="3" y="82"/>
                        </a:lnTo>
                        <a:lnTo>
                          <a:pt x="5" y="78"/>
                        </a:lnTo>
                        <a:lnTo>
                          <a:pt x="13" y="69"/>
                        </a:lnTo>
                        <a:lnTo>
                          <a:pt x="23" y="60"/>
                        </a:lnTo>
                        <a:lnTo>
                          <a:pt x="36" y="51"/>
                        </a:lnTo>
                        <a:lnTo>
                          <a:pt x="51" y="43"/>
                        </a:lnTo>
                        <a:lnTo>
                          <a:pt x="68" y="35"/>
                        </a:lnTo>
                        <a:lnTo>
                          <a:pt x="87" y="29"/>
                        </a:lnTo>
                        <a:lnTo>
                          <a:pt x="108" y="22"/>
                        </a:lnTo>
                        <a:lnTo>
                          <a:pt x="131" y="16"/>
                        </a:lnTo>
                        <a:lnTo>
                          <a:pt x="156" y="12"/>
                        </a:lnTo>
                        <a:lnTo>
                          <a:pt x="181" y="8"/>
                        </a:lnTo>
                        <a:lnTo>
                          <a:pt x="208" y="4"/>
                        </a:lnTo>
                        <a:lnTo>
                          <a:pt x="237" y="2"/>
                        </a:lnTo>
                        <a:lnTo>
                          <a:pt x="266" y="1"/>
                        </a:lnTo>
                        <a:lnTo>
                          <a:pt x="297" y="0"/>
                        </a:lnTo>
                        <a:lnTo>
                          <a:pt x="327" y="1"/>
                        </a:lnTo>
                        <a:lnTo>
                          <a:pt x="356" y="2"/>
                        </a:lnTo>
                        <a:lnTo>
                          <a:pt x="385" y="4"/>
                        </a:lnTo>
                        <a:lnTo>
                          <a:pt x="412" y="8"/>
                        </a:lnTo>
                        <a:lnTo>
                          <a:pt x="438" y="12"/>
                        </a:lnTo>
                        <a:lnTo>
                          <a:pt x="463" y="16"/>
                        </a:lnTo>
                        <a:lnTo>
                          <a:pt x="485" y="22"/>
                        </a:lnTo>
                        <a:lnTo>
                          <a:pt x="506" y="29"/>
                        </a:lnTo>
                        <a:lnTo>
                          <a:pt x="525" y="35"/>
                        </a:lnTo>
                        <a:lnTo>
                          <a:pt x="543" y="43"/>
                        </a:lnTo>
                        <a:lnTo>
                          <a:pt x="558" y="51"/>
                        </a:lnTo>
                        <a:lnTo>
                          <a:pt x="570" y="60"/>
                        </a:lnTo>
                        <a:lnTo>
                          <a:pt x="580" y="69"/>
                        </a:lnTo>
                        <a:lnTo>
                          <a:pt x="588" y="78"/>
                        </a:lnTo>
                        <a:lnTo>
                          <a:pt x="590" y="82"/>
                        </a:lnTo>
                        <a:lnTo>
                          <a:pt x="592" y="88"/>
                        </a:lnTo>
                        <a:lnTo>
                          <a:pt x="593" y="92"/>
                        </a:lnTo>
                        <a:lnTo>
                          <a:pt x="593" y="98"/>
                        </a:lnTo>
                        <a:close/>
                      </a:path>
                    </a:pathLst>
                  </a:custGeom>
                  <a:solidFill>
                    <a:srgbClr val="2E5592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328" name="Freeform 173"/>
                  <p:cNvSpPr>
                    <a:spLocks/>
                  </p:cNvSpPr>
                  <p:nvPr/>
                </p:nvSpPr>
                <p:spPr bwMode="auto">
                  <a:xfrm>
                    <a:off x="3255" y="4078"/>
                    <a:ext cx="169" cy="86"/>
                  </a:xfrm>
                  <a:custGeom>
                    <a:avLst/>
                    <a:gdLst>
                      <a:gd name="T0" fmla="*/ 0 w 1184"/>
                      <a:gd name="T1" fmla="*/ 0 h 605"/>
                      <a:gd name="T2" fmla="*/ 0 w 1184"/>
                      <a:gd name="T3" fmla="*/ 0 h 605"/>
                      <a:gd name="T4" fmla="*/ 0 w 1184"/>
                      <a:gd name="T5" fmla="*/ 0 h 605"/>
                      <a:gd name="T6" fmla="*/ 0 w 1184"/>
                      <a:gd name="T7" fmla="*/ 0 h 605"/>
                      <a:gd name="T8" fmla="*/ 0 w 1184"/>
                      <a:gd name="T9" fmla="*/ 0 h 605"/>
                      <a:gd name="T10" fmla="*/ 0 w 1184"/>
                      <a:gd name="T11" fmla="*/ 0 h 605"/>
                      <a:gd name="T12" fmla="*/ 0 w 1184"/>
                      <a:gd name="T13" fmla="*/ 0 h 605"/>
                      <a:gd name="T14" fmla="*/ 0 w 1184"/>
                      <a:gd name="T15" fmla="*/ 0 h 605"/>
                      <a:gd name="T16" fmla="*/ 0 w 1184"/>
                      <a:gd name="T17" fmla="*/ 0 h 605"/>
                      <a:gd name="T18" fmla="*/ 0 w 1184"/>
                      <a:gd name="T19" fmla="*/ 0 h 605"/>
                      <a:gd name="T20" fmla="*/ 0 w 1184"/>
                      <a:gd name="T21" fmla="*/ 0 h 605"/>
                      <a:gd name="T22" fmla="*/ 0 w 1184"/>
                      <a:gd name="T23" fmla="*/ 0 h 605"/>
                      <a:gd name="T24" fmla="*/ 0 w 1184"/>
                      <a:gd name="T25" fmla="*/ 0 h 605"/>
                      <a:gd name="T26" fmla="*/ 0 w 1184"/>
                      <a:gd name="T27" fmla="*/ 0 h 605"/>
                      <a:gd name="T28" fmla="*/ 0 w 1184"/>
                      <a:gd name="T29" fmla="*/ 0 h 605"/>
                      <a:gd name="T30" fmla="*/ 0 w 1184"/>
                      <a:gd name="T31" fmla="*/ 0 h 605"/>
                      <a:gd name="T32" fmla="*/ 0 w 1184"/>
                      <a:gd name="T33" fmla="*/ 0 h 605"/>
                      <a:gd name="T34" fmla="*/ 0 w 1184"/>
                      <a:gd name="T35" fmla="*/ 0 h 605"/>
                      <a:gd name="T36" fmla="*/ 0 w 1184"/>
                      <a:gd name="T37" fmla="*/ 0 h 605"/>
                      <a:gd name="T38" fmla="*/ 0 w 1184"/>
                      <a:gd name="T39" fmla="*/ 0 h 605"/>
                      <a:gd name="T40" fmla="*/ 0 w 1184"/>
                      <a:gd name="T41" fmla="*/ 0 h 605"/>
                      <a:gd name="T42" fmla="*/ 0 w 1184"/>
                      <a:gd name="T43" fmla="*/ 0 h 605"/>
                      <a:gd name="T44" fmla="*/ 0 w 1184"/>
                      <a:gd name="T45" fmla="*/ 0 h 605"/>
                      <a:gd name="T46" fmla="*/ 0 w 1184"/>
                      <a:gd name="T47" fmla="*/ 0 h 605"/>
                      <a:gd name="T48" fmla="*/ 0 w 1184"/>
                      <a:gd name="T49" fmla="*/ 0 h 605"/>
                      <a:gd name="T50" fmla="*/ 0 w 1184"/>
                      <a:gd name="T51" fmla="*/ 0 h 605"/>
                      <a:gd name="T52" fmla="*/ 0 w 1184"/>
                      <a:gd name="T53" fmla="*/ 0 h 605"/>
                      <a:gd name="T54" fmla="*/ 0 w 1184"/>
                      <a:gd name="T55" fmla="*/ 0 h 605"/>
                      <a:gd name="T56" fmla="*/ 0 w 1184"/>
                      <a:gd name="T57" fmla="*/ 0 h 605"/>
                      <a:gd name="T58" fmla="*/ 0 w 1184"/>
                      <a:gd name="T59" fmla="*/ 0 h 605"/>
                      <a:gd name="T60" fmla="*/ 0 w 1184"/>
                      <a:gd name="T61" fmla="*/ 0 h 605"/>
                      <a:gd name="T62" fmla="*/ 0 w 1184"/>
                      <a:gd name="T63" fmla="*/ 0 h 605"/>
                      <a:gd name="T64" fmla="*/ 0 w 1184"/>
                      <a:gd name="T65" fmla="*/ 0 h 605"/>
                      <a:gd name="T66" fmla="*/ 0 w 1184"/>
                      <a:gd name="T67" fmla="*/ 0 h 605"/>
                      <a:gd name="T68" fmla="*/ 0 w 1184"/>
                      <a:gd name="T69" fmla="*/ 0 h 605"/>
                      <a:gd name="T70" fmla="*/ 0 w 1184"/>
                      <a:gd name="T71" fmla="*/ 0 h 605"/>
                      <a:gd name="T72" fmla="*/ 0 w 1184"/>
                      <a:gd name="T73" fmla="*/ 0 h 605"/>
                      <a:gd name="T74" fmla="*/ 0 w 1184"/>
                      <a:gd name="T75" fmla="*/ 0 h 605"/>
                      <a:gd name="T76" fmla="*/ 0 w 1184"/>
                      <a:gd name="T77" fmla="*/ 0 h 605"/>
                      <a:gd name="T78" fmla="*/ 0 w 1184"/>
                      <a:gd name="T79" fmla="*/ 0 h 605"/>
                      <a:gd name="T80" fmla="*/ 0 w 1184"/>
                      <a:gd name="T81" fmla="*/ 0 h 605"/>
                      <a:gd name="T82" fmla="*/ 0 w 1184"/>
                      <a:gd name="T83" fmla="*/ 0 h 605"/>
                      <a:gd name="T84" fmla="*/ 0 w 1184"/>
                      <a:gd name="T85" fmla="*/ 0 h 605"/>
                      <a:gd name="T86" fmla="*/ 0 w 1184"/>
                      <a:gd name="T87" fmla="*/ 0 h 605"/>
                      <a:gd name="T88" fmla="*/ 0 w 1184"/>
                      <a:gd name="T89" fmla="*/ 0 h 605"/>
                      <a:gd name="T90" fmla="*/ 0 w 1184"/>
                      <a:gd name="T91" fmla="*/ 0 h 605"/>
                      <a:gd name="T92" fmla="*/ 0 w 1184"/>
                      <a:gd name="T93" fmla="*/ 0 h 605"/>
                      <a:gd name="T94" fmla="*/ 0 w 1184"/>
                      <a:gd name="T95" fmla="*/ 0 h 605"/>
                      <a:gd name="T96" fmla="*/ 0 w 1184"/>
                      <a:gd name="T97" fmla="*/ 0 h 605"/>
                      <a:gd name="T98" fmla="*/ 0 w 1184"/>
                      <a:gd name="T99" fmla="*/ 0 h 605"/>
                      <a:gd name="T100" fmla="*/ 0 w 1184"/>
                      <a:gd name="T101" fmla="*/ 0 h 605"/>
                      <a:gd name="T102" fmla="*/ 0 w 1184"/>
                      <a:gd name="T103" fmla="*/ 0 h 605"/>
                      <a:gd name="T104" fmla="*/ 0 w 1184"/>
                      <a:gd name="T105" fmla="*/ 0 h 605"/>
                      <a:gd name="T106" fmla="*/ 0 w 1184"/>
                      <a:gd name="T107" fmla="*/ 0 h 605"/>
                      <a:gd name="T108" fmla="*/ 0 w 1184"/>
                      <a:gd name="T109" fmla="*/ 0 h 605"/>
                      <a:gd name="T110" fmla="*/ 0 w 1184"/>
                      <a:gd name="T111" fmla="*/ 0 h 605"/>
                      <a:gd name="T112" fmla="*/ 0 w 1184"/>
                      <a:gd name="T113" fmla="*/ 0 h 605"/>
                      <a:gd name="T114" fmla="*/ 0 w 1184"/>
                      <a:gd name="T115" fmla="*/ 0 h 605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w 1184"/>
                      <a:gd name="T175" fmla="*/ 0 h 605"/>
                      <a:gd name="T176" fmla="*/ 1184 w 1184"/>
                      <a:gd name="T177" fmla="*/ 605 h 605"/>
                    </a:gdLst>
                    <a:ahLst/>
                    <a:cxnLst>
                      <a:cxn ang="T116">
                        <a:pos x="T0" y="T1"/>
                      </a:cxn>
                      <a:cxn ang="T117">
                        <a:pos x="T2" y="T3"/>
                      </a:cxn>
                      <a:cxn ang="T118">
                        <a:pos x="T4" y="T5"/>
                      </a:cxn>
                      <a:cxn ang="T119">
                        <a:pos x="T6" y="T7"/>
                      </a:cxn>
                      <a:cxn ang="T120">
                        <a:pos x="T8" y="T9"/>
                      </a:cxn>
                      <a:cxn ang="T121">
                        <a:pos x="T10" y="T11"/>
                      </a:cxn>
                      <a:cxn ang="T122">
                        <a:pos x="T12" y="T13"/>
                      </a:cxn>
                      <a:cxn ang="T123">
                        <a:pos x="T14" y="T15"/>
                      </a:cxn>
                      <a:cxn ang="T124">
                        <a:pos x="T16" y="T17"/>
                      </a:cxn>
                      <a:cxn ang="T125">
                        <a:pos x="T18" y="T19"/>
                      </a:cxn>
                      <a:cxn ang="T126">
                        <a:pos x="T20" y="T21"/>
                      </a:cxn>
                      <a:cxn ang="T127">
                        <a:pos x="T22" y="T23"/>
                      </a:cxn>
                      <a:cxn ang="T128">
                        <a:pos x="T24" y="T25"/>
                      </a:cxn>
                      <a:cxn ang="T129">
                        <a:pos x="T26" y="T27"/>
                      </a:cxn>
                      <a:cxn ang="T130">
                        <a:pos x="T28" y="T29"/>
                      </a:cxn>
                      <a:cxn ang="T131">
                        <a:pos x="T30" y="T31"/>
                      </a:cxn>
                      <a:cxn ang="T132">
                        <a:pos x="T32" y="T33"/>
                      </a:cxn>
                      <a:cxn ang="T133">
                        <a:pos x="T34" y="T35"/>
                      </a:cxn>
                      <a:cxn ang="T134">
                        <a:pos x="T36" y="T37"/>
                      </a:cxn>
                      <a:cxn ang="T135">
                        <a:pos x="T38" y="T39"/>
                      </a:cxn>
                      <a:cxn ang="T136">
                        <a:pos x="T40" y="T41"/>
                      </a:cxn>
                      <a:cxn ang="T137">
                        <a:pos x="T42" y="T43"/>
                      </a:cxn>
                      <a:cxn ang="T138">
                        <a:pos x="T44" y="T45"/>
                      </a:cxn>
                      <a:cxn ang="T139">
                        <a:pos x="T46" y="T47"/>
                      </a:cxn>
                      <a:cxn ang="T140">
                        <a:pos x="T48" y="T49"/>
                      </a:cxn>
                      <a:cxn ang="T141">
                        <a:pos x="T50" y="T51"/>
                      </a:cxn>
                      <a:cxn ang="T142">
                        <a:pos x="T52" y="T53"/>
                      </a:cxn>
                      <a:cxn ang="T143">
                        <a:pos x="T54" y="T55"/>
                      </a:cxn>
                      <a:cxn ang="T144">
                        <a:pos x="T56" y="T57"/>
                      </a:cxn>
                      <a:cxn ang="T145">
                        <a:pos x="T58" y="T59"/>
                      </a:cxn>
                      <a:cxn ang="T146">
                        <a:pos x="T60" y="T61"/>
                      </a:cxn>
                      <a:cxn ang="T147">
                        <a:pos x="T62" y="T63"/>
                      </a:cxn>
                      <a:cxn ang="T148">
                        <a:pos x="T64" y="T65"/>
                      </a:cxn>
                      <a:cxn ang="T149">
                        <a:pos x="T66" y="T67"/>
                      </a:cxn>
                      <a:cxn ang="T150">
                        <a:pos x="T68" y="T69"/>
                      </a:cxn>
                      <a:cxn ang="T151">
                        <a:pos x="T70" y="T71"/>
                      </a:cxn>
                      <a:cxn ang="T152">
                        <a:pos x="T72" y="T73"/>
                      </a:cxn>
                      <a:cxn ang="T153">
                        <a:pos x="T74" y="T75"/>
                      </a:cxn>
                      <a:cxn ang="T154">
                        <a:pos x="T76" y="T77"/>
                      </a:cxn>
                      <a:cxn ang="T155">
                        <a:pos x="T78" y="T79"/>
                      </a:cxn>
                      <a:cxn ang="T156">
                        <a:pos x="T80" y="T81"/>
                      </a:cxn>
                      <a:cxn ang="T157">
                        <a:pos x="T82" y="T83"/>
                      </a:cxn>
                      <a:cxn ang="T158">
                        <a:pos x="T84" y="T85"/>
                      </a:cxn>
                      <a:cxn ang="T159">
                        <a:pos x="T86" y="T87"/>
                      </a:cxn>
                      <a:cxn ang="T160">
                        <a:pos x="T88" y="T89"/>
                      </a:cxn>
                      <a:cxn ang="T161">
                        <a:pos x="T90" y="T91"/>
                      </a:cxn>
                      <a:cxn ang="T162">
                        <a:pos x="T92" y="T93"/>
                      </a:cxn>
                      <a:cxn ang="T163">
                        <a:pos x="T94" y="T95"/>
                      </a:cxn>
                      <a:cxn ang="T164">
                        <a:pos x="T96" y="T97"/>
                      </a:cxn>
                      <a:cxn ang="T165">
                        <a:pos x="T98" y="T99"/>
                      </a:cxn>
                      <a:cxn ang="T166">
                        <a:pos x="T100" y="T101"/>
                      </a:cxn>
                      <a:cxn ang="T167">
                        <a:pos x="T102" y="T103"/>
                      </a:cxn>
                      <a:cxn ang="T168">
                        <a:pos x="T104" y="T105"/>
                      </a:cxn>
                      <a:cxn ang="T169">
                        <a:pos x="T106" y="T107"/>
                      </a:cxn>
                      <a:cxn ang="T170">
                        <a:pos x="T108" y="T109"/>
                      </a:cxn>
                      <a:cxn ang="T171">
                        <a:pos x="T110" y="T111"/>
                      </a:cxn>
                      <a:cxn ang="T172">
                        <a:pos x="T112" y="T113"/>
                      </a:cxn>
                      <a:cxn ang="T173">
                        <a:pos x="T114" y="T115"/>
                      </a:cxn>
                    </a:cxnLst>
                    <a:rect l="T174" t="T175" r="T176" b="T177"/>
                    <a:pathLst>
                      <a:path w="1184" h="605">
                        <a:moveTo>
                          <a:pt x="1079" y="0"/>
                        </a:moveTo>
                        <a:lnTo>
                          <a:pt x="1086" y="20"/>
                        </a:lnTo>
                        <a:lnTo>
                          <a:pt x="1092" y="40"/>
                        </a:lnTo>
                        <a:lnTo>
                          <a:pt x="1096" y="57"/>
                        </a:lnTo>
                        <a:lnTo>
                          <a:pt x="1098" y="75"/>
                        </a:lnTo>
                        <a:lnTo>
                          <a:pt x="1099" y="92"/>
                        </a:lnTo>
                        <a:lnTo>
                          <a:pt x="1099" y="106"/>
                        </a:lnTo>
                        <a:lnTo>
                          <a:pt x="1097" y="121"/>
                        </a:lnTo>
                        <a:lnTo>
                          <a:pt x="1095" y="134"/>
                        </a:lnTo>
                        <a:lnTo>
                          <a:pt x="1090" y="148"/>
                        </a:lnTo>
                        <a:lnTo>
                          <a:pt x="1085" y="159"/>
                        </a:lnTo>
                        <a:lnTo>
                          <a:pt x="1078" y="170"/>
                        </a:lnTo>
                        <a:lnTo>
                          <a:pt x="1071" y="181"/>
                        </a:lnTo>
                        <a:lnTo>
                          <a:pt x="1063" y="191"/>
                        </a:lnTo>
                        <a:lnTo>
                          <a:pt x="1054" y="200"/>
                        </a:lnTo>
                        <a:lnTo>
                          <a:pt x="1044" y="209"/>
                        </a:lnTo>
                        <a:lnTo>
                          <a:pt x="1033" y="217"/>
                        </a:lnTo>
                        <a:lnTo>
                          <a:pt x="1020" y="224"/>
                        </a:lnTo>
                        <a:lnTo>
                          <a:pt x="1008" y="231"/>
                        </a:lnTo>
                        <a:lnTo>
                          <a:pt x="995" y="239"/>
                        </a:lnTo>
                        <a:lnTo>
                          <a:pt x="981" y="246"/>
                        </a:lnTo>
                        <a:lnTo>
                          <a:pt x="952" y="258"/>
                        </a:lnTo>
                        <a:lnTo>
                          <a:pt x="921" y="269"/>
                        </a:lnTo>
                        <a:lnTo>
                          <a:pt x="857" y="292"/>
                        </a:lnTo>
                        <a:lnTo>
                          <a:pt x="790" y="316"/>
                        </a:lnTo>
                        <a:lnTo>
                          <a:pt x="770" y="323"/>
                        </a:lnTo>
                        <a:lnTo>
                          <a:pt x="749" y="330"/>
                        </a:lnTo>
                        <a:lnTo>
                          <a:pt x="728" y="337"/>
                        </a:lnTo>
                        <a:lnTo>
                          <a:pt x="705" y="342"/>
                        </a:lnTo>
                        <a:lnTo>
                          <a:pt x="659" y="353"/>
                        </a:lnTo>
                        <a:lnTo>
                          <a:pt x="608" y="362"/>
                        </a:lnTo>
                        <a:lnTo>
                          <a:pt x="557" y="369"/>
                        </a:lnTo>
                        <a:lnTo>
                          <a:pt x="505" y="375"/>
                        </a:lnTo>
                        <a:lnTo>
                          <a:pt x="450" y="379"/>
                        </a:lnTo>
                        <a:lnTo>
                          <a:pt x="397" y="381"/>
                        </a:lnTo>
                        <a:lnTo>
                          <a:pt x="342" y="382"/>
                        </a:lnTo>
                        <a:lnTo>
                          <a:pt x="288" y="382"/>
                        </a:lnTo>
                        <a:lnTo>
                          <a:pt x="236" y="381"/>
                        </a:lnTo>
                        <a:lnTo>
                          <a:pt x="183" y="379"/>
                        </a:lnTo>
                        <a:lnTo>
                          <a:pt x="133" y="376"/>
                        </a:lnTo>
                        <a:lnTo>
                          <a:pt x="86" y="370"/>
                        </a:lnTo>
                        <a:lnTo>
                          <a:pt x="42" y="366"/>
                        </a:lnTo>
                        <a:lnTo>
                          <a:pt x="0" y="359"/>
                        </a:lnTo>
                        <a:lnTo>
                          <a:pt x="3" y="372"/>
                        </a:lnTo>
                        <a:lnTo>
                          <a:pt x="6" y="386"/>
                        </a:lnTo>
                        <a:lnTo>
                          <a:pt x="10" y="398"/>
                        </a:lnTo>
                        <a:lnTo>
                          <a:pt x="15" y="410"/>
                        </a:lnTo>
                        <a:lnTo>
                          <a:pt x="20" y="422"/>
                        </a:lnTo>
                        <a:lnTo>
                          <a:pt x="26" y="435"/>
                        </a:lnTo>
                        <a:lnTo>
                          <a:pt x="33" y="447"/>
                        </a:lnTo>
                        <a:lnTo>
                          <a:pt x="41" y="458"/>
                        </a:lnTo>
                        <a:lnTo>
                          <a:pt x="49" y="469"/>
                        </a:lnTo>
                        <a:lnTo>
                          <a:pt x="58" y="479"/>
                        </a:lnTo>
                        <a:lnTo>
                          <a:pt x="69" y="490"/>
                        </a:lnTo>
                        <a:lnTo>
                          <a:pt x="80" y="500"/>
                        </a:lnTo>
                        <a:lnTo>
                          <a:pt x="92" y="509"/>
                        </a:lnTo>
                        <a:lnTo>
                          <a:pt x="105" y="518"/>
                        </a:lnTo>
                        <a:lnTo>
                          <a:pt x="120" y="527"/>
                        </a:lnTo>
                        <a:lnTo>
                          <a:pt x="135" y="536"/>
                        </a:lnTo>
                        <a:lnTo>
                          <a:pt x="153" y="544"/>
                        </a:lnTo>
                        <a:lnTo>
                          <a:pt x="171" y="552"/>
                        </a:lnTo>
                        <a:lnTo>
                          <a:pt x="191" y="558"/>
                        </a:lnTo>
                        <a:lnTo>
                          <a:pt x="212" y="565"/>
                        </a:lnTo>
                        <a:lnTo>
                          <a:pt x="235" y="572"/>
                        </a:lnTo>
                        <a:lnTo>
                          <a:pt x="258" y="577"/>
                        </a:lnTo>
                        <a:lnTo>
                          <a:pt x="283" y="583"/>
                        </a:lnTo>
                        <a:lnTo>
                          <a:pt x="310" y="587"/>
                        </a:lnTo>
                        <a:lnTo>
                          <a:pt x="339" y="592"/>
                        </a:lnTo>
                        <a:lnTo>
                          <a:pt x="369" y="595"/>
                        </a:lnTo>
                        <a:lnTo>
                          <a:pt x="401" y="598"/>
                        </a:lnTo>
                        <a:lnTo>
                          <a:pt x="435" y="601"/>
                        </a:lnTo>
                        <a:lnTo>
                          <a:pt x="470" y="603"/>
                        </a:lnTo>
                        <a:lnTo>
                          <a:pt x="507" y="604"/>
                        </a:lnTo>
                        <a:lnTo>
                          <a:pt x="546" y="605"/>
                        </a:lnTo>
                        <a:lnTo>
                          <a:pt x="587" y="605"/>
                        </a:lnTo>
                        <a:lnTo>
                          <a:pt x="634" y="605"/>
                        </a:lnTo>
                        <a:lnTo>
                          <a:pt x="679" y="603"/>
                        </a:lnTo>
                        <a:lnTo>
                          <a:pt x="721" y="601"/>
                        </a:lnTo>
                        <a:lnTo>
                          <a:pt x="760" y="597"/>
                        </a:lnTo>
                        <a:lnTo>
                          <a:pt x="798" y="594"/>
                        </a:lnTo>
                        <a:lnTo>
                          <a:pt x="832" y="588"/>
                        </a:lnTo>
                        <a:lnTo>
                          <a:pt x="866" y="583"/>
                        </a:lnTo>
                        <a:lnTo>
                          <a:pt x="897" y="576"/>
                        </a:lnTo>
                        <a:lnTo>
                          <a:pt x="926" y="569"/>
                        </a:lnTo>
                        <a:lnTo>
                          <a:pt x="952" y="560"/>
                        </a:lnTo>
                        <a:lnTo>
                          <a:pt x="977" y="552"/>
                        </a:lnTo>
                        <a:lnTo>
                          <a:pt x="1000" y="543"/>
                        </a:lnTo>
                        <a:lnTo>
                          <a:pt x="1023" y="533"/>
                        </a:lnTo>
                        <a:lnTo>
                          <a:pt x="1043" y="522"/>
                        </a:lnTo>
                        <a:lnTo>
                          <a:pt x="1060" y="509"/>
                        </a:lnTo>
                        <a:lnTo>
                          <a:pt x="1077" y="497"/>
                        </a:lnTo>
                        <a:lnTo>
                          <a:pt x="1093" y="485"/>
                        </a:lnTo>
                        <a:lnTo>
                          <a:pt x="1106" y="471"/>
                        </a:lnTo>
                        <a:lnTo>
                          <a:pt x="1118" y="457"/>
                        </a:lnTo>
                        <a:lnTo>
                          <a:pt x="1129" y="443"/>
                        </a:lnTo>
                        <a:lnTo>
                          <a:pt x="1139" y="428"/>
                        </a:lnTo>
                        <a:lnTo>
                          <a:pt x="1148" y="412"/>
                        </a:lnTo>
                        <a:lnTo>
                          <a:pt x="1156" y="397"/>
                        </a:lnTo>
                        <a:lnTo>
                          <a:pt x="1163" y="380"/>
                        </a:lnTo>
                        <a:lnTo>
                          <a:pt x="1168" y="364"/>
                        </a:lnTo>
                        <a:lnTo>
                          <a:pt x="1173" y="347"/>
                        </a:lnTo>
                        <a:lnTo>
                          <a:pt x="1176" y="329"/>
                        </a:lnTo>
                        <a:lnTo>
                          <a:pt x="1179" y="311"/>
                        </a:lnTo>
                        <a:lnTo>
                          <a:pt x="1182" y="293"/>
                        </a:lnTo>
                        <a:lnTo>
                          <a:pt x="1183" y="274"/>
                        </a:lnTo>
                        <a:lnTo>
                          <a:pt x="1184" y="256"/>
                        </a:lnTo>
                        <a:lnTo>
                          <a:pt x="1184" y="237"/>
                        </a:lnTo>
                        <a:lnTo>
                          <a:pt x="1183" y="226"/>
                        </a:lnTo>
                        <a:lnTo>
                          <a:pt x="1181" y="212"/>
                        </a:lnTo>
                        <a:lnTo>
                          <a:pt x="1177" y="198"/>
                        </a:lnTo>
                        <a:lnTo>
                          <a:pt x="1173" y="182"/>
                        </a:lnTo>
                        <a:lnTo>
                          <a:pt x="1161" y="150"/>
                        </a:lnTo>
                        <a:lnTo>
                          <a:pt x="1146" y="115"/>
                        </a:lnTo>
                        <a:lnTo>
                          <a:pt x="1129" y="81"/>
                        </a:lnTo>
                        <a:lnTo>
                          <a:pt x="1112" y="49"/>
                        </a:lnTo>
                        <a:lnTo>
                          <a:pt x="1095" y="21"/>
                        </a:lnTo>
                        <a:lnTo>
                          <a:pt x="1079" y="0"/>
                        </a:lnTo>
                        <a:close/>
                      </a:path>
                    </a:pathLst>
                  </a:custGeom>
                  <a:solidFill>
                    <a:srgbClr val="242B53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329" name="Freeform 174"/>
                  <p:cNvSpPr>
                    <a:spLocks/>
                  </p:cNvSpPr>
                  <p:nvPr/>
                </p:nvSpPr>
                <p:spPr bwMode="auto">
                  <a:xfrm>
                    <a:off x="3255" y="4127"/>
                    <a:ext cx="168" cy="38"/>
                  </a:xfrm>
                  <a:custGeom>
                    <a:avLst/>
                    <a:gdLst>
                      <a:gd name="T0" fmla="*/ 0 w 1173"/>
                      <a:gd name="T1" fmla="*/ 0 h 264"/>
                      <a:gd name="T2" fmla="*/ 0 w 1173"/>
                      <a:gd name="T3" fmla="*/ 0 h 264"/>
                      <a:gd name="T4" fmla="*/ 0 w 1173"/>
                      <a:gd name="T5" fmla="*/ 0 h 264"/>
                      <a:gd name="T6" fmla="*/ 0 w 1173"/>
                      <a:gd name="T7" fmla="*/ 0 h 264"/>
                      <a:gd name="T8" fmla="*/ 0 w 1173"/>
                      <a:gd name="T9" fmla="*/ 0 h 264"/>
                      <a:gd name="T10" fmla="*/ 0 w 1173"/>
                      <a:gd name="T11" fmla="*/ 0 h 264"/>
                      <a:gd name="T12" fmla="*/ 0 w 1173"/>
                      <a:gd name="T13" fmla="*/ 0 h 264"/>
                      <a:gd name="T14" fmla="*/ 0 w 1173"/>
                      <a:gd name="T15" fmla="*/ 0 h 264"/>
                      <a:gd name="T16" fmla="*/ 0 w 1173"/>
                      <a:gd name="T17" fmla="*/ 0 h 264"/>
                      <a:gd name="T18" fmla="*/ 0 w 1173"/>
                      <a:gd name="T19" fmla="*/ 0 h 264"/>
                      <a:gd name="T20" fmla="*/ 0 w 1173"/>
                      <a:gd name="T21" fmla="*/ 0 h 264"/>
                      <a:gd name="T22" fmla="*/ 0 w 1173"/>
                      <a:gd name="T23" fmla="*/ 0 h 264"/>
                      <a:gd name="T24" fmla="*/ 0 w 1173"/>
                      <a:gd name="T25" fmla="*/ 0 h 264"/>
                      <a:gd name="T26" fmla="*/ 0 w 1173"/>
                      <a:gd name="T27" fmla="*/ 0 h 264"/>
                      <a:gd name="T28" fmla="*/ 0 w 1173"/>
                      <a:gd name="T29" fmla="*/ 0 h 264"/>
                      <a:gd name="T30" fmla="*/ 0 w 1173"/>
                      <a:gd name="T31" fmla="*/ 0 h 264"/>
                      <a:gd name="T32" fmla="*/ 0 w 1173"/>
                      <a:gd name="T33" fmla="*/ 0 h 264"/>
                      <a:gd name="T34" fmla="*/ 0 w 1173"/>
                      <a:gd name="T35" fmla="*/ 0 h 264"/>
                      <a:gd name="T36" fmla="*/ 0 w 1173"/>
                      <a:gd name="T37" fmla="*/ 0 h 264"/>
                      <a:gd name="T38" fmla="*/ 0 w 1173"/>
                      <a:gd name="T39" fmla="*/ 0 h 264"/>
                      <a:gd name="T40" fmla="*/ 0 w 1173"/>
                      <a:gd name="T41" fmla="*/ 0 h 264"/>
                      <a:gd name="T42" fmla="*/ 0 w 1173"/>
                      <a:gd name="T43" fmla="*/ 0 h 264"/>
                      <a:gd name="T44" fmla="*/ 0 w 1173"/>
                      <a:gd name="T45" fmla="*/ 0 h 264"/>
                      <a:gd name="T46" fmla="*/ 0 w 1173"/>
                      <a:gd name="T47" fmla="*/ 0 h 264"/>
                      <a:gd name="T48" fmla="*/ 0 w 1173"/>
                      <a:gd name="T49" fmla="*/ 0 h 264"/>
                      <a:gd name="T50" fmla="*/ 0 w 1173"/>
                      <a:gd name="T51" fmla="*/ 0 h 264"/>
                      <a:gd name="T52" fmla="*/ 0 w 1173"/>
                      <a:gd name="T53" fmla="*/ 0 h 264"/>
                      <a:gd name="T54" fmla="*/ 0 w 1173"/>
                      <a:gd name="T55" fmla="*/ 0 h 264"/>
                      <a:gd name="T56" fmla="*/ 0 w 1173"/>
                      <a:gd name="T57" fmla="*/ 0 h 264"/>
                      <a:gd name="T58" fmla="*/ 0 w 1173"/>
                      <a:gd name="T59" fmla="*/ 0 h 264"/>
                      <a:gd name="T60" fmla="*/ 0 w 1173"/>
                      <a:gd name="T61" fmla="*/ 0 h 264"/>
                      <a:gd name="T62" fmla="*/ 0 w 1173"/>
                      <a:gd name="T63" fmla="*/ 0 h 264"/>
                      <a:gd name="T64" fmla="*/ 0 w 1173"/>
                      <a:gd name="T65" fmla="*/ 0 h 264"/>
                      <a:gd name="T66" fmla="*/ 0 w 1173"/>
                      <a:gd name="T67" fmla="*/ 0 h 264"/>
                      <a:gd name="T68" fmla="*/ 0 w 1173"/>
                      <a:gd name="T69" fmla="*/ 0 h 264"/>
                      <a:gd name="T70" fmla="*/ 0 w 1173"/>
                      <a:gd name="T71" fmla="*/ 0 h 264"/>
                      <a:gd name="T72" fmla="*/ 0 w 1173"/>
                      <a:gd name="T73" fmla="*/ 0 h 264"/>
                      <a:gd name="T74" fmla="*/ 0 w 1173"/>
                      <a:gd name="T75" fmla="*/ 0 h 264"/>
                      <a:gd name="T76" fmla="*/ 0 w 1173"/>
                      <a:gd name="T77" fmla="*/ 0 h 264"/>
                      <a:gd name="T78" fmla="*/ 0 w 1173"/>
                      <a:gd name="T79" fmla="*/ 0 h 264"/>
                      <a:gd name="T80" fmla="*/ 0 w 1173"/>
                      <a:gd name="T81" fmla="*/ 0 h 264"/>
                      <a:gd name="T82" fmla="*/ 0 w 1173"/>
                      <a:gd name="T83" fmla="*/ 0 h 264"/>
                      <a:gd name="T84" fmla="*/ 0 w 1173"/>
                      <a:gd name="T85" fmla="*/ 0 h 264"/>
                      <a:gd name="T86" fmla="*/ 0 w 1173"/>
                      <a:gd name="T87" fmla="*/ 0 h 264"/>
                      <a:gd name="T88" fmla="*/ 0 w 1173"/>
                      <a:gd name="T89" fmla="*/ 0 h 264"/>
                      <a:gd name="T90" fmla="*/ 0 w 1173"/>
                      <a:gd name="T91" fmla="*/ 0 h 264"/>
                      <a:gd name="T92" fmla="*/ 0 w 1173"/>
                      <a:gd name="T93" fmla="*/ 0 h 264"/>
                      <a:gd name="T94" fmla="*/ 0 w 1173"/>
                      <a:gd name="T95" fmla="*/ 0 h 264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w 1173"/>
                      <a:gd name="T145" fmla="*/ 0 h 264"/>
                      <a:gd name="T146" fmla="*/ 1173 w 1173"/>
                      <a:gd name="T147" fmla="*/ 264 h 264"/>
                    </a:gdLst>
                    <a:ahLst/>
                    <a:cxnLst>
                      <a:cxn ang="T96">
                        <a:pos x="T0" y="T1"/>
                      </a:cxn>
                      <a:cxn ang="T97">
                        <a:pos x="T2" y="T3"/>
                      </a:cxn>
                      <a:cxn ang="T98">
                        <a:pos x="T4" y="T5"/>
                      </a:cxn>
                      <a:cxn ang="T99">
                        <a:pos x="T6" y="T7"/>
                      </a:cxn>
                      <a:cxn ang="T100">
                        <a:pos x="T8" y="T9"/>
                      </a:cxn>
                      <a:cxn ang="T101">
                        <a:pos x="T10" y="T11"/>
                      </a:cxn>
                      <a:cxn ang="T102">
                        <a:pos x="T12" y="T13"/>
                      </a:cxn>
                      <a:cxn ang="T103">
                        <a:pos x="T14" y="T15"/>
                      </a:cxn>
                      <a:cxn ang="T104">
                        <a:pos x="T16" y="T17"/>
                      </a:cxn>
                      <a:cxn ang="T105">
                        <a:pos x="T18" y="T19"/>
                      </a:cxn>
                      <a:cxn ang="T106">
                        <a:pos x="T20" y="T21"/>
                      </a:cxn>
                      <a:cxn ang="T107">
                        <a:pos x="T22" y="T23"/>
                      </a:cxn>
                      <a:cxn ang="T108">
                        <a:pos x="T24" y="T25"/>
                      </a:cxn>
                      <a:cxn ang="T109">
                        <a:pos x="T26" y="T27"/>
                      </a:cxn>
                      <a:cxn ang="T110">
                        <a:pos x="T28" y="T29"/>
                      </a:cxn>
                      <a:cxn ang="T111">
                        <a:pos x="T30" y="T31"/>
                      </a:cxn>
                      <a:cxn ang="T112">
                        <a:pos x="T32" y="T33"/>
                      </a:cxn>
                      <a:cxn ang="T113">
                        <a:pos x="T34" y="T35"/>
                      </a:cxn>
                      <a:cxn ang="T114">
                        <a:pos x="T36" y="T37"/>
                      </a:cxn>
                      <a:cxn ang="T115">
                        <a:pos x="T38" y="T39"/>
                      </a:cxn>
                      <a:cxn ang="T116">
                        <a:pos x="T40" y="T41"/>
                      </a:cxn>
                      <a:cxn ang="T117">
                        <a:pos x="T42" y="T43"/>
                      </a:cxn>
                      <a:cxn ang="T118">
                        <a:pos x="T44" y="T45"/>
                      </a:cxn>
                      <a:cxn ang="T119">
                        <a:pos x="T46" y="T47"/>
                      </a:cxn>
                      <a:cxn ang="T120">
                        <a:pos x="T48" y="T49"/>
                      </a:cxn>
                      <a:cxn ang="T121">
                        <a:pos x="T50" y="T51"/>
                      </a:cxn>
                      <a:cxn ang="T122">
                        <a:pos x="T52" y="T53"/>
                      </a:cxn>
                      <a:cxn ang="T123">
                        <a:pos x="T54" y="T55"/>
                      </a:cxn>
                      <a:cxn ang="T124">
                        <a:pos x="T56" y="T57"/>
                      </a:cxn>
                      <a:cxn ang="T125">
                        <a:pos x="T58" y="T59"/>
                      </a:cxn>
                      <a:cxn ang="T126">
                        <a:pos x="T60" y="T61"/>
                      </a:cxn>
                      <a:cxn ang="T127">
                        <a:pos x="T62" y="T63"/>
                      </a:cxn>
                      <a:cxn ang="T128">
                        <a:pos x="T64" y="T65"/>
                      </a:cxn>
                      <a:cxn ang="T129">
                        <a:pos x="T66" y="T67"/>
                      </a:cxn>
                      <a:cxn ang="T130">
                        <a:pos x="T68" y="T69"/>
                      </a:cxn>
                      <a:cxn ang="T131">
                        <a:pos x="T70" y="T71"/>
                      </a:cxn>
                      <a:cxn ang="T132">
                        <a:pos x="T72" y="T73"/>
                      </a:cxn>
                      <a:cxn ang="T133">
                        <a:pos x="T74" y="T75"/>
                      </a:cxn>
                      <a:cxn ang="T134">
                        <a:pos x="T76" y="T77"/>
                      </a:cxn>
                      <a:cxn ang="T135">
                        <a:pos x="T78" y="T79"/>
                      </a:cxn>
                      <a:cxn ang="T136">
                        <a:pos x="T80" y="T81"/>
                      </a:cxn>
                      <a:cxn ang="T137">
                        <a:pos x="T82" y="T83"/>
                      </a:cxn>
                      <a:cxn ang="T138">
                        <a:pos x="T84" y="T85"/>
                      </a:cxn>
                      <a:cxn ang="T139">
                        <a:pos x="T86" y="T87"/>
                      </a:cxn>
                      <a:cxn ang="T140">
                        <a:pos x="T88" y="T89"/>
                      </a:cxn>
                      <a:cxn ang="T141">
                        <a:pos x="T90" y="T91"/>
                      </a:cxn>
                      <a:cxn ang="T142">
                        <a:pos x="T92" y="T93"/>
                      </a:cxn>
                      <a:cxn ang="T143">
                        <a:pos x="T94" y="T95"/>
                      </a:cxn>
                    </a:cxnLst>
                    <a:rect l="T144" t="T145" r="T146" b="T147"/>
                    <a:pathLst>
                      <a:path w="1173" h="264">
                        <a:moveTo>
                          <a:pt x="586" y="142"/>
                        </a:moveTo>
                        <a:lnTo>
                          <a:pt x="525" y="142"/>
                        </a:lnTo>
                        <a:lnTo>
                          <a:pt x="467" y="139"/>
                        </a:lnTo>
                        <a:lnTo>
                          <a:pt x="414" y="137"/>
                        </a:lnTo>
                        <a:lnTo>
                          <a:pt x="364" y="133"/>
                        </a:lnTo>
                        <a:lnTo>
                          <a:pt x="316" y="128"/>
                        </a:lnTo>
                        <a:lnTo>
                          <a:pt x="274" y="123"/>
                        </a:lnTo>
                        <a:lnTo>
                          <a:pt x="234" y="116"/>
                        </a:lnTo>
                        <a:lnTo>
                          <a:pt x="197" y="108"/>
                        </a:lnTo>
                        <a:lnTo>
                          <a:pt x="162" y="100"/>
                        </a:lnTo>
                        <a:lnTo>
                          <a:pt x="131" y="90"/>
                        </a:lnTo>
                        <a:lnTo>
                          <a:pt x="103" y="80"/>
                        </a:lnTo>
                        <a:lnTo>
                          <a:pt x="78" y="70"/>
                        </a:lnTo>
                        <a:lnTo>
                          <a:pt x="54" y="58"/>
                        </a:lnTo>
                        <a:lnTo>
                          <a:pt x="34" y="46"/>
                        </a:lnTo>
                        <a:lnTo>
                          <a:pt x="15" y="33"/>
                        </a:lnTo>
                        <a:lnTo>
                          <a:pt x="0" y="19"/>
                        </a:lnTo>
                        <a:lnTo>
                          <a:pt x="2" y="33"/>
                        </a:lnTo>
                        <a:lnTo>
                          <a:pt x="5" y="46"/>
                        </a:lnTo>
                        <a:lnTo>
                          <a:pt x="10" y="58"/>
                        </a:lnTo>
                        <a:lnTo>
                          <a:pt x="14" y="70"/>
                        </a:lnTo>
                        <a:lnTo>
                          <a:pt x="20" y="83"/>
                        </a:lnTo>
                        <a:lnTo>
                          <a:pt x="25" y="95"/>
                        </a:lnTo>
                        <a:lnTo>
                          <a:pt x="32" y="106"/>
                        </a:lnTo>
                        <a:lnTo>
                          <a:pt x="40" y="117"/>
                        </a:lnTo>
                        <a:lnTo>
                          <a:pt x="48" y="128"/>
                        </a:lnTo>
                        <a:lnTo>
                          <a:pt x="58" y="139"/>
                        </a:lnTo>
                        <a:lnTo>
                          <a:pt x="68" y="149"/>
                        </a:lnTo>
                        <a:lnTo>
                          <a:pt x="79" y="159"/>
                        </a:lnTo>
                        <a:lnTo>
                          <a:pt x="91" y="169"/>
                        </a:lnTo>
                        <a:lnTo>
                          <a:pt x="106" y="178"/>
                        </a:lnTo>
                        <a:lnTo>
                          <a:pt x="120" y="187"/>
                        </a:lnTo>
                        <a:lnTo>
                          <a:pt x="136" y="195"/>
                        </a:lnTo>
                        <a:lnTo>
                          <a:pt x="152" y="203"/>
                        </a:lnTo>
                        <a:lnTo>
                          <a:pt x="171" y="211"/>
                        </a:lnTo>
                        <a:lnTo>
                          <a:pt x="190" y="218"/>
                        </a:lnTo>
                        <a:lnTo>
                          <a:pt x="211" y="224"/>
                        </a:lnTo>
                        <a:lnTo>
                          <a:pt x="234" y="231"/>
                        </a:lnTo>
                        <a:lnTo>
                          <a:pt x="258" y="236"/>
                        </a:lnTo>
                        <a:lnTo>
                          <a:pt x="284" y="242"/>
                        </a:lnTo>
                        <a:lnTo>
                          <a:pt x="310" y="246"/>
                        </a:lnTo>
                        <a:lnTo>
                          <a:pt x="338" y="251"/>
                        </a:lnTo>
                        <a:lnTo>
                          <a:pt x="368" y="254"/>
                        </a:lnTo>
                        <a:lnTo>
                          <a:pt x="400" y="257"/>
                        </a:lnTo>
                        <a:lnTo>
                          <a:pt x="434" y="260"/>
                        </a:lnTo>
                        <a:lnTo>
                          <a:pt x="469" y="262"/>
                        </a:lnTo>
                        <a:lnTo>
                          <a:pt x="506" y="263"/>
                        </a:lnTo>
                        <a:lnTo>
                          <a:pt x="545" y="264"/>
                        </a:lnTo>
                        <a:lnTo>
                          <a:pt x="586" y="264"/>
                        </a:lnTo>
                        <a:lnTo>
                          <a:pt x="625" y="264"/>
                        </a:lnTo>
                        <a:lnTo>
                          <a:pt x="662" y="263"/>
                        </a:lnTo>
                        <a:lnTo>
                          <a:pt x="698" y="262"/>
                        </a:lnTo>
                        <a:lnTo>
                          <a:pt x="731" y="260"/>
                        </a:lnTo>
                        <a:lnTo>
                          <a:pt x="763" y="256"/>
                        </a:lnTo>
                        <a:lnTo>
                          <a:pt x="793" y="253"/>
                        </a:lnTo>
                        <a:lnTo>
                          <a:pt x="823" y="250"/>
                        </a:lnTo>
                        <a:lnTo>
                          <a:pt x="851" y="245"/>
                        </a:lnTo>
                        <a:lnTo>
                          <a:pt x="877" y="240"/>
                        </a:lnTo>
                        <a:lnTo>
                          <a:pt x="902" y="234"/>
                        </a:lnTo>
                        <a:lnTo>
                          <a:pt x="926" y="227"/>
                        </a:lnTo>
                        <a:lnTo>
                          <a:pt x="948" y="221"/>
                        </a:lnTo>
                        <a:lnTo>
                          <a:pt x="969" y="214"/>
                        </a:lnTo>
                        <a:lnTo>
                          <a:pt x="988" y="206"/>
                        </a:lnTo>
                        <a:lnTo>
                          <a:pt x="1007" y="198"/>
                        </a:lnTo>
                        <a:lnTo>
                          <a:pt x="1025" y="189"/>
                        </a:lnTo>
                        <a:lnTo>
                          <a:pt x="1040" y="181"/>
                        </a:lnTo>
                        <a:lnTo>
                          <a:pt x="1056" y="172"/>
                        </a:lnTo>
                        <a:lnTo>
                          <a:pt x="1070" y="162"/>
                        </a:lnTo>
                        <a:lnTo>
                          <a:pt x="1083" y="150"/>
                        </a:lnTo>
                        <a:lnTo>
                          <a:pt x="1095" y="140"/>
                        </a:lnTo>
                        <a:lnTo>
                          <a:pt x="1106" y="129"/>
                        </a:lnTo>
                        <a:lnTo>
                          <a:pt x="1116" y="118"/>
                        </a:lnTo>
                        <a:lnTo>
                          <a:pt x="1126" y="106"/>
                        </a:lnTo>
                        <a:lnTo>
                          <a:pt x="1134" y="94"/>
                        </a:lnTo>
                        <a:lnTo>
                          <a:pt x="1142" y="81"/>
                        </a:lnTo>
                        <a:lnTo>
                          <a:pt x="1148" y="68"/>
                        </a:lnTo>
                        <a:lnTo>
                          <a:pt x="1155" y="56"/>
                        </a:lnTo>
                        <a:lnTo>
                          <a:pt x="1161" y="43"/>
                        </a:lnTo>
                        <a:lnTo>
                          <a:pt x="1165" y="28"/>
                        </a:lnTo>
                        <a:lnTo>
                          <a:pt x="1170" y="15"/>
                        </a:lnTo>
                        <a:lnTo>
                          <a:pt x="1173" y="0"/>
                        </a:lnTo>
                        <a:lnTo>
                          <a:pt x="1156" y="16"/>
                        </a:lnTo>
                        <a:lnTo>
                          <a:pt x="1136" y="31"/>
                        </a:lnTo>
                        <a:lnTo>
                          <a:pt x="1115" y="45"/>
                        </a:lnTo>
                        <a:lnTo>
                          <a:pt x="1092" y="58"/>
                        </a:lnTo>
                        <a:lnTo>
                          <a:pt x="1066" y="71"/>
                        </a:lnTo>
                        <a:lnTo>
                          <a:pt x="1037" y="83"/>
                        </a:lnTo>
                        <a:lnTo>
                          <a:pt x="1006" y="94"/>
                        </a:lnTo>
                        <a:lnTo>
                          <a:pt x="971" y="103"/>
                        </a:lnTo>
                        <a:lnTo>
                          <a:pt x="935" y="112"/>
                        </a:lnTo>
                        <a:lnTo>
                          <a:pt x="895" y="119"/>
                        </a:lnTo>
                        <a:lnTo>
                          <a:pt x="851" y="126"/>
                        </a:lnTo>
                        <a:lnTo>
                          <a:pt x="806" y="132"/>
                        </a:lnTo>
                        <a:lnTo>
                          <a:pt x="757" y="136"/>
                        </a:lnTo>
                        <a:lnTo>
                          <a:pt x="703" y="139"/>
                        </a:lnTo>
                        <a:lnTo>
                          <a:pt x="646" y="140"/>
                        </a:lnTo>
                        <a:lnTo>
                          <a:pt x="586" y="142"/>
                        </a:lnTo>
                        <a:close/>
                      </a:path>
                    </a:pathLst>
                  </a:custGeom>
                  <a:solidFill>
                    <a:srgbClr val="1F1A17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330" name="Freeform 175"/>
                  <p:cNvSpPr>
                    <a:spLocks/>
                  </p:cNvSpPr>
                  <p:nvPr/>
                </p:nvSpPr>
                <p:spPr bwMode="auto">
                  <a:xfrm>
                    <a:off x="3437" y="3975"/>
                    <a:ext cx="138" cy="177"/>
                  </a:xfrm>
                  <a:custGeom>
                    <a:avLst/>
                    <a:gdLst>
                      <a:gd name="T0" fmla="*/ 0 w 955"/>
                      <a:gd name="T1" fmla="*/ 0 h 1249"/>
                      <a:gd name="T2" fmla="*/ 0 w 955"/>
                      <a:gd name="T3" fmla="*/ 0 h 1249"/>
                      <a:gd name="T4" fmla="*/ 0 w 955"/>
                      <a:gd name="T5" fmla="*/ 0 h 1249"/>
                      <a:gd name="T6" fmla="*/ 0 w 955"/>
                      <a:gd name="T7" fmla="*/ 0 h 1249"/>
                      <a:gd name="T8" fmla="*/ 0 w 955"/>
                      <a:gd name="T9" fmla="*/ 0 h 1249"/>
                      <a:gd name="T10" fmla="*/ 0 w 955"/>
                      <a:gd name="T11" fmla="*/ 0 h 1249"/>
                      <a:gd name="T12" fmla="*/ 0 w 955"/>
                      <a:gd name="T13" fmla="*/ 0 h 1249"/>
                      <a:gd name="T14" fmla="*/ 0 w 955"/>
                      <a:gd name="T15" fmla="*/ 0 h 1249"/>
                      <a:gd name="T16" fmla="*/ 0 w 955"/>
                      <a:gd name="T17" fmla="*/ 0 h 1249"/>
                      <a:gd name="T18" fmla="*/ 0 w 955"/>
                      <a:gd name="T19" fmla="*/ 0 h 1249"/>
                      <a:gd name="T20" fmla="*/ 0 w 955"/>
                      <a:gd name="T21" fmla="*/ 0 h 1249"/>
                      <a:gd name="T22" fmla="*/ 0 w 955"/>
                      <a:gd name="T23" fmla="*/ 0 h 1249"/>
                      <a:gd name="T24" fmla="*/ 0 w 955"/>
                      <a:gd name="T25" fmla="*/ 0 h 1249"/>
                      <a:gd name="T26" fmla="*/ 0 w 955"/>
                      <a:gd name="T27" fmla="*/ 0 h 1249"/>
                      <a:gd name="T28" fmla="*/ 0 w 955"/>
                      <a:gd name="T29" fmla="*/ 0 h 1249"/>
                      <a:gd name="T30" fmla="*/ 0 w 955"/>
                      <a:gd name="T31" fmla="*/ 0 h 1249"/>
                      <a:gd name="T32" fmla="*/ 0 w 955"/>
                      <a:gd name="T33" fmla="*/ 0 h 1249"/>
                      <a:gd name="T34" fmla="*/ 0 w 955"/>
                      <a:gd name="T35" fmla="*/ 0 h 1249"/>
                      <a:gd name="T36" fmla="*/ 0 w 955"/>
                      <a:gd name="T37" fmla="*/ 0 h 1249"/>
                      <a:gd name="T38" fmla="*/ 0 w 955"/>
                      <a:gd name="T39" fmla="*/ 0 h 1249"/>
                      <a:gd name="T40" fmla="*/ 0 w 955"/>
                      <a:gd name="T41" fmla="*/ 0 h 1249"/>
                      <a:gd name="T42" fmla="*/ 0 w 955"/>
                      <a:gd name="T43" fmla="*/ 0 h 1249"/>
                      <a:gd name="T44" fmla="*/ 0 w 955"/>
                      <a:gd name="T45" fmla="*/ 0 h 1249"/>
                      <a:gd name="T46" fmla="*/ 0 w 955"/>
                      <a:gd name="T47" fmla="*/ 0 h 1249"/>
                      <a:gd name="T48" fmla="*/ 0 w 955"/>
                      <a:gd name="T49" fmla="*/ 0 h 1249"/>
                      <a:gd name="T50" fmla="*/ 0 w 955"/>
                      <a:gd name="T51" fmla="*/ 0 h 1249"/>
                      <a:gd name="T52" fmla="*/ 0 w 955"/>
                      <a:gd name="T53" fmla="*/ 0 h 1249"/>
                      <a:gd name="T54" fmla="*/ 0 w 955"/>
                      <a:gd name="T55" fmla="*/ 0 h 1249"/>
                      <a:gd name="T56" fmla="*/ 0 w 955"/>
                      <a:gd name="T57" fmla="*/ 0 h 1249"/>
                      <a:gd name="T58" fmla="*/ 0 w 955"/>
                      <a:gd name="T59" fmla="*/ 0 h 1249"/>
                      <a:gd name="T60" fmla="*/ 0 w 955"/>
                      <a:gd name="T61" fmla="*/ 0 h 1249"/>
                      <a:gd name="T62" fmla="*/ 0 w 955"/>
                      <a:gd name="T63" fmla="*/ 0 h 1249"/>
                      <a:gd name="T64" fmla="*/ 0 w 955"/>
                      <a:gd name="T65" fmla="*/ 0 h 1249"/>
                      <a:gd name="T66" fmla="*/ 0 w 955"/>
                      <a:gd name="T67" fmla="*/ 0 h 1249"/>
                      <a:gd name="T68" fmla="*/ 0 w 955"/>
                      <a:gd name="T69" fmla="*/ 0 h 1249"/>
                      <a:gd name="T70" fmla="*/ 0 w 955"/>
                      <a:gd name="T71" fmla="*/ 0 h 1249"/>
                      <a:gd name="T72" fmla="*/ 0 w 955"/>
                      <a:gd name="T73" fmla="*/ 0 h 1249"/>
                      <a:gd name="T74" fmla="*/ 0 w 955"/>
                      <a:gd name="T75" fmla="*/ 0 h 1249"/>
                      <a:gd name="T76" fmla="*/ 0 w 955"/>
                      <a:gd name="T77" fmla="*/ 0 h 1249"/>
                      <a:gd name="T78" fmla="*/ 0 w 955"/>
                      <a:gd name="T79" fmla="*/ 0 h 1249"/>
                      <a:gd name="T80" fmla="*/ 0 w 955"/>
                      <a:gd name="T81" fmla="*/ 0 h 1249"/>
                      <a:gd name="T82" fmla="*/ 0 w 955"/>
                      <a:gd name="T83" fmla="*/ 0 h 1249"/>
                      <a:gd name="T84" fmla="*/ 0 w 955"/>
                      <a:gd name="T85" fmla="*/ 0 h 1249"/>
                      <a:gd name="T86" fmla="*/ 0 w 955"/>
                      <a:gd name="T87" fmla="*/ 0 h 1249"/>
                      <a:gd name="T88" fmla="*/ 0 w 955"/>
                      <a:gd name="T89" fmla="*/ 0 h 1249"/>
                      <a:gd name="T90" fmla="*/ 0 w 955"/>
                      <a:gd name="T91" fmla="*/ 0 h 1249"/>
                      <a:gd name="T92" fmla="*/ 0 w 955"/>
                      <a:gd name="T93" fmla="*/ 0 h 1249"/>
                      <a:gd name="T94" fmla="*/ 0 w 955"/>
                      <a:gd name="T95" fmla="*/ 0 h 1249"/>
                      <a:gd name="T96" fmla="*/ 0 w 955"/>
                      <a:gd name="T97" fmla="*/ 0 h 1249"/>
                      <a:gd name="T98" fmla="*/ 0 w 955"/>
                      <a:gd name="T99" fmla="*/ 0 h 1249"/>
                      <a:gd name="T100" fmla="*/ 0 w 955"/>
                      <a:gd name="T101" fmla="*/ 0 h 1249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w 955"/>
                      <a:gd name="T154" fmla="*/ 0 h 1249"/>
                      <a:gd name="T155" fmla="*/ 955 w 955"/>
                      <a:gd name="T156" fmla="*/ 1249 h 1249"/>
                    </a:gdLst>
                    <a:ahLst/>
                    <a:cxnLst>
                      <a:cxn ang="T102">
                        <a:pos x="T0" y="T1"/>
                      </a:cxn>
                      <a:cxn ang="T103">
                        <a:pos x="T2" y="T3"/>
                      </a:cxn>
                      <a:cxn ang="T104">
                        <a:pos x="T4" y="T5"/>
                      </a:cxn>
                      <a:cxn ang="T105">
                        <a:pos x="T6" y="T7"/>
                      </a:cxn>
                      <a:cxn ang="T106">
                        <a:pos x="T8" y="T9"/>
                      </a:cxn>
                      <a:cxn ang="T107">
                        <a:pos x="T10" y="T11"/>
                      </a:cxn>
                      <a:cxn ang="T108">
                        <a:pos x="T12" y="T13"/>
                      </a:cxn>
                      <a:cxn ang="T109">
                        <a:pos x="T14" y="T15"/>
                      </a:cxn>
                      <a:cxn ang="T110">
                        <a:pos x="T16" y="T17"/>
                      </a:cxn>
                      <a:cxn ang="T111">
                        <a:pos x="T18" y="T19"/>
                      </a:cxn>
                      <a:cxn ang="T112">
                        <a:pos x="T20" y="T21"/>
                      </a:cxn>
                      <a:cxn ang="T113">
                        <a:pos x="T22" y="T23"/>
                      </a:cxn>
                      <a:cxn ang="T114">
                        <a:pos x="T24" y="T25"/>
                      </a:cxn>
                      <a:cxn ang="T115">
                        <a:pos x="T26" y="T27"/>
                      </a:cxn>
                      <a:cxn ang="T116">
                        <a:pos x="T28" y="T29"/>
                      </a:cxn>
                      <a:cxn ang="T117">
                        <a:pos x="T30" y="T31"/>
                      </a:cxn>
                      <a:cxn ang="T118">
                        <a:pos x="T32" y="T33"/>
                      </a:cxn>
                      <a:cxn ang="T119">
                        <a:pos x="T34" y="T35"/>
                      </a:cxn>
                      <a:cxn ang="T120">
                        <a:pos x="T36" y="T37"/>
                      </a:cxn>
                      <a:cxn ang="T121">
                        <a:pos x="T38" y="T39"/>
                      </a:cxn>
                      <a:cxn ang="T122">
                        <a:pos x="T40" y="T41"/>
                      </a:cxn>
                      <a:cxn ang="T123">
                        <a:pos x="T42" y="T43"/>
                      </a:cxn>
                      <a:cxn ang="T124">
                        <a:pos x="T44" y="T45"/>
                      </a:cxn>
                      <a:cxn ang="T125">
                        <a:pos x="T46" y="T47"/>
                      </a:cxn>
                      <a:cxn ang="T126">
                        <a:pos x="T48" y="T49"/>
                      </a:cxn>
                      <a:cxn ang="T127">
                        <a:pos x="T50" y="T51"/>
                      </a:cxn>
                      <a:cxn ang="T128">
                        <a:pos x="T52" y="T53"/>
                      </a:cxn>
                      <a:cxn ang="T129">
                        <a:pos x="T54" y="T55"/>
                      </a:cxn>
                      <a:cxn ang="T130">
                        <a:pos x="T56" y="T57"/>
                      </a:cxn>
                      <a:cxn ang="T131">
                        <a:pos x="T58" y="T59"/>
                      </a:cxn>
                      <a:cxn ang="T132">
                        <a:pos x="T60" y="T61"/>
                      </a:cxn>
                      <a:cxn ang="T133">
                        <a:pos x="T62" y="T63"/>
                      </a:cxn>
                      <a:cxn ang="T134">
                        <a:pos x="T64" y="T65"/>
                      </a:cxn>
                      <a:cxn ang="T135">
                        <a:pos x="T66" y="T67"/>
                      </a:cxn>
                      <a:cxn ang="T136">
                        <a:pos x="T68" y="T69"/>
                      </a:cxn>
                      <a:cxn ang="T137">
                        <a:pos x="T70" y="T71"/>
                      </a:cxn>
                      <a:cxn ang="T138">
                        <a:pos x="T72" y="T73"/>
                      </a:cxn>
                      <a:cxn ang="T139">
                        <a:pos x="T74" y="T75"/>
                      </a:cxn>
                      <a:cxn ang="T140">
                        <a:pos x="T76" y="T77"/>
                      </a:cxn>
                      <a:cxn ang="T141">
                        <a:pos x="T78" y="T79"/>
                      </a:cxn>
                      <a:cxn ang="T142">
                        <a:pos x="T80" y="T81"/>
                      </a:cxn>
                      <a:cxn ang="T143">
                        <a:pos x="T82" y="T83"/>
                      </a:cxn>
                      <a:cxn ang="T144">
                        <a:pos x="T84" y="T85"/>
                      </a:cxn>
                      <a:cxn ang="T145">
                        <a:pos x="T86" y="T87"/>
                      </a:cxn>
                      <a:cxn ang="T146">
                        <a:pos x="T88" y="T89"/>
                      </a:cxn>
                      <a:cxn ang="T147">
                        <a:pos x="T90" y="T91"/>
                      </a:cxn>
                      <a:cxn ang="T148">
                        <a:pos x="T92" y="T93"/>
                      </a:cxn>
                      <a:cxn ang="T149">
                        <a:pos x="T94" y="T95"/>
                      </a:cxn>
                      <a:cxn ang="T150">
                        <a:pos x="T96" y="T97"/>
                      </a:cxn>
                      <a:cxn ang="T151">
                        <a:pos x="T98" y="T99"/>
                      </a:cxn>
                      <a:cxn ang="T152">
                        <a:pos x="T100" y="T101"/>
                      </a:cxn>
                    </a:cxnLst>
                    <a:rect l="T153" t="T154" r="T155" b="T156"/>
                    <a:pathLst>
                      <a:path w="955" h="1249">
                        <a:moveTo>
                          <a:pt x="1" y="531"/>
                        </a:moveTo>
                        <a:lnTo>
                          <a:pt x="0" y="463"/>
                        </a:lnTo>
                        <a:lnTo>
                          <a:pt x="3" y="401"/>
                        </a:lnTo>
                        <a:lnTo>
                          <a:pt x="12" y="344"/>
                        </a:lnTo>
                        <a:lnTo>
                          <a:pt x="25" y="292"/>
                        </a:lnTo>
                        <a:lnTo>
                          <a:pt x="43" y="245"/>
                        </a:lnTo>
                        <a:lnTo>
                          <a:pt x="66" y="202"/>
                        </a:lnTo>
                        <a:lnTo>
                          <a:pt x="91" y="164"/>
                        </a:lnTo>
                        <a:lnTo>
                          <a:pt x="120" y="130"/>
                        </a:lnTo>
                        <a:lnTo>
                          <a:pt x="152" y="100"/>
                        </a:lnTo>
                        <a:lnTo>
                          <a:pt x="187" y="75"/>
                        </a:lnTo>
                        <a:lnTo>
                          <a:pt x="224" y="54"/>
                        </a:lnTo>
                        <a:lnTo>
                          <a:pt x="263" y="36"/>
                        </a:lnTo>
                        <a:lnTo>
                          <a:pt x="303" y="23"/>
                        </a:lnTo>
                        <a:lnTo>
                          <a:pt x="345" y="11"/>
                        </a:lnTo>
                        <a:lnTo>
                          <a:pt x="387" y="5"/>
                        </a:lnTo>
                        <a:lnTo>
                          <a:pt x="431" y="0"/>
                        </a:lnTo>
                        <a:lnTo>
                          <a:pt x="474" y="0"/>
                        </a:lnTo>
                        <a:lnTo>
                          <a:pt x="517" y="2"/>
                        </a:lnTo>
                        <a:lnTo>
                          <a:pt x="560" y="7"/>
                        </a:lnTo>
                        <a:lnTo>
                          <a:pt x="602" y="15"/>
                        </a:lnTo>
                        <a:lnTo>
                          <a:pt x="643" y="25"/>
                        </a:lnTo>
                        <a:lnTo>
                          <a:pt x="683" y="37"/>
                        </a:lnTo>
                        <a:lnTo>
                          <a:pt x="720" y="53"/>
                        </a:lnTo>
                        <a:lnTo>
                          <a:pt x="756" y="69"/>
                        </a:lnTo>
                        <a:lnTo>
                          <a:pt x="789" y="88"/>
                        </a:lnTo>
                        <a:lnTo>
                          <a:pt x="819" y="109"/>
                        </a:lnTo>
                        <a:lnTo>
                          <a:pt x="846" y="132"/>
                        </a:lnTo>
                        <a:lnTo>
                          <a:pt x="869" y="155"/>
                        </a:lnTo>
                        <a:lnTo>
                          <a:pt x="888" y="181"/>
                        </a:lnTo>
                        <a:lnTo>
                          <a:pt x="904" y="207"/>
                        </a:lnTo>
                        <a:lnTo>
                          <a:pt x="914" y="235"/>
                        </a:lnTo>
                        <a:lnTo>
                          <a:pt x="919" y="264"/>
                        </a:lnTo>
                        <a:lnTo>
                          <a:pt x="929" y="352"/>
                        </a:lnTo>
                        <a:lnTo>
                          <a:pt x="940" y="448"/>
                        </a:lnTo>
                        <a:lnTo>
                          <a:pt x="945" y="497"/>
                        </a:lnTo>
                        <a:lnTo>
                          <a:pt x="949" y="547"/>
                        </a:lnTo>
                        <a:lnTo>
                          <a:pt x="953" y="596"/>
                        </a:lnTo>
                        <a:lnTo>
                          <a:pt x="954" y="645"/>
                        </a:lnTo>
                        <a:lnTo>
                          <a:pt x="955" y="692"/>
                        </a:lnTo>
                        <a:lnTo>
                          <a:pt x="953" y="738"/>
                        </a:lnTo>
                        <a:lnTo>
                          <a:pt x="951" y="760"/>
                        </a:lnTo>
                        <a:lnTo>
                          <a:pt x="949" y="781"/>
                        </a:lnTo>
                        <a:lnTo>
                          <a:pt x="946" y="803"/>
                        </a:lnTo>
                        <a:lnTo>
                          <a:pt x="943" y="823"/>
                        </a:lnTo>
                        <a:lnTo>
                          <a:pt x="939" y="843"/>
                        </a:lnTo>
                        <a:lnTo>
                          <a:pt x="934" y="860"/>
                        </a:lnTo>
                        <a:lnTo>
                          <a:pt x="928" y="878"/>
                        </a:lnTo>
                        <a:lnTo>
                          <a:pt x="923" y="895"/>
                        </a:lnTo>
                        <a:lnTo>
                          <a:pt x="915" y="911"/>
                        </a:lnTo>
                        <a:lnTo>
                          <a:pt x="907" y="926"/>
                        </a:lnTo>
                        <a:lnTo>
                          <a:pt x="898" y="939"/>
                        </a:lnTo>
                        <a:lnTo>
                          <a:pt x="888" y="952"/>
                        </a:lnTo>
                        <a:lnTo>
                          <a:pt x="877" y="963"/>
                        </a:lnTo>
                        <a:lnTo>
                          <a:pt x="864" y="975"/>
                        </a:lnTo>
                        <a:lnTo>
                          <a:pt x="850" y="987"/>
                        </a:lnTo>
                        <a:lnTo>
                          <a:pt x="835" y="1001"/>
                        </a:lnTo>
                        <a:lnTo>
                          <a:pt x="801" y="1026"/>
                        </a:lnTo>
                        <a:lnTo>
                          <a:pt x="764" y="1052"/>
                        </a:lnTo>
                        <a:lnTo>
                          <a:pt x="723" y="1079"/>
                        </a:lnTo>
                        <a:lnTo>
                          <a:pt x="680" y="1104"/>
                        </a:lnTo>
                        <a:lnTo>
                          <a:pt x="634" y="1129"/>
                        </a:lnTo>
                        <a:lnTo>
                          <a:pt x="586" y="1152"/>
                        </a:lnTo>
                        <a:lnTo>
                          <a:pt x="539" y="1174"/>
                        </a:lnTo>
                        <a:lnTo>
                          <a:pt x="490" y="1194"/>
                        </a:lnTo>
                        <a:lnTo>
                          <a:pt x="464" y="1203"/>
                        </a:lnTo>
                        <a:lnTo>
                          <a:pt x="441" y="1212"/>
                        </a:lnTo>
                        <a:lnTo>
                          <a:pt x="416" y="1220"/>
                        </a:lnTo>
                        <a:lnTo>
                          <a:pt x="392" y="1227"/>
                        </a:lnTo>
                        <a:lnTo>
                          <a:pt x="368" y="1232"/>
                        </a:lnTo>
                        <a:lnTo>
                          <a:pt x="345" y="1238"/>
                        </a:lnTo>
                        <a:lnTo>
                          <a:pt x="322" y="1242"/>
                        </a:lnTo>
                        <a:lnTo>
                          <a:pt x="299" y="1246"/>
                        </a:lnTo>
                        <a:lnTo>
                          <a:pt x="278" y="1248"/>
                        </a:lnTo>
                        <a:lnTo>
                          <a:pt x="257" y="1249"/>
                        </a:lnTo>
                        <a:lnTo>
                          <a:pt x="237" y="1249"/>
                        </a:lnTo>
                        <a:lnTo>
                          <a:pt x="217" y="1248"/>
                        </a:lnTo>
                        <a:lnTo>
                          <a:pt x="192" y="1244"/>
                        </a:lnTo>
                        <a:lnTo>
                          <a:pt x="170" y="1239"/>
                        </a:lnTo>
                        <a:lnTo>
                          <a:pt x="149" y="1231"/>
                        </a:lnTo>
                        <a:lnTo>
                          <a:pt x="130" y="1221"/>
                        </a:lnTo>
                        <a:lnTo>
                          <a:pt x="112" y="1210"/>
                        </a:lnTo>
                        <a:lnTo>
                          <a:pt x="97" y="1197"/>
                        </a:lnTo>
                        <a:lnTo>
                          <a:pt x="83" y="1181"/>
                        </a:lnTo>
                        <a:lnTo>
                          <a:pt x="71" y="1164"/>
                        </a:lnTo>
                        <a:lnTo>
                          <a:pt x="60" y="1146"/>
                        </a:lnTo>
                        <a:lnTo>
                          <a:pt x="50" y="1126"/>
                        </a:lnTo>
                        <a:lnTo>
                          <a:pt x="41" y="1105"/>
                        </a:lnTo>
                        <a:lnTo>
                          <a:pt x="33" y="1083"/>
                        </a:lnTo>
                        <a:lnTo>
                          <a:pt x="27" y="1060"/>
                        </a:lnTo>
                        <a:lnTo>
                          <a:pt x="22" y="1035"/>
                        </a:lnTo>
                        <a:lnTo>
                          <a:pt x="17" y="1010"/>
                        </a:lnTo>
                        <a:lnTo>
                          <a:pt x="13" y="984"/>
                        </a:lnTo>
                        <a:lnTo>
                          <a:pt x="11" y="957"/>
                        </a:lnTo>
                        <a:lnTo>
                          <a:pt x="8" y="929"/>
                        </a:lnTo>
                        <a:lnTo>
                          <a:pt x="7" y="902"/>
                        </a:lnTo>
                        <a:lnTo>
                          <a:pt x="5" y="873"/>
                        </a:lnTo>
                        <a:lnTo>
                          <a:pt x="4" y="815"/>
                        </a:lnTo>
                        <a:lnTo>
                          <a:pt x="4" y="756"/>
                        </a:lnTo>
                        <a:lnTo>
                          <a:pt x="4" y="698"/>
                        </a:lnTo>
                        <a:lnTo>
                          <a:pt x="4" y="640"/>
                        </a:lnTo>
                        <a:lnTo>
                          <a:pt x="3" y="584"/>
                        </a:lnTo>
                        <a:lnTo>
                          <a:pt x="1" y="531"/>
                        </a:lnTo>
                        <a:close/>
                      </a:path>
                    </a:pathLst>
                  </a:custGeom>
                  <a:solidFill>
                    <a:srgbClr val="273669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331" name="Freeform 176"/>
                  <p:cNvSpPr>
                    <a:spLocks/>
                  </p:cNvSpPr>
                  <p:nvPr/>
                </p:nvSpPr>
                <p:spPr bwMode="auto">
                  <a:xfrm>
                    <a:off x="3437" y="3975"/>
                    <a:ext cx="74" cy="138"/>
                  </a:xfrm>
                  <a:custGeom>
                    <a:avLst/>
                    <a:gdLst>
                      <a:gd name="T0" fmla="*/ 0 w 502"/>
                      <a:gd name="T1" fmla="*/ 0 h 967"/>
                      <a:gd name="T2" fmla="*/ 0 w 502"/>
                      <a:gd name="T3" fmla="*/ 0 h 967"/>
                      <a:gd name="T4" fmla="*/ 0 w 502"/>
                      <a:gd name="T5" fmla="*/ 0 h 967"/>
                      <a:gd name="T6" fmla="*/ 0 w 502"/>
                      <a:gd name="T7" fmla="*/ 0 h 967"/>
                      <a:gd name="T8" fmla="*/ 0 w 502"/>
                      <a:gd name="T9" fmla="*/ 0 h 967"/>
                      <a:gd name="T10" fmla="*/ 0 w 502"/>
                      <a:gd name="T11" fmla="*/ 0 h 967"/>
                      <a:gd name="T12" fmla="*/ 0 w 502"/>
                      <a:gd name="T13" fmla="*/ 0 h 967"/>
                      <a:gd name="T14" fmla="*/ 0 w 502"/>
                      <a:gd name="T15" fmla="*/ 0 h 967"/>
                      <a:gd name="T16" fmla="*/ 0 w 502"/>
                      <a:gd name="T17" fmla="*/ 0 h 967"/>
                      <a:gd name="T18" fmla="*/ 0 w 502"/>
                      <a:gd name="T19" fmla="*/ 0 h 967"/>
                      <a:gd name="T20" fmla="*/ 0 w 502"/>
                      <a:gd name="T21" fmla="*/ 0 h 967"/>
                      <a:gd name="T22" fmla="*/ 0 w 502"/>
                      <a:gd name="T23" fmla="*/ 0 h 967"/>
                      <a:gd name="T24" fmla="*/ 0 w 502"/>
                      <a:gd name="T25" fmla="*/ 0 h 967"/>
                      <a:gd name="T26" fmla="*/ 0 w 502"/>
                      <a:gd name="T27" fmla="*/ 0 h 967"/>
                      <a:gd name="T28" fmla="*/ 0 w 502"/>
                      <a:gd name="T29" fmla="*/ 0 h 967"/>
                      <a:gd name="T30" fmla="*/ 0 w 502"/>
                      <a:gd name="T31" fmla="*/ 0 h 967"/>
                      <a:gd name="T32" fmla="*/ 0 w 502"/>
                      <a:gd name="T33" fmla="*/ 0 h 967"/>
                      <a:gd name="T34" fmla="*/ 0 w 502"/>
                      <a:gd name="T35" fmla="*/ 0 h 967"/>
                      <a:gd name="T36" fmla="*/ 0 w 502"/>
                      <a:gd name="T37" fmla="*/ 0 h 967"/>
                      <a:gd name="T38" fmla="*/ 0 w 502"/>
                      <a:gd name="T39" fmla="*/ 0 h 967"/>
                      <a:gd name="T40" fmla="*/ 0 w 502"/>
                      <a:gd name="T41" fmla="*/ 0 h 967"/>
                      <a:gd name="T42" fmla="*/ 0 w 502"/>
                      <a:gd name="T43" fmla="*/ 0 h 967"/>
                      <a:gd name="T44" fmla="*/ 0 w 502"/>
                      <a:gd name="T45" fmla="*/ 0 h 967"/>
                      <a:gd name="T46" fmla="*/ 0 w 502"/>
                      <a:gd name="T47" fmla="*/ 0 h 967"/>
                      <a:gd name="T48" fmla="*/ 0 w 502"/>
                      <a:gd name="T49" fmla="*/ 0 h 967"/>
                      <a:gd name="T50" fmla="*/ 0 w 502"/>
                      <a:gd name="T51" fmla="*/ 0 h 967"/>
                      <a:gd name="T52" fmla="*/ 0 w 502"/>
                      <a:gd name="T53" fmla="*/ 0 h 967"/>
                      <a:gd name="T54" fmla="*/ 0 w 502"/>
                      <a:gd name="T55" fmla="*/ 0 h 967"/>
                      <a:gd name="T56" fmla="*/ 0 w 502"/>
                      <a:gd name="T57" fmla="*/ 0 h 967"/>
                      <a:gd name="T58" fmla="*/ 0 w 502"/>
                      <a:gd name="T59" fmla="*/ 0 h 967"/>
                      <a:gd name="T60" fmla="*/ 0 w 502"/>
                      <a:gd name="T61" fmla="*/ 0 h 967"/>
                      <a:gd name="T62" fmla="*/ 0 w 502"/>
                      <a:gd name="T63" fmla="*/ 0 h 967"/>
                      <a:gd name="T64" fmla="*/ 0 w 502"/>
                      <a:gd name="T65" fmla="*/ 0 h 967"/>
                      <a:gd name="T66" fmla="*/ 0 w 502"/>
                      <a:gd name="T67" fmla="*/ 0 h 967"/>
                      <a:gd name="T68" fmla="*/ 0 w 502"/>
                      <a:gd name="T69" fmla="*/ 0 h 967"/>
                      <a:gd name="T70" fmla="*/ 0 w 502"/>
                      <a:gd name="T71" fmla="*/ 0 h 967"/>
                      <a:gd name="T72" fmla="*/ 0 w 502"/>
                      <a:gd name="T73" fmla="*/ 0 h 967"/>
                      <a:gd name="T74" fmla="*/ 0 w 502"/>
                      <a:gd name="T75" fmla="*/ 0 h 967"/>
                      <a:gd name="T76" fmla="*/ 0 w 502"/>
                      <a:gd name="T77" fmla="*/ 0 h 967"/>
                      <a:gd name="T78" fmla="*/ 0 w 502"/>
                      <a:gd name="T79" fmla="*/ 0 h 967"/>
                      <a:gd name="T80" fmla="*/ 0 w 502"/>
                      <a:gd name="T81" fmla="*/ 0 h 967"/>
                      <a:gd name="T82" fmla="*/ 0 w 502"/>
                      <a:gd name="T83" fmla="*/ 0 h 967"/>
                      <a:gd name="T84" fmla="*/ 0 w 502"/>
                      <a:gd name="T85" fmla="*/ 0 h 96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502"/>
                      <a:gd name="T130" fmla="*/ 0 h 967"/>
                      <a:gd name="T131" fmla="*/ 502 w 502"/>
                      <a:gd name="T132" fmla="*/ 967 h 96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502" h="967">
                        <a:moveTo>
                          <a:pt x="2" y="379"/>
                        </a:moveTo>
                        <a:lnTo>
                          <a:pt x="5" y="358"/>
                        </a:lnTo>
                        <a:lnTo>
                          <a:pt x="10" y="337"/>
                        </a:lnTo>
                        <a:lnTo>
                          <a:pt x="16" y="315"/>
                        </a:lnTo>
                        <a:lnTo>
                          <a:pt x="23" y="291"/>
                        </a:lnTo>
                        <a:lnTo>
                          <a:pt x="32" y="269"/>
                        </a:lnTo>
                        <a:lnTo>
                          <a:pt x="43" y="246"/>
                        </a:lnTo>
                        <a:lnTo>
                          <a:pt x="54" y="224"/>
                        </a:lnTo>
                        <a:lnTo>
                          <a:pt x="68" y="200"/>
                        </a:lnTo>
                        <a:lnTo>
                          <a:pt x="81" y="179"/>
                        </a:lnTo>
                        <a:lnTo>
                          <a:pt x="97" y="157"/>
                        </a:lnTo>
                        <a:lnTo>
                          <a:pt x="112" y="137"/>
                        </a:lnTo>
                        <a:lnTo>
                          <a:pt x="129" y="118"/>
                        </a:lnTo>
                        <a:lnTo>
                          <a:pt x="147" y="100"/>
                        </a:lnTo>
                        <a:lnTo>
                          <a:pt x="164" y="83"/>
                        </a:lnTo>
                        <a:lnTo>
                          <a:pt x="183" y="69"/>
                        </a:lnTo>
                        <a:lnTo>
                          <a:pt x="203" y="55"/>
                        </a:lnTo>
                        <a:lnTo>
                          <a:pt x="213" y="50"/>
                        </a:lnTo>
                        <a:lnTo>
                          <a:pt x="229" y="43"/>
                        </a:lnTo>
                        <a:lnTo>
                          <a:pt x="247" y="37"/>
                        </a:lnTo>
                        <a:lnTo>
                          <a:pt x="268" y="30"/>
                        </a:lnTo>
                        <a:lnTo>
                          <a:pt x="291" y="22"/>
                        </a:lnTo>
                        <a:lnTo>
                          <a:pt x="316" y="15"/>
                        </a:lnTo>
                        <a:lnTo>
                          <a:pt x="341" y="10"/>
                        </a:lnTo>
                        <a:lnTo>
                          <a:pt x="367" y="5"/>
                        </a:lnTo>
                        <a:lnTo>
                          <a:pt x="392" y="2"/>
                        </a:lnTo>
                        <a:lnTo>
                          <a:pt x="415" y="0"/>
                        </a:lnTo>
                        <a:lnTo>
                          <a:pt x="426" y="0"/>
                        </a:lnTo>
                        <a:lnTo>
                          <a:pt x="436" y="1"/>
                        </a:lnTo>
                        <a:lnTo>
                          <a:pt x="446" y="2"/>
                        </a:lnTo>
                        <a:lnTo>
                          <a:pt x="455" y="3"/>
                        </a:lnTo>
                        <a:lnTo>
                          <a:pt x="463" y="5"/>
                        </a:lnTo>
                        <a:lnTo>
                          <a:pt x="471" y="9"/>
                        </a:lnTo>
                        <a:lnTo>
                          <a:pt x="476" y="13"/>
                        </a:lnTo>
                        <a:lnTo>
                          <a:pt x="481" y="18"/>
                        </a:lnTo>
                        <a:lnTo>
                          <a:pt x="484" y="23"/>
                        </a:lnTo>
                        <a:lnTo>
                          <a:pt x="487" y="30"/>
                        </a:lnTo>
                        <a:lnTo>
                          <a:pt x="487" y="38"/>
                        </a:lnTo>
                        <a:lnTo>
                          <a:pt x="487" y="45"/>
                        </a:lnTo>
                        <a:lnTo>
                          <a:pt x="487" y="62"/>
                        </a:lnTo>
                        <a:lnTo>
                          <a:pt x="488" y="107"/>
                        </a:lnTo>
                        <a:lnTo>
                          <a:pt x="491" y="172"/>
                        </a:lnTo>
                        <a:lnTo>
                          <a:pt x="492" y="252"/>
                        </a:lnTo>
                        <a:lnTo>
                          <a:pt x="494" y="341"/>
                        </a:lnTo>
                        <a:lnTo>
                          <a:pt x="495" y="433"/>
                        </a:lnTo>
                        <a:lnTo>
                          <a:pt x="496" y="520"/>
                        </a:lnTo>
                        <a:lnTo>
                          <a:pt x="496" y="596"/>
                        </a:lnTo>
                        <a:lnTo>
                          <a:pt x="497" y="630"/>
                        </a:lnTo>
                        <a:lnTo>
                          <a:pt x="499" y="664"/>
                        </a:lnTo>
                        <a:lnTo>
                          <a:pt x="502" y="700"/>
                        </a:lnTo>
                        <a:lnTo>
                          <a:pt x="502" y="737"/>
                        </a:lnTo>
                        <a:lnTo>
                          <a:pt x="501" y="754"/>
                        </a:lnTo>
                        <a:lnTo>
                          <a:pt x="498" y="771"/>
                        </a:lnTo>
                        <a:lnTo>
                          <a:pt x="495" y="788"/>
                        </a:lnTo>
                        <a:lnTo>
                          <a:pt x="491" y="803"/>
                        </a:lnTo>
                        <a:lnTo>
                          <a:pt x="484" y="819"/>
                        </a:lnTo>
                        <a:lnTo>
                          <a:pt x="476" y="833"/>
                        </a:lnTo>
                        <a:lnTo>
                          <a:pt x="472" y="840"/>
                        </a:lnTo>
                        <a:lnTo>
                          <a:pt x="466" y="847"/>
                        </a:lnTo>
                        <a:lnTo>
                          <a:pt x="461" y="853"/>
                        </a:lnTo>
                        <a:lnTo>
                          <a:pt x="454" y="859"/>
                        </a:lnTo>
                        <a:lnTo>
                          <a:pt x="445" y="867"/>
                        </a:lnTo>
                        <a:lnTo>
                          <a:pt x="434" y="875"/>
                        </a:lnTo>
                        <a:lnTo>
                          <a:pt x="424" y="882"/>
                        </a:lnTo>
                        <a:lnTo>
                          <a:pt x="412" y="888"/>
                        </a:lnTo>
                        <a:lnTo>
                          <a:pt x="388" y="900"/>
                        </a:lnTo>
                        <a:lnTo>
                          <a:pt x="361" y="910"/>
                        </a:lnTo>
                        <a:lnTo>
                          <a:pt x="335" y="919"/>
                        </a:lnTo>
                        <a:lnTo>
                          <a:pt x="306" y="927"/>
                        </a:lnTo>
                        <a:lnTo>
                          <a:pt x="277" y="933"/>
                        </a:lnTo>
                        <a:lnTo>
                          <a:pt x="247" y="939"/>
                        </a:lnTo>
                        <a:lnTo>
                          <a:pt x="186" y="947"/>
                        </a:lnTo>
                        <a:lnTo>
                          <a:pt x="126" y="954"/>
                        </a:lnTo>
                        <a:lnTo>
                          <a:pt x="69" y="960"/>
                        </a:lnTo>
                        <a:lnTo>
                          <a:pt x="16" y="967"/>
                        </a:lnTo>
                        <a:lnTo>
                          <a:pt x="19" y="946"/>
                        </a:lnTo>
                        <a:lnTo>
                          <a:pt x="20" y="918"/>
                        </a:lnTo>
                        <a:lnTo>
                          <a:pt x="20" y="886"/>
                        </a:lnTo>
                        <a:lnTo>
                          <a:pt x="19" y="850"/>
                        </a:lnTo>
                        <a:lnTo>
                          <a:pt x="15" y="768"/>
                        </a:lnTo>
                        <a:lnTo>
                          <a:pt x="10" y="679"/>
                        </a:lnTo>
                        <a:lnTo>
                          <a:pt x="5" y="589"/>
                        </a:lnTo>
                        <a:lnTo>
                          <a:pt x="2" y="505"/>
                        </a:lnTo>
                        <a:lnTo>
                          <a:pt x="1" y="467"/>
                        </a:lnTo>
                        <a:lnTo>
                          <a:pt x="0" y="433"/>
                        </a:lnTo>
                        <a:lnTo>
                          <a:pt x="1" y="404"/>
                        </a:lnTo>
                        <a:lnTo>
                          <a:pt x="2" y="379"/>
                        </a:lnTo>
                        <a:close/>
                      </a:path>
                    </a:pathLst>
                  </a:custGeom>
                  <a:solidFill>
                    <a:srgbClr val="242B53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332" name="Freeform 177"/>
                  <p:cNvSpPr>
                    <a:spLocks/>
                  </p:cNvSpPr>
                  <p:nvPr/>
                </p:nvSpPr>
                <p:spPr bwMode="auto">
                  <a:xfrm>
                    <a:off x="3442" y="4059"/>
                    <a:ext cx="170" cy="105"/>
                  </a:xfrm>
                  <a:custGeom>
                    <a:avLst/>
                    <a:gdLst>
                      <a:gd name="T0" fmla="*/ 0 w 1192"/>
                      <a:gd name="T1" fmla="*/ 0 h 736"/>
                      <a:gd name="T2" fmla="*/ 0 w 1192"/>
                      <a:gd name="T3" fmla="*/ 0 h 736"/>
                      <a:gd name="T4" fmla="*/ 0 w 1192"/>
                      <a:gd name="T5" fmla="*/ 0 h 736"/>
                      <a:gd name="T6" fmla="*/ 0 w 1192"/>
                      <a:gd name="T7" fmla="*/ 0 h 736"/>
                      <a:gd name="T8" fmla="*/ 0 w 1192"/>
                      <a:gd name="T9" fmla="*/ 0 h 736"/>
                      <a:gd name="T10" fmla="*/ 0 w 1192"/>
                      <a:gd name="T11" fmla="*/ 0 h 736"/>
                      <a:gd name="T12" fmla="*/ 0 w 1192"/>
                      <a:gd name="T13" fmla="*/ 0 h 736"/>
                      <a:gd name="T14" fmla="*/ 0 w 1192"/>
                      <a:gd name="T15" fmla="*/ 0 h 736"/>
                      <a:gd name="T16" fmla="*/ 0 w 1192"/>
                      <a:gd name="T17" fmla="*/ 0 h 736"/>
                      <a:gd name="T18" fmla="*/ 0 w 1192"/>
                      <a:gd name="T19" fmla="*/ 0 h 736"/>
                      <a:gd name="T20" fmla="*/ 0 w 1192"/>
                      <a:gd name="T21" fmla="*/ 0 h 736"/>
                      <a:gd name="T22" fmla="*/ 0 w 1192"/>
                      <a:gd name="T23" fmla="*/ 0 h 736"/>
                      <a:gd name="T24" fmla="*/ 0 w 1192"/>
                      <a:gd name="T25" fmla="*/ 0 h 736"/>
                      <a:gd name="T26" fmla="*/ 0 w 1192"/>
                      <a:gd name="T27" fmla="*/ 0 h 736"/>
                      <a:gd name="T28" fmla="*/ 0 w 1192"/>
                      <a:gd name="T29" fmla="*/ 0 h 736"/>
                      <a:gd name="T30" fmla="*/ 0 w 1192"/>
                      <a:gd name="T31" fmla="*/ 0 h 736"/>
                      <a:gd name="T32" fmla="*/ 0 w 1192"/>
                      <a:gd name="T33" fmla="*/ 0 h 736"/>
                      <a:gd name="T34" fmla="*/ 0 w 1192"/>
                      <a:gd name="T35" fmla="*/ 0 h 736"/>
                      <a:gd name="T36" fmla="*/ 0 w 1192"/>
                      <a:gd name="T37" fmla="*/ 0 h 736"/>
                      <a:gd name="T38" fmla="*/ 0 w 1192"/>
                      <a:gd name="T39" fmla="*/ 0 h 736"/>
                      <a:gd name="T40" fmla="*/ 0 w 1192"/>
                      <a:gd name="T41" fmla="*/ 0 h 736"/>
                      <a:gd name="T42" fmla="*/ 0 w 1192"/>
                      <a:gd name="T43" fmla="*/ 0 h 736"/>
                      <a:gd name="T44" fmla="*/ 0 w 1192"/>
                      <a:gd name="T45" fmla="*/ 0 h 736"/>
                      <a:gd name="T46" fmla="*/ 0 w 1192"/>
                      <a:gd name="T47" fmla="*/ 0 h 736"/>
                      <a:gd name="T48" fmla="*/ 0 w 1192"/>
                      <a:gd name="T49" fmla="*/ 0 h 736"/>
                      <a:gd name="T50" fmla="*/ 0 w 1192"/>
                      <a:gd name="T51" fmla="*/ 0 h 736"/>
                      <a:gd name="T52" fmla="*/ 0 w 1192"/>
                      <a:gd name="T53" fmla="*/ 0 h 736"/>
                      <a:gd name="T54" fmla="*/ 0 w 1192"/>
                      <a:gd name="T55" fmla="*/ 0 h 736"/>
                      <a:gd name="T56" fmla="*/ 0 w 1192"/>
                      <a:gd name="T57" fmla="*/ 0 h 736"/>
                      <a:gd name="T58" fmla="*/ 0 w 1192"/>
                      <a:gd name="T59" fmla="*/ 0 h 736"/>
                      <a:gd name="T60" fmla="*/ 0 w 1192"/>
                      <a:gd name="T61" fmla="*/ 0 h 736"/>
                      <a:gd name="T62" fmla="*/ 0 w 1192"/>
                      <a:gd name="T63" fmla="*/ 0 h 736"/>
                      <a:gd name="T64" fmla="*/ 0 w 1192"/>
                      <a:gd name="T65" fmla="*/ 0 h 736"/>
                      <a:gd name="T66" fmla="*/ 0 w 1192"/>
                      <a:gd name="T67" fmla="*/ 0 h 736"/>
                      <a:gd name="T68" fmla="*/ 0 w 1192"/>
                      <a:gd name="T69" fmla="*/ 0 h 736"/>
                      <a:gd name="T70" fmla="*/ 0 w 1192"/>
                      <a:gd name="T71" fmla="*/ 0 h 736"/>
                      <a:gd name="T72" fmla="*/ 0 w 1192"/>
                      <a:gd name="T73" fmla="*/ 0 h 736"/>
                      <a:gd name="T74" fmla="*/ 0 w 1192"/>
                      <a:gd name="T75" fmla="*/ 0 h 736"/>
                      <a:gd name="T76" fmla="*/ 0 w 1192"/>
                      <a:gd name="T77" fmla="*/ 0 h 736"/>
                      <a:gd name="T78" fmla="*/ 0 w 1192"/>
                      <a:gd name="T79" fmla="*/ 0 h 736"/>
                      <a:gd name="T80" fmla="*/ 0 w 1192"/>
                      <a:gd name="T81" fmla="*/ 0 h 736"/>
                      <a:gd name="T82" fmla="*/ 0 w 1192"/>
                      <a:gd name="T83" fmla="*/ 0 h 736"/>
                      <a:gd name="T84" fmla="*/ 0 w 1192"/>
                      <a:gd name="T85" fmla="*/ 0 h 736"/>
                      <a:gd name="T86" fmla="*/ 0 w 1192"/>
                      <a:gd name="T87" fmla="*/ 0 h 736"/>
                      <a:gd name="T88" fmla="*/ 0 w 1192"/>
                      <a:gd name="T89" fmla="*/ 0 h 736"/>
                      <a:gd name="T90" fmla="*/ 0 w 1192"/>
                      <a:gd name="T91" fmla="*/ 0 h 736"/>
                      <a:gd name="T92" fmla="*/ 0 w 1192"/>
                      <a:gd name="T93" fmla="*/ 0 h 736"/>
                      <a:gd name="T94" fmla="*/ 0 w 1192"/>
                      <a:gd name="T95" fmla="*/ 0 h 736"/>
                      <a:gd name="T96" fmla="*/ 0 w 1192"/>
                      <a:gd name="T97" fmla="*/ 0 h 736"/>
                      <a:gd name="T98" fmla="*/ 0 w 1192"/>
                      <a:gd name="T99" fmla="*/ 0 h 736"/>
                      <a:gd name="T100" fmla="*/ 0 w 1192"/>
                      <a:gd name="T101" fmla="*/ 0 h 736"/>
                      <a:gd name="T102" fmla="*/ 0 w 1192"/>
                      <a:gd name="T103" fmla="*/ 0 h 736"/>
                      <a:gd name="T104" fmla="*/ 0 w 1192"/>
                      <a:gd name="T105" fmla="*/ 0 h 736"/>
                      <a:gd name="T106" fmla="*/ 0 w 1192"/>
                      <a:gd name="T107" fmla="*/ 0 h 736"/>
                      <a:gd name="T108" fmla="*/ 0 w 1192"/>
                      <a:gd name="T109" fmla="*/ 0 h 736"/>
                      <a:gd name="T110" fmla="*/ 0 w 1192"/>
                      <a:gd name="T111" fmla="*/ 0 h 736"/>
                      <a:gd name="T112" fmla="*/ 0 w 1192"/>
                      <a:gd name="T113" fmla="*/ 0 h 736"/>
                      <a:gd name="T114" fmla="*/ 0 w 1192"/>
                      <a:gd name="T115" fmla="*/ 0 h 736"/>
                      <a:gd name="T116" fmla="*/ 0 w 1192"/>
                      <a:gd name="T117" fmla="*/ 0 h 736"/>
                      <a:gd name="T118" fmla="*/ 0 w 1192"/>
                      <a:gd name="T119" fmla="*/ 0 h 736"/>
                      <a:gd name="T120" fmla="*/ 0 w 1192"/>
                      <a:gd name="T121" fmla="*/ 0 h 736"/>
                      <a:gd name="T122" fmla="*/ 0 w 1192"/>
                      <a:gd name="T123" fmla="*/ 0 h 736"/>
                      <a:gd name="T124" fmla="*/ 0 w 1192"/>
                      <a:gd name="T125" fmla="*/ 0 h 7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60000 65536"/>
                      <a:gd name="T184" fmla="*/ 0 60000 65536"/>
                      <a:gd name="T185" fmla="*/ 0 60000 65536"/>
                      <a:gd name="T186" fmla="*/ 0 60000 65536"/>
                      <a:gd name="T187" fmla="*/ 0 60000 65536"/>
                      <a:gd name="T188" fmla="*/ 0 60000 65536"/>
                      <a:gd name="T189" fmla="*/ 0 w 1192"/>
                      <a:gd name="T190" fmla="*/ 0 h 736"/>
                      <a:gd name="T191" fmla="*/ 1192 w 1192"/>
                      <a:gd name="T192" fmla="*/ 736 h 736"/>
                    </a:gdLst>
                    <a:ahLst/>
                    <a:cxnLst>
                      <a:cxn ang="T126">
                        <a:pos x="T0" y="T1"/>
                      </a:cxn>
                      <a:cxn ang="T127">
                        <a:pos x="T2" y="T3"/>
                      </a:cxn>
                      <a:cxn ang="T128">
                        <a:pos x="T4" y="T5"/>
                      </a:cxn>
                      <a:cxn ang="T129">
                        <a:pos x="T6" y="T7"/>
                      </a:cxn>
                      <a:cxn ang="T130">
                        <a:pos x="T8" y="T9"/>
                      </a:cxn>
                      <a:cxn ang="T131">
                        <a:pos x="T10" y="T11"/>
                      </a:cxn>
                      <a:cxn ang="T132">
                        <a:pos x="T12" y="T13"/>
                      </a:cxn>
                      <a:cxn ang="T133">
                        <a:pos x="T14" y="T15"/>
                      </a:cxn>
                      <a:cxn ang="T134">
                        <a:pos x="T16" y="T17"/>
                      </a:cxn>
                      <a:cxn ang="T135">
                        <a:pos x="T18" y="T19"/>
                      </a:cxn>
                      <a:cxn ang="T136">
                        <a:pos x="T20" y="T21"/>
                      </a:cxn>
                      <a:cxn ang="T137">
                        <a:pos x="T22" y="T23"/>
                      </a:cxn>
                      <a:cxn ang="T138">
                        <a:pos x="T24" y="T25"/>
                      </a:cxn>
                      <a:cxn ang="T139">
                        <a:pos x="T26" y="T27"/>
                      </a:cxn>
                      <a:cxn ang="T140">
                        <a:pos x="T28" y="T29"/>
                      </a:cxn>
                      <a:cxn ang="T141">
                        <a:pos x="T30" y="T31"/>
                      </a:cxn>
                      <a:cxn ang="T142">
                        <a:pos x="T32" y="T33"/>
                      </a:cxn>
                      <a:cxn ang="T143">
                        <a:pos x="T34" y="T35"/>
                      </a:cxn>
                      <a:cxn ang="T144">
                        <a:pos x="T36" y="T37"/>
                      </a:cxn>
                      <a:cxn ang="T145">
                        <a:pos x="T38" y="T39"/>
                      </a:cxn>
                      <a:cxn ang="T146">
                        <a:pos x="T40" y="T41"/>
                      </a:cxn>
                      <a:cxn ang="T147">
                        <a:pos x="T42" y="T43"/>
                      </a:cxn>
                      <a:cxn ang="T148">
                        <a:pos x="T44" y="T45"/>
                      </a:cxn>
                      <a:cxn ang="T149">
                        <a:pos x="T46" y="T47"/>
                      </a:cxn>
                      <a:cxn ang="T150">
                        <a:pos x="T48" y="T49"/>
                      </a:cxn>
                      <a:cxn ang="T151">
                        <a:pos x="T50" y="T51"/>
                      </a:cxn>
                      <a:cxn ang="T152">
                        <a:pos x="T52" y="T53"/>
                      </a:cxn>
                      <a:cxn ang="T153">
                        <a:pos x="T54" y="T55"/>
                      </a:cxn>
                      <a:cxn ang="T154">
                        <a:pos x="T56" y="T57"/>
                      </a:cxn>
                      <a:cxn ang="T155">
                        <a:pos x="T58" y="T59"/>
                      </a:cxn>
                      <a:cxn ang="T156">
                        <a:pos x="T60" y="T61"/>
                      </a:cxn>
                      <a:cxn ang="T157">
                        <a:pos x="T62" y="T63"/>
                      </a:cxn>
                      <a:cxn ang="T158">
                        <a:pos x="T64" y="T65"/>
                      </a:cxn>
                      <a:cxn ang="T159">
                        <a:pos x="T66" y="T67"/>
                      </a:cxn>
                      <a:cxn ang="T160">
                        <a:pos x="T68" y="T69"/>
                      </a:cxn>
                      <a:cxn ang="T161">
                        <a:pos x="T70" y="T71"/>
                      </a:cxn>
                      <a:cxn ang="T162">
                        <a:pos x="T72" y="T73"/>
                      </a:cxn>
                      <a:cxn ang="T163">
                        <a:pos x="T74" y="T75"/>
                      </a:cxn>
                      <a:cxn ang="T164">
                        <a:pos x="T76" y="T77"/>
                      </a:cxn>
                      <a:cxn ang="T165">
                        <a:pos x="T78" y="T79"/>
                      </a:cxn>
                      <a:cxn ang="T166">
                        <a:pos x="T80" y="T81"/>
                      </a:cxn>
                      <a:cxn ang="T167">
                        <a:pos x="T82" y="T83"/>
                      </a:cxn>
                      <a:cxn ang="T168">
                        <a:pos x="T84" y="T85"/>
                      </a:cxn>
                      <a:cxn ang="T169">
                        <a:pos x="T86" y="T87"/>
                      </a:cxn>
                      <a:cxn ang="T170">
                        <a:pos x="T88" y="T89"/>
                      </a:cxn>
                      <a:cxn ang="T171">
                        <a:pos x="T90" y="T91"/>
                      </a:cxn>
                      <a:cxn ang="T172">
                        <a:pos x="T92" y="T93"/>
                      </a:cxn>
                      <a:cxn ang="T173">
                        <a:pos x="T94" y="T95"/>
                      </a:cxn>
                      <a:cxn ang="T174">
                        <a:pos x="T96" y="T97"/>
                      </a:cxn>
                      <a:cxn ang="T175">
                        <a:pos x="T98" y="T99"/>
                      </a:cxn>
                      <a:cxn ang="T176">
                        <a:pos x="T100" y="T101"/>
                      </a:cxn>
                      <a:cxn ang="T177">
                        <a:pos x="T102" y="T103"/>
                      </a:cxn>
                      <a:cxn ang="T178">
                        <a:pos x="T104" y="T105"/>
                      </a:cxn>
                      <a:cxn ang="T179">
                        <a:pos x="T106" y="T107"/>
                      </a:cxn>
                      <a:cxn ang="T180">
                        <a:pos x="T108" y="T109"/>
                      </a:cxn>
                      <a:cxn ang="T181">
                        <a:pos x="T110" y="T111"/>
                      </a:cxn>
                      <a:cxn ang="T182">
                        <a:pos x="T112" y="T113"/>
                      </a:cxn>
                      <a:cxn ang="T183">
                        <a:pos x="T114" y="T115"/>
                      </a:cxn>
                      <a:cxn ang="T184">
                        <a:pos x="T116" y="T117"/>
                      </a:cxn>
                      <a:cxn ang="T185">
                        <a:pos x="T118" y="T119"/>
                      </a:cxn>
                      <a:cxn ang="T186">
                        <a:pos x="T120" y="T121"/>
                      </a:cxn>
                      <a:cxn ang="T187">
                        <a:pos x="T122" y="T123"/>
                      </a:cxn>
                      <a:cxn ang="T188">
                        <a:pos x="T124" y="T125"/>
                      </a:cxn>
                    </a:cxnLst>
                    <a:rect l="T189" t="T190" r="T191" b="T192"/>
                    <a:pathLst>
                      <a:path w="1192" h="736">
                        <a:moveTo>
                          <a:pt x="0" y="368"/>
                        </a:moveTo>
                        <a:lnTo>
                          <a:pt x="0" y="387"/>
                        </a:lnTo>
                        <a:lnTo>
                          <a:pt x="2" y="405"/>
                        </a:lnTo>
                        <a:lnTo>
                          <a:pt x="3" y="424"/>
                        </a:lnTo>
                        <a:lnTo>
                          <a:pt x="5" y="442"/>
                        </a:lnTo>
                        <a:lnTo>
                          <a:pt x="8" y="460"/>
                        </a:lnTo>
                        <a:lnTo>
                          <a:pt x="12" y="478"/>
                        </a:lnTo>
                        <a:lnTo>
                          <a:pt x="16" y="495"/>
                        </a:lnTo>
                        <a:lnTo>
                          <a:pt x="22" y="511"/>
                        </a:lnTo>
                        <a:lnTo>
                          <a:pt x="28" y="528"/>
                        </a:lnTo>
                        <a:lnTo>
                          <a:pt x="36" y="543"/>
                        </a:lnTo>
                        <a:lnTo>
                          <a:pt x="45" y="559"/>
                        </a:lnTo>
                        <a:lnTo>
                          <a:pt x="55" y="574"/>
                        </a:lnTo>
                        <a:lnTo>
                          <a:pt x="66" y="588"/>
                        </a:lnTo>
                        <a:lnTo>
                          <a:pt x="78" y="602"/>
                        </a:lnTo>
                        <a:lnTo>
                          <a:pt x="92" y="616"/>
                        </a:lnTo>
                        <a:lnTo>
                          <a:pt x="107" y="628"/>
                        </a:lnTo>
                        <a:lnTo>
                          <a:pt x="124" y="640"/>
                        </a:lnTo>
                        <a:lnTo>
                          <a:pt x="142" y="653"/>
                        </a:lnTo>
                        <a:lnTo>
                          <a:pt x="162" y="664"/>
                        </a:lnTo>
                        <a:lnTo>
                          <a:pt x="184" y="674"/>
                        </a:lnTo>
                        <a:lnTo>
                          <a:pt x="206" y="683"/>
                        </a:lnTo>
                        <a:lnTo>
                          <a:pt x="232" y="691"/>
                        </a:lnTo>
                        <a:lnTo>
                          <a:pt x="259" y="700"/>
                        </a:lnTo>
                        <a:lnTo>
                          <a:pt x="288" y="707"/>
                        </a:lnTo>
                        <a:lnTo>
                          <a:pt x="319" y="714"/>
                        </a:lnTo>
                        <a:lnTo>
                          <a:pt x="352" y="719"/>
                        </a:lnTo>
                        <a:lnTo>
                          <a:pt x="387" y="725"/>
                        </a:lnTo>
                        <a:lnTo>
                          <a:pt x="425" y="728"/>
                        </a:lnTo>
                        <a:lnTo>
                          <a:pt x="463" y="732"/>
                        </a:lnTo>
                        <a:lnTo>
                          <a:pt x="506" y="734"/>
                        </a:lnTo>
                        <a:lnTo>
                          <a:pt x="550" y="736"/>
                        </a:lnTo>
                        <a:lnTo>
                          <a:pt x="597" y="736"/>
                        </a:lnTo>
                        <a:lnTo>
                          <a:pt x="648" y="736"/>
                        </a:lnTo>
                        <a:lnTo>
                          <a:pt x="697" y="734"/>
                        </a:lnTo>
                        <a:lnTo>
                          <a:pt x="743" y="732"/>
                        </a:lnTo>
                        <a:lnTo>
                          <a:pt x="785" y="728"/>
                        </a:lnTo>
                        <a:lnTo>
                          <a:pt x="825" y="725"/>
                        </a:lnTo>
                        <a:lnTo>
                          <a:pt x="863" y="719"/>
                        </a:lnTo>
                        <a:lnTo>
                          <a:pt x="898" y="714"/>
                        </a:lnTo>
                        <a:lnTo>
                          <a:pt x="930" y="707"/>
                        </a:lnTo>
                        <a:lnTo>
                          <a:pt x="959" y="700"/>
                        </a:lnTo>
                        <a:lnTo>
                          <a:pt x="987" y="691"/>
                        </a:lnTo>
                        <a:lnTo>
                          <a:pt x="1012" y="683"/>
                        </a:lnTo>
                        <a:lnTo>
                          <a:pt x="1034" y="674"/>
                        </a:lnTo>
                        <a:lnTo>
                          <a:pt x="1056" y="664"/>
                        </a:lnTo>
                        <a:lnTo>
                          <a:pt x="1075" y="653"/>
                        </a:lnTo>
                        <a:lnTo>
                          <a:pt x="1092" y="640"/>
                        </a:lnTo>
                        <a:lnTo>
                          <a:pt x="1108" y="628"/>
                        </a:lnTo>
                        <a:lnTo>
                          <a:pt x="1121" y="616"/>
                        </a:lnTo>
                        <a:lnTo>
                          <a:pt x="1133" y="602"/>
                        </a:lnTo>
                        <a:lnTo>
                          <a:pt x="1145" y="588"/>
                        </a:lnTo>
                        <a:lnTo>
                          <a:pt x="1154" y="574"/>
                        </a:lnTo>
                        <a:lnTo>
                          <a:pt x="1162" y="559"/>
                        </a:lnTo>
                        <a:lnTo>
                          <a:pt x="1169" y="543"/>
                        </a:lnTo>
                        <a:lnTo>
                          <a:pt x="1175" y="528"/>
                        </a:lnTo>
                        <a:lnTo>
                          <a:pt x="1179" y="511"/>
                        </a:lnTo>
                        <a:lnTo>
                          <a:pt x="1184" y="495"/>
                        </a:lnTo>
                        <a:lnTo>
                          <a:pt x="1187" y="478"/>
                        </a:lnTo>
                        <a:lnTo>
                          <a:pt x="1189" y="460"/>
                        </a:lnTo>
                        <a:lnTo>
                          <a:pt x="1190" y="442"/>
                        </a:lnTo>
                        <a:lnTo>
                          <a:pt x="1192" y="405"/>
                        </a:lnTo>
                        <a:lnTo>
                          <a:pt x="1192" y="368"/>
                        </a:lnTo>
                        <a:lnTo>
                          <a:pt x="1192" y="349"/>
                        </a:lnTo>
                        <a:lnTo>
                          <a:pt x="1190" y="331"/>
                        </a:lnTo>
                        <a:lnTo>
                          <a:pt x="1186" y="312"/>
                        </a:lnTo>
                        <a:lnTo>
                          <a:pt x="1180" y="294"/>
                        </a:lnTo>
                        <a:lnTo>
                          <a:pt x="1174" y="276"/>
                        </a:lnTo>
                        <a:lnTo>
                          <a:pt x="1166" y="259"/>
                        </a:lnTo>
                        <a:lnTo>
                          <a:pt x="1157" y="242"/>
                        </a:lnTo>
                        <a:lnTo>
                          <a:pt x="1146" y="225"/>
                        </a:lnTo>
                        <a:lnTo>
                          <a:pt x="1133" y="209"/>
                        </a:lnTo>
                        <a:lnTo>
                          <a:pt x="1121" y="193"/>
                        </a:lnTo>
                        <a:lnTo>
                          <a:pt x="1107" y="177"/>
                        </a:lnTo>
                        <a:lnTo>
                          <a:pt x="1091" y="163"/>
                        </a:lnTo>
                        <a:lnTo>
                          <a:pt x="1075" y="148"/>
                        </a:lnTo>
                        <a:lnTo>
                          <a:pt x="1057" y="134"/>
                        </a:lnTo>
                        <a:lnTo>
                          <a:pt x="1038" y="121"/>
                        </a:lnTo>
                        <a:lnTo>
                          <a:pt x="1018" y="108"/>
                        </a:lnTo>
                        <a:lnTo>
                          <a:pt x="998" y="96"/>
                        </a:lnTo>
                        <a:lnTo>
                          <a:pt x="975" y="84"/>
                        </a:lnTo>
                        <a:lnTo>
                          <a:pt x="953" y="73"/>
                        </a:lnTo>
                        <a:lnTo>
                          <a:pt x="930" y="63"/>
                        </a:lnTo>
                        <a:lnTo>
                          <a:pt x="905" y="54"/>
                        </a:lnTo>
                        <a:lnTo>
                          <a:pt x="881" y="45"/>
                        </a:lnTo>
                        <a:lnTo>
                          <a:pt x="855" y="36"/>
                        </a:lnTo>
                        <a:lnTo>
                          <a:pt x="829" y="29"/>
                        </a:lnTo>
                        <a:lnTo>
                          <a:pt x="802" y="23"/>
                        </a:lnTo>
                        <a:lnTo>
                          <a:pt x="774" y="17"/>
                        </a:lnTo>
                        <a:lnTo>
                          <a:pt x="746" y="12"/>
                        </a:lnTo>
                        <a:lnTo>
                          <a:pt x="717" y="7"/>
                        </a:lnTo>
                        <a:lnTo>
                          <a:pt x="687" y="5"/>
                        </a:lnTo>
                        <a:lnTo>
                          <a:pt x="658" y="2"/>
                        </a:lnTo>
                        <a:lnTo>
                          <a:pt x="627" y="0"/>
                        </a:lnTo>
                        <a:lnTo>
                          <a:pt x="597" y="0"/>
                        </a:lnTo>
                        <a:lnTo>
                          <a:pt x="566" y="0"/>
                        </a:lnTo>
                        <a:lnTo>
                          <a:pt x="536" y="2"/>
                        </a:lnTo>
                        <a:lnTo>
                          <a:pt x="506" y="5"/>
                        </a:lnTo>
                        <a:lnTo>
                          <a:pt x="477" y="7"/>
                        </a:lnTo>
                        <a:lnTo>
                          <a:pt x="448" y="12"/>
                        </a:lnTo>
                        <a:lnTo>
                          <a:pt x="419" y="17"/>
                        </a:lnTo>
                        <a:lnTo>
                          <a:pt x="392" y="23"/>
                        </a:lnTo>
                        <a:lnTo>
                          <a:pt x="364" y="29"/>
                        </a:lnTo>
                        <a:lnTo>
                          <a:pt x="339" y="36"/>
                        </a:lnTo>
                        <a:lnTo>
                          <a:pt x="312" y="45"/>
                        </a:lnTo>
                        <a:lnTo>
                          <a:pt x="288" y="54"/>
                        </a:lnTo>
                        <a:lnTo>
                          <a:pt x="263" y="63"/>
                        </a:lnTo>
                        <a:lnTo>
                          <a:pt x="240" y="73"/>
                        </a:lnTo>
                        <a:lnTo>
                          <a:pt x="217" y="84"/>
                        </a:lnTo>
                        <a:lnTo>
                          <a:pt x="196" y="96"/>
                        </a:lnTo>
                        <a:lnTo>
                          <a:pt x="175" y="108"/>
                        </a:lnTo>
                        <a:lnTo>
                          <a:pt x="155" y="121"/>
                        </a:lnTo>
                        <a:lnTo>
                          <a:pt x="136" y="134"/>
                        </a:lnTo>
                        <a:lnTo>
                          <a:pt x="120" y="148"/>
                        </a:lnTo>
                        <a:lnTo>
                          <a:pt x="103" y="163"/>
                        </a:lnTo>
                        <a:lnTo>
                          <a:pt x="87" y="177"/>
                        </a:lnTo>
                        <a:lnTo>
                          <a:pt x="73" y="193"/>
                        </a:lnTo>
                        <a:lnTo>
                          <a:pt x="59" y="209"/>
                        </a:lnTo>
                        <a:lnTo>
                          <a:pt x="47" y="225"/>
                        </a:lnTo>
                        <a:lnTo>
                          <a:pt x="37" y="242"/>
                        </a:lnTo>
                        <a:lnTo>
                          <a:pt x="27" y="259"/>
                        </a:lnTo>
                        <a:lnTo>
                          <a:pt x="19" y="276"/>
                        </a:lnTo>
                        <a:lnTo>
                          <a:pt x="13" y="294"/>
                        </a:lnTo>
                        <a:lnTo>
                          <a:pt x="7" y="312"/>
                        </a:lnTo>
                        <a:lnTo>
                          <a:pt x="4" y="331"/>
                        </a:lnTo>
                        <a:lnTo>
                          <a:pt x="2" y="349"/>
                        </a:lnTo>
                        <a:lnTo>
                          <a:pt x="0" y="368"/>
                        </a:lnTo>
                        <a:close/>
                      </a:path>
                    </a:pathLst>
                  </a:custGeom>
                  <a:solidFill>
                    <a:srgbClr val="273669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333" name="Freeform 178"/>
                  <p:cNvSpPr>
                    <a:spLocks/>
                  </p:cNvSpPr>
                  <p:nvPr/>
                </p:nvSpPr>
                <p:spPr bwMode="auto">
                  <a:xfrm>
                    <a:off x="3487" y="4059"/>
                    <a:ext cx="84" cy="29"/>
                  </a:xfrm>
                  <a:custGeom>
                    <a:avLst/>
                    <a:gdLst>
                      <a:gd name="T0" fmla="*/ 0 w 593"/>
                      <a:gd name="T1" fmla="*/ 0 h 194"/>
                      <a:gd name="T2" fmla="*/ 0 w 593"/>
                      <a:gd name="T3" fmla="*/ 0 h 194"/>
                      <a:gd name="T4" fmla="*/ 0 w 593"/>
                      <a:gd name="T5" fmla="*/ 0 h 194"/>
                      <a:gd name="T6" fmla="*/ 0 w 593"/>
                      <a:gd name="T7" fmla="*/ 0 h 194"/>
                      <a:gd name="T8" fmla="*/ 0 w 593"/>
                      <a:gd name="T9" fmla="*/ 0 h 194"/>
                      <a:gd name="T10" fmla="*/ 0 w 593"/>
                      <a:gd name="T11" fmla="*/ 0 h 194"/>
                      <a:gd name="T12" fmla="*/ 0 w 593"/>
                      <a:gd name="T13" fmla="*/ 0 h 194"/>
                      <a:gd name="T14" fmla="*/ 0 w 593"/>
                      <a:gd name="T15" fmla="*/ 0 h 194"/>
                      <a:gd name="T16" fmla="*/ 0 w 593"/>
                      <a:gd name="T17" fmla="*/ 0 h 194"/>
                      <a:gd name="T18" fmla="*/ 0 w 593"/>
                      <a:gd name="T19" fmla="*/ 0 h 194"/>
                      <a:gd name="T20" fmla="*/ 0 w 593"/>
                      <a:gd name="T21" fmla="*/ 0 h 194"/>
                      <a:gd name="T22" fmla="*/ 0 w 593"/>
                      <a:gd name="T23" fmla="*/ 0 h 194"/>
                      <a:gd name="T24" fmla="*/ 0 w 593"/>
                      <a:gd name="T25" fmla="*/ 0 h 194"/>
                      <a:gd name="T26" fmla="*/ 0 w 593"/>
                      <a:gd name="T27" fmla="*/ 0 h 194"/>
                      <a:gd name="T28" fmla="*/ 0 w 593"/>
                      <a:gd name="T29" fmla="*/ 0 h 194"/>
                      <a:gd name="T30" fmla="*/ 0 w 593"/>
                      <a:gd name="T31" fmla="*/ 0 h 194"/>
                      <a:gd name="T32" fmla="*/ 0 w 593"/>
                      <a:gd name="T33" fmla="*/ 0 h 194"/>
                      <a:gd name="T34" fmla="*/ 0 w 593"/>
                      <a:gd name="T35" fmla="*/ 0 h 194"/>
                      <a:gd name="T36" fmla="*/ 0 w 593"/>
                      <a:gd name="T37" fmla="*/ 0 h 194"/>
                      <a:gd name="T38" fmla="*/ 0 w 593"/>
                      <a:gd name="T39" fmla="*/ 0 h 194"/>
                      <a:gd name="T40" fmla="*/ 0 w 593"/>
                      <a:gd name="T41" fmla="*/ 0 h 194"/>
                      <a:gd name="T42" fmla="*/ 0 w 593"/>
                      <a:gd name="T43" fmla="*/ 0 h 194"/>
                      <a:gd name="T44" fmla="*/ 0 w 593"/>
                      <a:gd name="T45" fmla="*/ 0 h 194"/>
                      <a:gd name="T46" fmla="*/ 0 w 593"/>
                      <a:gd name="T47" fmla="*/ 0 h 194"/>
                      <a:gd name="T48" fmla="*/ 0 w 593"/>
                      <a:gd name="T49" fmla="*/ 0 h 194"/>
                      <a:gd name="T50" fmla="*/ 0 w 593"/>
                      <a:gd name="T51" fmla="*/ 0 h 194"/>
                      <a:gd name="T52" fmla="*/ 0 w 593"/>
                      <a:gd name="T53" fmla="*/ 0 h 194"/>
                      <a:gd name="T54" fmla="*/ 0 w 593"/>
                      <a:gd name="T55" fmla="*/ 0 h 194"/>
                      <a:gd name="T56" fmla="*/ 0 w 593"/>
                      <a:gd name="T57" fmla="*/ 0 h 194"/>
                      <a:gd name="T58" fmla="*/ 0 w 593"/>
                      <a:gd name="T59" fmla="*/ 0 h 194"/>
                      <a:gd name="T60" fmla="*/ 0 w 593"/>
                      <a:gd name="T61" fmla="*/ 0 h 194"/>
                      <a:gd name="T62" fmla="*/ 0 w 593"/>
                      <a:gd name="T63" fmla="*/ 0 h 194"/>
                      <a:gd name="T64" fmla="*/ 0 w 593"/>
                      <a:gd name="T65" fmla="*/ 0 h 194"/>
                      <a:gd name="T66" fmla="*/ 0 w 593"/>
                      <a:gd name="T67" fmla="*/ 0 h 194"/>
                      <a:gd name="T68" fmla="*/ 0 w 593"/>
                      <a:gd name="T69" fmla="*/ 0 h 194"/>
                      <a:gd name="T70" fmla="*/ 0 w 593"/>
                      <a:gd name="T71" fmla="*/ 0 h 194"/>
                      <a:gd name="T72" fmla="*/ 0 w 593"/>
                      <a:gd name="T73" fmla="*/ 0 h 194"/>
                      <a:gd name="T74" fmla="*/ 0 w 593"/>
                      <a:gd name="T75" fmla="*/ 0 h 194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w 593"/>
                      <a:gd name="T115" fmla="*/ 0 h 194"/>
                      <a:gd name="T116" fmla="*/ 593 w 593"/>
                      <a:gd name="T117" fmla="*/ 194 h 194"/>
                    </a:gdLst>
                    <a:ahLst/>
                    <a:cxnLst>
                      <a:cxn ang="T76">
                        <a:pos x="T0" y="T1"/>
                      </a:cxn>
                      <a:cxn ang="T77">
                        <a:pos x="T2" y="T3"/>
                      </a:cxn>
                      <a:cxn ang="T78">
                        <a:pos x="T4" y="T5"/>
                      </a:cxn>
                      <a:cxn ang="T79">
                        <a:pos x="T6" y="T7"/>
                      </a:cxn>
                      <a:cxn ang="T80">
                        <a:pos x="T8" y="T9"/>
                      </a:cxn>
                      <a:cxn ang="T81">
                        <a:pos x="T10" y="T11"/>
                      </a:cxn>
                      <a:cxn ang="T82">
                        <a:pos x="T12" y="T13"/>
                      </a:cxn>
                      <a:cxn ang="T83">
                        <a:pos x="T14" y="T15"/>
                      </a:cxn>
                      <a:cxn ang="T84">
                        <a:pos x="T16" y="T17"/>
                      </a:cxn>
                      <a:cxn ang="T85">
                        <a:pos x="T18" y="T19"/>
                      </a:cxn>
                      <a:cxn ang="T86">
                        <a:pos x="T20" y="T21"/>
                      </a:cxn>
                      <a:cxn ang="T87">
                        <a:pos x="T22" y="T23"/>
                      </a:cxn>
                      <a:cxn ang="T88">
                        <a:pos x="T24" y="T25"/>
                      </a:cxn>
                      <a:cxn ang="T89">
                        <a:pos x="T26" y="T27"/>
                      </a:cxn>
                      <a:cxn ang="T90">
                        <a:pos x="T28" y="T29"/>
                      </a:cxn>
                      <a:cxn ang="T91">
                        <a:pos x="T30" y="T31"/>
                      </a:cxn>
                      <a:cxn ang="T92">
                        <a:pos x="T32" y="T33"/>
                      </a:cxn>
                      <a:cxn ang="T93">
                        <a:pos x="T34" y="T35"/>
                      </a:cxn>
                      <a:cxn ang="T94">
                        <a:pos x="T36" y="T37"/>
                      </a:cxn>
                      <a:cxn ang="T95">
                        <a:pos x="T38" y="T39"/>
                      </a:cxn>
                      <a:cxn ang="T96">
                        <a:pos x="T40" y="T41"/>
                      </a:cxn>
                      <a:cxn ang="T97">
                        <a:pos x="T42" y="T43"/>
                      </a:cxn>
                      <a:cxn ang="T98">
                        <a:pos x="T44" y="T45"/>
                      </a:cxn>
                      <a:cxn ang="T99">
                        <a:pos x="T46" y="T47"/>
                      </a:cxn>
                      <a:cxn ang="T100">
                        <a:pos x="T48" y="T49"/>
                      </a:cxn>
                      <a:cxn ang="T101">
                        <a:pos x="T50" y="T51"/>
                      </a:cxn>
                      <a:cxn ang="T102">
                        <a:pos x="T52" y="T53"/>
                      </a:cxn>
                      <a:cxn ang="T103">
                        <a:pos x="T54" y="T55"/>
                      </a:cxn>
                      <a:cxn ang="T104">
                        <a:pos x="T56" y="T57"/>
                      </a:cxn>
                      <a:cxn ang="T105">
                        <a:pos x="T58" y="T59"/>
                      </a:cxn>
                      <a:cxn ang="T106">
                        <a:pos x="T60" y="T61"/>
                      </a:cxn>
                      <a:cxn ang="T107">
                        <a:pos x="T62" y="T63"/>
                      </a:cxn>
                      <a:cxn ang="T108">
                        <a:pos x="T64" y="T65"/>
                      </a:cxn>
                      <a:cxn ang="T109">
                        <a:pos x="T66" y="T67"/>
                      </a:cxn>
                      <a:cxn ang="T110">
                        <a:pos x="T68" y="T69"/>
                      </a:cxn>
                      <a:cxn ang="T111">
                        <a:pos x="T70" y="T71"/>
                      </a:cxn>
                      <a:cxn ang="T112">
                        <a:pos x="T72" y="T73"/>
                      </a:cxn>
                      <a:cxn ang="T113">
                        <a:pos x="T74" y="T75"/>
                      </a:cxn>
                    </a:cxnLst>
                    <a:rect l="T114" t="T115" r="T116" b="T117"/>
                    <a:pathLst>
                      <a:path w="593" h="194">
                        <a:moveTo>
                          <a:pt x="0" y="98"/>
                        </a:moveTo>
                        <a:lnTo>
                          <a:pt x="0" y="102"/>
                        </a:lnTo>
                        <a:lnTo>
                          <a:pt x="1" y="108"/>
                        </a:lnTo>
                        <a:lnTo>
                          <a:pt x="4" y="112"/>
                        </a:lnTo>
                        <a:lnTo>
                          <a:pt x="6" y="117"/>
                        </a:lnTo>
                        <a:lnTo>
                          <a:pt x="9" y="122"/>
                        </a:lnTo>
                        <a:lnTo>
                          <a:pt x="14" y="127"/>
                        </a:lnTo>
                        <a:lnTo>
                          <a:pt x="18" y="131"/>
                        </a:lnTo>
                        <a:lnTo>
                          <a:pt x="24" y="136"/>
                        </a:lnTo>
                        <a:lnTo>
                          <a:pt x="36" y="143"/>
                        </a:lnTo>
                        <a:lnTo>
                          <a:pt x="50" y="152"/>
                        </a:lnTo>
                        <a:lnTo>
                          <a:pt x="68" y="159"/>
                        </a:lnTo>
                        <a:lnTo>
                          <a:pt x="87" y="167"/>
                        </a:lnTo>
                        <a:lnTo>
                          <a:pt x="108" y="172"/>
                        </a:lnTo>
                        <a:lnTo>
                          <a:pt x="130" y="178"/>
                        </a:lnTo>
                        <a:lnTo>
                          <a:pt x="155" y="183"/>
                        </a:lnTo>
                        <a:lnTo>
                          <a:pt x="182" y="187"/>
                        </a:lnTo>
                        <a:lnTo>
                          <a:pt x="208" y="190"/>
                        </a:lnTo>
                        <a:lnTo>
                          <a:pt x="237" y="192"/>
                        </a:lnTo>
                        <a:lnTo>
                          <a:pt x="266" y="194"/>
                        </a:lnTo>
                        <a:lnTo>
                          <a:pt x="296" y="194"/>
                        </a:lnTo>
                        <a:lnTo>
                          <a:pt x="327" y="194"/>
                        </a:lnTo>
                        <a:lnTo>
                          <a:pt x="356" y="192"/>
                        </a:lnTo>
                        <a:lnTo>
                          <a:pt x="385" y="190"/>
                        </a:lnTo>
                        <a:lnTo>
                          <a:pt x="412" y="187"/>
                        </a:lnTo>
                        <a:lnTo>
                          <a:pt x="438" y="183"/>
                        </a:lnTo>
                        <a:lnTo>
                          <a:pt x="462" y="178"/>
                        </a:lnTo>
                        <a:lnTo>
                          <a:pt x="485" y="172"/>
                        </a:lnTo>
                        <a:lnTo>
                          <a:pt x="507" y="167"/>
                        </a:lnTo>
                        <a:lnTo>
                          <a:pt x="526" y="159"/>
                        </a:lnTo>
                        <a:lnTo>
                          <a:pt x="542" y="152"/>
                        </a:lnTo>
                        <a:lnTo>
                          <a:pt x="558" y="143"/>
                        </a:lnTo>
                        <a:lnTo>
                          <a:pt x="570" y="136"/>
                        </a:lnTo>
                        <a:lnTo>
                          <a:pt x="576" y="131"/>
                        </a:lnTo>
                        <a:lnTo>
                          <a:pt x="580" y="127"/>
                        </a:lnTo>
                        <a:lnTo>
                          <a:pt x="585" y="122"/>
                        </a:lnTo>
                        <a:lnTo>
                          <a:pt x="588" y="117"/>
                        </a:lnTo>
                        <a:lnTo>
                          <a:pt x="590" y="112"/>
                        </a:lnTo>
                        <a:lnTo>
                          <a:pt x="592" y="108"/>
                        </a:lnTo>
                        <a:lnTo>
                          <a:pt x="593" y="102"/>
                        </a:lnTo>
                        <a:lnTo>
                          <a:pt x="593" y="98"/>
                        </a:lnTo>
                        <a:lnTo>
                          <a:pt x="593" y="92"/>
                        </a:lnTo>
                        <a:lnTo>
                          <a:pt x="592" y="88"/>
                        </a:lnTo>
                        <a:lnTo>
                          <a:pt x="590" y="82"/>
                        </a:lnTo>
                        <a:lnTo>
                          <a:pt x="588" y="78"/>
                        </a:lnTo>
                        <a:lnTo>
                          <a:pt x="580" y="69"/>
                        </a:lnTo>
                        <a:lnTo>
                          <a:pt x="570" y="60"/>
                        </a:lnTo>
                        <a:lnTo>
                          <a:pt x="558" y="51"/>
                        </a:lnTo>
                        <a:lnTo>
                          <a:pt x="542" y="43"/>
                        </a:lnTo>
                        <a:lnTo>
                          <a:pt x="526" y="35"/>
                        </a:lnTo>
                        <a:lnTo>
                          <a:pt x="507" y="29"/>
                        </a:lnTo>
                        <a:lnTo>
                          <a:pt x="485" y="22"/>
                        </a:lnTo>
                        <a:lnTo>
                          <a:pt x="462" y="16"/>
                        </a:lnTo>
                        <a:lnTo>
                          <a:pt x="438" y="12"/>
                        </a:lnTo>
                        <a:lnTo>
                          <a:pt x="412" y="8"/>
                        </a:lnTo>
                        <a:lnTo>
                          <a:pt x="385" y="4"/>
                        </a:lnTo>
                        <a:lnTo>
                          <a:pt x="356" y="2"/>
                        </a:lnTo>
                        <a:lnTo>
                          <a:pt x="327" y="1"/>
                        </a:lnTo>
                        <a:lnTo>
                          <a:pt x="296" y="0"/>
                        </a:lnTo>
                        <a:lnTo>
                          <a:pt x="266" y="1"/>
                        </a:lnTo>
                        <a:lnTo>
                          <a:pt x="237" y="2"/>
                        </a:lnTo>
                        <a:lnTo>
                          <a:pt x="208" y="4"/>
                        </a:lnTo>
                        <a:lnTo>
                          <a:pt x="182" y="8"/>
                        </a:lnTo>
                        <a:lnTo>
                          <a:pt x="155" y="12"/>
                        </a:lnTo>
                        <a:lnTo>
                          <a:pt x="130" y="16"/>
                        </a:lnTo>
                        <a:lnTo>
                          <a:pt x="108" y="22"/>
                        </a:lnTo>
                        <a:lnTo>
                          <a:pt x="87" y="29"/>
                        </a:lnTo>
                        <a:lnTo>
                          <a:pt x="68" y="35"/>
                        </a:lnTo>
                        <a:lnTo>
                          <a:pt x="50" y="43"/>
                        </a:lnTo>
                        <a:lnTo>
                          <a:pt x="36" y="51"/>
                        </a:lnTo>
                        <a:lnTo>
                          <a:pt x="24" y="60"/>
                        </a:lnTo>
                        <a:lnTo>
                          <a:pt x="14" y="69"/>
                        </a:lnTo>
                        <a:lnTo>
                          <a:pt x="6" y="78"/>
                        </a:lnTo>
                        <a:lnTo>
                          <a:pt x="4" y="82"/>
                        </a:lnTo>
                        <a:lnTo>
                          <a:pt x="1" y="88"/>
                        </a:lnTo>
                        <a:lnTo>
                          <a:pt x="0" y="92"/>
                        </a:lnTo>
                        <a:lnTo>
                          <a:pt x="0" y="98"/>
                        </a:lnTo>
                        <a:close/>
                      </a:path>
                    </a:pathLst>
                  </a:custGeom>
                  <a:solidFill>
                    <a:srgbClr val="2E5592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334" name="Freeform 179"/>
                  <p:cNvSpPr>
                    <a:spLocks/>
                  </p:cNvSpPr>
                  <p:nvPr/>
                </p:nvSpPr>
                <p:spPr bwMode="auto">
                  <a:xfrm>
                    <a:off x="3442" y="4078"/>
                    <a:ext cx="169" cy="86"/>
                  </a:xfrm>
                  <a:custGeom>
                    <a:avLst/>
                    <a:gdLst>
                      <a:gd name="T0" fmla="*/ 0 w 1185"/>
                      <a:gd name="T1" fmla="*/ 0 h 605"/>
                      <a:gd name="T2" fmla="*/ 0 w 1185"/>
                      <a:gd name="T3" fmla="*/ 0 h 605"/>
                      <a:gd name="T4" fmla="*/ 0 w 1185"/>
                      <a:gd name="T5" fmla="*/ 0 h 605"/>
                      <a:gd name="T6" fmla="*/ 0 w 1185"/>
                      <a:gd name="T7" fmla="*/ 0 h 605"/>
                      <a:gd name="T8" fmla="*/ 0 w 1185"/>
                      <a:gd name="T9" fmla="*/ 0 h 605"/>
                      <a:gd name="T10" fmla="*/ 0 w 1185"/>
                      <a:gd name="T11" fmla="*/ 0 h 605"/>
                      <a:gd name="T12" fmla="*/ 0 w 1185"/>
                      <a:gd name="T13" fmla="*/ 0 h 605"/>
                      <a:gd name="T14" fmla="*/ 0 w 1185"/>
                      <a:gd name="T15" fmla="*/ 0 h 605"/>
                      <a:gd name="T16" fmla="*/ 0 w 1185"/>
                      <a:gd name="T17" fmla="*/ 0 h 605"/>
                      <a:gd name="T18" fmla="*/ 0 w 1185"/>
                      <a:gd name="T19" fmla="*/ 0 h 605"/>
                      <a:gd name="T20" fmla="*/ 0 w 1185"/>
                      <a:gd name="T21" fmla="*/ 0 h 605"/>
                      <a:gd name="T22" fmla="*/ 0 w 1185"/>
                      <a:gd name="T23" fmla="*/ 0 h 605"/>
                      <a:gd name="T24" fmla="*/ 0 w 1185"/>
                      <a:gd name="T25" fmla="*/ 0 h 605"/>
                      <a:gd name="T26" fmla="*/ 0 w 1185"/>
                      <a:gd name="T27" fmla="*/ 0 h 605"/>
                      <a:gd name="T28" fmla="*/ 0 w 1185"/>
                      <a:gd name="T29" fmla="*/ 0 h 605"/>
                      <a:gd name="T30" fmla="*/ 0 w 1185"/>
                      <a:gd name="T31" fmla="*/ 0 h 605"/>
                      <a:gd name="T32" fmla="*/ 0 w 1185"/>
                      <a:gd name="T33" fmla="*/ 0 h 605"/>
                      <a:gd name="T34" fmla="*/ 0 w 1185"/>
                      <a:gd name="T35" fmla="*/ 0 h 605"/>
                      <a:gd name="T36" fmla="*/ 0 w 1185"/>
                      <a:gd name="T37" fmla="*/ 0 h 605"/>
                      <a:gd name="T38" fmla="*/ 0 w 1185"/>
                      <a:gd name="T39" fmla="*/ 0 h 605"/>
                      <a:gd name="T40" fmla="*/ 0 w 1185"/>
                      <a:gd name="T41" fmla="*/ 0 h 605"/>
                      <a:gd name="T42" fmla="*/ 0 w 1185"/>
                      <a:gd name="T43" fmla="*/ 0 h 605"/>
                      <a:gd name="T44" fmla="*/ 0 w 1185"/>
                      <a:gd name="T45" fmla="*/ 0 h 605"/>
                      <a:gd name="T46" fmla="*/ 0 w 1185"/>
                      <a:gd name="T47" fmla="*/ 0 h 605"/>
                      <a:gd name="T48" fmla="*/ 0 w 1185"/>
                      <a:gd name="T49" fmla="*/ 0 h 605"/>
                      <a:gd name="T50" fmla="*/ 0 w 1185"/>
                      <a:gd name="T51" fmla="*/ 0 h 605"/>
                      <a:gd name="T52" fmla="*/ 0 w 1185"/>
                      <a:gd name="T53" fmla="*/ 0 h 605"/>
                      <a:gd name="T54" fmla="*/ 0 w 1185"/>
                      <a:gd name="T55" fmla="*/ 0 h 605"/>
                      <a:gd name="T56" fmla="*/ 0 w 1185"/>
                      <a:gd name="T57" fmla="*/ 0 h 605"/>
                      <a:gd name="T58" fmla="*/ 0 w 1185"/>
                      <a:gd name="T59" fmla="*/ 0 h 605"/>
                      <a:gd name="T60" fmla="*/ 0 w 1185"/>
                      <a:gd name="T61" fmla="*/ 0 h 605"/>
                      <a:gd name="T62" fmla="*/ 0 w 1185"/>
                      <a:gd name="T63" fmla="*/ 0 h 605"/>
                      <a:gd name="T64" fmla="*/ 0 w 1185"/>
                      <a:gd name="T65" fmla="*/ 0 h 605"/>
                      <a:gd name="T66" fmla="*/ 0 w 1185"/>
                      <a:gd name="T67" fmla="*/ 0 h 605"/>
                      <a:gd name="T68" fmla="*/ 0 w 1185"/>
                      <a:gd name="T69" fmla="*/ 0 h 605"/>
                      <a:gd name="T70" fmla="*/ 0 w 1185"/>
                      <a:gd name="T71" fmla="*/ 0 h 605"/>
                      <a:gd name="T72" fmla="*/ 0 w 1185"/>
                      <a:gd name="T73" fmla="*/ 0 h 605"/>
                      <a:gd name="T74" fmla="*/ 0 w 1185"/>
                      <a:gd name="T75" fmla="*/ 0 h 605"/>
                      <a:gd name="T76" fmla="*/ 0 w 1185"/>
                      <a:gd name="T77" fmla="*/ 0 h 605"/>
                      <a:gd name="T78" fmla="*/ 0 w 1185"/>
                      <a:gd name="T79" fmla="*/ 0 h 605"/>
                      <a:gd name="T80" fmla="*/ 0 w 1185"/>
                      <a:gd name="T81" fmla="*/ 0 h 605"/>
                      <a:gd name="T82" fmla="*/ 0 w 1185"/>
                      <a:gd name="T83" fmla="*/ 0 h 605"/>
                      <a:gd name="T84" fmla="*/ 0 w 1185"/>
                      <a:gd name="T85" fmla="*/ 0 h 605"/>
                      <a:gd name="T86" fmla="*/ 0 w 1185"/>
                      <a:gd name="T87" fmla="*/ 0 h 605"/>
                      <a:gd name="T88" fmla="*/ 0 w 1185"/>
                      <a:gd name="T89" fmla="*/ 0 h 605"/>
                      <a:gd name="T90" fmla="*/ 0 w 1185"/>
                      <a:gd name="T91" fmla="*/ 0 h 605"/>
                      <a:gd name="T92" fmla="*/ 0 w 1185"/>
                      <a:gd name="T93" fmla="*/ 0 h 605"/>
                      <a:gd name="T94" fmla="*/ 0 w 1185"/>
                      <a:gd name="T95" fmla="*/ 0 h 605"/>
                      <a:gd name="T96" fmla="*/ 0 w 1185"/>
                      <a:gd name="T97" fmla="*/ 0 h 605"/>
                      <a:gd name="T98" fmla="*/ 0 w 1185"/>
                      <a:gd name="T99" fmla="*/ 0 h 605"/>
                      <a:gd name="T100" fmla="*/ 0 w 1185"/>
                      <a:gd name="T101" fmla="*/ 0 h 605"/>
                      <a:gd name="T102" fmla="*/ 0 w 1185"/>
                      <a:gd name="T103" fmla="*/ 0 h 605"/>
                      <a:gd name="T104" fmla="*/ 0 w 1185"/>
                      <a:gd name="T105" fmla="*/ 0 h 605"/>
                      <a:gd name="T106" fmla="*/ 0 w 1185"/>
                      <a:gd name="T107" fmla="*/ 0 h 605"/>
                      <a:gd name="T108" fmla="*/ 0 w 1185"/>
                      <a:gd name="T109" fmla="*/ 0 h 605"/>
                      <a:gd name="T110" fmla="*/ 0 w 1185"/>
                      <a:gd name="T111" fmla="*/ 0 h 605"/>
                      <a:gd name="T112" fmla="*/ 0 w 1185"/>
                      <a:gd name="T113" fmla="*/ 0 h 605"/>
                      <a:gd name="T114" fmla="*/ 0 w 1185"/>
                      <a:gd name="T115" fmla="*/ 0 h 605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w 1185"/>
                      <a:gd name="T175" fmla="*/ 0 h 605"/>
                      <a:gd name="T176" fmla="*/ 1185 w 1185"/>
                      <a:gd name="T177" fmla="*/ 605 h 605"/>
                    </a:gdLst>
                    <a:ahLst/>
                    <a:cxnLst>
                      <a:cxn ang="T116">
                        <a:pos x="T0" y="T1"/>
                      </a:cxn>
                      <a:cxn ang="T117">
                        <a:pos x="T2" y="T3"/>
                      </a:cxn>
                      <a:cxn ang="T118">
                        <a:pos x="T4" y="T5"/>
                      </a:cxn>
                      <a:cxn ang="T119">
                        <a:pos x="T6" y="T7"/>
                      </a:cxn>
                      <a:cxn ang="T120">
                        <a:pos x="T8" y="T9"/>
                      </a:cxn>
                      <a:cxn ang="T121">
                        <a:pos x="T10" y="T11"/>
                      </a:cxn>
                      <a:cxn ang="T122">
                        <a:pos x="T12" y="T13"/>
                      </a:cxn>
                      <a:cxn ang="T123">
                        <a:pos x="T14" y="T15"/>
                      </a:cxn>
                      <a:cxn ang="T124">
                        <a:pos x="T16" y="T17"/>
                      </a:cxn>
                      <a:cxn ang="T125">
                        <a:pos x="T18" y="T19"/>
                      </a:cxn>
                      <a:cxn ang="T126">
                        <a:pos x="T20" y="T21"/>
                      </a:cxn>
                      <a:cxn ang="T127">
                        <a:pos x="T22" y="T23"/>
                      </a:cxn>
                      <a:cxn ang="T128">
                        <a:pos x="T24" y="T25"/>
                      </a:cxn>
                      <a:cxn ang="T129">
                        <a:pos x="T26" y="T27"/>
                      </a:cxn>
                      <a:cxn ang="T130">
                        <a:pos x="T28" y="T29"/>
                      </a:cxn>
                      <a:cxn ang="T131">
                        <a:pos x="T30" y="T31"/>
                      </a:cxn>
                      <a:cxn ang="T132">
                        <a:pos x="T32" y="T33"/>
                      </a:cxn>
                      <a:cxn ang="T133">
                        <a:pos x="T34" y="T35"/>
                      </a:cxn>
                      <a:cxn ang="T134">
                        <a:pos x="T36" y="T37"/>
                      </a:cxn>
                      <a:cxn ang="T135">
                        <a:pos x="T38" y="T39"/>
                      </a:cxn>
                      <a:cxn ang="T136">
                        <a:pos x="T40" y="T41"/>
                      </a:cxn>
                      <a:cxn ang="T137">
                        <a:pos x="T42" y="T43"/>
                      </a:cxn>
                      <a:cxn ang="T138">
                        <a:pos x="T44" y="T45"/>
                      </a:cxn>
                      <a:cxn ang="T139">
                        <a:pos x="T46" y="T47"/>
                      </a:cxn>
                      <a:cxn ang="T140">
                        <a:pos x="T48" y="T49"/>
                      </a:cxn>
                      <a:cxn ang="T141">
                        <a:pos x="T50" y="T51"/>
                      </a:cxn>
                      <a:cxn ang="T142">
                        <a:pos x="T52" y="T53"/>
                      </a:cxn>
                      <a:cxn ang="T143">
                        <a:pos x="T54" y="T55"/>
                      </a:cxn>
                      <a:cxn ang="T144">
                        <a:pos x="T56" y="T57"/>
                      </a:cxn>
                      <a:cxn ang="T145">
                        <a:pos x="T58" y="T59"/>
                      </a:cxn>
                      <a:cxn ang="T146">
                        <a:pos x="T60" y="T61"/>
                      </a:cxn>
                      <a:cxn ang="T147">
                        <a:pos x="T62" y="T63"/>
                      </a:cxn>
                      <a:cxn ang="T148">
                        <a:pos x="T64" y="T65"/>
                      </a:cxn>
                      <a:cxn ang="T149">
                        <a:pos x="T66" y="T67"/>
                      </a:cxn>
                      <a:cxn ang="T150">
                        <a:pos x="T68" y="T69"/>
                      </a:cxn>
                      <a:cxn ang="T151">
                        <a:pos x="T70" y="T71"/>
                      </a:cxn>
                      <a:cxn ang="T152">
                        <a:pos x="T72" y="T73"/>
                      </a:cxn>
                      <a:cxn ang="T153">
                        <a:pos x="T74" y="T75"/>
                      </a:cxn>
                      <a:cxn ang="T154">
                        <a:pos x="T76" y="T77"/>
                      </a:cxn>
                      <a:cxn ang="T155">
                        <a:pos x="T78" y="T79"/>
                      </a:cxn>
                      <a:cxn ang="T156">
                        <a:pos x="T80" y="T81"/>
                      </a:cxn>
                      <a:cxn ang="T157">
                        <a:pos x="T82" y="T83"/>
                      </a:cxn>
                      <a:cxn ang="T158">
                        <a:pos x="T84" y="T85"/>
                      </a:cxn>
                      <a:cxn ang="T159">
                        <a:pos x="T86" y="T87"/>
                      </a:cxn>
                      <a:cxn ang="T160">
                        <a:pos x="T88" y="T89"/>
                      </a:cxn>
                      <a:cxn ang="T161">
                        <a:pos x="T90" y="T91"/>
                      </a:cxn>
                      <a:cxn ang="T162">
                        <a:pos x="T92" y="T93"/>
                      </a:cxn>
                      <a:cxn ang="T163">
                        <a:pos x="T94" y="T95"/>
                      </a:cxn>
                      <a:cxn ang="T164">
                        <a:pos x="T96" y="T97"/>
                      </a:cxn>
                      <a:cxn ang="T165">
                        <a:pos x="T98" y="T99"/>
                      </a:cxn>
                      <a:cxn ang="T166">
                        <a:pos x="T100" y="T101"/>
                      </a:cxn>
                      <a:cxn ang="T167">
                        <a:pos x="T102" y="T103"/>
                      </a:cxn>
                      <a:cxn ang="T168">
                        <a:pos x="T104" y="T105"/>
                      </a:cxn>
                      <a:cxn ang="T169">
                        <a:pos x="T106" y="T107"/>
                      </a:cxn>
                      <a:cxn ang="T170">
                        <a:pos x="T108" y="T109"/>
                      </a:cxn>
                      <a:cxn ang="T171">
                        <a:pos x="T110" y="T111"/>
                      </a:cxn>
                      <a:cxn ang="T172">
                        <a:pos x="T112" y="T113"/>
                      </a:cxn>
                      <a:cxn ang="T173">
                        <a:pos x="T114" y="T115"/>
                      </a:cxn>
                    </a:cxnLst>
                    <a:rect l="T174" t="T175" r="T176" b="T177"/>
                    <a:pathLst>
                      <a:path w="1185" h="605">
                        <a:moveTo>
                          <a:pt x="105" y="0"/>
                        </a:moveTo>
                        <a:lnTo>
                          <a:pt x="98" y="20"/>
                        </a:lnTo>
                        <a:lnTo>
                          <a:pt x="93" y="40"/>
                        </a:lnTo>
                        <a:lnTo>
                          <a:pt x="88" y="57"/>
                        </a:lnTo>
                        <a:lnTo>
                          <a:pt x="86" y="75"/>
                        </a:lnTo>
                        <a:lnTo>
                          <a:pt x="85" y="92"/>
                        </a:lnTo>
                        <a:lnTo>
                          <a:pt x="85" y="106"/>
                        </a:lnTo>
                        <a:lnTo>
                          <a:pt x="87" y="121"/>
                        </a:lnTo>
                        <a:lnTo>
                          <a:pt x="89" y="134"/>
                        </a:lnTo>
                        <a:lnTo>
                          <a:pt x="94" y="148"/>
                        </a:lnTo>
                        <a:lnTo>
                          <a:pt x="100" y="159"/>
                        </a:lnTo>
                        <a:lnTo>
                          <a:pt x="106" y="170"/>
                        </a:lnTo>
                        <a:lnTo>
                          <a:pt x="113" y="181"/>
                        </a:lnTo>
                        <a:lnTo>
                          <a:pt x="122" y="191"/>
                        </a:lnTo>
                        <a:lnTo>
                          <a:pt x="131" y="200"/>
                        </a:lnTo>
                        <a:lnTo>
                          <a:pt x="141" y="209"/>
                        </a:lnTo>
                        <a:lnTo>
                          <a:pt x="152" y="217"/>
                        </a:lnTo>
                        <a:lnTo>
                          <a:pt x="164" y="224"/>
                        </a:lnTo>
                        <a:lnTo>
                          <a:pt x="176" y="231"/>
                        </a:lnTo>
                        <a:lnTo>
                          <a:pt x="190" y="239"/>
                        </a:lnTo>
                        <a:lnTo>
                          <a:pt x="203" y="246"/>
                        </a:lnTo>
                        <a:lnTo>
                          <a:pt x="232" y="258"/>
                        </a:lnTo>
                        <a:lnTo>
                          <a:pt x="263" y="269"/>
                        </a:lnTo>
                        <a:lnTo>
                          <a:pt x="328" y="292"/>
                        </a:lnTo>
                        <a:lnTo>
                          <a:pt x="394" y="316"/>
                        </a:lnTo>
                        <a:lnTo>
                          <a:pt x="414" y="323"/>
                        </a:lnTo>
                        <a:lnTo>
                          <a:pt x="436" y="330"/>
                        </a:lnTo>
                        <a:lnTo>
                          <a:pt x="457" y="337"/>
                        </a:lnTo>
                        <a:lnTo>
                          <a:pt x="479" y="342"/>
                        </a:lnTo>
                        <a:lnTo>
                          <a:pt x="526" y="353"/>
                        </a:lnTo>
                        <a:lnTo>
                          <a:pt x="576" y="362"/>
                        </a:lnTo>
                        <a:lnTo>
                          <a:pt x="627" y="369"/>
                        </a:lnTo>
                        <a:lnTo>
                          <a:pt x="679" y="375"/>
                        </a:lnTo>
                        <a:lnTo>
                          <a:pt x="734" y="379"/>
                        </a:lnTo>
                        <a:lnTo>
                          <a:pt x="787" y="381"/>
                        </a:lnTo>
                        <a:lnTo>
                          <a:pt x="842" y="382"/>
                        </a:lnTo>
                        <a:lnTo>
                          <a:pt x="896" y="382"/>
                        </a:lnTo>
                        <a:lnTo>
                          <a:pt x="949" y="381"/>
                        </a:lnTo>
                        <a:lnTo>
                          <a:pt x="1001" y="379"/>
                        </a:lnTo>
                        <a:lnTo>
                          <a:pt x="1051" y="376"/>
                        </a:lnTo>
                        <a:lnTo>
                          <a:pt x="1098" y="370"/>
                        </a:lnTo>
                        <a:lnTo>
                          <a:pt x="1142" y="366"/>
                        </a:lnTo>
                        <a:lnTo>
                          <a:pt x="1185" y="359"/>
                        </a:lnTo>
                        <a:lnTo>
                          <a:pt x="1181" y="372"/>
                        </a:lnTo>
                        <a:lnTo>
                          <a:pt x="1178" y="386"/>
                        </a:lnTo>
                        <a:lnTo>
                          <a:pt x="1175" y="398"/>
                        </a:lnTo>
                        <a:lnTo>
                          <a:pt x="1169" y="410"/>
                        </a:lnTo>
                        <a:lnTo>
                          <a:pt x="1165" y="422"/>
                        </a:lnTo>
                        <a:lnTo>
                          <a:pt x="1158" y="435"/>
                        </a:lnTo>
                        <a:lnTo>
                          <a:pt x="1151" y="447"/>
                        </a:lnTo>
                        <a:lnTo>
                          <a:pt x="1145" y="458"/>
                        </a:lnTo>
                        <a:lnTo>
                          <a:pt x="1136" y="469"/>
                        </a:lnTo>
                        <a:lnTo>
                          <a:pt x="1127" y="479"/>
                        </a:lnTo>
                        <a:lnTo>
                          <a:pt x="1116" y="490"/>
                        </a:lnTo>
                        <a:lnTo>
                          <a:pt x="1105" y="500"/>
                        </a:lnTo>
                        <a:lnTo>
                          <a:pt x="1092" y="509"/>
                        </a:lnTo>
                        <a:lnTo>
                          <a:pt x="1079" y="518"/>
                        </a:lnTo>
                        <a:lnTo>
                          <a:pt x="1064" y="527"/>
                        </a:lnTo>
                        <a:lnTo>
                          <a:pt x="1049" y="536"/>
                        </a:lnTo>
                        <a:lnTo>
                          <a:pt x="1031" y="544"/>
                        </a:lnTo>
                        <a:lnTo>
                          <a:pt x="1013" y="552"/>
                        </a:lnTo>
                        <a:lnTo>
                          <a:pt x="993" y="558"/>
                        </a:lnTo>
                        <a:lnTo>
                          <a:pt x="972" y="565"/>
                        </a:lnTo>
                        <a:lnTo>
                          <a:pt x="950" y="572"/>
                        </a:lnTo>
                        <a:lnTo>
                          <a:pt x="926" y="577"/>
                        </a:lnTo>
                        <a:lnTo>
                          <a:pt x="901" y="583"/>
                        </a:lnTo>
                        <a:lnTo>
                          <a:pt x="874" y="587"/>
                        </a:lnTo>
                        <a:lnTo>
                          <a:pt x="845" y="592"/>
                        </a:lnTo>
                        <a:lnTo>
                          <a:pt x="815" y="595"/>
                        </a:lnTo>
                        <a:lnTo>
                          <a:pt x="783" y="598"/>
                        </a:lnTo>
                        <a:lnTo>
                          <a:pt x="750" y="601"/>
                        </a:lnTo>
                        <a:lnTo>
                          <a:pt x="714" y="603"/>
                        </a:lnTo>
                        <a:lnTo>
                          <a:pt x="677" y="604"/>
                        </a:lnTo>
                        <a:lnTo>
                          <a:pt x="638" y="605"/>
                        </a:lnTo>
                        <a:lnTo>
                          <a:pt x="597" y="605"/>
                        </a:lnTo>
                        <a:lnTo>
                          <a:pt x="550" y="605"/>
                        </a:lnTo>
                        <a:lnTo>
                          <a:pt x="506" y="603"/>
                        </a:lnTo>
                        <a:lnTo>
                          <a:pt x="463" y="601"/>
                        </a:lnTo>
                        <a:lnTo>
                          <a:pt x="425" y="597"/>
                        </a:lnTo>
                        <a:lnTo>
                          <a:pt x="387" y="594"/>
                        </a:lnTo>
                        <a:lnTo>
                          <a:pt x="352" y="588"/>
                        </a:lnTo>
                        <a:lnTo>
                          <a:pt x="319" y="583"/>
                        </a:lnTo>
                        <a:lnTo>
                          <a:pt x="288" y="576"/>
                        </a:lnTo>
                        <a:lnTo>
                          <a:pt x="259" y="569"/>
                        </a:lnTo>
                        <a:lnTo>
                          <a:pt x="232" y="560"/>
                        </a:lnTo>
                        <a:lnTo>
                          <a:pt x="206" y="552"/>
                        </a:lnTo>
                        <a:lnTo>
                          <a:pt x="184" y="543"/>
                        </a:lnTo>
                        <a:lnTo>
                          <a:pt x="162" y="533"/>
                        </a:lnTo>
                        <a:lnTo>
                          <a:pt x="142" y="522"/>
                        </a:lnTo>
                        <a:lnTo>
                          <a:pt x="124" y="509"/>
                        </a:lnTo>
                        <a:lnTo>
                          <a:pt x="107" y="497"/>
                        </a:lnTo>
                        <a:lnTo>
                          <a:pt x="92" y="485"/>
                        </a:lnTo>
                        <a:lnTo>
                          <a:pt x="78" y="471"/>
                        </a:lnTo>
                        <a:lnTo>
                          <a:pt x="66" y="457"/>
                        </a:lnTo>
                        <a:lnTo>
                          <a:pt x="55" y="443"/>
                        </a:lnTo>
                        <a:lnTo>
                          <a:pt x="45" y="428"/>
                        </a:lnTo>
                        <a:lnTo>
                          <a:pt x="36" y="412"/>
                        </a:lnTo>
                        <a:lnTo>
                          <a:pt x="28" y="397"/>
                        </a:lnTo>
                        <a:lnTo>
                          <a:pt x="22" y="380"/>
                        </a:lnTo>
                        <a:lnTo>
                          <a:pt x="16" y="364"/>
                        </a:lnTo>
                        <a:lnTo>
                          <a:pt x="12" y="347"/>
                        </a:lnTo>
                        <a:lnTo>
                          <a:pt x="8" y="329"/>
                        </a:lnTo>
                        <a:lnTo>
                          <a:pt x="5" y="311"/>
                        </a:lnTo>
                        <a:lnTo>
                          <a:pt x="3" y="293"/>
                        </a:lnTo>
                        <a:lnTo>
                          <a:pt x="2" y="274"/>
                        </a:lnTo>
                        <a:lnTo>
                          <a:pt x="0" y="256"/>
                        </a:lnTo>
                        <a:lnTo>
                          <a:pt x="0" y="237"/>
                        </a:lnTo>
                        <a:lnTo>
                          <a:pt x="2" y="226"/>
                        </a:lnTo>
                        <a:lnTo>
                          <a:pt x="4" y="212"/>
                        </a:lnTo>
                        <a:lnTo>
                          <a:pt x="7" y="198"/>
                        </a:lnTo>
                        <a:lnTo>
                          <a:pt x="12" y="182"/>
                        </a:lnTo>
                        <a:lnTo>
                          <a:pt x="24" y="150"/>
                        </a:lnTo>
                        <a:lnTo>
                          <a:pt x="38" y="115"/>
                        </a:lnTo>
                        <a:lnTo>
                          <a:pt x="55" y="81"/>
                        </a:lnTo>
                        <a:lnTo>
                          <a:pt x="73" y="49"/>
                        </a:lnTo>
                        <a:lnTo>
                          <a:pt x="89" y="21"/>
                        </a:lnTo>
                        <a:lnTo>
                          <a:pt x="105" y="0"/>
                        </a:lnTo>
                        <a:close/>
                      </a:path>
                    </a:pathLst>
                  </a:custGeom>
                  <a:solidFill>
                    <a:srgbClr val="242B53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335" name="Freeform 180"/>
                  <p:cNvSpPr>
                    <a:spLocks/>
                  </p:cNvSpPr>
                  <p:nvPr/>
                </p:nvSpPr>
                <p:spPr bwMode="auto">
                  <a:xfrm>
                    <a:off x="3443" y="4127"/>
                    <a:ext cx="168" cy="38"/>
                  </a:xfrm>
                  <a:custGeom>
                    <a:avLst/>
                    <a:gdLst>
                      <a:gd name="T0" fmla="*/ 0 w 1174"/>
                      <a:gd name="T1" fmla="*/ 0 h 264"/>
                      <a:gd name="T2" fmla="*/ 0 w 1174"/>
                      <a:gd name="T3" fmla="*/ 0 h 264"/>
                      <a:gd name="T4" fmla="*/ 0 w 1174"/>
                      <a:gd name="T5" fmla="*/ 0 h 264"/>
                      <a:gd name="T6" fmla="*/ 0 w 1174"/>
                      <a:gd name="T7" fmla="*/ 0 h 264"/>
                      <a:gd name="T8" fmla="*/ 0 w 1174"/>
                      <a:gd name="T9" fmla="*/ 0 h 264"/>
                      <a:gd name="T10" fmla="*/ 0 w 1174"/>
                      <a:gd name="T11" fmla="*/ 0 h 264"/>
                      <a:gd name="T12" fmla="*/ 0 w 1174"/>
                      <a:gd name="T13" fmla="*/ 0 h 264"/>
                      <a:gd name="T14" fmla="*/ 0 w 1174"/>
                      <a:gd name="T15" fmla="*/ 0 h 264"/>
                      <a:gd name="T16" fmla="*/ 0 w 1174"/>
                      <a:gd name="T17" fmla="*/ 0 h 264"/>
                      <a:gd name="T18" fmla="*/ 0 w 1174"/>
                      <a:gd name="T19" fmla="*/ 0 h 264"/>
                      <a:gd name="T20" fmla="*/ 0 w 1174"/>
                      <a:gd name="T21" fmla="*/ 0 h 264"/>
                      <a:gd name="T22" fmla="*/ 0 w 1174"/>
                      <a:gd name="T23" fmla="*/ 0 h 264"/>
                      <a:gd name="T24" fmla="*/ 0 w 1174"/>
                      <a:gd name="T25" fmla="*/ 0 h 264"/>
                      <a:gd name="T26" fmla="*/ 0 w 1174"/>
                      <a:gd name="T27" fmla="*/ 0 h 264"/>
                      <a:gd name="T28" fmla="*/ 0 w 1174"/>
                      <a:gd name="T29" fmla="*/ 0 h 264"/>
                      <a:gd name="T30" fmla="*/ 0 w 1174"/>
                      <a:gd name="T31" fmla="*/ 0 h 264"/>
                      <a:gd name="T32" fmla="*/ 0 w 1174"/>
                      <a:gd name="T33" fmla="*/ 0 h 264"/>
                      <a:gd name="T34" fmla="*/ 0 w 1174"/>
                      <a:gd name="T35" fmla="*/ 0 h 264"/>
                      <a:gd name="T36" fmla="*/ 0 w 1174"/>
                      <a:gd name="T37" fmla="*/ 0 h 264"/>
                      <a:gd name="T38" fmla="*/ 0 w 1174"/>
                      <a:gd name="T39" fmla="*/ 0 h 264"/>
                      <a:gd name="T40" fmla="*/ 0 w 1174"/>
                      <a:gd name="T41" fmla="*/ 0 h 264"/>
                      <a:gd name="T42" fmla="*/ 0 w 1174"/>
                      <a:gd name="T43" fmla="*/ 0 h 264"/>
                      <a:gd name="T44" fmla="*/ 0 w 1174"/>
                      <a:gd name="T45" fmla="*/ 0 h 264"/>
                      <a:gd name="T46" fmla="*/ 0 w 1174"/>
                      <a:gd name="T47" fmla="*/ 0 h 264"/>
                      <a:gd name="T48" fmla="*/ 0 w 1174"/>
                      <a:gd name="T49" fmla="*/ 0 h 264"/>
                      <a:gd name="T50" fmla="*/ 0 w 1174"/>
                      <a:gd name="T51" fmla="*/ 0 h 264"/>
                      <a:gd name="T52" fmla="*/ 0 w 1174"/>
                      <a:gd name="T53" fmla="*/ 0 h 264"/>
                      <a:gd name="T54" fmla="*/ 0 w 1174"/>
                      <a:gd name="T55" fmla="*/ 0 h 264"/>
                      <a:gd name="T56" fmla="*/ 0 w 1174"/>
                      <a:gd name="T57" fmla="*/ 0 h 264"/>
                      <a:gd name="T58" fmla="*/ 0 w 1174"/>
                      <a:gd name="T59" fmla="*/ 0 h 264"/>
                      <a:gd name="T60" fmla="*/ 0 w 1174"/>
                      <a:gd name="T61" fmla="*/ 0 h 264"/>
                      <a:gd name="T62" fmla="*/ 0 w 1174"/>
                      <a:gd name="T63" fmla="*/ 0 h 264"/>
                      <a:gd name="T64" fmla="*/ 0 w 1174"/>
                      <a:gd name="T65" fmla="*/ 0 h 264"/>
                      <a:gd name="T66" fmla="*/ 0 w 1174"/>
                      <a:gd name="T67" fmla="*/ 0 h 264"/>
                      <a:gd name="T68" fmla="*/ 0 w 1174"/>
                      <a:gd name="T69" fmla="*/ 0 h 264"/>
                      <a:gd name="T70" fmla="*/ 0 w 1174"/>
                      <a:gd name="T71" fmla="*/ 0 h 264"/>
                      <a:gd name="T72" fmla="*/ 0 w 1174"/>
                      <a:gd name="T73" fmla="*/ 0 h 264"/>
                      <a:gd name="T74" fmla="*/ 0 w 1174"/>
                      <a:gd name="T75" fmla="*/ 0 h 264"/>
                      <a:gd name="T76" fmla="*/ 0 w 1174"/>
                      <a:gd name="T77" fmla="*/ 0 h 264"/>
                      <a:gd name="T78" fmla="*/ 0 w 1174"/>
                      <a:gd name="T79" fmla="*/ 0 h 264"/>
                      <a:gd name="T80" fmla="*/ 0 w 1174"/>
                      <a:gd name="T81" fmla="*/ 0 h 264"/>
                      <a:gd name="T82" fmla="*/ 0 w 1174"/>
                      <a:gd name="T83" fmla="*/ 0 h 264"/>
                      <a:gd name="T84" fmla="*/ 0 w 1174"/>
                      <a:gd name="T85" fmla="*/ 0 h 264"/>
                      <a:gd name="T86" fmla="*/ 0 w 1174"/>
                      <a:gd name="T87" fmla="*/ 0 h 264"/>
                      <a:gd name="T88" fmla="*/ 0 w 1174"/>
                      <a:gd name="T89" fmla="*/ 0 h 264"/>
                      <a:gd name="T90" fmla="*/ 0 w 1174"/>
                      <a:gd name="T91" fmla="*/ 0 h 264"/>
                      <a:gd name="T92" fmla="*/ 0 w 1174"/>
                      <a:gd name="T93" fmla="*/ 0 h 264"/>
                      <a:gd name="T94" fmla="*/ 0 w 1174"/>
                      <a:gd name="T95" fmla="*/ 0 h 264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w 1174"/>
                      <a:gd name="T145" fmla="*/ 0 h 264"/>
                      <a:gd name="T146" fmla="*/ 1174 w 1174"/>
                      <a:gd name="T147" fmla="*/ 264 h 264"/>
                    </a:gdLst>
                    <a:ahLst/>
                    <a:cxnLst>
                      <a:cxn ang="T96">
                        <a:pos x="T0" y="T1"/>
                      </a:cxn>
                      <a:cxn ang="T97">
                        <a:pos x="T2" y="T3"/>
                      </a:cxn>
                      <a:cxn ang="T98">
                        <a:pos x="T4" y="T5"/>
                      </a:cxn>
                      <a:cxn ang="T99">
                        <a:pos x="T6" y="T7"/>
                      </a:cxn>
                      <a:cxn ang="T100">
                        <a:pos x="T8" y="T9"/>
                      </a:cxn>
                      <a:cxn ang="T101">
                        <a:pos x="T10" y="T11"/>
                      </a:cxn>
                      <a:cxn ang="T102">
                        <a:pos x="T12" y="T13"/>
                      </a:cxn>
                      <a:cxn ang="T103">
                        <a:pos x="T14" y="T15"/>
                      </a:cxn>
                      <a:cxn ang="T104">
                        <a:pos x="T16" y="T17"/>
                      </a:cxn>
                      <a:cxn ang="T105">
                        <a:pos x="T18" y="T19"/>
                      </a:cxn>
                      <a:cxn ang="T106">
                        <a:pos x="T20" y="T21"/>
                      </a:cxn>
                      <a:cxn ang="T107">
                        <a:pos x="T22" y="T23"/>
                      </a:cxn>
                      <a:cxn ang="T108">
                        <a:pos x="T24" y="T25"/>
                      </a:cxn>
                      <a:cxn ang="T109">
                        <a:pos x="T26" y="T27"/>
                      </a:cxn>
                      <a:cxn ang="T110">
                        <a:pos x="T28" y="T29"/>
                      </a:cxn>
                      <a:cxn ang="T111">
                        <a:pos x="T30" y="T31"/>
                      </a:cxn>
                      <a:cxn ang="T112">
                        <a:pos x="T32" y="T33"/>
                      </a:cxn>
                      <a:cxn ang="T113">
                        <a:pos x="T34" y="T35"/>
                      </a:cxn>
                      <a:cxn ang="T114">
                        <a:pos x="T36" y="T37"/>
                      </a:cxn>
                      <a:cxn ang="T115">
                        <a:pos x="T38" y="T39"/>
                      </a:cxn>
                      <a:cxn ang="T116">
                        <a:pos x="T40" y="T41"/>
                      </a:cxn>
                      <a:cxn ang="T117">
                        <a:pos x="T42" y="T43"/>
                      </a:cxn>
                      <a:cxn ang="T118">
                        <a:pos x="T44" y="T45"/>
                      </a:cxn>
                      <a:cxn ang="T119">
                        <a:pos x="T46" y="T47"/>
                      </a:cxn>
                      <a:cxn ang="T120">
                        <a:pos x="T48" y="T49"/>
                      </a:cxn>
                      <a:cxn ang="T121">
                        <a:pos x="T50" y="T51"/>
                      </a:cxn>
                      <a:cxn ang="T122">
                        <a:pos x="T52" y="T53"/>
                      </a:cxn>
                      <a:cxn ang="T123">
                        <a:pos x="T54" y="T55"/>
                      </a:cxn>
                      <a:cxn ang="T124">
                        <a:pos x="T56" y="T57"/>
                      </a:cxn>
                      <a:cxn ang="T125">
                        <a:pos x="T58" y="T59"/>
                      </a:cxn>
                      <a:cxn ang="T126">
                        <a:pos x="T60" y="T61"/>
                      </a:cxn>
                      <a:cxn ang="T127">
                        <a:pos x="T62" y="T63"/>
                      </a:cxn>
                      <a:cxn ang="T128">
                        <a:pos x="T64" y="T65"/>
                      </a:cxn>
                      <a:cxn ang="T129">
                        <a:pos x="T66" y="T67"/>
                      </a:cxn>
                      <a:cxn ang="T130">
                        <a:pos x="T68" y="T69"/>
                      </a:cxn>
                      <a:cxn ang="T131">
                        <a:pos x="T70" y="T71"/>
                      </a:cxn>
                      <a:cxn ang="T132">
                        <a:pos x="T72" y="T73"/>
                      </a:cxn>
                      <a:cxn ang="T133">
                        <a:pos x="T74" y="T75"/>
                      </a:cxn>
                      <a:cxn ang="T134">
                        <a:pos x="T76" y="T77"/>
                      </a:cxn>
                      <a:cxn ang="T135">
                        <a:pos x="T78" y="T79"/>
                      </a:cxn>
                      <a:cxn ang="T136">
                        <a:pos x="T80" y="T81"/>
                      </a:cxn>
                      <a:cxn ang="T137">
                        <a:pos x="T82" y="T83"/>
                      </a:cxn>
                      <a:cxn ang="T138">
                        <a:pos x="T84" y="T85"/>
                      </a:cxn>
                      <a:cxn ang="T139">
                        <a:pos x="T86" y="T87"/>
                      </a:cxn>
                      <a:cxn ang="T140">
                        <a:pos x="T88" y="T89"/>
                      </a:cxn>
                      <a:cxn ang="T141">
                        <a:pos x="T90" y="T91"/>
                      </a:cxn>
                      <a:cxn ang="T142">
                        <a:pos x="T92" y="T93"/>
                      </a:cxn>
                      <a:cxn ang="T143">
                        <a:pos x="T94" y="T95"/>
                      </a:cxn>
                    </a:cxnLst>
                    <a:rect l="T144" t="T145" r="T146" b="T147"/>
                    <a:pathLst>
                      <a:path w="1174" h="264">
                        <a:moveTo>
                          <a:pt x="587" y="142"/>
                        </a:moveTo>
                        <a:lnTo>
                          <a:pt x="648" y="142"/>
                        </a:lnTo>
                        <a:lnTo>
                          <a:pt x="706" y="139"/>
                        </a:lnTo>
                        <a:lnTo>
                          <a:pt x="760" y="137"/>
                        </a:lnTo>
                        <a:lnTo>
                          <a:pt x="811" y="133"/>
                        </a:lnTo>
                        <a:lnTo>
                          <a:pt x="857" y="128"/>
                        </a:lnTo>
                        <a:lnTo>
                          <a:pt x="900" y="123"/>
                        </a:lnTo>
                        <a:lnTo>
                          <a:pt x="940" y="116"/>
                        </a:lnTo>
                        <a:lnTo>
                          <a:pt x="978" y="108"/>
                        </a:lnTo>
                        <a:lnTo>
                          <a:pt x="1011" y="100"/>
                        </a:lnTo>
                        <a:lnTo>
                          <a:pt x="1042" y="90"/>
                        </a:lnTo>
                        <a:lnTo>
                          <a:pt x="1070" y="80"/>
                        </a:lnTo>
                        <a:lnTo>
                          <a:pt x="1096" y="70"/>
                        </a:lnTo>
                        <a:lnTo>
                          <a:pt x="1119" y="58"/>
                        </a:lnTo>
                        <a:lnTo>
                          <a:pt x="1139" y="46"/>
                        </a:lnTo>
                        <a:lnTo>
                          <a:pt x="1158" y="33"/>
                        </a:lnTo>
                        <a:lnTo>
                          <a:pt x="1174" y="19"/>
                        </a:lnTo>
                        <a:lnTo>
                          <a:pt x="1171" y="33"/>
                        </a:lnTo>
                        <a:lnTo>
                          <a:pt x="1168" y="46"/>
                        </a:lnTo>
                        <a:lnTo>
                          <a:pt x="1164" y="58"/>
                        </a:lnTo>
                        <a:lnTo>
                          <a:pt x="1159" y="70"/>
                        </a:lnTo>
                        <a:lnTo>
                          <a:pt x="1154" y="83"/>
                        </a:lnTo>
                        <a:lnTo>
                          <a:pt x="1148" y="95"/>
                        </a:lnTo>
                        <a:lnTo>
                          <a:pt x="1141" y="106"/>
                        </a:lnTo>
                        <a:lnTo>
                          <a:pt x="1134" y="117"/>
                        </a:lnTo>
                        <a:lnTo>
                          <a:pt x="1125" y="128"/>
                        </a:lnTo>
                        <a:lnTo>
                          <a:pt x="1116" y="139"/>
                        </a:lnTo>
                        <a:lnTo>
                          <a:pt x="1106" y="149"/>
                        </a:lnTo>
                        <a:lnTo>
                          <a:pt x="1095" y="159"/>
                        </a:lnTo>
                        <a:lnTo>
                          <a:pt x="1081" y="169"/>
                        </a:lnTo>
                        <a:lnTo>
                          <a:pt x="1068" y="178"/>
                        </a:lnTo>
                        <a:lnTo>
                          <a:pt x="1053" y="187"/>
                        </a:lnTo>
                        <a:lnTo>
                          <a:pt x="1038" y="195"/>
                        </a:lnTo>
                        <a:lnTo>
                          <a:pt x="1021" y="203"/>
                        </a:lnTo>
                        <a:lnTo>
                          <a:pt x="1002" y="211"/>
                        </a:lnTo>
                        <a:lnTo>
                          <a:pt x="983" y="218"/>
                        </a:lnTo>
                        <a:lnTo>
                          <a:pt x="962" y="224"/>
                        </a:lnTo>
                        <a:lnTo>
                          <a:pt x="940" y="231"/>
                        </a:lnTo>
                        <a:lnTo>
                          <a:pt x="915" y="236"/>
                        </a:lnTo>
                        <a:lnTo>
                          <a:pt x="890" y="242"/>
                        </a:lnTo>
                        <a:lnTo>
                          <a:pt x="863" y="246"/>
                        </a:lnTo>
                        <a:lnTo>
                          <a:pt x="835" y="251"/>
                        </a:lnTo>
                        <a:lnTo>
                          <a:pt x="805" y="254"/>
                        </a:lnTo>
                        <a:lnTo>
                          <a:pt x="773" y="257"/>
                        </a:lnTo>
                        <a:lnTo>
                          <a:pt x="740" y="260"/>
                        </a:lnTo>
                        <a:lnTo>
                          <a:pt x="704" y="262"/>
                        </a:lnTo>
                        <a:lnTo>
                          <a:pt x="667" y="263"/>
                        </a:lnTo>
                        <a:lnTo>
                          <a:pt x="628" y="264"/>
                        </a:lnTo>
                        <a:lnTo>
                          <a:pt x="587" y="264"/>
                        </a:lnTo>
                        <a:lnTo>
                          <a:pt x="548" y="264"/>
                        </a:lnTo>
                        <a:lnTo>
                          <a:pt x="511" y="263"/>
                        </a:lnTo>
                        <a:lnTo>
                          <a:pt x="476" y="262"/>
                        </a:lnTo>
                        <a:lnTo>
                          <a:pt x="442" y="260"/>
                        </a:lnTo>
                        <a:lnTo>
                          <a:pt x="410" y="256"/>
                        </a:lnTo>
                        <a:lnTo>
                          <a:pt x="380" y="253"/>
                        </a:lnTo>
                        <a:lnTo>
                          <a:pt x="350" y="250"/>
                        </a:lnTo>
                        <a:lnTo>
                          <a:pt x="323" y="245"/>
                        </a:lnTo>
                        <a:lnTo>
                          <a:pt x="297" y="240"/>
                        </a:lnTo>
                        <a:lnTo>
                          <a:pt x="271" y="234"/>
                        </a:lnTo>
                        <a:lnTo>
                          <a:pt x="248" y="227"/>
                        </a:lnTo>
                        <a:lnTo>
                          <a:pt x="225" y="221"/>
                        </a:lnTo>
                        <a:lnTo>
                          <a:pt x="204" y="214"/>
                        </a:lnTo>
                        <a:lnTo>
                          <a:pt x="185" y="206"/>
                        </a:lnTo>
                        <a:lnTo>
                          <a:pt x="166" y="198"/>
                        </a:lnTo>
                        <a:lnTo>
                          <a:pt x="149" y="189"/>
                        </a:lnTo>
                        <a:lnTo>
                          <a:pt x="133" y="181"/>
                        </a:lnTo>
                        <a:lnTo>
                          <a:pt x="117" y="172"/>
                        </a:lnTo>
                        <a:lnTo>
                          <a:pt x="103" y="162"/>
                        </a:lnTo>
                        <a:lnTo>
                          <a:pt x="91" y="150"/>
                        </a:lnTo>
                        <a:lnTo>
                          <a:pt x="78" y="140"/>
                        </a:lnTo>
                        <a:lnTo>
                          <a:pt x="67" y="129"/>
                        </a:lnTo>
                        <a:lnTo>
                          <a:pt x="57" y="118"/>
                        </a:lnTo>
                        <a:lnTo>
                          <a:pt x="47" y="106"/>
                        </a:lnTo>
                        <a:lnTo>
                          <a:pt x="39" y="94"/>
                        </a:lnTo>
                        <a:lnTo>
                          <a:pt x="32" y="81"/>
                        </a:lnTo>
                        <a:lnTo>
                          <a:pt x="25" y="68"/>
                        </a:lnTo>
                        <a:lnTo>
                          <a:pt x="18" y="56"/>
                        </a:lnTo>
                        <a:lnTo>
                          <a:pt x="13" y="43"/>
                        </a:lnTo>
                        <a:lnTo>
                          <a:pt x="8" y="28"/>
                        </a:lnTo>
                        <a:lnTo>
                          <a:pt x="4" y="15"/>
                        </a:lnTo>
                        <a:lnTo>
                          <a:pt x="0" y="0"/>
                        </a:lnTo>
                        <a:lnTo>
                          <a:pt x="18" y="16"/>
                        </a:lnTo>
                        <a:lnTo>
                          <a:pt x="37" y="31"/>
                        </a:lnTo>
                        <a:lnTo>
                          <a:pt x="58" y="45"/>
                        </a:lnTo>
                        <a:lnTo>
                          <a:pt x="82" y="58"/>
                        </a:lnTo>
                        <a:lnTo>
                          <a:pt x="107" y="71"/>
                        </a:lnTo>
                        <a:lnTo>
                          <a:pt x="136" y="83"/>
                        </a:lnTo>
                        <a:lnTo>
                          <a:pt x="167" y="94"/>
                        </a:lnTo>
                        <a:lnTo>
                          <a:pt x="202" y="103"/>
                        </a:lnTo>
                        <a:lnTo>
                          <a:pt x="239" y="112"/>
                        </a:lnTo>
                        <a:lnTo>
                          <a:pt x="279" y="119"/>
                        </a:lnTo>
                        <a:lnTo>
                          <a:pt x="322" y="126"/>
                        </a:lnTo>
                        <a:lnTo>
                          <a:pt x="368" y="132"/>
                        </a:lnTo>
                        <a:lnTo>
                          <a:pt x="418" y="136"/>
                        </a:lnTo>
                        <a:lnTo>
                          <a:pt x="470" y="139"/>
                        </a:lnTo>
                        <a:lnTo>
                          <a:pt x="527" y="140"/>
                        </a:lnTo>
                        <a:lnTo>
                          <a:pt x="587" y="142"/>
                        </a:lnTo>
                        <a:close/>
                      </a:path>
                    </a:pathLst>
                  </a:custGeom>
                  <a:solidFill>
                    <a:srgbClr val="1F1A17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336" name="Freeform 181"/>
                  <p:cNvSpPr>
                    <a:spLocks/>
                  </p:cNvSpPr>
                  <p:nvPr/>
                </p:nvSpPr>
                <p:spPr bwMode="auto">
                  <a:xfrm>
                    <a:off x="3160" y="3573"/>
                    <a:ext cx="570" cy="481"/>
                  </a:xfrm>
                  <a:custGeom>
                    <a:avLst/>
                    <a:gdLst>
                      <a:gd name="T0" fmla="*/ 0 w 3992"/>
                      <a:gd name="T1" fmla="*/ 0 h 3371"/>
                      <a:gd name="T2" fmla="*/ 0 w 3992"/>
                      <a:gd name="T3" fmla="*/ 0 h 3371"/>
                      <a:gd name="T4" fmla="*/ 0 w 3992"/>
                      <a:gd name="T5" fmla="*/ 0 h 3371"/>
                      <a:gd name="T6" fmla="*/ 0 w 3992"/>
                      <a:gd name="T7" fmla="*/ 0 h 3371"/>
                      <a:gd name="T8" fmla="*/ 0 w 3992"/>
                      <a:gd name="T9" fmla="*/ 0 h 3371"/>
                      <a:gd name="T10" fmla="*/ 0 w 3992"/>
                      <a:gd name="T11" fmla="*/ 0 h 3371"/>
                      <a:gd name="T12" fmla="*/ 0 w 3992"/>
                      <a:gd name="T13" fmla="*/ 0 h 3371"/>
                      <a:gd name="T14" fmla="*/ 0 w 3992"/>
                      <a:gd name="T15" fmla="*/ 0 h 3371"/>
                      <a:gd name="T16" fmla="*/ 0 w 3992"/>
                      <a:gd name="T17" fmla="*/ 0 h 3371"/>
                      <a:gd name="T18" fmla="*/ 0 w 3992"/>
                      <a:gd name="T19" fmla="*/ 0 h 3371"/>
                      <a:gd name="T20" fmla="*/ 0 w 3992"/>
                      <a:gd name="T21" fmla="*/ 0 h 3371"/>
                      <a:gd name="T22" fmla="*/ 0 w 3992"/>
                      <a:gd name="T23" fmla="*/ 0 h 3371"/>
                      <a:gd name="T24" fmla="*/ 0 w 3992"/>
                      <a:gd name="T25" fmla="*/ 0 h 3371"/>
                      <a:gd name="T26" fmla="*/ 0 w 3992"/>
                      <a:gd name="T27" fmla="*/ 0 h 3371"/>
                      <a:gd name="T28" fmla="*/ 0 w 3992"/>
                      <a:gd name="T29" fmla="*/ 0 h 3371"/>
                      <a:gd name="T30" fmla="*/ 0 w 3992"/>
                      <a:gd name="T31" fmla="*/ 0 h 3371"/>
                      <a:gd name="T32" fmla="*/ 0 w 3992"/>
                      <a:gd name="T33" fmla="*/ 0 h 3371"/>
                      <a:gd name="T34" fmla="*/ 0 w 3992"/>
                      <a:gd name="T35" fmla="*/ 0 h 3371"/>
                      <a:gd name="T36" fmla="*/ 0 w 3992"/>
                      <a:gd name="T37" fmla="*/ 0 h 3371"/>
                      <a:gd name="T38" fmla="*/ 0 w 3992"/>
                      <a:gd name="T39" fmla="*/ 0 h 3371"/>
                      <a:gd name="T40" fmla="*/ 0 w 3992"/>
                      <a:gd name="T41" fmla="*/ 0 h 3371"/>
                      <a:gd name="T42" fmla="*/ 0 w 3992"/>
                      <a:gd name="T43" fmla="*/ 0 h 3371"/>
                      <a:gd name="T44" fmla="*/ 0 w 3992"/>
                      <a:gd name="T45" fmla="*/ 0 h 3371"/>
                      <a:gd name="T46" fmla="*/ 0 w 3992"/>
                      <a:gd name="T47" fmla="*/ 0 h 3371"/>
                      <a:gd name="T48" fmla="*/ 0 w 3992"/>
                      <a:gd name="T49" fmla="*/ 0 h 3371"/>
                      <a:gd name="T50" fmla="*/ 0 w 3992"/>
                      <a:gd name="T51" fmla="*/ 0 h 3371"/>
                      <a:gd name="T52" fmla="*/ 0 w 3992"/>
                      <a:gd name="T53" fmla="*/ 0 h 3371"/>
                      <a:gd name="T54" fmla="*/ 0 w 3992"/>
                      <a:gd name="T55" fmla="*/ 0 h 3371"/>
                      <a:gd name="T56" fmla="*/ 0 w 3992"/>
                      <a:gd name="T57" fmla="*/ 0 h 3371"/>
                      <a:gd name="T58" fmla="*/ 0 w 3992"/>
                      <a:gd name="T59" fmla="*/ 0 h 3371"/>
                      <a:gd name="T60" fmla="*/ 0 w 3992"/>
                      <a:gd name="T61" fmla="*/ 0 h 3371"/>
                      <a:gd name="T62" fmla="*/ 0 w 3992"/>
                      <a:gd name="T63" fmla="*/ 0 h 3371"/>
                      <a:gd name="T64" fmla="*/ 0 w 3992"/>
                      <a:gd name="T65" fmla="*/ 0 h 3371"/>
                      <a:gd name="T66" fmla="*/ 0 w 3992"/>
                      <a:gd name="T67" fmla="*/ 0 h 3371"/>
                      <a:gd name="T68" fmla="*/ 0 w 3992"/>
                      <a:gd name="T69" fmla="*/ 0 h 3371"/>
                      <a:gd name="T70" fmla="*/ 0 w 3992"/>
                      <a:gd name="T71" fmla="*/ 0 h 3371"/>
                      <a:gd name="T72" fmla="*/ 0 w 3992"/>
                      <a:gd name="T73" fmla="*/ 0 h 3371"/>
                      <a:gd name="T74" fmla="*/ 0 w 3992"/>
                      <a:gd name="T75" fmla="*/ 0 h 3371"/>
                      <a:gd name="T76" fmla="*/ 0 w 3992"/>
                      <a:gd name="T77" fmla="*/ 0 h 3371"/>
                      <a:gd name="T78" fmla="*/ 0 w 3992"/>
                      <a:gd name="T79" fmla="*/ 0 h 3371"/>
                      <a:gd name="T80" fmla="*/ 0 w 3992"/>
                      <a:gd name="T81" fmla="*/ 0 h 3371"/>
                      <a:gd name="T82" fmla="*/ 0 w 3992"/>
                      <a:gd name="T83" fmla="*/ 0 h 3371"/>
                      <a:gd name="T84" fmla="*/ 0 w 3992"/>
                      <a:gd name="T85" fmla="*/ 0 h 3371"/>
                      <a:gd name="T86" fmla="*/ 0 w 3992"/>
                      <a:gd name="T87" fmla="*/ 0 h 3371"/>
                      <a:gd name="T88" fmla="*/ 0 w 3992"/>
                      <a:gd name="T89" fmla="*/ 0 h 3371"/>
                      <a:gd name="T90" fmla="*/ 0 w 3992"/>
                      <a:gd name="T91" fmla="*/ 0 h 3371"/>
                      <a:gd name="T92" fmla="*/ 0 w 3992"/>
                      <a:gd name="T93" fmla="*/ 0 h 3371"/>
                      <a:gd name="T94" fmla="*/ 0 w 3992"/>
                      <a:gd name="T95" fmla="*/ 0 h 3371"/>
                      <a:gd name="T96" fmla="*/ 0 w 3992"/>
                      <a:gd name="T97" fmla="*/ 0 h 3371"/>
                      <a:gd name="T98" fmla="*/ 0 w 3992"/>
                      <a:gd name="T99" fmla="*/ 0 h 3371"/>
                      <a:gd name="T100" fmla="*/ 0 w 3992"/>
                      <a:gd name="T101" fmla="*/ 0 h 3371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w 3992"/>
                      <a:gd name="T154" fmla="*/ 0 h 3371"/>
                      <a:gd name="T155" fmla="*/ 3992 w 3992"/>
                      <a:gd name="T156" fmla="*/ 3371 h 3371"/>
                    </a:gdLst>
                    <a:ahLst/>
                    <a:cxnLst>
                      <a:cxn ang="T102">
                        <a:pos x="T0" y="T1"/>
                      </a:cxn>
                      <a:cxn ang="T103">
                        <a:pos x="T2" y="T3"/>
                      </a:cxn>
                      <a:cxn ang="T104">
                        <a:pos x="T4" y="T5"/>
                      </a:cxn>
                      <a:cxn ang="T105">
                        <a:pos x="T6" y="T7"/>
                      </a:cxn>
                      <a:cxn ang="T106">
                        <a:pos x="T8" y="T9"/>
                      </a:cxn>
                      <a:cxn ang="T107">
                        <a:pos x="T10" y="T11"/>
                      </a:cxn>
                      <a:cxn ang="T108">
                        <a:pos x="T12" y="T13"/>
                      </a:cxn>
                      <a:cxn ang="T109">
                        <a:pos x="T14" y="T15"/>
                      </a:cxn>
                      <a:cxn ang="T110">
                        <a:pos x="T16" y="T17"/>
                      </a:cxn>
                      <a:cxn ang="T111">
                        <a:pos x="T18" y="T19"/>
                      </a:cxn>
                      <a:cxn ang="T112">
                        <a:pos x="T20" y="T21"/>
                      </a:cxn>
                      <a:cxn ang="T113">
                        <a:pos x="T22" y="T23"/>
                      </a:cxn>
                      <a:cxn ang="T114">
                        <a:pos x="T24" y="T25"/>
                      </a:cxn>
                      <a:cxn ang="T115">
                        <a:pos x="T26" y="T27"/>
                      </a:cxn>
                      <a:cxn ang="T116">
                        <a:pos x="T28" y="T29"/>
                      </a:cxn>
                      <a:cxn ang="T117">
                        <a:pos x="T30" y="T31"/>
                      </a:cxn>
                      <a:cxn ang="T118">
                        <a:pos x="T32" y="T33"/>
                      </a:cxn>
                      <a:cxn ang="T119">
                        <a:pos x="T34" y="T35"/>
                      </a:cxn>
                      <a:cxn ang="T120">
                        <a:pos x="T36" y="T37"/>
                      </a:cxn>
                      <a:cxn ang="T121">
                        <a:pos x="T38" y="T39"/>
                      </a:cxn>
                      <a:cxn ang="T122">
                        <a:pos x="T40" y="T41"/>
                      </a:cxn>
                      <a:cxn ang="T123">
                        <a:pos x="T42" y="T43"/>
                      </a:cxn>
                      <a:cxn ang="T124">
                        <a:pos x="T44" y="T45"/>
                      </a:cxn>
                      <a:cxn ang="T125">
                        <a:pos x="T46" y="T47"/>
                      </a:cxn>
                      <a:cxn ang="T126">
                        <a:pos x="T48" y="T49"/>
                      </a:cxn>
                      <a:cxn ang="T127">
                        <a:pos x="T50" y="T51"/>
                      </a:cxn>
                      <a:cxn ang="T128">
                        <a:pos x="T52" y="T53"/>
                      </a:cxn>
                      <a:cxn ang="T129">
                        <a:pos x="T54" y="T55"/>
                      </a:cxn>
                      <a:cxn ang="T130">
                        <a:pos x="T56" y="T57"/>
                      </a:cxn>
                      <a:cxn ang="T131">
                        <a:pos x="T58" y="T59"/>
                      </a:cxn>
                      <a:cxn ang="T132">
                        <a:pos x="T60" y="T61"/>
                      </a:cxn>
                      <a:cxn ang="T133">
                        <a:pos x="T62" y="T63"/>
                      </a:cxn>
                      <a:cxn ang="T134">
                        <a:pos x="T64" y="T65"/>
                      </a:cxn>
                      <a:cxn ang="T135">
                        <a:pos x="T66" y="T67"/>
                      </a:cxn>
                      <a:cxn ang="T136">
                        <a:pos x="T68" y="T69"/>
                      </a:cxn>
                      <a:cxn ang="T137">
                        <a:pos x="T70" y="T71"/>
                      </a:cxn>
                      <a:cxn ang="T138">
                        <a:pos x="T72" y="T73"/>
                      </a:cxn>
                      <a:cxn ang="T139">
                        <a:pos x="T74" y="T75"/>
                      </a:cxn>
                      <a:cxn ang="T140">
                        <a:pos x="T76" y="T77"/>
                      </a:cxn>
                      <a:cxn ang="T141">
                        <a:pos x="T78" y="T79"/>
                      </a:cxn>
                      <a:cxn ang="T142">
                        <a:pos x="T80" y="T81"/>
                      </a:cxn>
                      <a:cxn ang="T143">
                        <a:pos x="T82" y="T83"/>
                      </a:cxn>
                      <a:cxn ang="T144">
                        <a:pos x="T84" y="T85"/>
                      </a:cxn>
                      <a:cxn ang="T145">
                        <a:pos x="T86" y="T87"/>
                      </a:cxn>
                      <a:cxn ang="T146">
                        <a:pos x="T88" y="T89"/>
                      </a:cxn>
                      <a:cxn ang="T147">
                        <a:pos x="T90" y="T91"/>
                      </a:cxn>
                      <a:cxn ang="T148">
                        <a:pos x="T92" y="T93"/>
                      </a:cxn>
                      <a:cxn ang="T149">
                        <a:pos x="T94" y="T95"/>
                      </a:cxn>
                      <a:cxn ang="T150">
                        <a:pos x="T96" y="T97"/>
                      </a:cxn>
                      <a:cxn ang="T151">
                        <a:pos x="T98" y="T99"/>
                      </a:cxn>
                      <a:cxn ang="T152">
                        <a:pos x="T100" y="T101"/>
                      </a:cxn>
                    </a:cxnLst>
                    <a:rect l="T153" t="T154" r="T155" b="T156"/>
                    <a:pathLst>
                      <a:path w="3992" h="3371">
                        <a:moveTo>
                          <a:pt x="2681" y="32"/>
                        </a:moveTo>
                        <a:lnTo>
                          <a:pt x="2664" y="27"/>
                        </a:lnTo>
                        <a:lnTo>
                          <a:pt x="2647" y="21"/>
                        </a:lnTo>
                        <a:lnTo>
                          <a:pt x="2629" y="17"/>
                        </a:lnTo>
                        <a:lnTo>
                          <a:pt x="2611" y="12"/>
                        </a:lnTo>
                        <a:lnTo>
                          <a:pt x="2574" y="7"/>
                        </a:lnTo>
                        <a:lnTo>
                          <a:pt x="2539" y="3"/>
                        </a:lnTo>
                        <a:lnTo>
                          <a:pt x="2502" y="1"/>
                        </a:lnTo>
                        <a:lnTo>
                          <a:pt x="2464" y="0"/>
                        </a:lnTo>
                        <a:lnTo>
                          <a:pt x="2428" y="1"/>
                        </a:lnTo>
                        <a:lnTo>
                          <a:pt x="2390" y="3"/>
                        </a:lnTo>
                        <a:lnTo>
                          <a:pt x="2315" y="8"/>
                        </a:lnTo>
                        <a:lnTo>
                          <a:pt x="2241" y="13"/>
                        </a:lnTo>
                        <a:lnTo>
                          <a:pt x="2204" y="16"/>
                        </a:lnTo>
                        <a:lnTo>
                          <a:pt x="2166" y="17"/>
                        </a:lnTo>
                        <a:lnTo>
                          <a:pt x="2129" y="17"/>
                        </a:lnTo>
                        <a:lnTo>
                          <a:pt x="2094" y="16"/>
                        </a:lnTo>
                        <a:lnTo>
                          <a:pt x="2027" y="12"/>
                        </a:lnTo>
                        <a:lnTo>
                          <a:pt x="1961" y="9"/>
                        </a:lnTo>
                        <a:lnTo>
                          <a:pt x="1894" y="7"/>
                        </a:lnTo>
                        <a:lnTo>
                          <a:pt x="1829" y="6"/>
                        </a:lnTo>
                        <a:lnTo>
                          <a:pt x="1763" y="7"/>
                        </a:lnTo>
                        <a:lnTo>
                          <a:pt x="1696" y="9"/>
                        </a:lnTo>
                        <a:lnTo>
                          <a:pt x="1664" y="11"/>
                        </a:lnTo>
                        <a:lnTo>
                          <a:pt x="1631" y="14"/>
                        </a:lnTo>
                        <a:lnTo>
                          <a:pt x="1598" y="18"/>
                        </a:lnTo>
                        <a:lnTo>
                          <a:pt x="1566" y="22"/>
                        </a:lnTo>
                        <a:lnTo>
                          <a:pt x="1534" y="27"/>
                        </a:lnTo>
                        <a:lnTo>
                          <a:pt x="1502" y="32"/>
                        </a:lnTo>
                        <a:lnTo>
                          <a:pt x="1469" y="39"/>
                        </a:lnTo>
                        <a:lnTo>
                          <a:pt x="1437" y="46"/>
                        </a:lnTo>
                        <a:lnTo>
                          <a:pt x="1405" y="55"/>
                        </a:lnTo>
                        <a:lnTo>
                          <a:pt x="1374" y="63"/>
                        </a:lnTo>
                        <a:lnTo>
                          <a:pt x="1342" y="73"/>
                        </a:lnTo>
                        <a:lnTo>
                          <a:pt x="1311" y="85"/>
                        </a:lnTo>
                        <a:lnTo>
                          <a:pt x="1280" y="97"/>
                        </a:lnTo>
                        <a:lnTo>
                          <a:pt x="1249" y="110"/>
                        </a:lnTo>
                        <a:lnTo>
                          <a:pt x="1219" y="125"/>
                        </a:lnTo>
                        <a:lnTo>
                          <a:pt x="1189" y="140"/>
                        </a:lnTo>
                        <a:lnTo>
                          <a:pt x="1159" y="157"/>
                        </a:lnTo>
                        <a:lnTo>
                          <a:pt x="1129" y="175"/>
                        </a:lnTo>
                        <a:lnTo>
                          <a:pt x="1100" y="194"/>
                        </a:lnTo>
                        <a:lnTo>
                          <a:pt x="1071" y="215"/>
                        </a:lnTo>
                        <a:lnTo>
                          <a:pt x="990" y="278"/>
                        </a:lnTo>
                        <a:lnTo>
                          <a:pt x="913" y="348"/>
                        </a:lnTo>
                        <a:lnTo>
                          <a:pt x="839" y="422"/>
                        </a:lnTo>
                        <a:lnTo>
                          <a:pt x="769" y="501"/>
                        </a:lnTo>
                        <a:lnTo>
                          <a:pt x="702" y="583"/>
                        </a:lnTo>
                        <a:lnTo>
                          <a:pt x="640" y="669"/>
                        </a:lnTo>
                        <a:lnTo>
                          <a:pt x="580" y="758"/>
                        </a:lnTo>
                        <a:lnTo>
                          <a:pt x="524" y="849"/>
                        </a:lnTo>
                        <a:lnTo>
                          <a:pt x="471" y="943"/>
                        </a:lnTo>
                        <a:lnTo>
                          <a:pt x="422" y="1038"/>
                        </a:lnTo>
                        <a:lnTo>
                          <a:pt x="375" y="1134"/>
                        </a:lnTo>
                        <a:lnTo>
                          <a:pt x="332" y="1232"/>
                        </a:lnTo>
                        <a:lnTo>
                          <a:pt x="291" y="1329"/>
                        </a:lnTo>
                        <a:lnTo>
                          <a:pt x="254" y="1427"/>
                        </a:lnTo>
                        <a:lnTo>
                          <a:pt x="219" y="1522"/>
                        </a:lnTo>
                        <a:lnTo>
                          <a:pt x="187" y="1618"/>
                        </a:lnTo>
                        <a:lnTo>
                          <a:pt x="158" y="1713"/>
                        </a:lnTo>
                        <a:lnTo>
                          <a:pt x="131" y="1804"/>
                        </a:lnTo>
                        <a:lnTo>
                          <a:pt x="108" y="1894"/>
                        </a:lnTo>
                        <a:lnTo>
                          <a:pt x="87" y="1981"/>
                        </a:lnTo>
                        <a:lnTo>
                          <a:pt x="68" y="2063"/>
                        </a:lnTo>
                        <a:lnTo>
                          <a:pt x="51" y="2143"/>
                        </a:lnTo>
                        <a:lnTo>
                          <a:pt x="38" y="2218"/>
                        </a:lnTo>
                        <a:lnTo>
                          <a:pt x="26" y="2288"/>
                        </a:lnTo>
                        <a:lnTo>
                          <a:pt x="17" y="2354"/>
                        </a:lnTo>
                        <a:lnTo>
                          <a:pt x="9" y="2413"/>
                        </a:lnTo>
                        <a:lnTo>
                          <a:pt x="5" y="2466"/>
                        </a:lnTo>
                        <a:lnTo>
                          <a:pt x="1" y="2513"/>
                        </a:lnTo>
                        <a:lnTo>
                          <a:pt x="0" y="2553"/>
                        </a:lnTo>
                        <a:lnTo>
                          <a:pt x="0" y="2585"/>
                        </a:lnTo>
                        <a:lnTo>
                          <a:pt x="2" y="2610"/>
                        </a:lnTo>
                        <a:lnTo>
                          <a:pt x="7" y="2625"/>
                        </a:lnTo>
                        <a:lnTo>
                          <a:pt x="20" y="2652"/>
                        </a:lnTo>
                        <a:lnTo>
                          <a:pt x="32" y="2679"/>
                        </a:lnTo>
                        <a:lnTo>
                          <a:pt x="46" y="2704"/>
                        </a:lnTo>
                        <a:lnTo>
                          <a:pt x="60" y="2729"/>
                        </a:lnTo>
                        <a:lnTo>
                          <a:pt x="75" y="2752"/>
                        </a:lnTo>
                        <a:lnTo>
                          <a:pt x="89" y="2774"/>
                        </a:lnTo>
                        <a:lnTo>
                          <a:pt x="105" y="2797"/>
                        </a:lnTo>
                        <a:lnTo>
                          <a:pt x="120" y="2817"/>
                        </a:lnTo>
                        <a:lnTo>
                          <a:pt x="136" y="2837"/>
                        </a:lnTo>
                        <a:lnTo>
                          <a:pt x="153" y="2856"/>
                        </a:lnTo>
                        <a:lnTo>
                          <a:pt x="169" y="2873"/>
                        </a:lnTo>
                        <a:lnTo>
                          <a:pt x="186" y="2891"/>
                        </a:lnTo>
                        <a:lnTo>
                          <a:pt x="203" y="2908"/>
                        </a:lnTo>
                        <a:lnTo>
                          <a:pt x="219" y="2923"/>
                        </a:lnTo>
                        <a:lnTo>
                          <a:pt x="236" y="2938"/>
                        </a:lnTo>
                        <a:lnTo>
                          <a:pt x="254" y="2952"/>
                        </a:lnTo>
                        <a:lnTo>
                          <a:pt x="271" y="2966"/>
                        </a:lnTo>
                        <a:lnTo>
                          <a:pt x="288" y="2979"/>
                        </a:lnTo>
                        <a:lnTo>
                          <a:pt x="305" y="2991"/>
                        </a:lnTo>
                        <a:lnTo>
                          <a:pt x="323" y="3002"/>
                        </a:lnTo>
                        <a:lnTo>
                          <a:pt x="357" y="3022"/>
                        </a:lnTo>
                        <a:lnTo>
                          <a:pt x="391" y="3041"/>
                        </a:lnTo>
                        <a:lnTo>
                          <a:pt x="424" y="3057"/>
                        </a:lnTo>
                        <a:lnTo>
                          <a:pt x="456" y="3070"/>
                        </a:lnTo>
                        <a:lnTo>
                          <a:pt x="486" y="3081"/>
                        </a:lnTo>
                        <a:lnTo>
                          <a:pt x="517" y="3090"/>
                        </a:lnTo>
                        <a:lnTo>
                          <a:pt x="550" y="3100"/>
                        </a:lnTo>
                        <a:lnTo>
                          <a:pt x="586" y="3111"/>
                        </a:lnTo>
                        <a:lnTo>
                          <a:pt x="622" y="3125"/>
                        </a:lnTo>
                        <a:lnTo>
                          <a:pt x="660" y="3138"/>
                        </a:lnTo>
                        <a:lnTo>
                          <a:pt x="740" y="3169"/>
                        </a:lnTo>
                        <a:lnTo>
                          <a:pt x="825" y="3201"/>
                        </a:lnTo>
                        <a:lnTo>
                          <a:pt x="868" y="3216"/>
                        </a:lnTo>
                        <a:lnTo>
                          <a:pt x="913" y="3232"/>
                        </a:lnTo>
                        <a:lnTo>
                          <a:pt x="957" y="3246"/>
                        </a:lnTo>
                        <a:lnTo>
                          <a:pt x="1003" y="3260"/>
                        </a:lnTo>
                        <a:lnTo>
                          <a:pt x="1049" y="3272"/>
                        </a:lnTo>
                        <a:lnTo>
                          <a:pt x="1094" y="3282"/>
                        </a:lnTo>
                        <a:lnTo>
                          <a:pt x="1140" y="3291"/>
                        </a:lnTo>
                        <a:lnTo>
                          <a:pt x="1185" y="3296"/>
                        </a:lnTo>
                        <a:lnTo>
                          <a:pt x="1264" y="3306"/>
                        </a:lnTo>
                        <a:lnTo>
                          <a:pt x="1350" y="3316"/>
                        </a:lnTo>
                        <a:lnTo>
                          <a:pt x="1439" y="3327"/>
                        </a:lnTo>
                        <a:lnTo>
                          <a:pt x="1532" y="3339"/>
                        </a:lnTo>
                        <a:lnTo>
                          <a:pt x="1624" y="3350"/>
                        </a:lnTo>
                        <a:lnTo>
                          <a:pt x="1716" y="3359"/>
                        </a:lnTo>
                        <a:lnTo>
                          <a:pt x="1761" y="3363"/>
                        </a:lnTo>
                        <a:lnTo>
                          <a:pt x="1805" y="3366"/>
                        </a:lnTo>
                        <a:lnTo>
                          <a:pt x="1849" y="3369"/>
                        </a:lnTo>
                        <a:lnTo>
                          <a:pt x="1890" y="3371"/>
                        </a:lnTo>
                        <a:lnTo>
                          <a:pt x="1933" y="3371"/>
                        </a:lnTo>
                        <a:lnTo>
                          <a:pt x="1978" y="3370"/>
                        </a:lnTo>
                        <a:lnTo>
                          <a:pt x="2021" y="3367"/>
                        </a:lnTo>
                        <a:lnTo>
                          <a:pt x="2065" y="3364"/>
                        </a:lnTo>
                        <a:lnTo>
                          <a:pt x="2108" y="3359"/>
                        </a:lnTo>
                        <a:lnTo>
                          <a:pt x="2152" y="3353"/>
                        </a:lnTo>
                        <a:lnTo>
                          <a:pt x="2195" y="3346"/>
                        </a:lnTo>
                        <a:lnTo>
                          <a:pt x="2238" y="3340"/>
                        </a:lnTo>
                        <a:lnTo>
                          <a:pt x="2324" y="3325"/>
                        </a:lnTo>
                        <a:lnTo>
                          <a:pt x="2410" y="3313"/>
                        </a:lnTo>
                        <a:lnTo>
                          <a:pt x="2452" y="3307"/>
                        </a:lnTo>
                        <a:lnTo>
                          <a:pt x="2494" y="3302"/>
                        </a:lnTo>
                        <a:lnTo>
                          <a:pt x="2536" y="3298"/>
                        </a:lnTo>
                        <a:lnTo>
                          <a:pt x="2578" y="3296"/>
                        </a:lnTo>
                        <a:lnTo>
                          <a:pt x="2615" y="3294"/>
                        </a:lnTo>
                        <a:lnTo>
                          <a:pt x="2655" y="3291"/>
                        </a:lnTo>
                        <a:lnTo>
                          <a:pt x="2698" y="3285"/>
                        </a:lnTo>
                        <a:lnTo>
                          <a:pt x="2745" y="3278"/>
                        </a:lnTo>
                        <a:lnTo>
                          <a:pt x="2793" y="3270"/>
                        </a:lnTo>
                        <a:lnTo>
                          <a:pt x="2842" y="3261"/>
                        </a:lnTo>
                        <a:lnTo>
                          <a:pt x="2892" y="3251"/>
                        </a:lnTo>
                        <a:lnTo>
                          <a:pt x="2942" y="3239"/>
                        </a:lnTo>
                        <a:lnTo>
                          <a:pt x="3040" y="3218"/>
                        </a:lnTo>
                        <a:lnTo>
                          <a:pt x="3133" y="3196"/>
                        </a:lnTo>
                        <a:lnTo>
                          <a:pt x="3214" y="3175"/>
                        </a:lnTo>
                        <a:lnTo>
                          <a:pt x="3282" y="3158"/>
                        </a:lnTo>
                        <a:lnTo>
                          <a:pt x="3327" y="3146"/>
                        </a:lnTo>
                        <a:lnTo>
                          <a:pt x="3375" y="3132"/>
                        </a:lnTo>
                        <a:lnTo>
                          <a:pt x="3425" y="3115"/>
                        </a:lnTo>
                        <a:lnTo>
                          <a:pt x="3477" y="3096"/>
                        </a:lnTo>
                        <a:lnTo>
                          <a:pt x="3531" y="3075"/>
                        </a:lnTo>
                        <a:lnTo>
                          <a:pt x="3584" y="3053"/>
                        </a:lnTo>
                        <a:lnTo>
                          <a:pt x="3637" y="3027"/>
                        </a:lnTo>
                        <a:lnTo>
                          <a:pt x="3689" y="3000"/>
                        </a:lnTo>
                        <a:lnTo>
                          <a:pt x="3714" y="2986"/>
                        </a:lnTo>
                        <a:lnTo>
                          <a:pt x="3740" y="2971"/>
                        </a:lnTo>
                        <a:lnTo>
                          <a:pt x="3764" y="2957"/>
                        </a:lnTo>
                        <a:lnTo>
                          <a:pt x="3788" y="2941"/>
                        </a:lnTo>
                        <a:lnTo>
                          <a:pt x="3810" y="2926"/>
                        </a:lnTo>
                        <a:lnTo>
                          <a:pt x="3832" y="2909"/>
                        </a:lnTo>
                        <a:lnTo>
                          <a:pt x="3853" y="2892"/>
                        </a:lnTo>
                        <a:lnTo>
                          <a:pt x="3873" y="2874"/>
                        </a:lnTo>
                        <a:lnTo>
                          <a:pt x="3892" y="2858"/>
                        </a:lnTo>
                        <a:lnTo>
                          <a:pt x="3910" y="2840"/>
                        </a:lnTo>
                        <a:lnTo>
                          <a:pt x="3927" y="2821"/>
                        </a:lnTo>
                        <a:lnTo>
                          <a:pt x="3941" y="2802"/>
                        </a:lnTo>
                        <a:lnTo>
                          <a:pt x="3955" y="2783"/>
                        </a:lnTo>
                        <a:lnTo>
                          <a:pt x="3967" y="2764"/>
                        </a:lnTo>
                        <a:lnTo>
                          <a:pt x="3977" y="2744"/>
                        </a:lnTo>
                        <a:lnTo>
                          <a:pt x="3986" y="2724"/>
                        </a:lnTo>
                        <a:lnTo>
                          <a:pt x="3990" y="2703"/>
                        </a:lnTo>
                        <a:lnTo>
                          <a:pt x="3992" y="2671"/>
                        </a:lnTo>
                        <a:lnTo>
                          <a:pt x="3991" y="2627"/>
                        </a:lnTo>
                        <a:lnTo>
                          <a:pt x="3988" y="2575"/>
                        </a:lnTo>
                        <a:lnTo>
                          <a:pt x="3982" y="2514"/>
                        </a:lnTo>
                        <a:lnTo>
                          <a:pt x="3974" y="2445"/>
                        </a:lnTo>
                        <a:lnTo>
                          <a:pt x="3962" y="2368"/>
                        </a:lnTo>
                        <a:lnTo>
                          <a:pt x="3948" y="2284"/>
                        </a:lnTo>
                        <a:lnTo>
                          <a:pt x="3931" y="2195"/>
                        </a:lnTo>
                        <a:lnTo>
                          <a:pt x="3911" y="2099"/>
                        </a:lnTo>
                        <a:lnTo>
                          <a:pt x="3888" y="1999"/>
                        </a:lnTo>
                        <a:lnTo>
                          <a:pt x="3862" y="1894"/>
                        </a:lnTo>
                        <a:lnTo>
                          <a:pt x="3833" y="1787"/>
                        </a:lnTo>
                        <a:lnTo>
                          <a:pt x="3802" y="1677"/>
                        </a:lnTo>
                        <a:lnTo>
                          <a:pt x="3768" y="1565"/>
                        </a:lnTo>
                        <a:lnTo>
                          <a:pt x="3730" y="1451"/>
                        </a:lnTo>
                        <a:lnTo>
                          <a:pt x="3689" y="1338"/>
                        </a:lnTo>
                        <a:lnTo>
                          <a:pt x="3644" y="1223"/>
                        </a:lnTo>
                        <a:lnTo>
                          <a:pt x="3597" y="1111"/>
                        </a:lnTo>
                        <a:lnTo>
                          <a:pt x="3547" y="999"/>
                        </a:lnTo>
                        <a:lnTo>
                          <a:pt x="3494" y="889"/>
                        </a:lnTo>
                        <a:lnTo>
                          <a:pt x="3437" y="783"/>
                        </a:lnTo>
                        <a:lnTo>
                          <a:pt x="3377" y="680"/>
                        </a:lnTo>
                        <a:lnTo>
                          <a:pt x="3314" y="582"/>
                        </a:lnTo>
                        <a:lnTo>
                          <a:pt x="3247" y="489"/>
                        </a:lnTo>
                        <a:lnTo>
                          <a:pt x="3175" y="401"/>
                        </a:lnTo>
                        <a:lnTo>
                          <a:pt x="3102" y="319"/>
                        </a:lnTo>
                        <a:lnTo>
                          <a:pt x="3025" y="245"/>
                        </a:lnTo>
                        <a:lnTo>
                          <a:pt x="2945" y="178"/>
                        </a:lnTo>
                        <a:lnTo>
                          <a:pt x="2861" y="120"/>
                        </a:lnTo>
                        <a:lnTo>
                          <a:pt x="2773" y="71"/>
                        </a:lnTo>
                        <a:lnTo>
                          <a:pt x="2681" y="32"/>
                        </a:lnTo>
                        <a:close/>
                      </a:path>
                    </a:pathLst>
                  </a:custGeom>
                  <a:solidFill>
                    <a:srgbClr val="311F74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337" name="Freeform 182"/>
                  <p:cNvSpPr>
                    <a:spLocks noEditPoints="1"/>
                  </p:cNvSpPr>
                  <p:nvPr/>
                </p:nvSpPr>
                <p:spPr bwMode="auto">
                  <a:xfrm>
                    <a:off x="3333" y="3710"/>
                    <a:ext cx="230" cy="174"/>
                  </a:xfrm>
                  <a:custGeom>
                    <a:avLst/>
                    <a:gdLst>
                      <a:gd name="T0" fmla="*/ 0 w 1608"/>
                      <a:gd name="T1" fmla="*/ 0 h 1215"/>
                      <a:gd name="T2" fmla="*/ 0 w 1608"/>
                      <a:gd name="T3" fmla="*/ 0 h 1215"/>
                      <a:gd name="T4" fmla="*/ 0 w 1608"/>
                      <a:gd name="T5" fmla="*/ 0 h 1215"/>
                      <a:gd name="T6" fmla="*/ 0 w 1608"/>
                      <a:gd name="T7" fmla="*/ 0 h 1215"/>
                      <a:gd name="T8" fmla="*/ 0 w 1608"/>
                      <a:gd name="T9" fmla="*/ 0 h 1215"/>
                      <a:gd name="T10" fmla="*/ 0 w 1608"/>
                      <a:gd name="T11" fmla="*/ 0 h 1215"/>
                      <a:gd name="T12" fmla="*/ 0 w 1608"/>
                      <a:gd name="T13" fmla="*/ 0 h 1215"/>
                      <a:gd name="T14" fmla="*/ 0 w 1608"/>
                      <a:gd name="T15" fmla="*/ 0 h 1215"/>
                      <a:gd name="T16" fmla="*/ 0 w 1608"/>
                      <a:gd name="T17" fmla="*/ 0 h 1215"/>
                      <a:gd name="T18" fmla="*/ 0 w 1608"/>
                      <a:gd name="T19" fmla="*/ 0 h 1215"/>
                      <a:gd name="T20" fmla="*/ 0 w 1608"/>
                      <a:gd name="T21" fmla="*/ 0 h 1215"/>
                      <a:gd name="T22" fmla="*/ 0 w 1608"/>
                      <a:gd name="T23" fmla="*/ 0 h 1215"/>
                      <a:gd name="T24" fmla="*/ 0 w 1608"/>
                      <a:gd name="T25" fmla="*/ 0 h 1215"/>
                      <a:gd name="T26" fmla="*/ 0 w 1608"/>
                      <a:gd name="T27" fmla="*/ 0 h 1215"/>
                      <a:gd name="T28" fmla="*/ 0 w 1608"/>
                      <a:gd name="T29" fmla="*/ 0 h 1215"/>
                      <a:gd name="T30" fmla="*/ 0 w 1608"/>
                      <a:gd name="T31" fmla="*/ 0 h 1215"/>
                      <a:gd name="T32" fmla="*/ 0 w 1608"/>
                      <a:gd name="T33" fmla="*/ 0 h 1215"/>
                      <a:gd name="T34" fmla="*/ 0 w 1608"/>
                      <a:gd name="T35" fmla="*/ 0 h 1215"/>
                      <a:gd name="T36" fmla="*/ 0 w 1608"/>
                      <a:gd name="T37" fmla="*/ 0 h 1215"/>
                      <a:gd name="T38" fmla="*/ 0 w 1608"/>
                      <a:gd name="T39" fmla="*/ 0 h 1215"/>
                      <a:gd name="T40" fmla="*/ 0 w 1608"/>
                      <a:gd name="T41" fmla="*/ 0 h 1215"/>
                      <a:gd name="T42" fmla="*/ 0 w 1608"/>
                      <a:gd name="T43" fmla="*/ 0 h 1215"/>
                      <a:gd name="T44" fmla="*/ 0 w 1608"/>
                      <a:gd name="T45" fmla="*/ 0 h 1215"/>
                      <a:gd name="T46" fmla="*/ 0 w 1608"/>
                      <a:gd name="T47" fmla="*/ 0 h 1215"/>
                      <a:gd name="T48" fmla="*/ 0 w 1608"/>
                      <a:gd name="T49" fmla="*/ 0 h 1215"/>
                      <a:gd name="T50" fmla="*/ 0 w 1608"/>
                      <a:gd name="T51" fmla="*/ 0 h 1215"/>
                      <a:gd name="T52" fmla="*/ 0 w 1608"/>
                      <a:gd name="T53" fmla="*/ 0 h 1215"/>
                      <a:gd name="T54" fmla="*/ 0 w 1608"/>
                      <a:gd name="T55" fmla="*/ 0 h 1215"/>
                      <a:gd name="T56" fmla="*/ 0 w 1608"/>
                      <a:gd name="T57" fmla="*/ 0 h 1215"/>
                      <a:gd name="T58" fmla="*/ 0 w 1608"/>
                      <a:gd name="T59" fmla="*/ 0 h 1215"/>
                      <a:gd name="T60" fmla="*/ 0 w 1608"/>
                      <a:gd name="T61" fmla="*/ 0 h 1215"/>
                      <a:gd name="T62" fmla="*/ 0 w 1608"/>
                      <a:gd name="T63" fmla="*/ 0 h 1215"/>
                      <a:gd name="T64" fmla="*/ 0 w 1608"/>
                      <a:gd name="T65" fmla="*/ 0 h 1215"/>
                      <a:gd name="T66" fmla="*/ 0 w 1608"/>
                      <a:gd name="T67" fmla="*/ 0 h 1215"/>
                      <a:gd name="T68" fmla="*/ 0 w 1608"/>
                      <a:gd name="T69" fmla="*/ 0 h 1215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w 1608"/>
                      <a:gd name="T106" fmla="*/ 0 h 1215"/>
                      <a:gd name="T107" fmla="*/ 1608 w 1608"/>
                      <a:gd name="T108" fmla="*/ 1215 h 1215"/>
                    </a:gdLst>
                    <a:ahLst/>
                    <a:cxnLst>
                      <a:cxn ang="T70">
                        <a:pos x="T0" y="T1"/>
                      </a:cxn>
                      <a:cxn ang="T71">
                        <a:pos x="T2" y="T3"/>
                      </a:cxn>
                      <a:cxn ang="T72">
                        <a:pos x="T4" y="T5"/>
                      </a:cxn>
                      <a:cxn ang="T73">
                        <a:pos x="T6" y="T7"/>
                      </a:cxn>
                      <a:cxn ang="T74">
                        <a:pos x="T8" y="T9"/>
                      </a:cxn>
                      <a:cxn ang="T75">
                        <a:pos x="T10" y="T11"/>
                      </a:cxn>
                      <a:cxn ang="T76">
                        <a:pos x="T12" y="T13"/>
                      </a:cxn>
                      <a:cxn ang="T77">
                        <a:pos x="T14" y="T15"/>
                      </a:cxn>
                      <a:cxn ang="T78">
                        <a:pos x="T16" y="T17"/>
                      </a:cxn>
                      <a:cxn ang="T79">
                        <a:pos x="T18" y="T19"/>
                      </a:cxn>
                      <a:cxn ang="T80">
                        <a:pos x="T20" y="T21"/>
                      </a:cxn>
                      <a:cxn ang="T81">
                        <a:pos x="T22" y="T23"/>
                      </a:cxn>
                      <a:cxn ang="T82">
                        <a:pos x="T24" y="T25"/>
                      </a:cxn>
                      <a:cxn ang="T83">
                        <a:pos x="T26" y="T27"/>
                      </a:cxn>
                      <a:cxn ang="T84">
                        <a:pos x="T28" y="T29"/>
                      </a:cxn>
                      <a:cxn ang="T85">
                        <a:pos x="T30" y="T31"/>
                      </a:cxn>
                      <a:cxn ang="T86">
                        <a:pos x="T32" y="T33"/>
                      </a:cxn>
                      <a:cxn ang="T87">
                        <a:pos x="T34" y="T35"/>
                      </a:cxn>
                      <a:cxn ang="T88">
                        <a:pos x="T36" y="T37"/>
                      </a:cxn>
                      <a:cxn ang="T89">
                        <a:pos x="T38" y="T39"/>
                      </a:cxn>
                      <a:cxn ang="T90">
                        <a:pos x="T40" y="T41"/>
                      </a:cxn>
                      <a:cxn ang="T91">
                        <a:pos x="T42" y="T43"/>
                      </a:cxn>
                      <a:cxn ang="T92">
                        <a:pos x="T44" y="T45"/>
                      </a:cxn>
                      <a:cxn ang="T93">
                        <a:pos x="T46" y="T47"/>
                      </a:cxn>
                      <a:cxn ang="T94">
                        <a:pos x="T48" y="T49"/>
                      </a:cxn>
                      <a:cxn ang="T95">
                        <a:pos x="T50" y="T51"/>
                      </a:cxn>
                      <a:cxn ang="T96">
                        <a:pos x="T52" y="T53"/>
                      </a:cxn>
                      <a:cxn ang="T97">
                        <a:pos x="T54" y="T55"/>
                      </a:cxn>
                      <a:cxn ang="T98">
                        <a:pos x="T56" y="T57"/>
                      </a:cxn>
                      <a:cxn ang="T99">
                        <a:pos x="T58" y="T59"/>
                      </a:cxn>
                      <a:cxn ang="T100">
                        <a:pos x="T60" y="T61"/>
                      </a:cxn>
                      <a:cxn ang="T101">
                        <a:pos x="T62" y="T63"/>
                      </a:cxn>
                      <a:cxn ang="T102">
                        <a:pos x="T64" y="T65"/>
                      </a:cxn>
                      <a:cxn ang="T103">
                        <a:pos x="T66" y="T67"/>
                      </a:cxn>
                      <a:cxn ang="T104">
                        <a:pos x="T68" y="T69"/>
                      </a:cxn>
                    </a:cxnLst>
                    <a:rect l="T105" t="T106" r="T107" b="T108"/>
                    <a:pathLst>
                      <a:path w="1608" h="1215">
                        <a:moveTo>
                          <a:pt x="1573" y="0"/>
                        </a:moveTo>
                        <a:lnTo>
                          <a:pt x="0" y="0"/>
                        </a:lnTo>
                        <a:lnTo>
                          <a:pt x="1" y="1215"/>
                        </a:lnTo>
                        <a:lnTo>
                          <a:pt x="1596" y="1215"/>
                        </a:lnTo>
                        <a:lnTo>
                          <a:pt x="1608" y="0"/>
                        </a:lnTo>
                        <a:lnTo>
                          <a:pt x="1573" y="0"/>
                        </a:lnTo>
                        <a:close/>
                        <a:moveTo>
                          <a:pt x="1537" y="54"/>
                        </a:moveTo>
                        <a:lnTo>
                          <a:pt x="1537" y="75"/>
                        </a:lnTo>
                        <a:lnTo>
                          <a:pt x="1537" y="115"/>
                        </a:lnTo>
                        <a:lnTo>
                          <a:pt x="1536" y="171"/>
                        </a:lnTo>
                        <a:lnTo>
                          <a:pt x="1535" y="241"/>
                        </a:lnTo>
                        <a:lnTo>
                          <a:pt x="1535" y="324"/>
                        </a:lnTo>
                        <a:lnTo>
                          <a:pt x="1534" y="414"/>
                        </a:lnTo>
                        <a:lnTo>
                          <a:pt x="1533" y="510"/>
                        </a:lnTo>
                        <a:lnTo>
                          <a:pt x="1532" y="609"/>
                        </a:lnTo>
                        <a:lnTo>
                          <a:pt x="1530" y="708"/>
                        </a:lnTo>
                        <a:lnTo>
                          <a:pt x="1529" y="803"/>
                        </a:lnTo>
                        <a:lnTo>
                          <a:pt x="1529" y="894"/>
                        </a:lnTo>
                        <a:lnTo>
                          <a:pt x="1528" y="975"/>
                        </a:lnTo>
                        <a:lnTo>
                          <a:pt x="1527" y="1046"/>
                        </a:lnTo>
                        <a:lnTo>
                          <a:pt x="1527" y="1103"/>
                        </a:lnTo>
                        <a:lnTo>
                          <a:pt x="1526" y="1142"/>
                        </a:lnTo>
                        <a:lnTo>
                          <a:pt x="1526" y="1162"/>
                        </a:lnTo>
                        <a:lnTo>
                          <a:pt x="1500" y="1162"/>
                        </a:lnTo>
                        <a:lnTo>
                          <a:pt x="1448" y="1162"/>
                        </a:lnTo>
                        <a:lnTo>
                          <a:pt x="1373" y="1162"/>
                        </a:lnTo>
                        <a:lnTo>
                          <a:pt x="1281" y="1162"/>
                        </a:lnTo>
                        <a:lnTo>
                          <a:pt x="1173" y="1162"/>
                        </a:lnTo>
                        <a:lnTo>
                          <a:pt x="1054" y="1162"/>
                        </a:lnTo>
                        <a:lnTo>
                          <a:pt x="928" y="1162"/>
                        </a:lnTo>
                        <a:lnTo>
                          <a:pt x="799" y="1162"/>
                        </a:lnTo>
                        <a:lnTo>
                          <a:pt x="669" y="1162"/>
                        </a:lnTo>
                        <a:lnTo>
                          <a:pt x="543" y="1162"/>
                        </a:lnTo>
                        <a:lnTo>
                          <a:pt x="425" y="1162"/>
                        </a:lnTo>
                        <a:lnTo>
                          <a:pt x="317" y="1162"/>
                        </a:lnTo>
                        <a:lnTo>
                          <a:pt x="225" y="1162"/>
                        </a:lnTo>
                        <a:lnTo>
                          <a:pt x="150" y="1162"/>
                        </a:lnTo>
                        <a:lnTo>
                          <a:pt x="98" y="1162"/>
                        </a:lnTo>
                        <a:lnTo>
                          <a:pt x="71" y="1162"/>
                        </a:lnTo>
                        <a:lnTo>
                          <a:pt x="71" y="1142"/>
                        </a:lnTo>
                        <a:lnTo>
                          <a:pt x="71" y="1103"/>
                        </a:lnTo>
                        <a:lnTo>
                          <a:pt x="71" y="1046"/>
                        </a:lnTo>
                        <a:lnTo>
                          <a:pt x="71" y="975"/>
                        </a:lnTo>
                        <a:lnTo>
                          <a:pt x="71" y="894"/>
                        </a:lnTo>
                        <a:lnTo>
                          <a:pt x="71" y="803"/>
                        </a:lnTo>
                        <a:lnTo>
                          <a:pt x="71" y="708"/>
                        </a:lnTo>
                        <a:lnTo>
                          <a:pt x="71" y="609"/>
                        </a:lnTo>
                        <a:lnTo>
                          <a:pt x="71" y="510"/>
                        </a:lnTo>
                        <a:lnTo>
                          <a:pt x="71" y="414"/>
                        </a:lnTo>
                        <a:lnTo>
                          <a:pt x="71" y="324"/>
                        </a:lnTo>
                        <a:lnTo>
                          <a:pt x="71" y="241"/>
                        </a:lnTo>
                        <a:lnTo>
                          <a:pt x="71" y="171"/>
                        </a:lnTo>
                        <a:lnTo>
                          <a:pt x="71" y="115"/>
                        </a:lnTo>
                        <a:lnTo>
                          <a:pt x="71" y="75"/>
                        </a:lnTo>
                        <a:lnTo>
                          <a:pt x="71" y="54"/>
                        </a:lnTo>
                        <a:lnTo>
                          <a:pt x="98" y="54"/>
                        </a:lnTo>
                        <a:lnTo>
                          <a:pt x="150" y="54"/>
                        </a:lnTo>
                        <a:lnTo>
                          <a:pt x="225" y="54"/>
                        </a:lnTo>
                        <a:lnTo>
                          <a:pt x="318" y="54"/>
                        </a:lnTo>
                        <a:lnTo>
                          <a:pt x="427" y="54"/>
                        </a:lnTo>
                        <a:lnTo>
                          <a:pt x="547" y="54"/>
                        </a:lnTo>
                        <a:lnTo>
                          <a:pt x="673" y="54"/>
                        </a:lnTo>
                        <a:lnTo>
                          <a:pt x="804" y="54"/>
                        </a:lnTo>
                        <a:lnTo>
                          <a:pt x="935" y="54"/>
                        </a:lnTo>
                        <a:lnTo>
                          <a:pt x="1062" y="54"/>
                        </a:lnTo>
                        <a:lnTo>
                          <a:pt x="1181" y="54"/>
                        </a:lnTo>
                        <a:lnTo>
                          <a:pt x="1289" y="54"/>
                        </a:lnTo>
                        <a:lnTo>
                          <a:pt x="1382" y="54"/>
                        </a:lnTo>
                        <a:lnTo>
                          <a:pt x="1458" y="54"/>
                        </a:lnTo>
                        <a:lnTo>
                          <a:pt x="1510" y="54"/>
                        </a:lnTo>
                        <a:lnTo>
                          <a:pt x="1537" y="54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338" name="Freeform 183"/>
                  <p:cNvSpPr>
                    <a:spLocks noEditPoints="1"/>
                  </p:cNvSpPr>
                  <p:nvPr/>
                </p:nvSpPr>
                <p:spPr bwMode="auto">
                  <a:xfrm>
                    <a:off x="3359" y="3730"/>
                    <a:ext cx="178" cy="134"/>
                  </a:xfrm>
                  <a:custGeom>
                    <a:avLst/>
                    <a:gdLst>
                      <a:gd name="T0" fmla="*/ 0 w 1245"/>
                      <a:gd name="T1" fmla="*/ 0 h 941"/>
                      <a:gd name="T2" fmla="*/ 0 w 1245"/>
                      <a:gd name="T3" fmla="*/ 0 h 941"/>
                      <a:gd name="T4" fmla="*/ 0 w 1245"/>
                      <a:gd name="T5" fmla="*/ 0 h 941"/>
                      <a:gd name="T6" fmla="*/ 0 w 1245"/>
                      <a:gd name="T7" fmla="*/ 0 h 941"/>
                      <a:gd name="T8" fmla="*/ 0 w 1245"/>
                      <a:gd name="T9" fmla="*/ 0 h 941"/>
                      <a:gd name="T10" fmla="*/ 0 w 1245"/>
                      <a:gd name="T11" fmla="*/ 0 h 941"/>
                      <a:gd name="T12" fmla="*/ 0 w 1245"/>
                      <a:gd name="T13" fmla="*/ 0 h 941"/>
                      <a:gd name="T14" fmla="*/ 0 w 1245"/>
                      <a:gd name="T15" fmla="*/ 0 h 941"/>
                      <a:gd name="T16" fmla="*/ 0 w 1245"/>
                      <a:gd name="T17" fmla="*/ 0 h 941"/>
                      <a:gd name="T18" fmla="*/ 0 w 1245"/>
                      <a:gd name="T19" fmla="*/ 0 h 941"/>
                      <a:gd name="T20" fmla="*/ 0 w 1245"/>
                      <a:gd name="T21" fmla="*/ 0 h 941"/>
                      <a:gd name="T22" fmla="*/ 0 w 1245"/>
                      <a:gd name="T23" fmla="*/ 0 h 941"/>
                      <a:gd name="T24" fmla="*/ 0 w 1245"/>
                      <a:gd name="T25" fmla="*/ 0 h 941"/>
                      <a:gd name="T26" fmla="*/ 0 w 1245"/>
                      <a:gd name="T27" fmla="*/ 0 h 941"/>
                      <a:gd name="T28" fmla="*/ 0 w 1245"/>
                      <a:gd name="T29" fmla="*/ 0 h 941"/>
                      <a:gd name="T30" fmla="*/ 0 w 1245"/>
                      <a:gd name="T31" fmla="*/ 0 h 941"/>
                      <a:gd name="T32" fmla="*/ 0 w 1245"/>
                      <a:gd name="T33" fmla="*/ 0 h 941"/>
                      <a:gd name="T34" fmla="*/ 0 w 1245"/>
                      <a:gd name="T35" fmla="*/ 0 h 941"/>
                      <a:gd name="T36" fmla="*/ 0 w 1245"/>
                      <a:gd name="T37" fmla="*/ 0 h 941"/>
                      <a:gd name="T38" fmla="*/ 0 w 1245"/>
                      <a:gd name="T39" fmla="*/ 0 h 941"/>
                      <a:gd name="T40" fmla="*/ 0 w 1245"/>
                      <a:gd name="T41" fmla="*/ 0 h 941"/>
                      <a:gd name="T42" fmla="*/ 0 w 1245"/>
                      <a:gd name="T43" fmla="*/ 0 h 941"/>
                      <a:gd name="T44" fmla="*/ 0 w 1245"/>
                      <a:gd name="T45" fmla="*/ 0 h 941"/>
                      <a:gd name="T46" fmla="*/ 0 w 1245"/>
                      <a:gd name="T47" fmla="*/ 0 h 941"/>
                      <a:gd name="T48" fmla="*/ 0 w 1245"/>
                      <a:gd name="T49" fmla="*/ 0 h 941"/>
                      <a:gd name="T50" fmla="*/ 0 w 1245"/>
                      <a:gd name="T51" fmla="*/ 0 h 941"/>
                      <a:gd name="T52" fmla="*/ 0 w 1245"/>
                      <a:gd name="T53" fmla="*/ 0 h 941"/>
                      <a:gd name="T54" fmla="*/ 0 w 1245"/>
                      <a:gd name="T55" fmla="*/ 0 h 941"/>
                      <a:gd name="T56" fmla="*/ 0 w 1245"/>
                      <a:gd name="T57" fmla="*/ 0 h 941"/>
                      <a:gd name="T58" fmla="*/ 0 w 1245"/>
                      <a:gd name="T59" fmla="*/ 0 h 941"/>
                      <a:gd name="T60" fmla="*/ 0 w 1245"/>
                      <a:gd name="T61" fmla="*/ 0 h 941"/>
                      <a:gd name="T62" fmla="*/ 0 w 1245"/>
                      <a:gd name="T63" fmla="*/ 0 h 941"/>
                      <a:gd name="T64" fmla="*/ 0 w 1245"/>
                      <a:gd name="T65" fmla="*/ 0 h 941"/>
                      <a:gd name="T66" fmla="*/ 0 w 1245"/>
                      <a:gd name="T67" fmla="*/ 0 h 941"/>
                      <a:gd name="T68" fmla="*/ 0 w 1245"/>
                      <a:gd name="T69" fmla="*/ 0 h 941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w 1245"/>
                      <a:gd name="T106" fmla="*/ 0 h 941"/>
                      <a:gd name="T107" fmla="*/ 1245 w 1245"/>
                      <a:gd name="T108" fmla="*/ 941 h 941"/>
                    </a:gdLst>
                    <a:ahLst/>
                    <a:cxnLst>
                      <a:cxn ang="T70">
                        <a:pos x="T0" y="T1"/>
                      </a:cxn>
                      <a:cxn ang="T71">
                        <a:pos x="T2" y="T3"/>
                      </a:cxn>
                      <a:cxn ang="T72">
                        <a:pos x="T4" y="T5"/>
                      </a:cxn>
                      <a:cxn ang="T73">
                        <a:pos x="T6" y="T7"/>
                      </a:cxn>
                      <a:cxn ang="T74">
                        <a:pos x="T8" y="T9"/>
                      </a:cxn>
                      <a:cxn ang="T75">
                        <a:pos x="T10" y="T11"/>
                      </a:cxn>
                      <a:cxn ang="T76">
                        <a:pos x="T12" y="T13"/>
                      </a:cxn>
                      <a:cxn ang="T77">
                        <a:pos x="T14" y="T15"/>
                      </a:cxn>
                      <a:cxn ang="T78">
                        <a:pos x="T16" y="T17"/>
                      </a:cxn>
                      <a:cxn ang="T79">
                        <a:pos x="T18" y="T19"/>
                      </a:cxn>
                      <a:cxn ang="T80">
                        <a:pos x="T20" y="T21"/>
                      </a:cxn>
                      <a:cxn ang="T81">
                        <a:pos x="T22" y="T23"/>
                      </a:cxn>
                      <a:cxn ang="T82">
                        <a:pos x="T24" y="T25"/>
                      </a:cxn>
                      <a:cxn ang="T83">
                        <a:pos x="T26" y="T27"/>
                      </a:cxn>
                      <a:cxn ang="T84">
                        <a:pos x="T28" y="T29"/>
                      </a:cxn>
                      <a:cxn ang="T85">
                        <a:pos x="T30" y="T31"/>
                      </a:cxn>
                      <a:cxn ang="T86">
                        <a:pos x="T32" y="T33"/>
                      </a:cxn>
                      <a:cxn ang="T87">
                        <a:pos x="T34" y="T35"/>
                      </a:cxn>
                      <a:cxn ang="T88">
                        <a:pos x="T36" y="T37"/>
                      </a:cxn>
                      <a:cxn ang="T89">
                        <a:pos x="T38" y="T39"/>
                      </a:cxn>
                      <a:cxn ang="T90">
                        <a:pos x="T40" y="T41"/>
                      </a:cxn>
                      <a:cxn ang="T91">
                        <a:pos x="T42" y="T43"/>
                      </a:cxn>
                      <a:cxn ang="T92">
                        <a:pos x="T44" y="T45"/>
                      </a:cxn>
                      <a:cxn ang="T93">
                        <a:pos x="T46" y="T47"/>
                      </a:cxn>
                      <a:cxn ang="T94">
                        <a:pos x="T48" y="T49"/>
                      </a:cxn>
                      <a:cxn ang="T95">
                        <a:pos x="T50" y="T51"/>
                      </a:cxn>
                      <a:cxn ang="T96">
                        <a:pos x="T52" y="T53"/>
                      </a:cxn>
                      <a:cxn ang="T97">
                        <a:pos x="T54" y="T55"/>
                      </a:cxn>
                      <a:cxn ang="T98">
                        <a:pos x="T56" y="T57"/>
                      </a:cxn>
                      <a:cxn ang="T99">
                        <a:pos x="T58" y="T59"/>
                      </a:cxn>
                      <a:cxn ang="T100">
                        <a:pos x="T60" y="T61"/>
                      </a:cxn>
                      <a:cxn ang="T101">
                        <a:pos x="T62" y="T63"/>
                      </a:cxn>
                      <a:cxn ang="T102">
                        <a:pos x="T64" y="T65"/>
                      </a:cxn>
                      <a:cxn ang="T103">
                        <a:pos x="T66" y="T67"/>
                      </a:cxn>
                      <a:cxn ang="T104">
                        <a:pos x="T68" y="T69"/>
                      </a:cxn>
                    </a:cxnLst>
                    <a:rect l="T105" t="T106" r="T107" b="T108"/>
                    <a:pathLst>
                      <a:path w="1245" h="941">
                        <a:moveTo>
                          <a:pt x="1210" y="0"/>
                        </a:moveTo>
                        <a:lnTo>
                          <a:pt x="0" y="0"/>
                        </a:lnTo>
                        <a:lnTo>
                          <a:pt x="0" y="941"/>
                        </a:lnTo>
                        <a:lnTo>
                          <a:pt x="1237" y="941"/>
                        </a:lnTo>
                        <a:lnTo>
                          <a:pt x="1245" y="0"/>
                        </a:lnTo>
                        <a:lnTo>
                          <a:pt x="1210" y="0"/>
                        </a:lnTo>
                        <a:close/>
                        <a:moveTo>
                          <a:pt x="1174" y="54"/>
                        </a:moveTo>
                        <a:lnTo>
                          <a:pt x="1174" y="71"/>
                        </a:lnTo>
                        <a:lnTo>
                          <a:pt x="1174" y="102"/>
                        </a:lnTo>
                        <a:lnTo>
                          <a:pt x="1174" y="145"/>
                        </a:lnTo>
                        <a:lnTo>
                          <a:pt x="1172" y="198"/>
                        </a:lnTo>
                        <a:lnTo>
                          <a:pt x="1172" y="259"/>
                        </a:lnTo>
                        <a:lnTo>
                          <a:pt x="1171" y="327"/>
                        </a:lnTo>
                        <a:lnTo>
                          <a:pt x="1171" y="398"/>
                        </a:lnTo>
                        <a:lnTo>
                          <a:pt x="1170" y="472"/>
                        </a:lnTo>
                        <a:lnTo>
                          <a:pt x="1170" y="545"/>
                        </a:lnTo>
                        <a:lnTo>
                          <a:pt x="1169" y="616"/>
                        </a:lnTo>
                        <a:lnTo>
                          <a:pt x="1168" y="683"/>
                        </a:lnTo>
                        <a:lnTo>
                          <a:pt x="1168" y="744"/>
                        </a:lnTo>
                        <a:lnTo>
                          <a:pt x="1168" y="798"/>
                        </a:lnTo>
                        <a:lnTo>
                          <a:pt x="1167" y="840"/>
                        </a:lnTo>
                        <a:lnTo>
                          <a:pt x="1167" y="871"/>
                        </a:lnTo>
                        <a:lnTo>
                          <a:pt x="1167" y="888"/>
                        </a:lnTo>
                        <a:lnTo>
                          <a:pt x="1146" y="888"/>
                        </a:lnTo>
                        <a:lnTo>
                          <a:pt x="1106" y="888"/>
                        </a:lnTo>
                        <a:lnTo>
                          <a:pt x="1049" y="888"/>
                        </a:lnTo>
                        <a:lnTo>
                          <a:pt x="980" y="888"/>
                        </a:lnTo>
                        <a:lnTo>
                          <a:pt x="900" y="888"/>
                        </a:lnTo>
                        <a:lnTo>
                          <a:pt x="812" y="888"/>
                        </a:lnTo>
                        <a:lnTo>
                          <a:pt x="718" y="888"/>
                        </a:lnTo>
                        <a:lnTo>
                          <a:pt x="623" y="888"/>
                        </a:lnTo>
                        <a:lnTo>
                          <a:pt x="526" y="888"/>
                        </a:lnTo>
                        <a:lnTo>
                          <a:pt x="432" y="888"/>
                        </a:lnTo>
                        <a:lnTo>
                          <a:pt x="343" y="888"/>
                        </a:lnTo>
                        <a:lnTo>
                          <a:pt x="262" y="888"/>
                        </a:lnTo>
                        <a:lnTo>
                          <a:pt x="192" y="888"/>
                        </a:lnTo>
                        <a:lnTo>
                          <a:pt x="135" y="888"/>
                        </a:lnTo>
                        <a:lnTo>
                          <a:pt x="94" y="888"/>
                        </a:lnTo>
                        <a:lnTo>
                          <a:pt x="71" y="888"/>
                        </a:lnTo>
                        <a:lnTo>
                          <a:pt x="71" y="871"/>
                        </a:lnTo>
                        <a:lnTo>
                          <a:pt x="71" y="840"/>
                        </a:lnTo>
                        <a:lnTo>
                          <a:pt x="71" y="798"/>
                        </a:lnTo>
                        <a:lnTo>
                          <a:pt x="71" y="744"/>
                        </a:lnTo>
                        <a:lnTo>
                          <a:pt x="71" y="683"/>
                        </a:lnTo>
                        <a:lnTo>
                          <a:pt x="71" y="615"/>
                        </a:lnTo>
                        <a:lnTo>
                          <a:pt x="71" y="544"/>
                        </a:lnTo>
                        <a:lnTo>
                          <a:pt x="71" y="472"/>
                        </a:lnTo>
                        <a:lnTo>
                          <a:pt x="71" y="398"/>
                        </a:lnTo>
                        <a:lnTo>
                          <a:pt x="71" y="327"/>
                        </a:lnTo>
                        <a:lnTo>
                          <a:pt x="71" y="259"/>
                        </a:lnTo>
                        <a:lnTo>
                          <a:pt x="71" y="198"/>
                        </a:lnTo>
                        <a:lnTo>
                          <a:pt x="71" y="145"/>
                        </a:lnTo>
                        <a:lnTo>
                          <a:pt x="72" y="102"/>
                        </a:lnTo>
                        <a:lnTo>
                          <a:pt x="72" y="71"/>
                        </a:lnTo>
                        <a:lnTo>
                          <a:pt x="72" y="53"/>
                        </a:lnTo>
                        <a:lnTo>
                          <a:pt x="94" y="53"/>
                        </a:lnTo>
                        <a:lnTo>
                          <a:pt x="134" y="53"/>
                        </a:lnTo>
                        <a:lnTo>
                          <a:pt x="192" y="53"/>
                        </a:lnTo>
                        <a:lnTo>
                          <a:pt x="262" y="53"/>
                        </a:lnTo>
                        <a:lnTo>
                          <a:pt x="342" y="53"/>
                        </a:lnTo>
                        <a:lnTo>
                          <a:pt x="431" y="53"/>
                        </a:lnTo>
                        <a:lnTo>
                          <a:pt x="526" y="53"/>
                        </a:lnTo>
                        <a:lnTo>
                          <a:pt x="623" y="53"/>
                        </a:lnTo>
                        <a:lnTo>
                          <a:pt x="719" y="53"/>
                        </a:lnTo>
                        <a:lnTo>
                          <a:pt x="814" y="53"/>
                        </a:lnTo>
                        <a:lnTo>
                          <a:pt x="902" y="53"/>
                        </a:lnTo>
                        <a:lnTo>
                          <a:pt x="983" y="53"/>
                        </a:lnTo>
                        <a:lnTo>
                          <a:pt x="1053" y="54"/>
                        </a:lnTo>
                        <a:lnTo>
                          <a:pt x="1110" y="54"/>
                        </a:lnTo>
                        <a:lnTo>
                          <a:pt x="1151" y="54"/>
                        </a:lnTo>
                        <a:lnTo>
                          <a:pt x="1174" y="54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339" name="Freeform 184"/>
                  <p:cNvSpPr>
                    <a:spLocks noEditPoints="1"/>
                  </p:cNvSpPr>
                  <p:nvPr/>
                </p:nvSpPr>
                <p:spPr bwMode="auto">
                  <a:xfrm>
                    <a:off x="3382" y="3748"/>
                    <a:ext cx="132" cy="103"/>
                  </a:xfrm>
                  <a:custGeom>
                    <a:avLst/>
                    <a:gdLst>
                      <a:gd name="T0" fmla="*/ 0 w 926"/>
                      <a:gd name="T1" fmla="*/ 0 h 700"/>
                      <a:gd name="T2" fmla="*/ 0 w 926"/>
                      <a:gd name="T3" fmla="*/ 0 h 700"/>
                      <a:gd name="T4" fmla="*/ 0 w 926"/>
                      <a:gd name="T5" fmla="*/ 0 h 700"/>
                      <a:gd name="T6" fmla="*/ 0 w 926"/>
                      <a:gd name="T7" fmla="*/ 0 h 700"/>
                      <a:gd name="T8" fmla="*/ 0 w 926"/>
                      <a:gd name="T9" fmla="*/ 0 h 700"/>
                      <a:gd name="T10" fmla="*/ 0 w 926"/>
                      <a:gd name="T11" fmla="*/ 0 h 700"/>
                      <a:gd name="T12" fmla="*/ 0 w 926"/>
                      <a:gd name="T13" fmla="*/ 0 h 700"/>
                      <a:gd name="T14" fmla="*/ 0 w 926"/>
                      <a:gd name="T15" fmla="*/ 0 h 700"/>
                      <a:gd name="T16" fmla="*/ 0 w 926"/>
                      <a:gd name="T17" fmla="*/ 0 h 700"/>
                      <a:gd name="T18" fmla="*/ 0 w 926"/>
                      <a:gd name="T19" fmla="*/ 0 h 700"/>
                      <a:gd name="T20" fmla="*/ 0 w 926"/>
                      <a:gd name="T21" fmla="*/ 0 h 700"/>
                      <a:gd name="T22" fmla="*/ 0 w 926"/>
                      <a:gd name="T23" fmla="*/ 0 h 700"/>
                      <a:gd name="T24" fmla="*/ 0 w 926"/>
                      <a:gd name="T25" fmla="*/ 0 h 700"/>
                      <a:gd name="T26" fmla="*/ 0 w 926"/>
                      <a:gd name="T27" fmla="*/ 0 h 700"/>
                      <a:gd name="T28" fmla="*/ 0 w 926"/>
                      <a:gd name="T29" fmla="*/ 0 h 700"/>
                      <a:gd name="T30" fmla="*/ 0 w 926"/>
                      <a:gd name="T31" fmla="*/ 0 h 700"/>
                      <a:gd name="T32" fmla="*/ 0 w 926"/>
                      <a:gd name="T33" fmla="*/ 0 h 700"/>
                      <a:gd name="T34" fmla="*/ 0 w 926"/>
                      <a:gd name="T35" fmla="*/ 0 h 700"/>
                      <a:gd name="T36" fmla="*/ 0 w 926"/>
                      <a:gd name="T37" fmla="*/ 0 h 700"/>
                      <a:gd name="T38" fmla="*/ 0 w 926"/>
                      <a:gd name="T39" fmla="*/ 0 h 700"/>
                      <a:gd name="T40" fmla="*/ 0 w 926"/>
                      <a:gd name="T41" fmla="*/ 0 h 700"/>
                      <a:gd name="T42" fmla="*/ 0 w 926"/>
                      <a:gd name="T43" fmla="*/ 0 h 700"/>
                      <a:gd name="T44" fmla="*/ 0 w 926"/>
                      <a:gd name="T45" fmla="*/ 0 h 700"/>
                      <a:gd name="T46" fmla="*/ 0 w 926"/>
                      <a:gd name="T47" fmla="*/ 0 h 700"/>
                      <a:gd name="T48" fmla="*/ 0 w 926"/>
                      <a:gd name="T49" fmla="*/ 0 h 700"/>
                      <a:gd name="T50" fmla="*/ 0 w 926"/>
                      <a:gd name="T51" fmla="*/ 0 h 700"/>
                      <a:gd name="T52" fmla="*/ 0 w 926"/>
                      <a:gd name="T53" fmla="*/ 0 h 700"/>
                      <a:gd name="T54" fmla="*/ 0 w 926"/>
                      <a:gd name="T55" fmla="*/ 0 h 700"/>
                      <a:gd name="T56" fmla="*/ 0 w 926"/>
                      <a:gd name="T57" fmla="*/ 0 h 700"/>
                      <a:gd name="T58" fmla="*/ 0 w 926"/>
                      <a:gd name="T59" fmla="*/ 0 h 700"/>
                      <a:gd name="T60" fmla="*/ 0 w 926"/>
                      <a:gd name="T61" fmla="*/ 0 h 700"/>
                      <a:gd name="T62" fmla="*/ 0 w 926"/>
                      <a:gd name="T63" fmla="*/ 0 h 700"/>
                      <a:gd name="T64" fmla="*/ 0 w 926"/>
                      <a:gd name="T65" fmla="*/ 0 h 700"/>
                      <a:gd name="T66" fmla="*/ 0 w 926"/>
                      <a:gd name="T67" fmla="*/ 0 h 700"/>
                      <a:gd name="T68" fmla="*/ 0 w 926"/>
                      <a:gd name="T69" fmla="*/ 0 h 700"/>
                      <a:gd name="T70" fmla="*/ 0 w 926"/>
                      <a:gd name="T71" fmla="*/ 0 h 700"/>
                      <a:gd name="T72" fmla="*/ 0 w 926"/>
                      <a:gd name="T73" fmla="*/ 0 h 700"/>
                      <a:gd name="T74" fmla="*/ 0 w 926"/>
                      <a:gd name="T75" fmla="*/ 0 h 700"/>
                      <a:gd name="T76" fmla="*/ 0 w 926"/>
                      <a:gd name="T77" fmla="*/ 0 h 700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w 926"/>
                      <a:gd name="T118" fmla="*/ 0 h 700"/>
                      <a:gd name="T119" fmla="*/ 926 w 926"/>
                      <a:gd name="T120" fmla="*/ 700 h 700"/>
                    </a:gdLst>
                    <a:ahLst/>
                    <a:cxnLst>
                      <a:cxn ang="T78">
                        <a:pos x="T0" y="T1"/>
                      </a:cxn>
                      <a:cxn ang="T79">
                        <a:pos x="T2" y="T3"/>
                      </a:cxn>
                      <a:cxn ang="T80">
                        <a:pos x="T4" y="T5"/>
                      </a:cxn>
                      <a:cxn ang="T81">
                        <a:pos x="T6" y="T7"/>
                      </a:cxn>
                      <a:cxn ang="T82">
                        <a:pos x="T8" y="T9"/>
                      </a:cxn>
                      <a:cxn ang="T83">
                        <a:pos x="T10" y="T11"/>
                      </a:cxn>
                      <a:cxn ang="T84">
                        <a:pos x="T12" y="T13"/>
                      </a:cxn>
                      <a:cxn ang="T85">
                        <a:pos x="T14" y="T15"/>
                      </a:cxn>
                      <a:cxn ang="T86">
                        <a:pos x="T16" y="T17"/>
                      </a:cxn>
                      <a:cxn ang="T87">
                        <a:pos x="T18" y="T19"/>
                      </a:cxn>
                      <a:cxn ang="T88">
                        <a:pos x="T20" y="T21"/>
                      </a:cxn>
                      <a:cxn ang="T89">
                        <a:pos x="T22" y="T23"/>
                      </a:cxn>
                      <a:cxn ang="T90">
                        <a:pos x="T24" y="T25"/>
                      </a:cxn>
                      <a:cxn ang="T91">
                        <a:pos x="T26" y="T27"/>
                      </a:cxn>
                      <a:cxn ang="T92">
                        <a:pos x="T28" y="T29"/>
                      </a:cxn>
                      <a:cxn ang="T93">
                        <a:pos x="T30" y="T31"/>
                      </a:cxn>
                      <a:cxn ang="T94">
                        <a:pos x="T32" y="T33"/>
                      </a:cxn>
                      <a:cxn ang="T95">
                        <a:pos x="T34" y="T35"/>
                      </a:cxn>
                      <a:cxn ang="T96">
                        <a:pos x="T36" y="T37"/>
                      </a:cxn>
                      <a:cxn ang="T97">
                        <a:pos x="T38" y="T39"/>
                      </a:cxn>
                      <a:cxn ang="T98">
                        <a:pos x="T40" y="T41"/>
                      </a:cxn>
                      <a:cxn ang="T99">
                        <a:pos x="T42" y="T43"/>
                      </a:cxn>
                      <a:cxn ang="T100">
                        <a:pos x="T44" y="T45"/>
                      </a:cxn>
                      <a:cxn ang="T101">
                        <a:pos x="T46" y="T47"/>
                      </a:cxn>
                      <a:cxn ang="T102">
                        <a:pos x="T48" y="T49"/>
                      </a:cxn>
                      <a:cxn ang="T103">
                        <a:pos x="T50" y="T51"/>
                      </a:cxn>
                      <a:cxn ang="T104">
                        <a:pos x="T52" y="T53"/>
                      </a:cxn>
                      <a:cxn ang="T105">
                        <a:pos x="T54" y="T55"/>
                      </a:cxn>
                      <a:cxn ang="T106">
                        <a:pos x="T56" y="T57"/>
                      </a:cxn>
                      <a:cxn ang="T107">
                        <a:pos x="T58" y="T59"/>
                      </a:cxn>
                      <a:cxn ang="T108">
                        <a:pos x="T60" y="T61"/>
                      </a:cxn>
                      <a:cxn ang="T109">
                        <a:pos x="T62" y="T63"/>
                      </a:cxn>
                      <a:cxn ang="T110">
                        <a:pos x="T64" y="T65"/>
                      </a:cxn>
                      <a:cxn ang="T111">
                        <a:pos x="T66" y="T67"/>
                      </a:cxn>
                      <a:cxn ang="T112">
                        <a:pos x="T68" y="T69"/>
                      </a:cxn>
                      <a:cxn ang="T113">
                        <a:pos x="T70" y="T71"/>
                      </a:cxn>
                      <a:cxn ang="T114">
                        <a:pos x="T72" y="T73"/>
                      </a:cxn>
                      <a:cxn ang="T115">
                        <a:pos x="T74" y="T75"/>
                      </a:cxn>
                      <a:cxn ang="T116">
                        <a:pos x="T76" y="T77"/>
                      </a:cxn>
                    </a:cxnLst>
                    <a:rect l="T117" t="T118" r="T119" b="T120"/>
                    <a:pathLst>
                      <a:path w="926" h="700">
                        <a:moveTo>
                          <a:pt x="890" y="0"/>
                        </a:moveTo>
                        <a:lnTo>
                          <a:pt x="1" y="0"/>
                        </a:lnTo>
                        <a:lnTo>
                          <a:pt x="0" y="700"/>
                        </a:lnTo>
                        <a:lnTo>
                          <a:pt x="920" y="700"/>
                        </a:lnTo>
                        <a:lnTo>
                          <a:pt x="926" y="0"/>
                        </a:lnTo>
                        <a:lnTo>
                          <a:pt x="890" y="0"/>
                        </a:lnTo>
                        <a:close/>
                        <a:moveTo>
                          <a:pt x="854" y="54"/>
                        </a:moveTo>
                        <a:lnTo>
                          <a:pt x="854" y="91"/>
                        </a:lnTo>
                        <a:lnTo>
                          <a:pt x="853" y="160"/>
                        </a:lnTo>
                        <a:lnTo>
                          <a:pt x="853" y="251"/>
                        </a:lnTo>
                        <a:lnTo>
                          <a:pt x="852" y="351"/>
                        </a:lnTo>
                        <a:lnTo>
                          <a:pt x="852" y="451"/>
                        </a:lnTo>
                        <a:lnTo>
                          <a:pt x="851" y="541"/>
                        </a:lnTo>
                        <a:lnTo>
                          <a:pt x="851" y="610"/>
                        </a:lnTo>
                        <a:lnTo>
                          <a:pt x="850" y="647"/>
                        </a:lnTo>
                        <a:lnTo>
                          <a:pt x="801" y="647"/>
                        </a:lnTo>
                        <a:lnTo>
                          <a:pt x="711" y="647"/>
                        </a:lnTo>
                        <a:lnTo>
                          <a:pt x="593" y="647"/>
                        </a:lnTo>
                        <a:lnTo>
                          <a:pt x="460" y="647"/>
                        </a:lnTo>
                        <a:lnTo>
                          <a:pt x="328" y="647"/>
                        </a:lnTo>
                        <a:lnTo>
                          <a:pt x="210" y="647"/>
                        </a:lnTo>
                        <a:lnTo>
                          <a:pt x="119" y="647"/>
                        </a:lnTo>
                        <a:lnTo>
                          <a:pt x="71" y="647"/>
                        </a:lnTo>
                        <a:lnTo>
                          <a:pt x="71" y="610"/>
                        </a:lnTo>
                        <a:lnTo>
                          <a:pt x="71" y="541"/>
                        </a:lnTo>
                        <a:lnTo>
                          <a:pt x="71" y="451"/>
                        </a:lnTo>
                        <a:lnTo>
                          <a:pt x="71" y="351"/>
                        </a:lnTo>
                        <a:lnTo>
                          <a:pt x="71" y="251"/>
                        </a:lnTo>
                        <a:lnTo>
                          <a:pt x="71" y="160"/>
                        </a:lnTo>
                        <a:lnTo>
                          <a:pt x="72" y="91"/>
                        </a:lnTo>
                        <a:lnTo>
                          <a:pt x="72" y="54"/>
                        </a:lnTo>
                        <a:lnTo>
                          <a:pt x="121" y="54"/>
                        </a:lnTo>
                        <a:lnTo>
                          <a:pt x="211" y="54"/>
                        </a:lnTo>
                        <a:lnTo>
                          <a:pt x="330" y="54"/>
                        </a:lnTo>
                        <a:lnTo>
                          <a:pt x="463" y="54"/>
                        </a:lnTo>
                        <a:lnTo>
                          <a:pt x="596" y="54"/>
                        </a:lnTo>
                        <a:lnTo>
                          <a:pt x="714" y="54"/>
                        </a:lnTo>
                        <a:lnTo>
                          <a:pt x="805" y="54"/>
                        </a:lnTo>
                        <a:lnTo>
                          <a:pt x="854" y="54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340" name="Freeform 185"/>
                  <p:cNvSpPr>
                    <a:spLocks noEditPoints="1"/>
                  </p:cNvSpPr>
                  <p:nvPr/>
                </p:nvSpPr>
                <p:spPr bwMode="auto">
                  <a:xfrm>
                    <a:off x="3403" y="3763"/>
                    <a:ext cx="89" cy="68"/>
                  </a:xfrm>
                  <a:custGeom>
                    <a:avLst/>
                    <a:gdLst>
                      <a:gd name="T0" fmla="*/ 0 w 624"/>
                      <a:gd name="T1" fmla="*/ 0 h 472"/>
                      <a:gd name="T2" fmla="*/ 0 w 624"/>
                      <a:gd name="T3" fmla="*/ 0 h 472"/>
                      <a:gd name="T4" fmla="*/ 0 w 624"/>
                      <a:gd name="T5" fmla="*/ 0 h 472"/>
                      <a:gd name="T6" fmla="*/ 0 w 624"/>
                      <a:gd name="T7" fmla="*/ 0 h 472"/>
                      <a:gd name="T8" fmla="*/ 0 w 624"/>
                      <a:gd name="T9" fmla="*/ 0 h 472"/>
                      <a:gd name="T10" fmla="*/ 0 w 624"/>
                      <a:gd name="T11" fmla="*/ 0 h 472"/>
                      <a:gd name="T12" fmla="*/ 0 w 624"/>
                      <a:gd name="T13" fmla="*/ 0 h 472"/>
                      <a:gd name="T14" fmla="*/ 0 w 624"/>
                      <a:gd name="T15" fmla="*/ 0 h 472"/>
                      <a:gd name="T16" fmla="*/ 0 w 624"/>
                      <a:gd name="T17" fmla="*/ 0 h 472"/>
                      <a:gd name="T18" fmla="*/ 0 w 624"/>
                      <a:gd name="T19" fmla="*/ 0 h 472"/>
                      <a:gd name="T20" fmla="*/ 0 w 624"/>
                      <a:gd name="T21" fmla="*/ 0 h 472"/>
                      <a:gd name="T22" fmla="*/ 0 w 624"/>
                      <a:gd name="T23" fmla="*/ 0 h 472"/>
                      <a:gd name="T24" fmla="*/ 0 w 624"/>
                      <a:gd name="T25" fmla="*/ 0 h 472"/>
                      <a:gd name="T26" fmla="*/ 0 w 624"/>
                      <a:gd name="T27" fmla="*/ 0 h 472"/>
                      <a:gd name="T28" fmla="*/ 0 w 624"/>
                      <a:gd name="T29" fmla="*/ 0 h 472"/>
                      <a:gd name="T30" fmla="*/ 0 w 624"/>
                      <a:gd name="T31" fmla="*/ 0 h 472"/>
                      <a:gd name="T32" fmla="*/ 0 w 624"/>
                      <a:gd name="T33" fmla="*/ 0 h 472"/>
                      <a:gd name="T34" fmla="*/ 0 w 624"/>
                      <a:gd name="T35" fmla="*/ 0 h 472"/>
                      <a:gd name="T36" fmla="*/ 0 w 624"/>
                      <a:gd name="T37" fmla="*/ 0 h 472"/>
                      <a:gd name="T38" fmla="*/ 0 w 624"/>
                      <a:gd name="T39" fmla="*/ 0 h 472"/>
                      <a:gd name="T40" fmla="*/ 0 w 624"/>
                      <a:gd name="T41" fmla="*/ 0 h 472"/>
                      <a:gd name="T42" fmla="*/ 0 w 624"/>
                      <a:gd name="T43" fmla="*/ 0 h 472"/>
                      <a:gd name="T44" fmla="*/ 0 w 624"/>
                      <a:gd name="T45" fmla="*/ 0 h 472"/>
                      <a:gd name="T46" fmla="*/ 0 w 624"/>
                      <a:gd name="T47" fmla="*/ 0 h 472"/>
                      <a:gd name="T48" fmla="*/ 0 w 624"/>
                      <a:gd name="T49" fmla="*/ 0 h 472"/>
                      <a:gd name="T50" fmla="*/ 0 w 624"/>
                      <a:gd name="T51" fmla="*/ 0 h 472"/>
                      <a:gd name="T52" fmla="*/ 0 w 624"/>
                      <a:gd name="T53" fmla="*/ 0 h 472"/>
                      <a:gd name="T54" fmla="*/ 0 w 624"/>
                      <a:gd name="T55" fmla="*/ 0 h 472"/>
                      <a:gd name="T56" fmla="*/ 0 w 624"/>
                      <a:gd name="T57" fmla="*/ 0 h 472"/>
                      <a:gd name="T58" fmla="*/ 0 w 624"/>
                      <a:gd name="T59" fmla="*/ 0 h 472"/>
                      <a:gd name="T60" fmla="*/ 0 w 624"/>
                      <a:gd name="T61" fmla="*/ 0 h 472"/>
                      <a:gd name="T62" fmla="*/ 0 w 624"/>
                      <a:gd name="T63" fmla="*/ 0 h 472"/>
                      <a:gd name="T64" fmla="*/ 0 w 624"/>
                      <a:gd name="T65" fmla="*/ 0 h 472"/>
                      <a:gd name="T66" fmla="*/ 0 w 624"/>
                      <a:gd name="T67" fmla="*/ 0 h 472"/>
                      <a:gd name="T68" fmla="*/ 0 w 624"/>
                      <a:gd name="T69" fmla="*/ 0 h 472"/>
                      <a:gd name="T70" fmla="*/ 0 w 624"/>
                      <a:gd name="T71" fmla="*/ 0 h 472"/>
                      <a:gd name="T72" fmla="*/ 0 w 624"/>
                      <a:gd name="T73" fmla="*/ 0 h 472"/>
                      <a:gd name="T74" fmla="*/ 0 w 624"/>
                      <a:gd name="T75" fmla="*/ 0 h 472"/>
                      <a:gd name="T76" fmla="*/ 0 w 624"/>
                      <a:gd name="T77" fmla="*/ 0 h 472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w 624"/>
                      <a:gd name="T118" fmla="*/ 0 h 472"/>
                      <a:gd name="T119" fmla="*/ 624 w 624"/>
                      <a:gd name="T120" fmla="*/ 472 h 472"/>
                    </a:gdLst>
                    <a:ahLst/>
                    <a:cxnLst>
                      <a:cxn ang="T78">
                        <a:pos x="T0" y="T1"/>
                      </a:cxn>
                      <a:cxn ang="T79">
                        <a:pos x="T2" y="T3"/>
                      </a:cxn>
                      <a:cxn ang="T80">
                        <a:pos x="T4" y="T5"/>
                      </a:cxn>
                      <a:cxn ang="T81">
                        <a:pos x="T6" y="T7"/>
                      </a:cxn>
                      <a:cxn ang="T82">
                        <a:pos x="T8" y="T9"/>
                      </a:cxn>
                      <a:cxn ang="T83">
                        <a:pos x="T10" y="T11"/>
                      </a:cxn>
                      <a:cxn ang="T84">
                        <a:pos x="T12" y="T13"/>
                      </a:cxn>
                      <a:cxn ang="T85">
                        <a:pos x="T14" y="T15"/>
                      </a:cxn>
                      <a:cxn ang="T86">
                        <a:pos x="T16" y="T17"/>
                      </a:cxn>
                      <a:cxn ang="T87">
                        <a:pos x="T18" y="T19"/>
                      </a:cxn>
                      <a:cxn ang="T88">
                        <a:pos x="T20" y="T21"/>
                      </a:cxn>
                      <a:cxn ang="T89">
                        <a:pos x="T22" y="T23"/>
                      </a:cxn>
                      <a:cxn ang="T90">
                        <a:pos x="T24" y="T25"/>
                      </a:cxn>
                      <a:cxn ang="T91">
                        <a:pos x="T26" y="T27"/>
                      </a:cxn>
                      <a:cxn ang="T92">
                        <a:pos x="T28" y="T29"/>
                      </a:cxn>
                      <a:cxn ang="T93">
                        <a:pos x="T30" y="T31"/>
                      </a:cxn>
                      <a:cxn ang="T94">
                        <a:pos x="T32" y="T33"/>
                      </a:cxn>
                      <a:cxn ang="T95">
                        <a:pos x="T34" y="T35"/>
                      </a:cxn>
                      <a:cxn ang="T96">
                        <a:pos x="T36" y="T37"/>
                      </a:cxn>
                      <a:cxn ang="T97">
                        <a:pos x="T38" y="T39"/>
                      </a:cxn>
                      <a:cxn ang="T98">
                        <a:pos x="T40" y="T41"/>
                      </a:cxn>
                      <a:cxn ang="T99">
                        <a:pos x="T42" y="T43"/>
                      </a:cxn>
                      <a:cxn ang="T100">
                        <a:pos x="T44" y="T45"/>
                      </a:cxn>
                      <a:cxn ang="T101">
                        <a:pos x="T46" y="T47"/>
                      </a:cxn>
                      <a:cxn ang="T102">
                        <a:pos x="T48" y="T49"/>
                      </a:cxn>
                      <a:cxn ang="T103">
                        <a:pos x="T50" y="T51"/>
                      </a:cxn>
                      <a:cxn ang="T104">
                        <a:pos x="T52" y="T53"/>
                      </a:cxn>
                      <a:cxn ang="T105">
                        <a:pos x="T54" y="T55"/>
                      </a:cxn>
                      <a:cxn ang="T106">
                        <a:pos x="T56" y="T57"/>
                      </a:cxn>
                      <a:cxn ang="T107">
                        <a:pos x="T58" y="T59"/>
                      </a:cxn>
                      <a:cxn ang="T108">
                        <a:pos x="T60" y="T61"/>
                      </a:cxn>
                      <a:cxn ang="T109">
                        <a:pos x="T62" y="T63"/>
                      </a:cxn>
                      <a:cxn ang="T110">
                        <a:pos x="T64" y="T65"/>
                      </a:cxn>
                      <a:cxn ang="T111">
                        <a:pos x="T66" y="T67"/>
                      </a:cxn>
                      <a:cxn ang="T112">
                        <a:pos x="T68" y="T69"/>
                      </a:cxn>
                      <a:cxn ang="T113">
                        <a:pos x="T70" y="T71"/>
                      </a:cxn>
                      <a:cxn ang="T114">
                        <a:pos x="T72" y="T73"/>
                      </a:cxn>
                      <a:cxn ang="T115">
                        <a:pos x="T74" y="T75"/>
                      </a:cxn>
                      <a:cxn ang="T116">
                        <a:pos x="T76" y="T77"/>
                      </a:cxn>
                    </a:cxnLst>
                    <a:rect l="T117" t="T118" r="T119" b="T120"/>
                    <a:pathLst>
                      <a:path w="624" h="472">
                        <a:moveTo>
                          <a:pt x="589" y="0"/>
                        </a:moveTo>
                        <a:lnTo>
                          <a:pt x="1" y="0"/>
                        </a:lnTo>
                        <a:lnTo>
                          <a:pt x="0" y="472"/>
                        </a:lnTo>
                        <a:lnTo>
                          <a:pt x="621" y="472"/>
                        </a:lnTo>
                        <a:lnTo>
                          <a:pt x="624" y="0"/>
                        </a:lnTo>
                        <a:lnTo>
                          <a:pt x="589" y="0"/>
                        </a:lnTo>
                        <a:close/>
                        <a:moveTo>
                          <a:pt x="553" y="53"/>
                        </a:moveTo>
                        <a:lnTo>
                          <a:pt x="553" y="80"/>
                        </a:lnTo>
                        <a:lnTo>
                          <a:pt x="553" y="123"/>
                        </a:lnTo>
                        <a:lnTo>
                          <a:pt x="552" y="177"/>
                        </a:lnTo>
                        <a:lnTo>
                          <a:pt x="552" y="236"/>
                        </a:lnTo>
                        <a:lnTo>
                          <a:pt x="552" y="296"/>
                        </a:lnTo>
                        <a:lnTo>
                          <a:pt x="552" y="349"/>
                        </a:lnTo>
                        <a:lnTo>
                          <a:pt x="551" y="392"/>
                        </a:lnTo>
                        <a:lnTo>
                          <a:pt x="551" y="418"/>
                        </a:lnTo>
                        <a:lnTo>
                          <a:pt x="516" y="418"/>
                        </a:lnTo>
                        <a:lnTo>
                          <a:pt x="459" y="418"/>
                        </a:lnTo>
                        <a:lnTo>
                          <a:pt x="388" y="418"/>
                        </a:lnTo>
                        <a:lnTo>
                          <a:pt x="310" y="418"/>
                        </a:lnTo>
                        <a:lnTo>
                          <a:pt x="232" y="418"/>
                        </a:lnTo>
                        <a:lnTo>
                          <a:pt x="162" y="418"/>
                        </a:lnTo>
                        <a:lnTo>
                          <a:pt x="106" y="418"/>
                        </a:lnTo>
                        <a:lnTo>
                          <a:pt x="71" y="418"/>
                        </a:lnTo>
                        <a:lnTo>
                          <a:pt x="71" y="392"/>
                        </a:lnTo>
                        <a:lnTo>
                          <a:pt x="71" y="349"/>
                        </a:lnTo>
                        <a:lnTo>
                          <a:pt x="71" y="296"/>
                        </a:lnTo>
                        <a:lnTo>
                          <a:pt x="71" y="236"/>
                        </a:lnTo>
                        <a:lnTo>
                          <a:pt x="71" y="177"/>
                        </a:lnTo>
                        <a:lnTo>
                          <a:pt x="72" y="123"/>
                        </a:lnTo>
                        <a:lnTo>
                          <a:pt x="72" y="80"/>
                        </a:lnTo>
                        <a:lnTo>
                          <a:pt x="72" y="53"/>
                        </a:lnTo>
                        <a:lnTo>
                          <a:pt x="107" y="53"/>
                        </a:lnTo>
                        <a:lnTo>
                          <a:pt x="163" y="53"/>
                        </a:lnTo>
                        <a:lnTo>
                          <a:pt x="235" y="53"/>
                        </a:lnTo>
                        <a:lnTo>
                          <a:pt x="313" y="53"/>
                        </a:lnTo>
                        <a:lnTo>
                          <a:pt x="390" y="53"/>
                        </a:lnTo>
                        <a:lnTo>
                          <a:pt x="462" y="53"/>
                        </a:lnTo>
                        <a:lnTo>
                          <a:pt x="518" y="53"/>
                        </a:lnTo>
                        <a:lnTo>
                          <a:pt x="553" y="53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341" name="Freeform 186"/>
                  <p:cNvSpPr>
                    <a:spLocks/>
                  </p:cNvSpPr>
                  <p:nvPr/>
                </p:nvSpPr>
                <p:spPr bwMode="auto">
                  <a:xfrm>
                    <a:off x="3408" y="3768"/>
                    <a:ext cx="79" cy="62"/>
                  </a:xfrm>
                  <a:custGeom>
                    <a:avLst/>
                    <a:gdLst>
                      <a:gd name="T0" fmla="*/ 0 w 556"/>
                      <a:gd name="T1" fmla="*/ 0 h 421"/>
                      <a:gd name="T2" fmla="*/ 0 w 556"/>
                      <a:gd name="T3" fmla="*/ 0 h 421"/>
                      <a:gd name="T4" fmla="*/ 0 w 556"/>
                      <a:gd name="T5" fmla="*/ 0 h 421"/>
                      <a:gd name="T6" fmla="*/ 0 w 556"/>
                      <a:gd name="T7" fmla="*/ 0 h 421"/>
                      <a:gd name="T8" fmla="*/ 0 w 556"/>
                      <a:gd name="T9" fmla="*/ 0 h 421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556"/>
                      <a:gd name="T16" fmla="*/ 0 h 421"/>
                      <a:gd name="T17" fmla="*/ 556 w 556"/>
                      <a:gd name="T18" fmla="*/ 421 h 421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556" h="421">
                        <a:moveTo>
                          <a:pt x="0" y="421"/>
                        </a:moveTo>
                        <a:lnTo>
                          <a:pt x="1" y="0"/>
                        </a:lnTo>
                        <a:lnTo>
                          <a:pt x="556" y="0"/>
                        </a:lnTo>
                        <a:lnTo>
                          <a:pt x="553" y="421"/>
                        </a:lnTo>
                        <a:lnTo>
                          <a:pt x="0" y="421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342" name="Freeform 187"/>
                  <p:cNvSpPr>
                    <a:spLocks/>
                  </p:cNvSpPr>
                  <p:nvPr/>
                </p:nvSpPr>
                <p:spPr bwMode="auto">
                  <a:xfrm>
                    <a:off x="3189" y="3727"/>
                    <a:ext cx="508" cy="134"/>
                  </a:xfrm>
                  <a:custGeom>
                    <a:avLst/>
                    <a:gdLst>
                      <a:gd name="T0" fmla="*/ 0 w 3561"/>
                      <a:gd name="T1" fmla="*/ 0 h 941"/>
                      <a:gd name="T2" fmla="*/ 0 w 3561"/>
                      <a:gd name="T3" fmla="*/ 0 h 941"/>
                      <a:gd name="T4" fmla="*/ 0 w 3561"/>
                      <a:gd name="T5" fmla="*/ 0 h 941"/>
                      <a:gd name="T6" fmla="*/ 0 w 3561"/>
                      <a:gd name="T7" fmla="*/ 0 h 941"/>
                      <a:gd name="T8" fmla="*/ 0 w 3561"/>
                      <a:gd name="T9" fmla="*/ 0 h 941"/>
                      <a:gd name="T10" fmla="*/ 0 w 3561"/>
                      <a:gd name="T11" fmla="*/ 0 h 941"/>
                      <a:gd name="T12" fmla="*/ 0 w 3561"/>
                      <a:gd name="T13" fmla="*/ 0 h 941"/>
                      <a:gd name="T14" fmla="*/ 0 w 3561"/>
                      <a:gd name="T15" fmla="*/ 0 h 941"/>
                      <a:gd name="T16" fmla="*/ 0 w 3561"/>
                      <a:gd name="T17" fmla="*/ 0 h 941"/>
                      <a:gd name="T18" fmla="*/ 0 w 3561"/>
                      <a:gd name="T19" fmla="*/ 0 h 941"/>
                      <a:gd name="T20" fmla="*/ 0 w 3561"/>
                      <a:gd name="T21" fmla="*/ 0 h 941"/>
                      <a:gd name="T22" fmla="*/ 0 w 3561"/>
                      <a:gd name="T23" fmla="*/ 0 h 941"/>
                      <a:gd name="T24" fmla="*/ 0 w 3561"/>
                      <a:gd name="T25" fmla="*/ 0 h 941"/>
                      <a:gd name="T26" fmla="*/ 0 w 3561"/>
                      <a:gd name="T27" fmla="*/ 0 h 941"/>
                      <a:gd name="T28" fmla="*/ 0 w 3561"/>
                      <a:gd name="T29" fmla="*/ 0 h 941"/>
                      <a:gd name="T30" fmla="*/ 0 w 3561"/>
                      <a:gd name="T31" fmla="*/ 0 h 941"/>
                      <a:gd name="T32" fmla="*/ 0 w 3561"/>
                      <a:gd name="T33" fmla="*/ 0 h 941"/>
                      <a:gd name="T34" fmla="*/ 0 w 3561"/>
                      <a:gd name="T35" fmla="*/ 0 h 941"/>
                      <a:gd name="T36" fmla="*/ 0 w 3561"/>
                      <a:gd name="T37" fmla="*/ 0 h 941"/>
                      <a:gd name="T38" fmla="*/ 0 w 3561"/>
                      <a:gd name="T39" fmla="*/ 0 h 941"/>
                      <a:gd name="T40" fmla="*/ 0 w 3561"/>
                      <a:gd name="T41" fmla="*/ 0 h 941"/>
                      <a:gd name="T42" fmla="*/ 0 w 3561"/>
                      <a:gd name="T43" fmla="*/ 0 h 941"/>
                      <a:gd name="T44" fmla="*/ 0 w 3561"/>
                      <a:gd name="T45" fmla="*/ 0 h 941"/>
                      <a:gd name="T46" fmla="*/ 0 w 3561"/>
                      <a:gd name="T47" fmla="*/ 0 h 941"/>
                      <a:gd name="T48" fmla="*/ 0 w 3561"/>
                      <a:gd name="T49" fmla="*/ 0 h 941"/>
                      <a:gd name="T50" fmla="*/ 0 w 3561"/>
                      <a:gd name="T51" fmla="*/ 0 h 941"/>
                      <a:gd name="T52" fmla="*/ 0 w 3561"/>
                      <a:gd name="T53" fmla="*/ 0 h 941"/>
                      <a:gd name="T54" fmla="*/ 0 w 3561"/>
                      <a:gd name="T55" fmla="*/ 0 h 941"/>
                      <a:gd name="T56" fmla="*/ 0 w 3561"/>
                      <a:gd name="T57" fmla="*/ 0 h 941"/>
                      <a:gd name="T58" fmla="*/ 0 w 3561"/>
                      <a:gd name="T59" fmla="*/ 0 h 941"/>
                      <a:gd name="T60" fmla="*/ 0 w 3561"/>
                      <a:gd name="T61" fmla="*/ 0 h 941"/>
                      <a:gd name="T62" fmla="*/ 0 w 3561"/>
                      <a:gd name="T63" fmla="*/ 0 h 941"/>
                      <a:gd name="T64" fmla="*/ 0 w 3561"/>
                      <a:gd name="T65" fmla="*/ 0 h 941"/>
                      <a:gd name="T66" fmla="*/ 0 w 3561"/>
                      <a:gd name="T67" fmla="*/ 0 h 941"/>
                      <a:gd name="T68" fmla="*/ 0 w 3561"/>
                      <a:gd name="T69" fmla="*/ 0 h 941"/>
                      <a:gd name="T70" fmla="*/ 0 w 3561"/>
                      <a:gd name="T71" fmla="*/ 0 h 941"/>
                      <a:gd name="T72" fmla="*/ 0 w 3561"/>
                      <a:gd name="T73" fmla="*/ 0 h 941"/>
                      <a:gd name="T74" fmla="*/ 0 w 3561"/>
                      <a:gd name="T75" fmla="*/ 0 h 941"/>
                      <a:gd name="T76" fmla="*/ 0 w 3561"/>
                      <a:gd name="T77" fmla="*/ 0 h 941"/>
                      <a:gd name="T78" fmla="*/ 0 w 3561"/>
                      <a:gd name="T79" fmla="*/ 0 h 941"/>
                      <a:gd name="T80" fmla="*/ 0 w 3561"/>
                      <a:gd name="T81" fmla="*/ 0 h 941"/>
                      <a:gd name="T82" fmla="*/ 0 w 3561"/>
                      <a:gd name="T83" fmla="*/ 0 h 941"/>
                      <a:gd name="T84" fmla="*/ 0 w 3561"/>
                      <a:gd name="T85" fmla="*/ 0 h 941"/>
                      <a:gd name="T86" fmla="*/ 0 w 3561"/>
                      <a:gd name="T87" fmla="*/ 0 h 941"/>
                      <a:gd name="T88" fmla="*/ 0 w 3561"/>
                      <a:gd name="T89" fmla="*/ 0 h 941"/>
                      <a:gd name="T90" fmla="*/ 0 w 3561"/>
                      <a:gd name="T91" fmla="*/ 0 h 941"/>
                      <a:gd name="T92" fmla="*/ 0 w 3561"/>
                      <a:gd name="T93" fmla="*/ 0 h 941"/>
                      <a:gd name="T94" fmla="*/ 0 w 3561"/>
                      <a:gd name="T95" fmla="*/ 0 h 941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w 3561"/>
                      <a:gd name="T145" fmla="*/ 0 h 941"/>
                      <a:gd name="T146" fmla="*/ 3561 w 3561"/>
                      <a:gd name="T147" fmla="*/ 941 h 941"/>
                    </a:gdLst>
                    <a:ahLst/>
                    <a:cxnLst>
                      <a:cxn ang="T96">
                        <a:pos x="T0" y="T1"/>
                      </a:cxn>
                      <a:cxn ang="T97">
                        <a:pos x="T2" y="T3"/>
                      </a:cxn>
                      <a:cxn ang="T98">
                        <a:pos x="T4" y="T5"/>
                      </a:cxn>
                      <a:cxn ang="T99">
                        <a:pos x="T6" y="T7"/>
                      </a:cxn>
                      <a:cxn ang="T100">
                        <a:pos x="T8" y="T9"/>
                      </a:cxn>
                      <a:cxn ang="T101">
                        <a:pos x="T10" y="T11"/>
                      </a:cxn>
                      <a:cxn ang="T102">
                        <a:pos x="T12" y="T13"/>
                      </a:cxn>
                      <a:cxn ang="T103">
                        <a:pos x="T14" y="T15"/>
                      </a:cxn>
                      <a:cxn ang="T104">
                        <a:pos x="T16" y="T17"/>
                      </a:cxn>
                      <a:cxn ang="T105">
                        <a:pos x="T18" y="T19"/>
                      </a:cxn>
                      <a:cxn ang="T106">
                        <a:pos x="T20" y="T21"/>
                      </a:cxn>
                      <a:cxn ang="T107">
                        <a:pos x="T22" y="T23"/>
                      </a:cxn>
                      <a:cxn ang="T108">
                        <a:pos x="T24" y="T25"/>
                      </a:cxn>
                      <a:cxn ang="T109">
                        <a:pos x="T26" y="T27"/>
                      </a:cxn>
                      <a:cxn ang="T110">
                        <a:pos x="T28" y="T29"/>
                      </a:cxn>
                      <a:cxn ang="T111">
                        <a:pos x="T30" y="T31"/>
                      </a:cxn>
                      <a:cxn ang="T112">
                        <a:pos x="T32" y="T33"/>
                      </a:cxn>
                      <a:cxn ang="T113">
                        <a:pos x="T34" y="T35"/>
                      </a:cxn>
                      <a:cxn ang="T114">
                        <a:pos x="T36" y="T37"/>
                      </a:cxn>
                      <a:cxn ang="T115">
                        <a:pos x="T38" y="T39"/>
                      </a:cxn>
                      <a:cxn ang="T116">
                        <a:pos x="T40" y="T41"/>
                      </a:cxn>
                      <a:cxn ang="T117">
                        <a:pos x="T42" y="T43"/>
                      </a:cxn>
                      <a:cxn ang="T118">
                        <a:pos x="T44" y="T45"/>
                      </a:cxn>
                      <a:cxn ang="T119">
                        <a:pos x="T46" y="T47"/>
                      </a:cxn>
                      <a:cxn ang="T120">
                        <a:pos x="T48" y="T49"/>
                      </a:cxn>
                      <a:cxn ang="T121">
                        <a:pos x="T50" y="T51"/>
                      </a:cxn>
                      <a:cxn ang="T122">
                        <a:pos x="T52" y="T53"/>
                      </a:cxn>
                      <a:cxn ang="T123">
                        <a:pos x="T54" y="T55"/>
                      </a:cxn>
                      <a:cxn ang="T124">
                        <a:pos x="T56" y="T57"/>
                      </a:cxn>
                      <a:cxn ang="T125">
                        <a:pos x="T58" y="T59"/>
                      </a:cxn>
                      <a:cxn ang="T126">
                        <a:pos x="T60" y="T61"/>
                      </a:cxn>
                      <a:cxn ang="T127">
                        <a:pos x="T62" y="T63"/>
                      </a:cxn>
                      <a:cxn ang="T128">
                        <a:pos x="T64" y="T65"/>
                      </a:cxn>
                      <a:cxn ang="T129">
                        <a:pos x="T66" y="T67"/>
                      </a:cxn>
                      <a:cxn ang="T130">
                        <a:pos x="T68" y="T69"/>
                      </a:cxn>
                      <a:cxn ang="T131">
                        <a:pos x="T70" y="T71"/>
                      </a:cxn>
                      <a:cxn ang="T132">
                        <a:pos x="T72" y="T73"/>
                      </a:cxn>
                      <a:cxn ang="T133">
                        <a:pos x="T74" y="T75"/>
                      </a:cxn>
                      <a:cxn ang="T134">
                        <a:pos x="T76" y="T77"/>
                      </a:cxn>
                      <a:cxn ang="T135">
                        <a:pos x="T78" y="T79"/>
                      </a:cxn>
                      <a:cxn ang="T136">
                        <a:pos x="T80" y="T81"/>
                      </a:cxn>
                      <a:cxn ang="T137">
                        <a:pos x="T82" y="T83"/>
                      </a:cxn>
                      <a:cxn ang="T138">
                        <a:pos x="T84" y="T85"/>
                      </a:cxn>
                      <a:cxn ang="T139">
                        <a:pos x="T86" y="T87"/>
                      </a:cxn>
                      <a:cxn ang="T140">
                        <a:pos x="T88" y="T89"/>
                      </a:cxn>
                      <a:cxn ang="T141">
                        <a:pos x="T90" y="T91"/>
                      </a:cxn>
                      <a:cxn ang="T142">
                        <a:pos x="T92" y="T93"/>
                      </a:cxn>
                      <a:cxn ang="T143">
                        <a:pos x="T94" y="T95"/>
                      </a:cxn>
                    </a:cxnLst>
                    <a:rect l="T144" t="T145" r="T146" b="T147"/>
                    <a:pathLst>
                      <a:path w="3561" h="941">
                        <a:moveTo>
                          <a:pt x="3519" y="41"/>
                        </a:moveTo>
                        <a:lnTo>
                          <a:pt x="3462" y="83"/>
                        </a:lnTo>
                        <a:lnTo>
                          <a:pt x="3404" y="123"/>
                        </a:lnTo>
                        <a:lnTo>
                          <a:pt x="3347" y="160"/>
                        </a:lnTo>
                        <a:lnTo>
                          <a:pt x="3289" y="194"/>
                        </a:lnTo>
                        <a:lnTo>
                          <a:pt x="3231" y="226"/>
                        </a:lnTo>
                        <a:lnTo>
                          <a:pt x="3172" y="255"/>
                        </a:lnTo>
                        <a:lnTo>
                          <a:pt x="3115" y="283"/>
                        </a:lnTo>
                        <a:lnTo>
                          <a:pt x="3056" y="308"/>
                        </a:lnTo>
                        <a:lnTo>
                          <a:pt x="2997" y="330"/>
                        </a:lnTo>
                        <a:lnTo>
                          <a:pt x="2936" y="351"/>
                        </a:lnTo>
                        <a:lnTo>
                          <a:pt x="2876" y="370"/>
                        </a:lnTo>
                        <a:lnTo>
                          <a:pt x="2816" y="387"/>
                        </a:lnTo>
                        <a:lnTo>
                          <a:pt x="2756" y="401"/>
                        </a:lnTo>
                        <a:lnTo>
                          <a:pt x="2695" y="414"/>
                        </a:lnTo>
                        <a:lnTo>
                          <a:pt x="2635" y="427"/>
                        </a:lnTo>
                        <a:lnTo>
                          <a:pt x="2572" y="437"/>
                        </a:lnTo>
                        <a:lnTo>
                          <a:pt x="2511" y="446"/>
                        </a:lnTo>
                        <a:lnTo>
                          <a:pt x="2449" y="453"/>
                        </a:lnTo>
                        <a:lnTo>
                          <a:pt x="2387" y="460"/>
                        </a:lnTo>
                        <a:lnTo>
                          <a:pt x="2323" y="464"/>
                        </a:lnTo>
                        <a:lnTo>
                          <a:pt x="2260" y="469"/>
                        </a:lnTo>
                        <a:lnTo>
                          <a:pt x="2196" y="472"/>
                        </a:lnTo>
                        <a:lnTo>
                          <a:pt x="2132" y="475"/>
                        </a:lnTo>
                        <a:lnTo>
                          <a:pt x="2068" y="476"/>
                        </a:lnTo>
                        <a:lnTo>
                          <a:pt x="1937" y="478"/>
                        </a:lnTo>
                        <a:lnTo>
                          <a:pt x="1806" y="477"/>
                        </a:lnTo>
                        <a:lnTo>
                          <a:pt x="1672" y="475"/>
                        </a:lnTo>
                        <a:lnTo>
                          <a:pt x="1536" y="472"/>
                        </a:lnTo>
                        <a:lnTo>
                          <a:pt x="1468" y="470"/>
                        </a:lnTo>
                        <a:lnTo>
                          <a:pt x="1400" y="466"/>
                        </a:lnTo>
                        <a:lnTo>
                          <a:pt x="1334" y="458"/>
                        </a:lnTo>
                        <a:lnTo>
                          <a:pt x="1267" y="449"/>
                        </a:lnTo>
                        <a:lnTo>
                          <a:pt x="1202" y="438"/>
                        </a:lnTo>
                        <a:lnTo>
                          <a:pt x="1137" y="424"/>
                        </a:lnTo>
                        <a:lnTo>
                          <a:pt x="1073" y="410"/>
                        </a:lnTo>
                        <a:lnTo>
                          <a:pt x="1011" y="393"/>
                        </a:lnTo>
                        <a:lnTo>
                          <a:pt x="950" y="375"/>
                        </a:lnTo>
                        <a:lnTo>
                          <a:pt x="890" y="358"/>
                        </a:lnTo>
                        <a:lnTo>
                          <a:pt x="831" y="338"/>
                        </a:lnTo>
                        <a:lnTo>
                          <a:pt x="774" y="318"/>
                        </a:lnTo>
                        <a:lnTo>
                          <a:pt x="719" y="296"/>
                        </a:lnTo>
                        <a:lnTo>
                          <a:pt x="666" y="275"/>
                        </a:lnTo>
                        <a:lnTo>
                          <a:pt x="614" y="253"/>
                        </a:lnTo>
                        <a:lnTo>
                          <a:pt x="565" y="232"/>
                        </a:lnTo>
                        <a:lnTo>
                          <a:pt x="517" y="210"/>
                        </a:lnTo>
                        <a:lnTo>
                          <a:pt x="471" y="189"/>
                        </a:lnTo>
                        <a:lnTo>
                          <a:pt x="429" y="167"/>
                        </a:lnTo>
                        <a:lnTo>
                          <a:pt x="389" y="146"/>
                        </a:lnTo>
                        <a:lnTo>
                          <a:pt x="315" y="107"/>
                        </a:lnTo>
                        <a:lnTo>
                          <a:pt x="254" y="72"/>
                        </a:lnTo>
                        <a:lnTo>
                          <a:pt x="204" y="43"/>
                        </a:lnTo>
                        <a:lnTo>
                          <a:pt x="168" y="19"/>
                        </a:lnTo>
                        <a:lnTo>
                          <a:pt x="145" y="5"/>
                        </a:lnTo>
                        <a:lnTo>
                          <a:pt x="137" y="0"/>
                        </a:lnTo>
                        <a:lnTo>
                          <a:pt x="122" y="34"/>
                        </a:lnTo>
                        <a:lnTo>
                          <a:pt x="107" y="65"/>
                        </a:lnTo>
                        <a:lnTo>
                          <a:pt x="93" y="93"/>
                        </a:lnTo>
                        <a:lnTo>
                          <a:pt x="78" y="118"/>
                        </a:lnTo>
                        <a:lnTo>
                          <a:pt x="53" y="164"/>
                        </a:lnTo>
                        <a:lnTo>
                          <a:pt x="31" y="202"/>
                        </a:lnTo>
                        <a:lnTo>
                          <a:pt x="23" y="220"/>
                        </a:lnTo>
                        <a:lnTo>
                          <a:pt x="15" y="236"/>
                        </a:lnTo>
                        <a:lnTo>
                          <a:pt x="8" y="252"/>
                        </a:lnTo>
                        <a:lnTo>
                          <a:pt x="4" y="268"/>
                        </a:lnTo>
                        <a:lnTo>
                          <a:pt x="1" y="283"/>
                        </a:lnTo>
                        <a:lnTo>
                          <a:pt x="0" y="299"/>
                        </a:lnTo>
                        <a:lnTo>
                          <a:pt x="0" y="314"/>
                        </a:lnTo>
                        <a:lnTo>
                          <a:pt x="4" y="331"/>
                        </a:lnTo>
                        <a:lnTo>
                          <a:pt x="9" y="348"/>
                        </a:lnTo>
                        <a:lnTo>
                          <a:pt x="19" y="365"/>
                        </a:lnTo>
                        <a:lnTo>
                          <a:pt x="33" y="385"/>
                        </a:lnTo>
                        <a:lnTo>
                          <a:pt x="49" y="406"/>
                        </a:lnTo>
                        <a:lnTo>
                          <a:pt x="70" y="427"/>
                        </a:lnTo>
                        <a:lnTo>
                          <a:pt x="94" y="450"/>
                        </a:lnTo>
                        <a:lnTo>
                          <a:pt x="122" y="472"/>
                        </a:lnTo>
                        <a:lnTo>
                          <a:pt x="152" y="497"/>
                        </a:lnTo>
                        <a:lnTo>
                          <a:pt x="185" y="521"/>
                        </a:lnTo>
                        <a:lnTo>
                          <a:pt x="222" y="546"/>
                        </a:lnTo>
                        <a:lnTo>
                          <a:pt x="261" y="570"/>
                        </a:lnTo>
                        <a:lnTo>
                          <a:pt x="303" y="596"/>
                        </a:lnTo>
                        <a:lnTo>
                          <a:pt x="348" y="620"/>
                        </a:lnTo>
                        <a:lnTo>
                          <a:pt x="395" y="646"/>
                        </a:lnTo>
                        <a:lnTo>
                          <a:pt x="444" y="670"/>
                        </a:lnTo>
                        <a:lnTo>
                          <a:pt x="497" y="695"/>
                        </a:lnTo>
                        <a:lnTo>
                          <a:pt x="550" y="718"/>
                        </a:lnTo>
                        <a:lnTo>
                          <a:pt x="606" y="742"/>
                        </a:lnTo>
                        <a:lnTo>
                          <a:pt x="664" y="765"/>
                        </a:lnTo>
                        <a:lnTo>
                          <a:pt x="724" y="786"/>
                        </a:lnTo>
                        <a:lnTo>
                          <a:pt x="785" y="807"/>
                        </a:lnTo>
                        <a:lnTo>
                          <a:pt x="847" y="827"/>
                        </a:lnTo>
                        <a:lnTo>
                          <a:pt x="912" y="846"/>
                        </a:lnTo>
                        <a:lnTo>
                          <a:pt x="978" y="863"/>
                        </a:lnTo>
                        <a:lnTo>
                          <a:pt x="1044" y="878"/>
                        </a:lnTo>
                        <a:lnTo>
                          <a:pt x="1112" y="893"/>
                        </a:lnTo>
                        <a:lnTo>
                          <a:pt x="1181" y="906"/>
                        </a:lnTo>
                        <a:lnTo>
                          <a:pt x="1250" y="916"/>
                        </a:lnTo>
                        <a:lnTo>
                          <a:pt x="1321" y="926"/>
                        </a:lnTo>
                        <a:lnTo>
                          <a:pt x="1393" y="933"/>
                        </a:lnTo>
                        <a:lnTo>
                          <a:pt x="1464" y="937"/>
                        </a:lnTo>
                        <a:lnTo>
                          <a:pt x="1536" y="940"/>
                        </a:lnTo>
                        <a:lnTo>
                          <a:pt x="1608" y="941"/>
                        </a:lnTo>
                        <a:lnTo>
                          <a:pt x="1679" y="941"/>
                        </a:lnTo>
                        <a:lnTo>
                          <a:pt x="1749" y="941"/>
                        </a:lnTo>
                        <a:lnTo>
                          <a:pt x="1819" y="940"/>
                        </a:lnTo>
                        <a:lnTo>
                          <a:pt x="1888" y="937"/>
                        </a:lnTo>
                        <a:lnTo>
                          <a:pt x="1957" y="935"/>
                        </a:lnTo>
                        <a:lnTo>
                          <a:pt x="2025" y="932"/>
                        </a:lnTo>
                        <a:lnTo>
                          <a:pt x="2093" y="927"/>
                        </a:lnTo>
                        <a:lnTo>
                          <a:pt x="2160" y="922"/>
                        </a:lnTo>
                        <a:lnTo>
                          <a:pt x="2225" y="915"/>
                        </a:lnTo>
                        <a:lnTo>
                          <a:pt x="2291" y="909"/>
                        </a:lnTo>
                        <a:lnTo>
                          <a:pt x="2357" y="900"/>
                        </a:lnTo>
                        <a:lnTo>
                          <a:pt x="2421" y="890"/>
                        </a:lnTo>
                        <a:lnTo>
                          <a:pt x="2485" y="880"/>
                        </a:lnTo>
                        <a:lnTo>
                          <a:pt x="2549" y="867"/>
                        </a:lnTo>
                        <a:lnTo>
                          <a:pt x="2611" y="854"/>
                        </a:lnTo>
                        <a:lnTo>
                          <a:pt x="2674" y="841"/>
                        </a:lnTo>
                        <a:lnTo>
                          <a:pt x="2736" y="825"/>
                        </a:lnTo>
                        <a:lnTo>
                          <a:pt x="2797" y="808"/>
                        </a:lnTo>
                        <a:lnTo>
                          <a:pt x="2859" y="789"/>
                        </a:lnTo>
                        <a:lnTo>
                          <a:pt x="2919" y="771"/>
                        </a:lnTo>
                        <a:lnTo>
                          <a:pt x="2979" y="749"/>
                        </a:lnTo>
                        <a:lnTo>
                          <a:pt x="3039" y="727"/>
                        </a:lnTo>
                        <a:lnTo>
                          <a:pt x="3098" y="703"/>
                        </a:lnTo>
                        <a:lnTo>
                          <a:pt x="3157" y="678"/>
                        </a:lnTo>
                        <a:lnTo>
                          <a:pt x="3216" y="650"/>
                        </a:lnTo>
                        <a:lnTo>
                          <a:pt x="3274" y="623"/>
                        </a:lnTo>
                        <a:lnTo>
                          <a:pt x="3330" y="592"/>
                        </a:lnTo>
                        <a:lnTo>
                          <a:pt x="3388" y="560"/>
                        </a:lnTo>
                        <a:lnTo>
                          <a:pt x="3445" y="527"/>
                        </a:lnTo>
                        <a:lnTo>
                          <a:pt x="3502" y="491"/>
                        </a:lnTo>
                        <a:lnTo>
                          <a:pt x="3557" y="453"/>
                        </a:lnTo>
                        <a:lnTo>
                          <a:pt x="3560" y="437"/>
                        </a:lnTo>
                        <a:lnTo>
                          <a:pt x="3561" y="416"/>
                        </a:lnTo>
                        <a:lnTo>
                          <a:pt x="3561" y="391"/>
                        </a:lnTo>
                        <a:lnTo>
                          <a:pt x="3561" y="364"/>
                        </a:lnTo>
                        <a:lnTo>
                          <a:pt x="3559" y="303"/>
                        </a:lnTo>
                        <a:lnTo>
                          <a:pt x="3553" y="239"/>
                        </a:lnTo>
                        <a:lnTo>
                          <a:pt x="3545" y="174"/>
                        </a:lnTo>
                        <a:lnTo>
                          <a:pt x="3537" y="116"/>
                        </a:lnTo>
                        <a:lnTo>
                          <a:pt x="3533" y="92"/>
                        </a:lnTo>
                        <a:lnTo>
                          <a:pt x="3527" y="71"/>
                        </a:lnTo>
                        <a:lnTo>
                          <a:pt x="3523" y="53"/>
                        </a:lnTo>
                        <a:lnTo>
                          <a:pt x="3519" y="41"/>
                        </a:lnTo>
                        <a:close/>
                      </a:path>
                    </a:pathLst>
                  </a:custGeom>
                  <a:solidFill>
                    <a:srgbClr val="C93A27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343" name="Freeform 188"/>
                  <p:cNvSpPr>
                    <a:spLocks/>
                  </p:cNvSpPr>
                  <p:nvPr/>
                </p:nvSpPr>
                <p:spPr bwMode="auto">
                  <a:xfrm>
                    <a:off x="3186" y="3764"/>
                    <a:ext cx="511" cy="95"/>
                  </a:xfrm>
                  <a:custGeom>
                    <a:avLst/>
                    <a:gdLst>
                      <a:gd name="T0" fmla="*/ 0 w 3561"/>
                      <a:gd name="T1" fmla="*/ 0 h 668"/>
                      <a:gd name="T2" fmla="*/ 0 w 3561"/>
                      <a:gd name="T3" fmla="*/ 0 h 668"/>
                      <a:gd name="T4" fmla="*/ 0 w 3561"/>
                      <a:gd name="T5" fmla="*/ 0 h 668"/>
                      <a:gd name="T6" fmla="*/ 0 w 3561"/>
                      <a:gd name="T7" fmla="*/ 0 h 668"/>
                      <a:gd name="T8" fmla="*/ 0 w 3561"/>
                      <a:gd name="T9" fmla="*/ 0 h 668"/>
                      <a:gd name="T10" fmla="*/ 0 w 3561"/>
                      <a:gd name="T11" fmla="*/ 0 h 668"/>
                      <a:gd name="T12" fmla="*/ 0 w 3561"/>
                      <a:gd name="T13" fmla="*/ 0 h 668"/>
                      <a:gd name="T14" fmla="*/ 0 w 3561"/>
                      <a:gd name="T15" fmla="*/ 0 h 668"/>
                      <a:gd name="T16" fmla="*/ 0 w 3561"/>
                      <a:gd name="T17" fmla="*/ 0 h 668"/>
                      <a:gd name="T18" fmla="*/ 0 w 3561"/>
                      <a:gd name="T19" fmla="*/ 0 h 668"/>
                      <a:gd name="T20" fmla="*/ 0 w 3561"/>
                      <a:gd name="T21" fmla="*/ 0 h 668"/>
                      <a:gd name="T22" fmla="*/ 0 w 3561"/>
                      <a:gd name="T23" fmla="*/ 0 h 668"/>
                      <a:gd name="T24" fmla="*/ 0 w 3561"/>
                      <a:gd name="T25" fmla="*/ 0 h 668"/>
                      <a:gd name="T26" fmla="*/ 0 w 3561"/>
                      <a:gd name="T27" fmla="*/ 0 h 668"/>
                      <a:gd name="T28" fmla="*/ 0 w 3561"/>
                      <a:gd name="T29" fmla="*/ 0 h 668"/>
                      <a:gd name="T30" fmla="*/ 0 w 3561"/>
                      <a:gd name="T31" fmla="*/ 0 h 668"/>
                      <a:gd name="T32" fmla="*/ 0 w 3561"/>
                      <a:gd name="T33" fmla="*/ 0 h 668"/>
                      <a:gd name="T34" fmla="*/ 0 w 3561"/>
                      <a:gd name="T35" fmla="*/ 0 h 668"/>
                      <a:gd name="T36" fmla="*/ 0 w 3561"/>
                      <a:gd name="T37" fmla="*/ 0 h 668"/>
                      <a:gd name="T38" fmla="*/ 0 w 3561"/>
                      <a:gd name="T39" fmla="*/ 0 h 668"/>
                      <a:gd name="T40" fmla="*/ 0 w 3561"/>
                      <a:gd name="T41" fmla="*/ 0 h 668"/>
                      <a:gd name="T42" fmla="*/ 0 w 3561"/>
                      <a:gd name="T43" fmla="*/ 0 h 668"/>
                      <a:gd name="T44" fmla="*/ 0 w 3561"/>
                      <a:gd name="T45" fmla="*/ 0 h 668"/>
                      <a:gd name="T46" fmla="*/ 0 w 3561"/>
                      <a:gd name="T47" fmla="*/ 0 h 668"/>
                      <a:gd name="T48" fmla="*/ 0 w 3561"/>
                      <a:gd name="T49" fmla="*/ 0 h 668"/>
                      <a:gd name="T50" fmla="*/ 0 w 3561"/>
                      <a:gd name="T51" fmla="*/ 0 h 668"/>
                      <a:gd name="T52" fmla="*/ 0 w 3561"/>
                      <a:gd name="T53" fmla="*/ 0 h 668"/>
                      <a:gd name="T54" fmla="*/ 0 w 3561"/>
                      <a:gd name="T55" fmla="*/ 0 h 668"/>
                      <a:gd name="T56" fmla="*/ 0 w 3561"/>
                      <a:gd name="T57" fmla="*/ 0 h 668"/>
                      <a:gd name="T58" fmla="*/ 0 w 3561"/>
                      <a:gd name="T59" fmla="*/ 0 h 668"/>
                      <a:gd name="T60" fmla="*/ 0 w 3561"/>
                      <a:gd name="T61" fmla="*/ 0 h 668"/>
                      <a:gd name="T62" fmla="*/ 0 w 3561"/>
                      <a:gd name="T63" fmla="*/ 0 h 668"/>
                      <a:gd name="T64" fmla="*/ 0 w 3561"/>
                      <a:gd name="T65" fmla="*/ 0 h 668"/>
                      <a:gd name="T66" fmla="*/ 0 w 3561"/>
                      <a:gd name="T67" fmla="*/ 0 h 668"/>
                      <a:gd name="T68" fmla="*/ 0 w 3561"/>
                      <a:gd name="T69" fmla="*/ 0 h 668"/>
                      <a:gd name="T70" fmla="*/ 0 w 3561"/>
                      <a:gd name="T71" fmla="*/ 0 h 668"/>
                      <a:gd name="T72" fmla="*/ 0 w 3561"/>
                      <a:gd name="T73" fmla="*/ 0 h 668"/>
                      <a:gd name="T74" fmla="*/ 0 w 3561"/>
                      <a:gd name="T75" fmla="*/ 0 h 668"/>
                      <a:gd name="T76" fmla="*/ 0 w 3561"/>
                      <a:gd name="T77" fmla="*/ 0 h 668"/>
                      <a:gd name="T78" fmla="*/ 0 w 3561"/>
                      <a:gd name="T79" fmla="*/ 0 h 668"/>
                      <a:gd name="T80" fmla="*/ 0 w 3561"/>
                      <a:gd name="T81" fmla="*/ 0 h 668"/>
                      <a:gd name="T82" fmla="*/ 0 w 3561"/>
                      <a:gd name="T83" fmla="*/ 0 h 668"/>
                      <a:gd name="T84" fmla="*/ 0 w 3561"/>
                      <a:gd name="T85" fmla="*/ 0 h 668"/>
                      <a:gd name="T86" fmla="*/ 0 w 3561"/>
                      <a:gd name="T87" fmla="*/ 0 h 668"/>
                      <a:gd name="T88" fmla="*/ 0 w 3561"/>
                      <a:gd name="T89" fmla="*/ 0 h 668"/>
                      <a:gd name="T90" fmla="*/ 0 w 3561"/>
                      <a:gd name="T91" fmla="*/ 0 h 668"/>
                      <a:gd name="T92" fmla="*/ 0 w 3561"/>
                      <a:gd name="T93" fmla="*/ 0 h 668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w 3561"/>
                      <a:gd name="T142" fmla="*/ 0 h 668"/>
                      <a:gd name="T143" fmla="*/ 3561 w 3561"/>
                      <a:gd name="T144" fmla="*/ 668 h 668"/>
                    </a:gdLst>
                    <a:ahLst/>
                    <a:cxnLst>
                      <a:cxn ang="T94">
                        <a:pos x="T0" y="T1"/>
                      </a:cxn>
                      <a:cxn ang="T95">
                        <a:pos x="T2" y="T3"/>
                      </a:cxn>
                      <a:cxn ang="T96">
                        <a:pos x="T4" y="T5"/>
                      </a:cxn>
                      <a:cxn ang="T97">
                        <a:pos x="T6" y="T7"/>
                      </a:cxn>
                      <a:cxn ang="T98">
                        <a:pos x="T8" y="T9"/>
                      </a:cxn>
                      <a:cxn ang="T99">
                        <a:pos x="T10" y="T11"/>
                      </a:cxn>
                      <a:cxn ang="T100">
                        <a:pos x="T12" y="T13"/>
                      </a:cxn>
                      <a:cxn ang="T101">
                        <a:pos x="T14" y="T15"/>
                      </a:cxn>
                      <a:cxn ang="T102">
                        <a:pos x="T16" y="T17"/>
                      </a:cxn>
                      <a:cxn ang="T103">
                        <a:pos x="T18" y="T19"/>
                      </a:cxn>
                      <a:cxn ang="T104">
                        <a:pos x="T20" y="T21"/>
                      </a:cxn>
                      <a:cxn ang="T105">
                        <a:pos x="T22" y="T23"/>
                      </a:cxn>
                      <a:cxn ang="T106">
                        <a:pos x="T24" y="T25"/>
                      </a:cxn>
                      <a:cxn ang="T107">
                        <a:pos x="T26" y="T27"/>
                      </a:cxn>
                      <a:cxn ang="T108">
                        <a:pos x="T28" y="T29"/>
                      </a:cxn>
                      <a:cxn ang="T109">
                        <a:pos x="T30" y="T31"/>
                      </a:cxn>
                      <a:cxn ang="T110">
                        <a:pos x="T32" y="T33"/>
                      </a:cxn>
                      <a:cxn ang="T111">
                        <a:pos x="T34" y="T35"/>
                      </a:cxn>
                      <a:cxn ang="T112">
                        <a:pos x="T36" y="T37"/>
                      </a:cxn>
                      <a:cxn ang="T113">
                        <a:pos x="T38" y="T39"/>
                      </a:cxn>
                      <a:cxn ang="T114">
                        <a:pos x="T40" y="T41"/>
                      </a:cxn>
                      <a:cxn ang="T115">
                        <a:pos x="T42" y="T43"/>
                      </a:cxn>
                      <a:cxn ang="T116">
                        <a:pos x="T44" y="T45"/>
                      </a:cxn>
                      <a:cxn ang="T117">
                        <a:pos x="T46" y="T47"/>
                      </a:cxn>
                      <a:cxn ang="T118">
                        <a:pos x="T48" y="T49"/>
                      </a:cxn>
                      <a:cxn ang="T119">
                        <a:pos x="T50" y="T51"/>
                      </a:cxn>
                      <a:cxn ang="T120">
                        <a:pos x="T52" y="T53"/>
                      </a:cxn>
                      <a:cxn ang="T121">
                        <a:pos x="T54" y="T55"/>
                      </a:cxn>
                      <a:cxn ang="T122">
                        <a:pos x="T56" y="T57"/>
                      </a:cxn>
                      <a:cxn ang="T123">
                        <a:pos x="T58" y="T59"/>
                      </a:cxn>
                      <a:cxn ang="T124">
                        <a:pos x="T60" y="T61"/>
                      </a:cxn>
                      <a:cxn ang="T125">
                        <a:pos x="T62" y="T63"/>
                      </a:cxn>
                      <a:cxn ang="T126">
                        <a:pos x="T64" y="T65"/>
                      </a:cxn>
                      <a:cxn ang="T127">
                        <a:pos x="T66" y="T67"/>
                      </a:cxn>
                      <a:cxn ang="T128">
                        <a:pos x="T68" y="T69"/>
                      </a:cxn>
                      <a:cxn ang="T129">
                        <a:pos x="T70" y="T71"/>
                      </a:cxn>
                      <a:cxn ang="T130">
                        <a:pos x="T72" y="T73"/>
                      </a:cxn>
                      <a:cxn ang="T131">
                        <a:pos x="T74" y="T75"/>
                      </a:cxn>
                      <a:cxn ang="T132">
                        <a:pos x="T76" y="T77"/>
                      </a:cxn>
                      <a:cxn ang="T133">
                        <a:pos x="T78" y="T79"/>
                      </a:cxn>
                      <a:cxn ang="T134">
                        <a:pos x="T80" y="T81"/>
                      </a:cxn>
                      <a:cxn ang="T135">
                        <a:pos x="T82" y="T83"/>
                      </a:cxn>
                      <a:cxn ang="T136">
                        <a:pos x="T84" y="T85"/>
                      </a:cxn>
                      <a:cxn ang="T137">
                        <a:pos x="T86" y="T87"/>
                      </a:cxn>
                      <a:cxn ang="T138">
                        <a:pos x="T88" y="T89"/>
                      </a:cxn>
                      <a:cxn ang="T139">
                        <a:pos x="T90" y="T91"/>
                      </a:cxn>
                      <a:cxn ang="T140">
                        <a:pos x="T92" y="T93"/>
                      </a:cxn>
                    </a:cxnLst>
                    <a:rect l="T141" t="T142" r="T143" b="T144"/>
                    <a:pathLst>
                      <a:path w="3561" h="668">
                        <a:moveTo>
                          <a:pt x="3557" y="128"/>
                        </a:moveTo>
                        <a:lnTo>
                          <a:pt x="3501" y="165"/>
                        </a:lnTo>
                        <a:lnTo>
                          <a:pt x="3444" y="200"/>
                        </a:lnTo>
                        <a:lnTo>
                          <a:pt x="3388" y="234"/>
                        </a:lnTo>
                        <a:lnTo>
                          <a:pt x="3330" y="266"/>
                        </a:lnTo>
                        <a:lnTo>
                          <a:pt x="3273" y="296"/>
                        </a:lnTo>
                        <a:lnTo>
                          <a:pt x="3215" y="325"/>
                        </a:lnTo>
                        <a:lnTo>
                          <a:pt x="3156" y="352"/>
                        </a:lnTo>
                        <a:lnTo>
                          <a:pt x="3097" y="377"/>
                        </a:lnTo>
                        <a:lnTo>
                          <a:pt x="3038" y="401"/>
                        </a:lnTo>
                        <a:lnTo>
                          <a:pt x="2979" y="424"/>
                        </a:lnTo>
                        <a:lnTo>
                          <a:pt x="2918" y="444"/>
                        </a:lnTo>
                        <a:lnTo>
                          <a:pt x="2858" y="464"/>
                        </a:lnTo>
                        <a:lnTo>
                          <a:pt x="2797" y="482"/>
                        </a:lnTo>
                        <a:lnTo>
                          <a:pt x="2735" y="499"/>
                        </a:lnTo>
                        <a:lnTo>
                          <a:pt x="2673" y="514"/>
                        </a:lnTo>
                        <a:lnTo>
                          <a:pt x="2611" y="529"/>
                        </a:lnTo>
                        <a:lnTo>
                          <a:pt x="2548" y="542"/>
                        </a:lnTo>
                        <a:lnTo>
                          <a:pt x="2485" y="553"/>
                        </a:lnTo>
                        <a:lnTo>
                          <a:pt x="2420" y="564"/>
                        </a:lnTo>
                        <a:lnTo>
                          <a:pt x="2356" y="573"/>
                        </a:lnTo>
                        <a:lnTo>
                          <a:pt x="2290" y="582"/>
                        </a:lnTo>
                        <a:lnTo>
                          <a:pt x="2225" y="590"/>
                        </a:lnTo>
                        <a:lnTo>
                          <a:pt x="2159" y="595"/>
                        </a:lnTo>
                        <a:lnTo>
                          <a:pt x="2092" y="601"/>
                        </a:lnTo>
                        <a:lnTo>
                          <a:pt x="2024" y="605"/>
                        </a:lnTo>
                        <a:lnTo>
                          <a:pt x="1956" y="609"/>
                        </a:lnTo>
                        <a:lnTo>
                          <a:pt x="1888" y="612"/>
                        </a:lnTo>
                        <a:lnTo>
                          <a:pt x="1818" y="614"/>
                        </a:lnTo>
                        <a:lnTo>
                          <a:pt x="1749" y="615"/>
                        </a:lnTo>
                        <a:lnTo>
                          <a:pt x="1678" y="615"/>
                        </a:lnTo>
                        <a:lnTo>
                          <a:pt x="1607" y="615"/>
                        </a:lnTo>
                        <a:lnTo>
                          <a:pt x="1536" y="614"/>
                        </a:lnTo>
                        <a:lnTo>
                          <a:pt x="1463" y="612"/>
                        </a:lnTo>
                        <a:lnTo>
                          <a:pt x="1392" y="607"/>
                        </a:lnTo>
                        <a:lnTo>
                          <a:pt x="1321" y="600"/>
                        </a:lnTo>
                        <a:lnTo>
                          <a:pt x="1250" y="591"/>
                        </a:lnTo>
                        <a:lnTo>
                          <a:pt x="1181" y="580"/>
                        </a:lnTo>
                        <a:lnTo>
                          <a:pt x="1112" y="568"/>
                        </a:lnTo>
                        <a:lnTo>
                          <a:pt x="1044" y="553"/>
                        </a:lnTo>
                        <a:lnTo>
                          <a:pt x="977" y="538"/>
                        </a:lnTo>
                        <a:lnTo>
                          <a:pt x="911" y="520"/>
                        </a:lnTo>
                        <a:lnTo>
                          <a:pt x="847" y="501"/>
                        </a:lnTo>
                        <a:lnTo>
                          <a:pt x="784" y="482"/>
                        </a:lnTo>
                        <a:lnTo>
                          <a:pt x="723" y="461"/>
                        </a:lnTo>
                        <a:lnTo>
                          <a:pt x="663" y="439"/>
                        </a:lnTo>
                        <a:lnTo>
                          <a:pt x="605" y="416"/>
                        </a:lnTo>
                        <a:lnTo>
                          <a:pt x="549" y="393"/>
                        </a:lnTo>
                        <a:lnTo>
                          <a:pt x="496" y="368"/>
                        </a:lnTo>
                        <a:lnTo>
                          <a:pt x="444" y="344"/>
                        </a:lnTo>
                        <a:lnTo>
                          <a:pt x="395" y="319"/>
                        </a:lnTo>
                        <a:lnTo>
                          <a:pt x="347" y="295"/>
                        </a:lnTo>
                        <a:lnTo>
                          <a:pt x="302" y="269"/>
                        </a:lnTo>
                        <a:lnTo>
                          <a:pt x="260" y="245"/>
                        </a:lnTo>
                        <a:lnTo>
                          <a:pt x="221" y="219"/>
                        </a:lnTo>
                        <a:lnTo>
                          <a:pt x="184" y="195"/>
                        </a:lnTo>
                        <a:lnTo>
                          <a:pt x="151" y="170"/>
                        </a:lnTo>
                        <a:lnTo>
                          <a:pt x="121" y="147"/>
                        </a:lnTo>
                        <a:lnTo>
                          <a:pt x="93" y="124"/>
                        </a:lnTo>
                        <a:lnTo>
                          <a:pt x="70" y="101"/>
                        </a:lnTo>
                        <a:lnTo>
                          <a:pt x="49" y="80"/>
                        </a:lnTo>
                        <a:lnTo>
                          <a:pt x="32" y="59"/>
                        </a:lnTo>
                        <a:lnTo>
                          <a:pt x="19" y="40"/>
                        </a:lnTo>
                        <a:lnTo>
                          <a:pt x="9" y="22"/>
                        </a:lnTo>
                        <a:lnTo>
                          <a:pt x="3" y="5"/>
                        </a:lnTo>
                        <a:lnTo>
                          <a:pt x="3" y="2"/>
                        </a:lnTo>
                        <a:lnTo>
                          <a:pt x="2" y="0"/>
                        </a:lnTo>
                        <a:lnTo>
                          <a:pt x="0" y="15"/>
                        </a:lnTo>
                        <a:lnTo>
                          <a:pt x="0" y="28"/>
                        </a:lnTo>
                        <a:lnTo>
                          <a:pt x="1" y="42"/>
                        </a:lnTo>
                        <a:lnTo>
                          <a:pt x="3" y="58"/>
                        </a:lnTo>
                        <a:lnTo>
                          <a:pt x="9" y="75"/>
                        </a:lnTo>
                        <a:lnTo>
                          <a:pt x="19" y="92"/>
                        </a:lnTo>
                        <a:lnTo>
                          <a:pt x="32" y="112"/>
                        </a:lnTo>
                        <a:lnTo>
                          <a:pt x="49" y="133"/>
                        </a:lnTo>
                        <a:lnTo>
                          <a:pt x="70" y="154"/>
                        </a:lnTo>
                        <a:lnTo>
                          <a:pt x="93" y="177"/>
                        </a:lnTo>
                        <a:lnTo>
                          <a:pt x="121" y="199"/>
                        </a:lnTo>
                        <a:lnTo>
                          <a:pt x="151" y="224"/>
                        </a:lnTo>
                        <a:lnTo>
                          <a:pt x="184" y="248"/>
                        </a:lnTo>
                        <a:lnTo>
                          <a:pt x="221" y="273"/>
                        </a:lnTo>
                        <a:lnTo>
                          <a:pt x="260" y="297"/>
                        </a:lnTo>
                        <a:lnTo>
                          <a:pt x="302" y="323"/>
                        </a:lnTo>
                        <a:lnTo>
                          <a:pt x="347" y="347"/>
                        </a:lnTo>
                        <a:lnTo>
                          <a:pt x="395" y="373"/>
                        </a:lnTo>
                        <a:lnTo>
                          <a:pt x="444" y="397"/>
                        </a:lnTo>
                        <a:lnTo>
                          <a:pt x="496" y="422"/>
                        </a:lnTo>
                        <a:lnTo>
                          <a:pt x="549" y="445"/>
                        </a:lnTo>
                        <a:lnTo>
                          <a:pt x="605" y="469"/>
                        </a:lnTo>
                        <a:lnTo>
                          <a:pt x="663" y="492"/>
                        </a:lnTo>
                        <a:lnTo>
                          <a:pt x="723" y="513"/>
                        </a:lnTo>
                        <a:lnTo>
                          <a:pt x="784" y="534"/>
                        </a:lnTo>
                        <a:lnTo>
                          <a:pt x="847" y="554"/>
                        </a:lnTo>
                        <a:lnTo>
                          <a:pt x="911" y="573"/>
                        </a:lnTo>
                        <a:lnTo>
                          <a:pt x="977" y="590"/>
                        </a:lnTo>
                        <a:lnTo>
                          <a:pt x="1044" y="605"/>
                        </a:lnTo>
                        <a:lnTo>
                          <a:pt x="1112" y="620"/>
                        </a:lnTo>
                        <a:lnTo>
                          <a:pt x="1181" y="633"/>
                        </a:lnTo>
                        <a:lnTo>
                          <a:pt x="1250" y="643"/>
                        </a:lnTo>
                        <a:lnTo>
                          <a:pt x="1321" y="653"/>
                        </a:lnTo>
                        <a:lnTo>
                          <a:pt x="1392" y="660"/>
                        </a:lnTo>
                        <a:lnTo>
                          <a:pt x="1463" y="664"/>
                        </a:lnTo>
                        <a:lnTo>
                          <a:pt x="1536" y="667"/>
                        </a:lnTo>
                        <a:lnTo>
                          <a:pt x="1607" y="668"/>
                        </a:lnTo>
                        <a:lnTo>
                          <a:pt x="1678" y="668"/>
                        </a:lnTo>
                        <a:lnTo>
                          <a:pt x="1749" y="668"/>
                        </a:lnTo>
                        <a:lnTo>
                          <a:pt x="1818" y="667"/>
                        </a:lnTo>
                        <a:lnTo>
                          <a:pt x="1888" y="664"/>
                        </a:lnTo>
                        <a:lnTo>
                          <a:pt x="1956" y="662"/>
                        </a:lnTo>
                        <a:lnTo>
                          <a:pt x="2024" y="659"/>
                        </a:lnTo>
                        <a:lnTo>
                          <a:pt x="2092" y="654"/>
                        </a:lnTo>
                        <a:lnTo>
                          <a:pt x="2159" y="649"/>
                        </a:lnTo>
                        <a:lnTo>
                          <a:pt x="2225" y="642"/>
                        </a:lnTo>
                        <a:lnTo>
                          <a:pt x="2290" y="636"/>
                        </a:lnTo>
                        <a:lnTo>
                          <a:pt x="2356" y="627"/>
                        </a:lnTo>
                        <a:lnTo>
                          <a:pt x="2420" y="617"/>
                        </a:lnTo>
                        <a:lnTo>
                          <a:pt x="2485" y="607"/>
                        </a:lnTo>
                        <a:lnTo>
                          <a:pt x="2548" y="594"/>
                        </a:lnTo>
                        <a:lnTo>
                          <a:pt x="2611" y="581"/>
                        </a:lnTo>
                        <a:lnTo>
                          <a:pt x="2673" y="568"/>
                        </a:lnTo>
                        <a:lnTo>
                          <a:pt x="2735" y="552"/>
                        </a:lnTo>
                        <a:lnTo>
                          <a:pt x="2797" y="535"/>
                        </a:lnTo>
                        <a:lnTo>
                          <a:pt x="2858" y="516"/>
                        </a:lnTo>
                        <a:lnTo>
                          <a:pt x="2918" y="498"/>
                        </a:lnTo>
                        <a:lnTo>
                          <a:pt x="2979" y="476"/>
                        </a:lnTo>
                        <a:lnTo>
                          <a:pt x="3038" y="454"/>
                        </a:lnTo>
                        <a:lnTo>
                          <a:pt x="3097" y="430"/>
                        </a:lnTo>
                        <a:lnTo>
                          <a:pt x="3156" y="405"/>
                        </a:lnTo>
                        <a:lnTo>
                          <a:pt x="3215" y="377"/>
                        </a:lnTo>
                        <a:lnTo>
                          <a:pt x="3273" y="350"/>
                        </a:lnTo>
                        <a:lnTo>
                          <a:pt x="3330" y="319"/>
                        </a:lnTo>
                        <a:lnTo>
                          <a:pt x="3388" y="287"/>
                        </a:lnTo>
                        <a:lnTo>
                          <a:pt x="3444" y="254"/>
                        </a:lnTo>
                        <a:lnTo>
                          <a:pt x="3501" y="218"/>
                        </a:lnTo>
                        <a:lnTo>
                          <a:pt x="3557" y="180"/>
                        </a:lnTo>
                        <a:lnTo>
                          <a:pt x="3559" y="164"/>
                        </a:lnTo>
                        <a:lnTo>
                          <a:pt x="3560" y="143"/>
                        </a:lnTo>
                        <a:lnTo>
                          <a:pt x="3561" y="118"/>
                        </a:lnTo>
                        <a:lnTo>
                          <a:pt x="3560" y="90"/>
                        </a:lnTo>
                        <a:lnTo>
                          <a:pt x="3560" y="101"/>
                        </a:lnTo>
                        <a:lnTo>
                          <a:pt x="3559" y="111"/>
                        </a:lnTo>
                        <a:lnTo>
                          <a:pt x="3558" y="120"/>
                        </a:lnTo>
                        <a:lnTo>
                          <a:pt x="3557" y="128"/>
                        </a:lnTo>
                        <a:close/>
                      </a:path>
                    </a:pathLst>
                  </a:custGeom>
                  <a:solidFill>
                    <a:srgbClr val="99312C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344" name="Freeform 189"/>
                  <p:cNvSpPr>
                    <a:spLocks/>
                  </p:cNvSpPr>
                  <p:nvPr/>
                </p:nvSpPr>
                <p:spPr bwMode="auto">
                  <a:xfrm>
                    <a:off x="3223" y="3764"/>
                    <a:ext cx="20" cy="18"/>
                  </a:xfrm>
                  <a:custGeom>
                    <a:avLst/>
                    <a:gdLst>
                      <a:gd name="T0" fmla="*/ 0 w 139"/>
                      <a:gd name="T1" fmla="*/ 0 h 125"/>
                      <a:gd name="T2" fmla="*/ 0 w 139"/>
                      <a:gd name="T3" fmla="*/ 0 h 125"/>
                      <a:gd name="T4" fmla="*/ 0 w 139"/>
                      <a:gd name="T5" fmla="*/ 0 h 125"/>
                      <a:gd name="T6" fmla="*/ 0 w 139"/>
                      <a:gd name="T7" fmla="*/ 0 h 125"/>
                      <a:gd name="T8" fmla="*/ 0 w 139"/>
                      <a:gd name="T9" fmla="*/ 0 h 12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39"/>
                      <a:gd name="T16" fmla="*/ 0 h 125"/>
                      <a:gd name="T17" fmla="*/ 139 w 139"/>
                      <a:gd name="T18" fmla="*/ 125 h 12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39" h="125">
                        <a:moveTo>
                          <a:pt x="69" y="125"/>
                        </a:moveTo>
                        <a:lnTo>
                          <a:pt x="0" y="62"/>
                        </a:lnTo>
                        <a:lnTo>
                          <a:pt x="69" y="0"/>
                        </a:lnTo>
                        <a:lnTo>
                          <a:pt x="139" y="62"/>
                        </a:lnTo>
                        <a:lnTo>
                          <a:pt x="69" y="125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345" name="Freeform 190"/>
                  <p:cNvSpPr>
                    <a:spLocks/>
                  </p:cNvSpPr>
                  <p:nvPr/>
                </p:nvSpPr>
                <p:spPr bwMode="auto">
                  <a:xfrm>
                    <a:off x="3251" y="3779"/>
                    <a:ext cx="35" cy="31"/>
                  </a:xfrm>
                  <a:custGeom>
                    <a:avLst/>
                    <a:gdLst>
                      <a:gd name="T0" fmla="*/ 0 w 233"/>
                      <a:gd name="T1" fmla="*/ 0 h 207"/>
                      <a:gd name="T2" fmla="*/ 0 w 233"/>
                      <a:gd name="T3" fmla="*/ 0 h 207"/>
                      <a:gd name="T4" fmla="*/ 0 w 233"/>
                      <a:gd name="T5" fmla="*/ 0 h 207"/>
                      <a:gd name="T6" fmla="*/ 0 w 233"/>
                      <a:gd name="T7" fmla="*/ 0 h 207"/>
                      <a:gd name="T8" fmla="*/ 0 w 233"/>
                      <a:gd name="T9" fmla="*/ 0 h 20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33"/>
                      <a:gd name="T16" fmla="*/ 0 h 207"/>
                      <a:gd name="T17" fmla="*/ 233 w 233"/>
                      <a:gd name="T18" fmla="*/ 207 h 20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33" h="207">
                        <a:moveTo>
                          <a:pt x="96" y="207"/>
                        </a:moveTo>
                        <a:lnTo>
                          <a:pt x="0" y="85"/>
                        </a:lnTo>
                        <a:lnTo>
                          <a:pt x="137" y="0"/>
                        </a:lnTo>
                        <a:lnTo>
                          <a:pt x="233" y="122"/>
                        </a:lnTo>
                        <a:lnTo>
                          <a:pt x="96" y="207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346" name="Freeform 191"/>
                  <p:cNvSpPr>
                    <a:spLocks/>
                  </p:cNvSpPr>
                  <p:nvPr/>
                </p:nvSpPr>
                <p:spPr bwMode="auto">
                  <a:xfrm>
                    <a:off x="3300" y="3802"/>
                    <a:ext cx="17" cy="15"/>
                  </a:xfrm>
                  <a:custGeom>
                    <a:avLst/>
                    <a:gdLst>
                      <a:gd name="T0" fmla="*/ 0 w 122"/>
                      <a:gd name="T1" fmla="*/ 0 h 109"/>
                      <a:gd name="T2" fmla="*/ 0 w 122"/>
                      <a:gd name="T3" fmla="*/ 0 h 109"/>
                      <a:gd name="T4" fmla="*/ 0 w 122"/>
                      <a:gd name="T5" fmla="*/ 0 h 109"/>
                      <a:gd name="T6" fmla="*/ 0 w 122"/>
                      <a:gd name="T7" fmla="*/ 0 h 109"/>
                      <a:gd name="T8" fmla="*/ 0 w 122"/>
                      <a:gd name="T9" fmla="*/ 0 h 10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22"/>
                      <a:gd name="T16" fmla="*/ 0 h 109"/>
                      <a:gd name="T17" fmla="*/ 122 w 122"/>
                      <a:gd name="T18" fmla="*/ 109 h 10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22" h="109">
                        <a:moveTo>
                          <a:pt x="37" y="109"/>
                        </a:moveTo>
                        <a:lnTo>
                          <a:pt x="0" y="32"/>
                        </a:lnTo>
                        <a:lnTo>
                          <a:pt x="86" y="0"/>
                        </a:lnTo>
                        <a:lnTo>
                          <a:pt x="122" y="76"/>
                        </a:lnTo>
                        <a:lnTo>
                          <a:pt x="37" y="109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347" name="Freeform 192"/>
                  <p:cNvSpPr>
                    <a:spLocks/>
                  </p:cNvSpPr>
                  <p:nvPr/>
                </p:nvSpPr>
                <p:spPr bwMode="auto">
                  <a:xfrm>
                    <a:off x="3341" y="3811"/>
                    <a:ext cx="22" cy="19"/>
                  </a:xfrm>
                  <a:custGeom>
                    <a:avLst/>
                    <a:gdLst>
                      <a:gd name="T0" fmla="*/ 0 w 143"/>
                      <a:gd name="T1" fmla="*/ 0 h 128"/>
                      <a:gd name="T2" fmla="*/ 0 w 143"/>
                      <a:gd name="T3" fmla="*/ 0 h 128"/>
                      <a:gd name="T4" fmla="*/ 0 w 143"/>
                      <a:gd name="T5" fmla="*/ 0 h 128"/>
                      <a:gd name="T6" fmla="*/ 0 w 143"/>
                      <a:gd name="T7" fmla="*/ 0 h 128"/>
                      <a:gd name="T8" fmla="*/ 0 w 143"/>
                      <a:gd name="T9" fmla="*/ 0 h 12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43"/>
                      <a:gd name="T16" fmla="*/ 0 h 128"/>
                      <a:gd name="T17" fmla="*/ 143 w 143"/>
                      <a:gd name="T18" fmla="*/ 128 h 12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43" h="128">
                        <a:moveTo>
                          <a:pt x="57" y="128"/>
                        </a:moveTo>
                        <a:lnTo>
                          <a:pt x="0" y="52"/>
                        </a:lnTo>
                        <a:lnTo>
                          <a:pt x="86" y="0"/>
                        </a:lnTo>
                        <a:lnTo>
                          <a:pt x="143" y="77"/>
                        </a:lnTo>
                        <a:lnTo>
                          <a:pt x="57" y="128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348" name="Freeform 193"/>
                  <p:cNvSpPr>
                    <a:spLocks/>
                  </p:cNvSpPr>
                  <p:nvPr/>
                </p:nvSpPr>
                <p:spPr bwMode="auto">
                  <a:xfrm>
                    <a:off x="3668" y="3764"/>
                    <a:ext cx="20" cy="18"/>
                  </a:xfrm>
                  <a:custGeom>
                    <a:avLst/>
                    <a:gdLst>
                      <a:gd name="T0" fmla="*/ 0 w 139"/>
                      <a:gd name="T1" fmla="*/ 0 h 125"/>
                      <a:gd name="T2" fmla="*/ 0 w 139"/>
                      <a:gd name="T3" fmla="*/ 0 h 125"/>
                      <a:gd name="T4" fmla="*/ 0 w 139"/>
                      <a:gd name="T5" fmla="*/ 0 h 125"/>
                      <a:gd name="T6" fmla="*/ 0 w 139"/>
                      <a:gd name="T7" fmla="*/ 0 h 125"/>
                      <a:gd name="T8" fmla="*/ 0 w 139"/>
                      <a:gd name="T9" fmla="*/ 0 h 12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39"/>
                      <a:gd name="T16" fmla="*/ 0 h 125"/>
                      <a:gd name="T17" fmla="*/ 139 w 139"/>
                      <a:gd name="T18" fmla="*/ 125 h 12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39" h="125">
                        <a:moveTo>
                          <a:pt x="69" y="125"/>
                        </a:moveTo>
                        <a:lnTo>
                          <a:pt x="139" y="62"/>
                        </a:lnTo>
                        <a:lnTo>
                          <a:pt x="69" y="0"/>
                        </a:lnTo>
                        <a:lnTo>
                          <a:pt x="0" y="62"/>
                        </a:lnTo>
                        <a:lnTo>
                          <a:pt x="69" y="125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349" name="Freeform 194"/>
                  <p:cNvSpPr>
                    <a:spLocks/>
                  </p:cNvSpPr>
                  <p:nvPr/>
                </p:nvSpPr>
                <p:spPr bwMode="auto">
                  <a:xfrm>
                    <a:off x="3627" y="3779"/>
                    <a:ext cx="33" cy="31"/>
                  </a:xfrm>
                  <a:custGeom>
                    <a:avLst/>
                    <a:gdLst>
                      <a:gd name="T0" fmla="*/ 0 w 231"/>
                      <a:gd name="T1" fmla="*/ 0 h 207"/>
                      <a:gd name="T2" fmla="*/ 0 w 231"/>
                      <a:gd name="T3" fmla="*/ 0 h 207"/>
                      <a:gd name="T4" fmla="*/ 0 w 231"/>
                      <a:gd name="T5" fmla="*/ 0 h 207"/>
                      <a:gd name="T6" fmla="*/ 0 w 231"/>
                      <a:gd name="T7" fmla="*/ 0 h 207"/>
                      <a:gd name="T8" fmla="*/ 0 w 231"/>
                      <a:gd name="T9" fmla="*/ 0 h 20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31"/>
                      <a:gd name="T16" fmla="*/ 0 h 207"/>
                      <a:gd name="T17" fmla="*/ 231 w 231"/>
                      <a:gd name="T18" fmla="*/ 207 h 20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31" h="207">
                        <a:moveTo>
                          <a:pt x="137" y="207"/>
                        </a:moveTo>
                        <a:lnTo>
                          <a:pt x="231" y="85"/>
                        </a:lnTo>
                        <a:lnTo>
                          <a:pt x="95" y="0"/>
                        </a:lnTo>
                        <a:lnTo>
                          <a:pt x="0" y="122"/>
                        </a:lnTo>
                        <a:lnTo>
                          <a:pt x="137" y="207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350" name="Freeform 195"/>
                  <p:cNvSpPr>
                    <a:spLocks/>
                  </p:cNvSpPr>
                  <p:nvPr/>
                </p:nvSpPr>
                <p:spPr bwMode="auto">
                  <a:xfrm>
                    <a:off x="3594" y="3802"/>
                    <a:ext cx="18" cy="15"/>
                  </a:xfrm>
                  <a:custGeom>
                    <a:avLst/>
                    <a:gdLst>
                      <a:gd name="T0" fmla="*/ 0 w 122"/>
                      <a:gd name="T1" fmla="*/ 0 h 109"/>
                      <a:gd name="T2" fmla="*/ 0 w 122"/>
                      <a:gd name="T3" fmla="*/ 0 h 109"/>
                      <a:gd name="T4" fmla="*/ 0 w 122"/>
                      <a:gd name="T5" fmla="*/ 0 h 109"/>
                      <a:gd name="T6" fmla="*/ 0 w 122"/>
                      <a:gd name="T7" fmla="*/ 0 h 109"/>
                      <a:gd name="T8" fmla="*/ 0 w 122"/>
                      <a:gd name="T9" fmla="*/ 0 h 10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22"/>
                      <a:gd name="T16" fmla="*/ 0 h 109"/>
                      <a:gd name="T17" fmla="*/ 122 w 122"/>
                      <a:gd name="T18" fmla="*/ 109 h 10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22" h="109">
                        <a:moveTo>
                          <a:pt x="85" y="109"/>
                        </a:moveTo>
                        <a:lnTo>
                          <a:pt x="122" y="32"/>
                        </a:lnTo>
                        <a:lnTo>
                          <a:pt x="36" y="0"/>
                        </a:lnTo>
                        <a:lnTo>
                          <a:pt x="0" y="76"/>
                        </a:lnTo>
                        <a:lnTo>
                          <a:pt x="85" y="109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351" name="Freeform 196"/>
                  <p:cNvSpPr>
                    <a:spLocks/>
                  </p:cNvSpPr>
                  <p:nvPr/>
                </p:nvSpPr>
                <p:spPr bwMode="auto">
                  <a:xfrm>
                    <a:off x="3550" y="3811"/>
                    <a:ext cx="20" cy="19"/>
                  </a:xfrm>
                  <a:custGeom>
                    <a:avLst/>
                    <a:gdLst>
                      <a:gd name="T0" fmla="*/ 0 w 141"/>
                      <a:gd name="T1" fmla="*/ 0 h 128"/>
                      <a:gd name="T2" fmla="*/ 0 w 141"/>
                      <a:gd name="T3" fmla="*/ 0 h 128"/>
                      <a:gd name="T4" fmla="*/ 0 w 141"/>
                      <a:gd name="T5" fmla="*/ 0 h 128"/>
                      <a:gd name="T6" fmla="*/ 0 w 141"/>
                      <a:gd name="T7" fmla="*/ 0 h 128"/>
                      <a:gd name="T8" fmla="*/ 0 w 141"/>
                      <a:gd name="T9" fmla="*/ 0 h 12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41"/>
                      <a:gd name="T16" fmla="*/ 0 h 128"/>
                      <a:gd name="T17" fmla="*/ 141 w 141"/>
                      <a:gd name="T18" fmla="*/ 128 h 12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41" h="128">
                        <a:moveTo>
                          <a:pt x="85" y="128"/>
                        </a:moveTo>
                        <a:lnTo>
                          <a:pt x="141" y="52"/>
                        </a:lnTo>
                        <a:lnTo>
                          <a:pt x="57" y="0"/>
                        </a:lnTo>
                        <a:lnTo>
                          <a:pt x="0" y="77"/>
                        </a:lnTo>
                        <a:lnTo>
                          <a:pt x="85" y="128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352" name="Freeform 197"/>
                  <p:cNvSpPr>
                    <a:spLocks/>
                  </p:cNvSpPr>
                  <p:nvPr/>
                </p:nvSpPr>
                <p:spPr bwMode="auto">
                  <a:xfrm>
                    <a:off x="3165" y="3511"/>
                    <a:ext cx="294" cy="330"/>
                  </a:xfrm>
                  <a:custGeom>
                    <a:avLst/>
                    <a:gdLst>
                      <a:gd name="T0" fmla="*/ 0 w 2056"/>
                      <a:gd name="T1" fmla="*/ 0 h 2325"/>
                      <a:gd name="T2" fmla="*/ 0 w 2056"/>
                      <a:gd name="T3" fmla="*/ 0 h 2325"/>
                      <a:gd name="T4" fmla="*/ 0 w 2056"/>
                      <a:gd name="T5" fmla="*/ 0 h 2325"/>
                      <a:gd name="T6" fmla="*/ 0 w 2056"/>
                      <a:gd name="T7" fmla="*/ 0 h 2325"/>
                      <a:gd name="T8" fmla="*/ 0 w 2056"/>
                      <a:gd name="T9" fmla="*/ 0 h 2325"/>
                      <a:gd name="T10" fmla="*/ 0 w 2056"/>
                      <a:gd name="T11" fmla="*/ 0 h 2325"/>
                      <a:gd name="T12" fmla="*/ 0 w 2056"/>
                      <a:gd name="T13" fmla="*/ 0 h 2325"/>
                      <a:gd name="T14" fmla="*/ 0 w 2056"/>
                      <a:gd name="T15" fmla="*/ 0 h 2325"/>
                      <a:gd name="T16" fmla="*/ 0 w 2056"/>
                      <a:gd name="T17" fmla="*/ 0 h 2325"/>
                      <a:gd name="T18" fmla="*/ 0 w 2056"/>
                      <a:gd name="T19" fmla="*/ 0 h 2325"/>
                      <a:gd name="T20" fmla="*/ 0 w 2056"/>
                      <a:gd name="T21" fmla="*/ 0 h 2325"/>
                      <a:gd name="T22" fmla="*/ 0 w 2056"/>
                      <a:gd name="T23" fmla="*/ 0 h 2325"/>
                      <a:gd name="T24" fmla="*/ 0 w 2056"/>
                      <a:gd name="T25" fmla="*/ 0 h 2325"/>
                      <a:gd name="T26" fmla="*/ 0 w 2056"/>
                      <a:gd name="T27" fmla="*/ 0 h 2325"/>
                      <a:gd name="T28" fmla="*/ 0 w 2056"/>
                      <a:gd name="T29" fmla="*/ 0 h 2325"/>
                      <a:gd name="T30" fmla="*/ 0 w 2056"/>
                      <a:gd name="T31" fmla="*/ 0 h 2325"/>
                      <a:gd name="T32" fmla="*/ 0 w 2056"/>
                      <a:gd name="T33" fmla="*/ 0 h 2325"/>
                      <a:gd name="T34" fmla="*/ 0 w 2056"/>
                      <a:gd name="T35" fmla="*/ 0 h 2325"/>
                      <a:gd name="T36" fmla="*/ 0 w 2056"/>
                      <a:gd name="T37" fmla="*/ 0 h 2325"/>
                      <a:gd name="T38" fmla="*/ 0 w 2056"/>
                      <a:gd name="T39" fmla="*/ 0 h 2325"/>
                      <a:gd name="T40" fmla="*/ 0 w 2056"/>
                      <a:gd name="T41" fmla="*/ 0 h 2325"/>
                      <a:gd name="T42" fmla="*/ 0 w 2056"/>
                      <a:gd name="T43" fmla="*/ 0 h 2325"/>
                      <a:gd name="T44" fmla="*/ 0 w 2056"/>
                      <a:gd name="T45" fmla="*/ 0 h 2325"/>
                      <a:gd name="T46" fmla="*/ 0 w 2056"/>
                      <a:gd name="T47" fmla="*/ 0 h 2325"/>
                      <a:gd name="T48" fmla="*/ 0 w 2056"/>
                      <a:gd name="T49" fmla="*/ 0 h 2325"/>
                      <a:gd name="T50" fmla="*/ 0 w 2056"/>
                      <a:gd name="T51" fmla="*/ 0 h 2325"/>
                      <a:gd name="T52" fmla="*/ 0 w 2056"/>
                      <a:gd name="T53" fmla="*/ 0 h 2325"/>
                      <a:gd name="T54" fmla="*/ 0 w 2056"/>
                      <a:gd name="T55" fmla="*/ 0 h 2325"/>
                      <a:gd name="T56" fmla="*/ 0 w 2056"/>
                      <a:gd name="T57" fmla="*/ 0 h 2325"/>
                      <a:gd name="T58" fmla="*/ 0 w 2056"/>
                      <a:gd name="T59" fmla="*/ 0 h 2325"/>
                      <a:gd name="T60" fmla="*/ 0 w 2056"/>
                      <a:gd name="T61" fmla="*/ 0 h 2325"/>
                      <a:gd name="T62" fmla="*/ 0 w 2056"/>
                      <a:gd name="T63" fmla="*/ 0 h 2325"/>
                      <a:gd name="T64" fmla="*/ 0 w 2056"/>
                      <a:gd name="T65" fmla="*/ 0 h 2325"/>
                      <a:gd name="T66" fmla="*/ 0 w 2056"/>
                      <a:gd name="T67" fmla="*/ 0 h 2325"/>
                      <a:gd name="T68" fmla="*/ 0 w 2056"/>
                      <a:gd name="T69" fmla="*/ 0 h 2325"/>
                      <a:gd name="T70" fmla="*/ 0 w 2056"/>
                      <a:gd name="T71" fmla="*/ 0 h 2325"/>
                      <a:gd name="T72" fmla="*/ 0 w 2056"/>
                      <a:gd name="T73" fmla="*/ 0 h 2325"/>
                      <a:gd name="T74" fmla="*/ 0 w 2056"/>
                      <a:gd name="T75" fmla="*/ 0 h 2325"/>
                      <a:gd name="T76" fmla="*/ 0 w 2056"/>
                      <a:gd name="T77" fmla="*/ 0 h 2325"/>
                      <a:gd name="T78" fmla="*/ 0 w 2056"/>
                      <a:gd name="T79" fmla="*/ 0 h 2325"/>
                      <a:gd name="T80" fmla="*/ 0 w 2056"/>
                      <a:gd name="T81" fmla="*/ 0 h 2325"/>
                      <a:gd name="T82" fmla="*/ 0 w 2056"/>
                      <a:gd name="T83" fmla="*/ 0 h 2325"/>
                      <a:gd name="T84" fmla="*/ 0 w 2056"/>
                      <a:gd name="T85" fmla="*/ 0 h 2325"/>
                      <a:gd name="T86" fmla="*/ 0 w 2056"/>
                      <a:gd name="T87" fmla="*/ 0 h 2325"/>
                      <a:gd name="T88" fmla="*/ 0 w 2056"/>
                      <a:gd name="T89" fmla="*/ 0 h 2325"/>
                      <a:gd name="T90" fmla="*/ 0 w 2056"/>
                      <a:gd name="T91" fmla="*/ 0 h 2325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w 2056"/>
                      <a:gd name="T139" fmla="*/ 0 h 2325"/>
                      <a:gd name="T140" fmla="*/ 2056 w 2056"/>
                      <a:gd name="T141" fmla="*/ 2325 h 2325"/>
                    </a:gdLst>
                    <a:ahLst/>
                    <a:cxnLst>
                      <a:cxn ang="T92">
                        <a:pos x="T0" y="T1"/>
                      </a:cxn>
                      <a:cxn ang="T93">
                        <a:pos x="T2" y="T3"/>
                      </a:cxn>
                      <a:cxn ang="T94">
                        <a:pos x="T4" y="T5"/>
                      </a:cxn>
                      <a:cxn ang="T95">
                        <a:pos x="T6" y="T7"/>
                      </a:cxn>
                      <a:cxn ang="T96">
                        <a:pos x="T8" y="T9"/>
                      </a:cxn>
                      <a:cxn ang="T97">
                        <a:pos x="T10" y="T11"/>
                      </a:cxn>
                      <a:cxn ang="T98">
                        <a:pos x="T12" y="T13"/>
                      </a:cxn>
                      <a:cxn ang="T99">
                        <a:pos x="T14" y="T15"/>
                      </a:cxn>
                      <a:cxn ang="T100">
                        <a:pos x="T16" y="T17"/>
                      </a:cxn>
                      <a:cxn ang="T101">
                        <a:pos x="T18" y="T19"/>
                      </a:cxn>
                      <a:cxn ang="T102">
                        <a:pos x="T20" y="T21"/>
                      </a:cxn>
                      <a:cxn ang="T103">
                        <a:pos x="T22" y="T23"/>
                      </a:cxn>
                      <a:cxn ang="T104">
                        <a:pos x="T24" y="T25"/>
                      </a:cxn>
                      <a:cxn ang="T105">
                        <a:pos x="T26" y="T27"/>
                      </a:cxn>
                      <a:cxn ang="T106">
                        <a:pos x="T28" y="T29"/>
                      </a:cxn>
                      <a:cxn ang="T107">
                        <a:pos x="T30" y="T31"/>
                      </a:cxn>
                      <a:cxn ang="T108">
                        <a:pos x="T32" y="T33"/>
                      </a:cxn>
                      <a:cxn ang="T109">
                        <a:pos x="T34" y="T35"/>
                      </a:cxn>
                      <a:cxn ang="T110">
                        <a:pos x="T36" y="T37"/>
                      </a:cxn>
                      <a:cxn ang="T111">
                        <a:pos x="T38" y="T39"/>
                      </a:cxn>
                      <a:cxn ang="T112">
                        <a:pos x="T40" y="T41"/>
                      </a:cxn>
                      <a:cxn ang="T113">
                        <a:pos x="T42" y="T43"/>
                      </a:cxn>
                      <a:cxn ang="T114">
                        <a:pos x="T44" y="T45"/>
                      </a:cxn>
                      <a:cxn ang="T115">
                        <a:pos x="T46" y="T47"/>
                      </a:cxn>
                      <a:cxn ang="T116">
                        <a:pos x="T48" y="T49"/>
                      </a:cxn>
                      <a:cxn ang="T117">
                        <a:pos x="T50" y="T51"/>
                      </a:cxn>
                      <a:cxn ang="T118">
                        <a:pos x="T52" y="T53"/>
                      </a:cxn>
                      <a:cxn ang="T119">
                        <a:pos x="T54" y="T55"/>
                      </a:cxn>
                      <a:cxn ang="T120">
                        <a:pos x="T56" y="T57"/>
                      </a:cxn>
                      <a:cxn ang="T121">
                        <a:pos x="T58" y="T59"/>
                      </a:cxn>
                      <a:cxn ang="T122">
                        <a:pos x="T60" y="T61"/>
                      </a:cxn>
                      <a:cxn ang="T123">
                        <a:pos x="T62" y="T63"/>
                      </a:cxn>
                      <a:cxn ang="T124">
                        <a:pos x="T64" y="T65"/>
                      </a:cxn>
                      <a:cxn ang="T125">
                        <a:pos x="T66" y="T67"/>
                      </a:cxn>
                      <a:cxn ang="T126">
                        <a:pos x="T68" y="T69"/>
                      </a:cxn>
                      <a:cxn ang="T127">
                        <a:pos x="T70" y="T71"/>
                      </a:cxn>
                      <a:cxn ang="T128">
                        <a:pos x="T72" y="T73"/>
                      </a:cxn>
                      <a:cxn ang="T129">
                        <a:pos x="T74" y="T75"/>
                      </a:cxn>
                      <a:cxn ang="T130">
                        <a:pos x="T76" y="T77"/>
                      </a:cxn>
                      <a:cxn ang="T131">
                        <a:pos x="T78" y="T79"/>
                      </a:cxn>
                      <a:cxn ang="T132">
                        <a:pos x="T80" y="T81"/>
                      </a:cxn>
                      <a:cxn ang="T133">
                        <a:pos x="T82" y="T83"/>
                      </a:cxn>
                      <a:cxn ang="T134">
                        <a:pos x="T84" y="T85"/>
                      </a:cxn>
                      <a:cxn ang="T135">
                        <a:pos x="T86" y="T87"/>
                      </a:cxn>
                      <a:cxn ang="T136">
                        <a:pos x="T88" y="T89"/>
                      </a:cxn>
                      <a:cxn ang="T137">
                        <a:pos x="T90" y="T91"/>
                      </a:cxn>
                    </a:cxnLst>
                    <a:rect l="T138" t="T139" r="T140" b="T141"/>
                    <a:pathLst>
                      <a:path w="2056" h="2325">
                        <a:moveTo>
                          <a:pt x="297" y="0"/>
                        </a:moveTo>
                        <a:lnTo>
                          <a:pt x="307" y="2"/>
                        </a:lnTo>
                        <a:lnTo>
                          <a:pt x="335" y="9"/>
                        </a:lnTo>
                        <a:lnTo>
                          <a:pt x="379" y="20"/>
                        </a:lnTo>
                        <a:lnTo>
                          <a:pt x="437" y="35"/>
                        </a:lnTo>
                        <a:lnTo>
                          <a:pt x="507" y="51"/>
                        </a:lnTo>
                        <a:lnTo>
                          <a:pt x="588" y="69"/>
                        </a:lnTo>
                        <a:lnTo>
                          <a:pt x="679" y="88"/>
                        </a:lnTo>
                        <a:lnTo>
                          <a:pt x="774" y="107"/>
                        </a:lnTo>
                        <a:lnTo>
                          <a:pt x="876" y="126"/>
                        </a:lnTo>
                        <a:lnTo>
                          <a:pt x="979" y="144"/>
                        </a:lnTo>
                        <a:lnTo>
                          <a:pt x="1032" y="152"/>
                        </a:lnTo>
                        <a:lnTo>
                          <a:pt x="1085" y="158"/>
                        </a:lnTo>
                        <a:lnTo>
                          <a:pt x="1136" y="165"/>
                        </a:lnTo>
                        <a:lnTo>
                          <a:pt x="1188" y="170"/>
                        </a:lnTo>
                        <a:lnTo>
                          <a:pt x="1239" y="175"/>
                        </a:lnTo>
                        <a:lnTo>
                          <a:pt x="1290" y="179"/>
                        </a:lnTo>
                        <a:lnTo>
                          <a:pt x="1337" y="182"/>
                        </a:lnTo>
                        <a:lnTo>
                          <a:pt x="1385" y="183"/>
                        </a:lnTo>
                        <a:lnTo>
                          <a:pt x="1431" y="183"/>
                        </a:lnTo>
                        <a:lnTo>
                          <a:pt x="1474" y="182"/>
                        </a:lnTo>
                        <a:lnTo>
                          <a:pt x="1517" y="179"/>
                        </a:lnTo>
                        <a:lnTo>
                          <a:pt x="1556" y="175"/>
                        </a:lnTo>
                        <a:lnTo>
                          <a:pt x="1629" y="166"/>
                        </a:lnTo>
                        <a:lnTo>
                          <a:pt x="1695" y="158"/>
                        </a:lnTo>
                        <a:lnTo>
                          <a:pt x="1725" y="156"/>
                        </a:lnTo>
                        <a:lnTo>
                          <a:pt x="1751" y="155"/>
                        </a:lnTo>
                        <a:lnTo>
                          <a:pt x="1777" y="154"/>
                        </a:lnTo>
                        <a:lnTo>
                          <a:pt x="1802" y="154"/>
                        </a:lnTo>
                        <a:lnTo>
                          <a:pt x="1824" y="154"/>
                        </a:lnTo>
                        <a:lnTo>
                          <a:pt x="1844" y="156"/>
                        </a:lnTo>
                        <a:lnTo>
                          <a:pt x="1863" y="158"/>
                        </a:lnTo>
                        <a:lnTo>
                          <a:pt x="1879" y="163"/>
                        </a:lnTo>
                        <a:lnTo>
                          <a:pt x="1895" y="167"/>
                        </a:lnTo>
                        <a:lnTo>
                          <a:pt x="1910" y="173"/>
                        </a:lnTo>
                        <a:lnTo>
                          <a:pt x="1922" y="179"/>
                        </a:lnTo>
                        <a:lnTo>
                          <a:pt x="1934" y="187"/>
                        </a:lnTo>
                        <a:lnTo>
                          <a:pt x="1944" y="197"/>
                        </a:lnTo>
                        <a:lnTo>
                          <a:pt x="1953" y="208"/>
                        </a:lnTo>
                        <a:lnTo>
                          <a:pt x="1961" y="219"/>
                        </a:lnTo>
                        <a:lnTo>
                          <a:pt x="1969" y="233"/>
                        </a:lnTo>
                        <a:lnTo>
                          <a:pt x="1974" y="248"/>
                        </a:lnTo>
                        <a:lnTo>
                          <a:pt x="1980" y="264"/>
                        </a:lnTo>
                        <a:lnTo>
                          <a:pt x="1984" y="282"/>
                        </a:lnTo>
                        <a:lnTo>
                          <a:pt x="1987" y="302"/>
                        </a:lnTo>
                        <a:lnTo>
                          <a:pt x="1991" y="323"/>
                        </a:lnTo>
                        <a:lnTo>
                          <a:pt x="1993" y="345"/>
                        </a:lnTo>
                        <a:lnTo>
                          <a:pt x="1994" y="370"/>
                        </a:lnTo>
                        <a:lnTo>
                          <a:pt x="1995" y="395"/>
                        </a:lnTo>
                        <a:lnTo>
                          <a:pt x="1997" y="453"/>
                        </a:lnTo>
                        <a:lnTo>
                          <a:pt x="1997" y="519"/>
                        </a:lnTo>
                        <a:lnTo>
                          <a:pt x="1997" y="557"/>
                        </a:lnTo>
                        <a:lnTo>
                          <a:pt x="1999" y="598"/>
                        </a:lnTo>
                        <a:lnTo>
                          <a:pt x="2001" y="640"/>
                        </a:lnTo>
                        <a:lnTo>
                          <a:pt x="2004" y="686"/>
                        </a:lnTo>
                        <a:lnTo>
                          <a:pt x="2011" y="780"/>
                        </a:lnTo>
                        <a:lnTo>
                          <a:pt x="2020" y="882"/>
                        </a:lnTo>
                        <a:lnTo>
                          <a:pt x="2030" y="987"/>
                        </a:lnTo>
                        <a:lnTo>
                          <a:pt x="2039" y="1095"/>
                        </a:lnTo>
                        <a:lnTo>
                          <a:pt x="2046" y="1206"/>
                        </a:lnTo>
                        <a:lnTo>
                          <a:pt x="2053" y="1318"/>
                        </a:lnTo>
                        <a:lnTo>
                          <a:pt x="2054" y="1373"/>
                        </a:lnTo>
                        <a:lnTo>
                          <a:pt x="2056" y="1429"/>
                        </a:lnTo>
                        <a:lnTo>
                          <a:pt x="2056" y="1485"/>
                        </a:lnTo>
                        <a:lnTo>
                          <a:pt x="2055" y="1538"/>
                        </a:lnTo>
                        <a:lnTo>
                          <a:pt x="2053" y="1592"/>
                        </a:lnTo>
                        <a:lnTo>
                          <a:pt x="2050" y="1644"/>
                        </a:lnTo>
                        <a:lnTo>
                          <a:pt x="2045" y="1695"/>
                        </a:lnTo>
                        <a:lnTo>
                          <a:pt x="2039" y="1745"/>
                        </a:lnTo>
                        <a:lnTo>
                          <a:pt x="2031" y="1794"/>
                        </a:lnTo>
                        <a:lnTo>
                          <a:pt x="2022" y="1841"/>
                        </a:lnTo>
                        <a:lnTo>
                          <a:pt x="2010" y="1885"/>
                        </a:lnTo>
                        <a:lnTo>
                          <a:pt x="1996" y="1929"/>
                        </a:lnTo>
                        <a:lnTo>
                          <a:pt x="1982" y="1970"/>
                        </a:lnTo>
                        <a:lnTo>
                          <a:pt x="1964" y="2008"/>
                        </a:lnTo>
                        <a:lnTo>
                          <a:pt x="1944" y="2044"/>
                        </a:lnTo>
                        <a:lnTo>
                          <a:pt x="1922" y="2078"/>
                        </a:lnTo>
                        <a:lnTo>
                          <a:pt x="1872" y="2141"/>
                        </a:lnTo>
                        <a:lnTo>
                          <a:pt x="1819" y="2194"/>
                        </a:lnTo>
                        <a:lnTo>
                          <a:pt x="1766" y="2237"/>
                        </a:lnTo>
                        <a:lnTo>
                          <a:pt x="1711" y="2270"/>
                        </a:lnTo>
                        <a:lnTo>
                          <a:pt x="1655" y="2296"/>
                        </a:lnTo>
                        <a:lnTo>
                          <a:pt x="1598" y="2313"/>
                        </a:lnTo>
                        <a:lnTo>
                          <a:pt x="1540" y="2323"/>
                        </a:lnTo>
                        <a:lnTo>
                          <a:pt x="1482" y="2325"/>
                        </a:lnTo>
                        <a:lnTo>
                          <a:pt x="1423" y="2319"/>
                        </a:lnTo>
                        <a:lnTo>
                          <a:pt x="1364" y="2308"/>
                        </a:lnTo>
                        <a:lnTo>
                          <a:pt x="1304" y="2292"/>
                        </a:lnTo>
                        <a:lnTo>
                          <a:pt x="1245" y="2268"/>
                        </a:lnTo>
                        <a:lnTo>
                          <a:pt x="1186" y="2241"/>
                        </a:lnTo>
                        <a:lnTo>
                          <a:pt x="1127" y="2209"/>
                        </a:lnTo>
                        <a:lnTo>
                          <a:pt x="1068" y="2174"/>
                        </a:lnTo>
                        <a:lnTo>
                          <a:pt x="1010" y="2133"/>
                        </a:lnTo>
                        <a:lnTo>
                          <a:pt x="953" y="2091"/>
                        </a:lnTo>
                        <a:lnTo>
                          <a:pt x="897" y="2046"/>
                        </a:lnTo>
                        <a:lnTo>
                          <a:pt x="842" y="1999"/>
                        </a:lnTo>
                        <a:lnTo>
                          <a:pt x="788" y="1950"/>
                        </a:lnTo>
                        <a:lnTo>
                          <a:pt x="735" y="1900"/>
                        </a:lnTo>
                        <a:lnTo>
                          <a:pt x="685" y="1849"/>
                        </a:lnTo>
                        <a:lnTo>
                          <a:pt x="636" y="1797"/>
                        </a:lnTo>
                        <a:lnTo>
                          <a:pt x="588" y="1746"/>
                        </a:lnTo>
                        <a:lnTo>
                          <a:pt x="543" y="1696"/>
                        </a:lnTo>
                        <a:lnTo>
                          <a:pt x="500" y="1647"/>
                        </a:lnTo>
                        <a:lnTo>
                          <a:pt x="459" y="1599"/>
                        </a:lnTo>
                        <a:lnTo>
                          <a:pt x="421" y="1554"/>
                        </a:lnTo>
                        <a:lnTo>
                          <a:pt x="354" y="1471"/>
                        </a:lnTo>
                        <a:lnTo>
                          <a:pt x="297" y="1402"/>
                        </a:lnTo>
                        <a:lnTo>
                          <a:pt x="277" y="1376"/>
                        </a:lnTo>
                        <a:lnTo>
                          <a:pt x="256" y="1346"/>
                        </a:lnTo>
                        <a:lnTo>
                          <a:pt x="234" y="1311"/>
                        </a:lnTo>
                        <a:lnTo>
                          <a:pt x="213" y="1273"/>
                        </a:lnTo>
                        <a:lnTo>
                          <a:pt x="192" y="1233"/>
                        </a:lnTo>
                        <a:lnTo>
                          <a:pt x="171" y="1190"/>
                        </a:lnTo>
                        <a:lnTo>
                          <a:pt x="150" y="1143"/>
                        </a:lnTo>
                        <a:lnTo>
                          <a:pt x="130" y="1095"/>
                        </a:lnTo>
                        <a:lnTo>
                          <a:pt x="111" y="1045"/>
                        </a:lnTo>
                        <a:lnTo>
                          <a:pt x="92" y="994"/>
                        </a:lnTo>
                        <a:lnTo>
                          <a:pt x="75" y="941"/>
                        </a:lnTo>
                        <a:lnTo>
                          <a:pt x="60" y="886"/>
                        </a:lnTo>
                        <a:lnTo>
                          <a:pt x="45" y="830"/>
                        </a:lnTo>
                        <a:lnTo>
                          <a:pt x="32" y="775"/>
                        </a:lnTo>
                        <a:lnTo>
                          <a:pt x="21" y="719"/>
                        </a:lnTo>
                        <a:lnTo>
                          <a:pt x="13" y="663"/>
                        </a:lnTo>
                        <a:lnTo>
                          <a:pt x="6" y="608"/>
                        </a:lnTo>
                        <a:lnTo>
                          <a:pt x="2" y="552"/>
                        </a:lnTo>
                        <a:lnTo>
                          <a:pt x="0" y="499"/>
                        </a:lnTo>
                        <a:lnTo>
                          <a:pt x="2" y="445"/>
                        </a:lnTo>
                        <a:lnTo>
                          <a:pt x="5" y="394"/>
                        </a:lnTo>
                        <a:lnTo>
                          <a:pt x="13" y="344"/>
                        </a:lnTo>
                        <a:lnTo>
                          <a:pt x="23" y="296"/>
                        </a:lnTo>
                        <a:lnTo>
                          <a:pt x="37" y="249"/>
                        </a:lnTo>
                        <a:lnTo>
                          <a:pt x="55" y="207"/>
                        </a:lnTo>
                        <a:lnTo>
                          <a:pt x="76" y="166"/>
                        </a:lnTo>
                        <a:lnTo>
                          <a:pt x="102" y="129"/>
                        </a:lnTo>
                        <a:lnTo>
                          <a:pt x="132" y="96"/>
                        </a:lnTo>
                        <a:lnTo>
                          <a:pt x="167" y="66"/>
                        </a:lnTo>
                        <a:lnTo>
                          <a:pt x="206" y="39"/>
                        </a:lnTo>
                        <a:lnTo>
                          <a:pt x="249" y="17"/>
                        </a:lnTo>
                        <a:lnTo>
                          <a:pt x="297" y="0"/>
                        </a:lnTo>
                        <a:close/>
                      </a:path>
                    </a:pathLst>
                  </a:custGeom>
                  <a:solidFill>
                    <a:srgbClr val="311F74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353" name="Freeform 198"/>
                  <p:cNvSpPr>
                    <a:spLocks/>
                  </p:cNvSpPr>
                  <p:nvPr/>
                </p:nvSpPr>
                <p:spPr bwMode="auto">
                  <a:xfrm>
                    <a:off x="3193" y="3511"/>
                    <a:ext cx="257" cy="72"/>
                  </a:xfrm>
                  <a:custGeom>
                    <a:avLst/>
                    <a:gdLst>
                      <a:gd name="T0" fmla="*/ 0 w 1797"/>
                      <a:gd name="T1" fmla="*/ 0 h 519"/>
                      <a:gd name="T2" fmla="*/ 0 w 1797"/>
                      <a:gd name="T3" fmla="*/ 0 h 519"/>
                      <a:gd name="T4" fmla="*/ 0 w 1797"/>
                      <a:gd name="T5" fmla="*/ 0 h 519"/>
                      <a:gd name="T6" fmla="*/ 0 w 1797"/>
                      <a:gd name="T7" fmla="*/ 0 h 519"/>
                      <a:gd name="T8" fmla="*/ 0 w 1797"/>
                      <a:gd name="T9" fmla="*/ 0 h 519"/>
                      <a:gd name="T10" fmla="*/ 0 w 1797"/>
                      <a:gd name="T11" fmla="*/ 0 h 519"/>
                      <a:gd name="T12" fmla="*/ 0 w 1797"/>
                      <a:gd name="T13" fmla="*/ 0 h 519"/>
                      <a:gd name="T14" fmla="*/ 0 w 1797"/>
                      <a:gd name="T15" fmla="*/ 0 h 519"/>
                      <a:gd name="T16" fmla="*/ 0 w 1797"/>
                      <a:gd name="T17" fmla="*/ 0 h 519"/>
                      <a:gd name="T18" fmla="*/ 0 w 1797"/>
                      <a:gd name="T19" fmla="*/ 0 h 519"/>
                      <a:gd name="T20" fmla="*/ 0 w 1797"/>
                      <a:gd name="T21" fmla="*/ 0 h 519"/>
                      <a:gd name="T22" fmla="*/ 0 w 1797"/>
                      <a:gd name="T23" fmla="*/ 0 h 519"/>
                      <a:gd name="T24" fmla="*/ 0 w 1797"/>
                      <a:gd name="T25" fmla="*/ 0 h 519"/>
                      <a:gd name="T26" fmla="*/ 0 w 1797"/>
                      <a:gd name="T27" fmla="*/ 0 h 519"/>
                      <a:gd name="T28" fmla="*/ 0 w 1797"/>
                      <a:gd name="T29" fmla="*/ 0 h 519"/>
                      <a:gd name="T30" fmla="*/ 0 w 1797"/>
                      <a:gd name="T31" fmla="*/ 0 h 519"/>
                      <a:gd name="T32" fmla="*/ 0 w 1797"/>
                      <a:gd name="T33" fmla="*/ 0 h 519"/>
                      <a:gd name="T34" fmla="*/ 0 w 1797"/>
                      <a:gd name="T35" fmla="*/ 0 h 519"/>
                      <a:gd name="T36" fmla="*/ 0 w 1797"/>
                      <a:gd name="T37" fmla="*/ 0 h 519"/>
                      <a:gd name="T38" fmla="*/ 0 w 1797"/>
                      <a:gd name="T39" fmla="*/ 0 h 519"/>
                      <a:gd name="T40" fmla="*/ 0 w 1797"/>
                      <a:gd name="T41" fmla="*/ 0 h 519"/>
                      <a:gd name="T42" fmla="*/ 0 w 1797"/>
                      <a:gd name="T43" fmla="*/ 0 h 519"/>
                      <a:gd name="T44" fmla="*/ 0 w 1797"/>
                      <a:gd name="T45" fmla="*/ 0 h 519"/>
                      <a:gd name="T46" fmla="*/ 0 w 1797"/>
                      <a:gd name="T47" fmla="*/ 0 h 519"/>
                      <a:gd name="T48" fmla="*/ 0 w 1797"/>
                      <a:gd name="T49" fmla="*/ 0 h 519"/>
                      <a:gd name="T50" fmla="*/ 0 w 1797"/>
                      <a:gd name="T51" fmla="*/ 0 h 519"/>
                      <a:gd name="T52" fmla="*/ 0 w 1797"/>
                      <a:gd name="T53" fmla="*/ 0 h 519"/>
                      <a:gd name="T54" fmla="*/ 0 w 1797"/>
                      <a:gd name="T55" fmla="*/ 0 h 519"/>
                      <a:gd name="T56" fmla="*/ 0 w 1797"/>
                      <a:gd name="T57" fmla="*/ 0 h 519"/>
                      <a:gd name="T58" fmla="*/ 0 w 1797"/>
                      <a:gd name="T59" fmla="*/ 0 h 519"/>
                      <a:gd name="T60" fmla="*/ 0 w 1797"/>
                      <a:gd name="T61" fmla="*/ 0 h 519"/>
                      <a:gd name="T62" fmla="*/ 0 w 1797"/>
                      <a:gd name="T63" fmla="*/ 0 h 519"/>
                      <a:gd name="T64" fmla="*/ 0 w 1797"/>
                      <a:gd name="T65" fmla="*/ 0 h 519"/>
                      <a:gd name="T66" fmla="*/ 0 w 1797"/>
                      <a:gd name="T67" fmla="*/ 0 h 519"/>
                      <a:gd name="T68" fmla="*/ 0 w 1797"/>
                      <a:gd name="T69" fmla="*/ 0 h 519"/>
                      <a:gd name="T70" fmla="*/ 0 w 1797"/>
                      <a:gd name="T71" fmla="*/ 0 h 519"/>
                      <a:gd name="T72" fmla="*/ 0 w 1797"/>
                      <a:gd name="T73" fmla="*/ 0 h 519"/>
                      <a:gd name="T74" fmla="*/ 0 w 1797"/>
                      <a:gd name="T75" fmla="*/ 0 h 519"/>
                      <a:gd name="T76" fmla="*/ 0 w 1797"/>
                      <a:gd name="T77" fmla="*/ 0 h 519"/>
                      <a:gd name="T78" fmla="*/ 0 w 1797"/>
                      <a:gd name="T79" fmla="*/ 0 h 519"/>
                      <a:gd name="T80" fmla="*/ 0 w 1797"/>
                      <a:gd name="T81" fmla="*/ 0 h 519"/>
                      <a:gd name="T82" fmla="*/ 0 w 1797"/>
                      <a:gd name="T83" fmla="*/ 0 h 519"/>
                      <a:gd name="T84" fmla="*/ 0 w 1797"/>
                      <a:gd name="T85" fmla="*/ 0 h 519"/>
                      <a:gd name="T86" fmla="*/ 0 w 1797"/>
                      <a:gd name="T87" fmla="*/ 0 h 519"/>
                      <a:gd name="T88" fmla="*/ 0 w 1797"/>
                      <a:gd name="T89" fmla="*/ 0 h 519"/>
                      <a:gd name="T90" fmla="*/ 0 w 1797"/>
                      <a:gd name="T91" fmla="*/ 0 h 519"/>
                      <a:gd name="T92" fmla="*/ 0 w 1797"/>
                      <a:gd name="T93" fmla="*/ 0 h 519"/>
                      <a:gd name="T94" fmla="*/ 0 w 1797"/>
                      <a:gd name="T95" fmla="*/ 0 h 519"/>
                      <a:gd name="T96" fmla="*/ 0 w 1797"/>
                      <a:gd name="T97" fmla="*/ 0 h 519"/>
                      <a:gd name="T98" fmla="*/ 0 w 1797"/>
                      <a:gd name="T99" fmla="*/ 0 h 519"/>
                      <a:gd name="T100" fmla="*/ 0 w 1797"/>
                      <a:gd name="T101" fmla="*/ 0 h 519"/>
                      <a:gd name="T102" fmla="*/ 0 w 1797"/>
                      <a:gd name="T103" fmla="*/ 0 h 519"/>
                      <a:gd name="T104" fmla="*/ 0 w 1797"/>
                      <a:gd name="T105" fmla="*/ 0 h 519"/>
                      <a:gd name="T106" fmla="*/ 0 w 1797"/>
                      <a:gd name="T107" fmla="*/ 0 h 519"/>
                      <a:gd name="T108" fmla="*/ 0 w 1797"/>
                      <a:gd name="T109" fmla="*/ 0 h 519"/>
                      <a:gd name="T110" fmla="*/ 0 w 1797"/>
                      <a:gd name="T111" fmla="*/ 0 h 519"/>
                      <a:gd name="T112" fmla="*/ 0 w 1797"/>
                      <a:gd name="T113" fmla="*/ 0 h 519"/>
                      <a:gd name="T114" fmla="*/ 0 w 1797"/>
                      <a:gd name="T115" fmla="*/ 0 h 519"/>
                      <a:gd name="T116" fmla="*/ 0 w 1797"/>
                      <a:gd name="T117" fmla="*/ 0 h 519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w 1797"/>
                      <a:gd name="T178" fmla="*/ 0 h 519"/>
                      <a:gd name="T179" fmla="*/ 1797 w 1797"/>
                      <a:gd name="T180" fmla="*/ 519 h 519"/>
                    </a:gdLst>
                    <a:ahLst/>
                    <a:cxnLst>
                      <a:cxn ang="T118">
                        <a:pos x="T0" y="T1"/>
                      </a:cxn>
                      <a:cxn ang="T119">
                        <a:pos x="T2" y="T3"/>
                      </a:cxn>
                      <a:cxn ang="T120">
                        <a:pos x="T4" y="T5"/>
                      </a:cxn>
                      <a:cxn ang="T121">
                        <a:pos x="T6" y="T7"/>
                      </a:cxn>
                      <a:cxn ang="T122">
                        <a:pos x="T8" y="T9"/>
                      </a:cxn>
                      <a:cxn ang="T123">
                        <a:pos x="T10" y="T11"/>
                      </a:cxn>
                      <a:cxn ang="T124">
                        <a:pos x="T12" y="T13"/>
                      </a:cxn>
                      <a:cxn ang="T125">
                        <a:pos x="T14" y="T15"/>
                      </a:cxn>
                      <a:cxn ang="T126">
                        <a:pos x="T16" y="T17"/>
                      </a:cxn>
                      <a:cxn ang="T127">
                        <a:pos x="T18" y="T19"/>
                      </a:cxn>
                      <a:cxn ang="T128">
                        <a:pos x="T20" y="T21"/>
                      </a:cxn>
                      <a:cxn ang="T129">
                        <a:pos x="T22" y="T23"/>
                      </a:cxn>
                      <a:cxn ang="T130">
                        <a:pos x="T24" y="T25"/>
                      </a:cxn>
                      <a:cxn ang="T131">
                        <a:pos x="T26" y="T27"/>
                      </a:cxn>
                      <a:cxn ang="T132">
                        <a:pos x="T28" y="T29"/>
                      </a:cxn>
                      <a:cxn ang="T133">
                        <a:pos x="T30" y="T31"/>
                      </a:cxn>
                      <a:cxn ang="T134">
                        <a:pos x="T32" y="T33"/>
                      </a:cxn>
                      <a:cxn ang="T135">
                        <a:pos x="T34" y="T35"/>
                      </a:cxn>
                      <a:cxn ang="T136">
                        <a:pos x="T36" y="T37"/>
                      </a:cxn>
                      <a:cxn ang="T137">
                        <a:pos x="T38" y="T39"/>
                      </a:cxn>
                      <a:cxn ang="T138">
                        <a:pos x="T40" y="T41"/>
                      </a:cxn>
                      <a:cxn ang="T139">
                        <a:pos x="T42" y="T43"/>
                      </a:cxn>
                      <a:cxn ang="T140">
                        <a:pos x="T44" y="T45"/>
                      </a:cxn>
                      <a:cxn ang="T141">
                        <a:pos x="T46" y="T47"/>
                      </a:cxn>
                      <a:cxn ang="T142">
                        <a:pos x="T48" y="T49"/>
                      </a:cxn>
                      <a:cxn ang="T143">
                        <a:pos x="T50" y="T51"/>
                      </a:cxn>
                      <a:cxn ang="T144">
                        <a:pos x="T52" y="T53"/>
                      </a:cxn>
                      <a:cxn ang="T145">
                        <a:pos x="T54" y="T55"/>
                      </a:cxn>
                      <a:cxn ang="T146">
                        <a:pos x="T56" y="T57"/>
                      </a:cxn>
                      <a:cxn ang="T147">
                        <a:pos x="T58" y="T59"/>
                      </a:cxn>
                      <a:cxn ang="T148">
                        <a:pos x="T60" y="T61"/>
                      </a:cxn>
                      <a:cxn ang="T149">
                        <a:pos x="T62" y="T63"/>
                      </a:cxn>
                      <a:cxn ang="T150">
                        <a:pos x="T64" y="T65"/>
                      </a:cxn>
                      <a:cxn ang="T151">
                        <a:pos x="T66" y="T67"/>
                      </a:cxn>
                      <a:cxn ang="T152">
                        <a:pos x="T68" y="T69"/>
                      </a:cxn>
                      <a:cxn ang="T153">
                        <a:pos x="T70" y="T71"/>
                      </a:cxn>
                      <a:cxn ang="T154">
                        <a:pos x="T72" y="T73"/>
                      </a:cxn>
                      <a:cxn ang="T155">
                        <a:pos x="T74" y="T75"/>
                      </a:cxn>
                      <a:cxn ang="T156">
                        <a:pos x="T76" y="T77"/>
                      </a:cxn>
                      <a:cxn ang="T157">
                        <a:pos x="T78" y="T79"/>
                      </a:cxn>
                      <a:cxn ang="T158">
                        <a:pos x="T80" y="T81"/>
                      </a:cxn>
                      <a:cxn ang="T159">
                        <a:pos x="T82" y="T83"/>
                      </a:cxn>
                      <a:cxn ang="T160">
                        <a:pos x="T84" y="T85"/>
                      </a:cxn>
                      <a:cxn ang="T161">
                        <a:pos x="T86" y="T87"/>
                      </a:cxn>
                      <a:cxn ang="T162">
                        <a:pos x="T88" y="T89"/>
                      </a:cxn>
                      <a:cxn ang="T163">
                        <a:pos x="T90" y="T91"/>
                      </a:cxn>
                      <a:cxn ang="T164">
                        <a:pos x="T92" y="T93"/>
                      </a:cxn>
                      <a:cxn ang="T165">
                        <a:pos x="T94" y="T95"/>
                      </a:cxn>
                      <a:cxn ang="T166">
                        <a:pos x="T96" y="T97"/>
                      </a:cxn>
                      <a:cxn ang="T167">
                        <a:pos x="T98" y="T99"/>
                      </a:cxn>
                      <a:cxn ang="T168">
                        <a:pos x="T100" y="T101"/>
                      </a:cxn>
                      <a:cxn ang="T169">
                        <a:pos x="T102" y="T103"/>
                      </a:cxn>
                      <a:cxn ang="T170">
                        <a:pos x="T104" y="T105"/>
                      </a:cxn>
                      <a:cxn ang="T171">
                        <a:pos x="T106" y="T107"/>
                      </a:cxn>
                      <a:cxn ang="T172">
                        <a:pos x="T108" y="T109"/>
                      </a:cxn>
                      <a:cxn ang="T173">
                        <a:pos x="T110" y="T111"/>
                      </a:cxn>
                      <a:cxn ang="T174">
                        <a:pos x="T112" y="T113"/>
                      </a:cxn>
                      <a:cxn ang="T175">
                        <a:pos x="T114" y="T115"/>
                      </a:cxn>
                      <a:cxn ang="T176">
                        <a:pos x="T116" y="T117"/>
                      </a:cxn>
                    </a:cxnLst>
                    <a:rect l="T177" t="T178" r="T179" b="T180"/>
                    <a:pathLst>
                      <a:path w="1797" h="519">
                        <a:moveTo>
                          <a:pt x="1355" y="176"/>
                        </a:moveTo>
                        <a:lnTo>
                          <a:pt x="1316" y="180"/>
                        </a:lnTo>
                        <a:lnTo>
                          <a:pt x="1274" y="182"/>
                        </a:lnTo>
                        <a:lnTo>
                          <a:pt x="1230" y="183"/>
                        </a:lnTo>
                        <a:lnTo>
                          <a:pt x="1185" y="183"/>
                        </a:lnTo>
                        <a:lnTo>
                          <a:pt x="1137" y="182"/>
                        </a:lnTo>
                        <a:lnTo>
                          <a:pt x="1089" y="179"/>
                        </a:lnTo>
                        <a:lnTo>
                          <a:pt x="1039" y="176"/>
                        </a:lnTo>
                        <a:lnTo>
                          <a:pt x="988" y="171"/>
                        </a:lnTo>
                        <a:lnTo>
                          <a:pt x="935" y="166"/>
                        </a:lnTo>
                        <a:lnTo>
                          <a:pt x="884" y="159"/>
                        </a:lnTo>
                        <a:lnTo>
                          <a:pt x="831" y="151"/>
                        </a:lnTo>
                        <a:lnTo>
                          <a:pt x="778" y="143"/>
                        </a:lnTo>
                        <a:lnTo>
                          <a:pt x="675" y="127"/>
                        </a:lnTo>
                        <a:lnTo>
                          <a:pt x="574" y="108"/>
                        </a:lnTo>
                        <a:lnTo>
                          <a:pt x="478" y="89"/>
                        </a:lnTo>
                        <a:lnTo>
                          <a:pt x="388" y="70"/>
                        </a:lnTo>
                        <a:lnTo>
                          <a:pt x="307" y="52"/>
                        </a:lnTo>
                        <a:lnTo>
                          <a:pt x="236" y="35"/>
                        </a:lnTo>
                        <a:lnTo>
                          <a:pt x="177" y="21"/>
                        </a:lnTo>
                        <a:lnTo>
                          <a:pt x="134" y="10"/>
                        </a:lnTo>
                        <a:lnTo>
                          <a:pt x="106" y="3"/>
                        </a:lnTo>
                        <a:lnTo>
                          <a:pt x="96" y="0"/>
                        </a:lnTo>
                        <a:lnTo>
                          <a:pt x="75" y="6"/>
                        </a:lnTo>
                        <a:lnTo>
                          <a:pt x="57" y="13"/>
                        </a:lnTo>
                        <a:lnTo>
                          <a:pt x="42" y="20"/>
                        </a:lnTo>
                        <a:lnTo>
                          <a:pt x="29" y="26"/>
                        </a:lnTo>
                        <a:lnTo>
                          <a:pt x="19" y="33"/>
                        </a:lnTo>
                        <a:lnTo>
                          <a:pt x="12" y="39"/>
                        </a:lnTo>
                        <a:lnTo>
                          <a:pt x="6" y="45"/>
                        </a:lnTo>
                        <a:lnTo>
                          <a:pt x="2" y="51"/>
                        </a:lnTo>
                        <a:lnTo>
                          <a:pt x="0" y="58"/>
                        </a:lnTo>
                        <a:lnTo>
                          <a:pt x="0" y="63"/>
                        </a:lnTo>
                        <a:lnTo>
                          <a:pt x="2" y="69"/>
                        </a:lnTo>
                        <a:lnTo>
                          <a:pt x="4" y="74"/>
                        </a:lnTo>
                        <a:lnTo>
                          <a:pt x="8" y="80"/>
                        </a:lnTo>
                        <a:lnTo>
                          <a:pt x="13" y="84"/>
                        </a:lnTo>
                        <a:lnTo>
                          <a:pt x="18" y="89"/>
                        </a:lnTo>
                        <a:lnTo>
                          <a:pt x="25" y="94"/>
                        </a:lnTo>
                        <a:lnTo>
                          <a:pt x="39" y="102"/>
                        </a:lnTo>
                        <a:lnTo>
                          <a:pt x="55" y="110"/>
                        </a:lnTo>
                        <a:lnTo>
                          <a:pt x="70" y="115"/>
                        </a:lnTo>
                        <a:lnTo>
                          <a:pt x="84" y="121"/>
                        </a:lnTo>
                        <a:lnTo>
                          <a:pt x="101" y="127"/>
                        </a:lnTo>
                        <a:lnTo>
                          <a:pt x="96" y="125"/>
                        </a:lnTo>
                        <a:lnTo>
                          <a:pt x="106" y="128"/>
                        </a:lnTo>
                        <a:lnTo>
                          <a:pt x="134" y="136"/>
                        </a:lnTo>
                        <a:lnTo>
                          <a:pt x="177" y="147"/>
                        </a:lnTo>
                        <a:lnTo>
                          <a:pt x="236" y="160"/>
                        </a:lnTo>
                        <a:lnTo>
                          <a:pt x="307" y="177"/>
                        </a:lnTo>
                        <a:lnTo>
                          <a:pt x="388" y="194"/>
                        </a:lnTo>
                        <a:lnTo>
                          <a:pt x="478" y="215"/>
                        </a:lnTo>
                        <a:lnTo>
                          <a:pt x="574" y="233"/>
                        </a:lnTo>
                        <a:lnTo>
                          <a:pt x="675" y="251"/>
                        </a:lnTo>
                        <a:lnTo>
                          <a:pt x="778" y="269"/>
                        </a:lnTo>
                        <a:lnTo>
                          <a:pt x="831" y="277"/>
                        </a:lnTo>
                        <a:lnTo>
                          <a:pt x="884" y="284"/>
                        </a:lnTo>
                        <a:lnTo>
                          <a:pt x="935" y="290"/>
                        </a:lnTo>
                        <a:lnTo>
                          <a:pt x="988" y="296"/>
                        </a:lnTo>
                        <a:lnTo>
                          <a:pt x="1039" y="300"/>
                        </a:lnTo>
                        <a:lnTo>
                          <a:pt x="1089" y="305"/>
                        </a:lnTo>
                        <a:lnTo>
                          <a:pt x="1137" y="307"/>
                        </a:lnTo>
                        <a:lnTo>
                          <a:pt x="1185" y="308"/>
                        </a:lnTo>
                        <a:lnTo>
                          <a:pt x="1230" y="309"/>
                        </a:lnTo>
                        <a:lnTo>
                          <a:pt x="1274" y="308"/>
                        </a:lnTo>
                        <a:lnTo>
                          <a:pt x="1316" y="305"/>
                        </a:lnTo>
                        <a:lnTo>
                          <a:pt x="1355" y="300"/>
                        </a:lnTo>
                        <a:lnTo>
                          <a:pt x="1393" y="296"/>
                        </a:lnTo>
                        <a:lnTo>
                          <a:pt x="1430" y="294"/>
                        </a:lnTo>
                        <a:lnTo>
                          <a:pt x="1463" y="294"/>
                        </a:lnTo>
                        <a:lnTo>
                          <a:pt x="1494" y="294"/>
                        </a:lnTo>
                        <a:lnTo>
                          <a:pt x="1524" y="297"/>
                        </a:lnTo>
                        <a:lnTo>
                          <a:pt x="1551" y="300"/>
                        </a:lnTo>
                        <a:lnTo>
                          <a:pt x="1577" y="305"/>
                        </a:lnTo>
                        <a:lnTo>
                          <a:pt x="1601" y="311"/>
                        </a:lnTo>
                        <a:lnTo>
                          <a:pt x="1622" y="318"/>
                        </a:lnTo>
                        <a:lnTo>
                          <a:pt x="1643" y="327"/>
                        </a:lnTo>
                        <a:lnTo>
                          <a:pt x="1661" y="336"/>
                        </a:lnTo>
                        <a:lnTo>
                          <a:pt x="1679" y="346"/>
                        </a:lnTo>
                        <a:lnTo>
                          <a:pt x="1694" y="356"/>
                        </a:lnTo>
                        <a:lnTo>
                          <a:pt x="1708" y="366"/>
                        </a:lnTo>
                        <a:lnTo>
                          <a:pt x="1721" y="378"/>
                        </a:lnTo>
                        <a:lnTo>
                          <a:pt x="1732" y="389"/>
                        </a:lnTo>
                        <a:lnTo>
                          <a:pt x="1743" y="400"/>
                        </a:lnTo>
                        <a:lnTo>
                          <a:pt x="1752" y="413"/>
                        </a:lnTo>
                        <a:lnTo>
                          <a:pt x="1760" y="424"/>
                        </a:lnTo>
                        <a:lnTo>
                          <a:pt x="1767" y="435"/>
                        </a:lnTo>
                        <a:lnTo>
                          <a:pt x="1778" y="457"/>
                        </a:lnTo>
                        <a:lnTo>
                          <a:pt x="1787" y="477"/>
                        </a:lnTo>
                        <a:lnTo>
                          <a:pt x="1795" y="507"/>
                        </a:lnTo>
                        <a:lnTo>
                          <a:pt x="1797" y="519"/>
                        </a:lnTo>
                        <a:lnTo>
                          <a:pt x="1797" y="454"/>
                        </a:lnTo>
                        <a:lnTo>
                          <a:pt x="1795" y="396"/>
                        </a:lnTo>
                        <a:lnTo>
                          <a:pt x="1794" y="370"/>
                        </a:lnTo>
                        <a:lnTo>
                          <a:pt x="1792" y="346"/>
                        </a:lnTo>
                        <a:lnTo>
                          <a:pt x="1790" y="324"/>
                        </a:lnTo>
                        <a:lnTo>
                          <a:pt x="1787" y="302"/>
                        </a:lnTo>
                        <a:lnTo>
                          <a:pt x="1784" y="282"/>
                        </a:lnTo>
                        <a:lnTo>
                          <a:pt x="1779" y="265"/>
                        </a:lnTo>
                        <a:lnTo>
                          <a:pt x="1774" y="249"/>
                        </a:lnTo>
                        <a:lnTo>
                          <a:pt x="1768" y="233"/>
                        </a:lnTo>
                        <a:lnTo>
                          <a:pt x="1760" y="220"/>
                        </a:lnTo>
                        <a:lnTo>
                          <a:pt x="1752" y="208"/>
                        </a:lnTo>
                        <a:lnTo>
                          <a:pt x="1743" y="198"/>
                        </a:lnTo>
                        <a:lnTo>
                          <a:pt x="1733" y="188"/>
                        </a:lnTo>
                        <a:lnTo>
                          <a:pt x="1721" y="180"/>
                        </a:lnTo>
                        <a:lnTo>
                          <a:pt x="1709" y="173"/>
                        </a:lnTo>
                        <a:lnTo>
                          <a:pt x="1694" y="168"/>
                        </a:lnTo>
                        <a:lnTo>
                          <a:pt x="1679" y="162"/>
                        </a:lnTo>
                        <a:lnTo>
                          <a:pt x="1662" y="159"/>
                        </a:lnTo>
                        <a:lnTo>
                          <a:pt x="1643" y="157"/>
                        </a:lnTo>
                        <a:lnTo>
                          <a:pt x="1623" y="154"/>
                        </a:lnTo>
                        <a:lnTo>
                          <a:pt x="1601" y="153"/>
                        </a:lnTo>
                        <a:lnTo>
                          <a:pt x="1577" y="154"/>
                        </a:lnTo>
                        <a:lnTo>
                          <a:pt x="1551" y="154"/>
                        </a:lnTo>
                        <a:lnTo>
                          <a:pt x="1524" y="157"/>
                        </a:lnTo>
                        <a:lnTo>
                          <a:pt x="1494" y="159"/>
                        </a:lnTo>
                        <a:lnTo>
                          <a:pt x="1430" y="166"/>
                        </a:lnTo>
                        <a:lnTo>
                          <a:pt x="1355" y="176"/>
                        </a:lnTo>
                        <a:close/>
                      </a:path>
                    </a:pathLst>
                  </a:custGeom>
                  <a:solidFill>
                    <a:srgbClr val="3D4189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354" name="Freeform 199"/>
                  <p:cNvSpPr>
                    <a:spLocks/>
                  </p:cNvSpPr>
                  <p:nvPr/>
                </p:nvSpPr>
                <p:spPr bwMode="auto">
                  <a:xfrm>
                    <a:off x="3167" y="3609"/>
                    <a:ext cx="292" cy="225"/>
                  </a:xfrm>
                  <a:custGeom>
                    <a:avLst/>
                    <a:gdLst>
                      <a:gd name="T0" fmla="*/ 0 w 2030"/>
                      <a:gd name="T1" fmla="*/ 0 h 1579"/>
                      <a:gd name="T2" fmla="*/ 0 w 2030"/>
                      <a:gd name="T3" fmla="*/ 0 h 1579"/>
                      <a:gd name="T4" fmla="*/ 0 w 2030"/>
                      <a:gd name="T5" fmla="*/ 0 h 1579"/>
                      <a:gd name="T6" fmla="*/ 0 w 2030"/>
                      <a:gd name="T7" fmla="*/ 0 h 1579"/>
                      <a:gd name="T8" fmla="*/ 0 w 2030"/>
                      <a:gd name="T9" fmla="*/ 0 h 1579"/>
                      <a:gd name="T10" fmla="*/ 0 w 2030"/>
                      <a:gd name="T11" fmla="*/ 0 h 1579"/>
                      <a:gd name="T12" fmla="*/ 0 w 2030"/>
                      <a:gd name="T13" fmla="*/ 0 h 1579"/>
                      <a:gd name="T14" fmla="*/ 0 w 2030"/>
                      <a:gd name="T15" fmla="*/ 0 h 1579"/>
                      <a:gd name="T16" fmla="*/ 0 w 2030"/>
                      <a:gd name="T17" fmla="*/ 0 h 1579"/>
                      <a:gd name="T18" fmla="*/ 0 w 2030"/>
                      <a:gd name="T19" fmla="*/ 0 h 1579"/>
                      <a:gd name="T20" fmla="*/ 0 w 2030"/>
                      <a:gd name="T21" fmla="*/ 0 h 1579"/>
                      <a:gd name="T22" fmla="*/ 0 w 2030"/>
                      <a:gd name="T23" fmla="*/ 0 h 1579"/>
                      <a:gd name="T24" fmla="*/ 0 w 2030"/>
                      <a:gd name="T25" fmla="*/ 0 h 1579"/>
                      <a:gd name="T26" fmla="*/ 0 w 2030"/>
                      <a:gd name="T27" fmla="*/ 0 h 1579"/>
                      <a:gd name="T28" fmla="*/ 0 w 2030"/>
                      <a:gd name="T29" fmla="*/ 0 h 1579"/>
                      <a:gd name="T30" fmla="*/ 0 w 2030"/>
                      <a:gd name="T31" fmla="*/ 0 h 1579"/>
                      <a:gd name="T32" fmla="*/ 0 w 2030"/>
                      <a:gd name="T33" fmla="*/ 0 h 1579"/>
                      <a:gd name="T34" fmla="*/ 0 w 2030"/>
                      <a:gd name="T35" fmla="*/ 0 h 1579"/>
                      <a:gd name="T36" fmla="*/ 0 w 2030"/>
                      <a:gd name="T37" fmla="*/ 0 h 1579"/>
                      <a:gd name="T38" fmla="*/ 0 w 2030"/>
                      <a:gd name="T39" fmla="*/ 0 h 1579"/>
                      <a:gd name="T40" fmla="*/ 0 w 2030"/>
                      <a:gd name="T41" fmla="*/ 0 h 1579"/>
                      <a:gd name="T42" fmla="*/ 0 w 2030"/>
                      <a:gd name="T43" fmla="*/ 0 h 1579"/>
                      <a:gd name="T44" fmla="*/ 0 w 2030"/>
                      <a:gd name="T45" fmla="*/ 0 h 1579"/>
                      <a:gd name="T46" fmla="*/ 0 w 2030"/>
                      <a:gd name="T47" fmla="*/ 0 h 1579"/>
                      <a:gd name="T48" fmla="*/ 0 w 2030"/>
                      <a:gd name="T49" fmla="*/ 0 h 1579"/>
                      <a:gd name="T50" fmla="*/ 0 w 2030"/>
                      <a:gd name="T51" fmla="*/ 0 h 1579"/>
                      <a:gd name="T52" fmla="*/ 0 w 2030"/>
                      <a:gd name="T53" fmla="*/ 0 h 1579"/>
                      <a:gd name="T54" fmla="*/ 0 w 2030"/>
                      <a:gd name="T55" fmla="*/ 0 h 1579"/>
                      <a:gd name="T56" fmla="*/ 0 w 2030"/>
                      <a:gd name="T57" fmla="*/ 0 h 1579"/>
                      <a:gd name="T58" fmla="*/ 0 w 2030"/>
                      <a:gd name="T59" fmla="*/ 0 h 1579"/>
                      <a:gd name="T60" fmla="*/ 0 w 2030"/>
                      <a:gd name="T61" fmla="*/ 0 h 1579"/>
                      <a:gd name="T62" fmla="*/ 0 w 2030"/>
                      <a:gd name="T63" fmla="*/ 0 h 1579"/>
                      <a:gd name="T64" fmla="*/ 0 w 2030"/>
                      <a:gd name="T65" fmla="*/ 0 h 1579"/>
                      <a:gd name="T66" fmla="*/ 0 w 2030"/>
                      <a:gd name="T67" fmla="*/ 0 h 1579"/>
                      <a:gd name="T68" fmla="*/ 0 w 2030"/>
                      <a:gd name="T69" fmla="*/ 0 h 1579"/>
                      <a:gd name="T70" fmla="*/ 0 w 2030"/>
                      <a:gd name="T71" fmla="*/ 0 h 1579"/>
                      <a:gd name="T72" fmla="*/ 0 w 2030"/>
                      <a:gd name="T73" fmla="*/ 0 h 1579"/>
                      <a:gd name="T74" fmla="*/ 0 w 2030"/>
                      <a:gd name="T75" fmla="*/ 0 h 1579"/>
                      <a:gd name="T76" fmla="*/ 0 w 2030"/>
                      <a:gd name="T77" fmla="*/ 0 h 1579"/>
                      <a:gd name="T78" fmla="*/ 0 w 2030"/>
                      <a:gd name="T79" fmla="*/ 0 h 1579"/>
                      <a:gd name="T80" fmla="*/ 0 w 2030"/>
                      <a:gd name="T81" fmla="*/ 0 h 1579"/>
                      <a:gd name="T82" fmla="*/ 0 w 2030"/>
                      <a:gd name="T83" fmla="*/ 0 h 1579"/>
                      <a:gd name="T84" fmla="*/ 0 w 2030"/>
                      <a:gd name="T85" fmla="*/ 0 h 1579"/>
                      <a:gd name="T86" fmla="*/ 0 w 2030"/>
                      <a:gd name="T87" fmla="*/ 0 h 1579"/>
                      <a:gd name="T88" fmla="*/ 0 w 2030"/>
                      <a:gd name="T89" fmla="*/ 0 h 1579"/>
                      <a:gd name="T90" fmla="*/ 0 w 2030"/>
                      <a:gd name="T91" fmla="*/ 0 h 1579"/>
                      <a:gd name="T92" fmla="*/ 0 w 2030"/>
                      <a:gd name="T93" fmla="*/ 0 h 1579"/>
                      <a:gd name="T94" fmla="*/ 0 w 2030"/>
                      <a:gd name="T95" fmla="*/ 0 h 1579"/>
                      <a:gd name="T96" fmla="*/ 0 w 2030"/>
                      <a:gd name="T97" fmla="*/ 0 h 1579"/>
                      <a:gd name="T98" fmla="*/ 0 w 2030"/>
                      <a:gd name="T99" fmla="*/ 0 h 1579"/>
                      <a:gd name="T100" fmla="*/ 0 w 2030"/>
                      <a:gd name="T101" fmla="*/ 0 h 1579"/>
                      <a:gd name="T102" fmla="*/ 0 w 2030"/>
                      <a:gd name="T103" fmla="*/ 0 h 1579"/>
                      <a:gd name="T104" fmla="*/ 0 w 2030"/>
                      <a:gd name="T105" fmla="*/ 0 h 1579"/>
                      <a:gd name="T106" fmla="*/ 0 w 2030"/>
                      <a:gd name="T107" fmla="*/ 0 h 1579"/>
                      <a:gd name="T108" fmla="*/ 0 w 2030"/>
                      <a:gd name="T109" fmla="*/ 0 h 1579"/>
                      <a:gd name="T110" fmla="*/ 0 w 2030"/>
                      <a:gd name="T111" fmla="*/ 0 h 1579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w 2030"/>
                      <a:gd name="T169" fmla="*/ 0 h 1579"/>
                      <a:gd name="T170" fmla="*/ 2030 w 2030"/>
                      <a:gd name="T171" fmla="*/ 1579 h 1579"/>
                    </a:gdLst>
                    <a:ahLst/>
                    <a:cxnLst>
                      <a:cxn ang="T112">
                        <a:pos x="T0" y="T1"/>
                      </a:cxn>
                      <a:cxn ang="T113">
                        <a:pos x="T2" y="T3"/>
                      </a:cxn>
                      <a:cxn ang="T114">
                        <a:pos x="T4" y="T5"/>
                      </a:cxn>
                      <a:cxn ang="T115">
                        <a:pos x="T6" y="T7"/>
                      </a:cxn>
                      <a:cxn ang="T116">
                        <a:pos x="T8" y="T9"/>
                      </a:cxn>
                      <a:cxn ang="T117">
                        <a:pos x="T10" y="T11"/>
                      </a:cxn>
                      <a:cxn ang="T118">
                        <a:pos x="T12" y="T13"/>
                      </a:cxn>
                      <a:cxn ang="T119">
                        <a:pos x="T14" y="T15"/>
                      </a:cxn>
                      <a:cxn ang="T120">
                        <a:pos x="T16" y="T17"/>
                      </a:cxn>
                      <a:cxn ang="T121">
                        <a:pos x="T18" y="T19"/>
                      </a:cxn>
                      <a:cxn ang="T122">
                        <a:pos x="T20" y="T21"/>
                      </a:cxn>
                      <a:cxn ang="T123">
                        <a:pos x="T22" y="T23"/>
                      </a:cxn>
                      <a:cxn ang="T124">
                        <a:pos x="T24" y="T25"/>
                      </a:cxn>
                      <a:cxn ang="T125">
                        <a:pos x="T26" y="T27"/>
                      </a:cxn>
                      <a:cxn ang="T126">
                        <a:pos x="T28" y="T29"/>
                      </a:cxn>
                      <a:cxn ang="T127">
                        <a:pos x="T30" y="T31"/>
                      </a:cxn>
                      <a:cxn ang="T128">
                        <a:pos x="T32" y="T33"/>
                      </a:cxn>
                      <a:cxn ang="T129">
                        <a:pos x="T34" y="T35"/>
                      </a:cxn>
                      <a:cxn ang="T130">
                        <a:pos x="T36" y="T37"/>
                      </a:cxn>
                      <a:cxn ang="T131">
                        <a:pos x="T38" y="T39"/>
                      </a:cxn>
                      <a:cxn ang="T132">
                        <a:pos x="T40" y="T41"/>
                      </a:cxn>
                      <a:cxn ang="T133">
                        <a:pos x="T42" y="T43"/>
                      </a:cxn>
                      <a:cxn ang="T134">
                        <a:pos x="T44" y="T45"/>
                      </a:cxn>
                      <a:cxn ang="T135">
                        <a:pos x="T46" y="T47"/>
                      </a:cxn>
                      <a:cxn ang="T136">
                        <a:pos x="T48" y="T49"/>
                      </a:cxn>
                      <a:cxn ang="T137">
                        <a:pos x="T50" y="T51"/>
                      </a:cxn>
                      <a:cxn ang="T138">
                        <a:pos x="T52" y="T53"/>
                      </a:cxn>
                      <a:cxn ang="T139">
                        <a:pos x="T54" y="T55"/>
                      </a:cxn>
                      <a:cxn ang="T140">
                        <a:pos x="T56" y="T57"/>
                      </a:cxn>
                      <a:cxn ang="T141">
                        <a:pos x="T58" y="T59"/>
                      </a:cxn>
                      <a:cxn ang="T142">
                        <a:pos x="T60" y="T61"/>
                      </a:cxn>
                      <a:cxn ang="T143">
                        <a:pos x="T62" y="T63"/>
                      </a:cxn>
                      <a:cxn ang="T144">
                        <a:pos x="T64" y="T65"/>
                      </a:cxn>
                      <a:cxn ang="T145">
                        <a:pos x="T66" y="T67"/>
                      </a:cxn>
                      <a:cxn ang="T146">
                        <a:pos x="T68" y="T69"/>
                      </a:cxn>
                      <a:cxn ang="T147">
                        <a:pos x="T70" y="T71"/>
                      </a:cxn>
                      <a:cxn ang="T148">
                        <a:pos x="T72" y="T73"/>
                      </a:cxn>
                      <a:cxn ang="T149">
                        <a:pos x="T74" y="T75"/>
                      </a:cxn>
                      <a:cxn ang="T150">
                        <a:pos x="T76" y="T77"/>
                      </a:cxn>
                      <a:cxn ang="T151">
                        <a:pos x="T78" y="T79"/>
                      </a:cxn>
                      <a:cxn ang="T152">
                        <a:pos x="T80" y="T81"/>
                      </a:cxn>
                      <a:cxn ang="T153">
                        <a:pos x="T82" y="T83"/>
                      </a:cxn>
                      <a:cxn ang="T154">
                        <a:pos x="T84" y="T85"/>
                      </a:cxn>
                      <a:cxn ang="T155">
                        <a:pos x="T86" y="T87"/>
                      </a:cxn>
                      <a:cxn ang="T156">
                        <a:pos x="T88" y="T89"/>
                      </a:cxn>
                      <a:cxn ang="T157">
                        <a:pos x="T90" y="T91"/>
                      </a:cxn>
                      <a:cxn ang="T158">
                        <a:pos x="T92" y="T93"/>
                      </a:cxn>
                      <a:cxn ang="T159">
                        <a:pos x="T94" y="T95"/>
                      </a:cxn>
                      <a:cxn ang="T160">
                        <a:pos x="T96" y="T97"/>
                      </a:cxn>
                      <a:cxn ang="T161">
                        <a:pos x="T98" y="T99"/>
                      </a:cxn>
                      <a:cxn ang="T162">
                        <a:pos x="T100" y="T101"/>
                      </a:cxn>
                      <a:cxn ang="T163">
                        <a:pos x="T102" y="T103"/>
                      </a:cxn>
                      <a:cxn ang="T164">
                        <a:pos x="T104" y="T105"/>
                      </a:cxn>
                      <a:cxn ang="T165">
                        <a:pos x="T106" y="T107"/>
                      </a:cxn>
                      <a:cxn ang="T166">
                        <a:pos x="T108" y="T109"/>
                      </a:cxn>
                      <a:cxn ang="T167">
                        <a:pos x="T110" y="T111"/>
                      </a:cxn>
                    </a:cxnLst>
                    <a:rect l="T168" t="T169" r="T170" b="T171"/>
                    <a:pathLst>
                      <a:path w="2030" h="1579">
                        <a:moveTo>
                          <a:pt x="916" y="671"/>
                        </a:moveTo>
                        <a:lnTo>
                          <a:pt x="959" y="695"/>
                        </a:lnTo>
                        <a:lnTo>
                          <a:pt x="1000" y="717"/>
                        </a:lnTo>
                        <a:lnTo>
                          <a:pt x="1040" y="737"/>
                        </a:lnTo>
                        <a:lnTo>
                          <a:pt x="1080" y="756"/>
                        </a:lnTo>
                        <a:lnTo>
                          <a:pt x="1120" y="774"/>
                        </a:lnTo>
                        <a:lnTo>
                          <a:pt x="1159" y="789"/>
                        </a:lnTo>
                        <a:lnTo>
                          <a:pt x="1197" y="804"/>
                        </a:lnTo>
                        <a:lnTo>
                          <a:pt x="1236" y="816"/>
                        </a:lnTo>
                        <a:lnTo>
                          <a:pt x="1272" y="827"/>
                        </a:lnTo>
                        <a:lnTo>
                          <a:pt x="1310" y="837"/>
                        </a:lnTo>
                        <a:lnTo>
                          <a:pt x="1347" y="846"/>
                        </a:lnTo>
                        <a:lnTo>
                          <a:pt x="1383" y="853"/>
                        </a:lnTo>
                        <a:lnTo>
                          <a:pt x="1419" y="858"/>
                        </a:lnTo>
                        <a:lnTo>
                          <a:pt x="1454" y="863"/>
                        </a:lnTo>
                        <a:lnTo>
                          <a:pt x="1490" y="865"/>
                        </a:lnTo>
                        <a:lnTo>
                          <a:pt x="1524" y="866"/>
                        </a:lnTo>
                        <a:lnTo>
                          <a:pt x="1559" y="866"/>
                        </a:lnTo>
                        <a:lnTo>
                          <a:pt x="1592" y="865"/>
                        </a:lnTo>
                        <a:lnTo>
                          <a:pt x="1625" y="862"/>
                        </a:lnTo>
                        <a:lnTo>
                          <a:pt x="1659" y="858"/>
                        </a:lnTo>
                        <a:lnTo>
                          <a:pt x="1691" y="853"/>
                        </a:lnTo>
                        <a:lnTo>
                          <a:pt x="1723" y="846"/>
                        </a:lnTo>
                        <a:lnTo>
                          <a:pt x="1756" y="838"/>
                        </a:lnTo>
                        <a:lnTo>
                          <a:pt x="1788" y="828"/>
                        </a:lnTo>
                        <a:lnTo>
                          <a:pt x="1819" y="818"/>
                        </a:lnTo>
                        <a:lnTo>
                          <a:pt x="1850" y="806"/>
                        </a:lnTo>
                        <a:lnTo>
                          <a:pt x="1880" y="794"/>
                        </a:lnTo>
                        <a:lnTo>
                          <a:pt x="1911" y="779"/>
                        </a:lnTo>
                        <a:lnTo>
                          <a:pt x="1941" y="764"/>
                        </a:lnTo>
                        <a:lnTo>
                          <a:pt x="1971" y="747"/>
                        </a:lnTo>
                        <a:lnTo>
                          <a:pt x="2000" y="729"/>
                        </a:lnTo>
                        <a:lnTo>
                          <a:pt x="2030" y="710"/>
                        </a:lnTo>
                        <a:lnTo>
                          <a:pt x="2029" y="756"/>
                        </a:lnTo>
                        <a:lnTo>
                          <a:pt x="2029" y="801"/>
                        </a:lnTo>
                        <a:lnTo>
                          <a:pt x="2027" y="847"/>
                        </a:lnTo>
                        <a:lnTo>
                          <a:pt x="2025" y="892"/>
                        </a:lnTo>
                        <a:lnTo>
                          <a:pt x="2020" y="935"/>
                        </a:lnTo>
                        <a:lnTo>
                          <a:pt x="2016" y="977"/>
                        </a:lnTo>
                        <a:lnTo>
                          <a:pt x="2010" y="1020"/>
                        </a:lnTo>
                        <a:lnTo>
                          <a:pt x="2003" y="1060"/>
                        </a:lnTo>
                        <a:lnTo>
                          <a:pt x="1995" y="1100"/>
                        </a:lnTo>
                        <a:lnTo>
                          <a:pt x="1985" y="1138"/>
                        </a:lnTo>
                        <a:lnTo>
                          <a:pt x="1974" y="1174"/>
                        </a:lnTo>
                        <a:lnTo>
                          <a:pt x="1961" y="1210"/>
                        </a:lnTo>
                        <a:lnTo>
                          <a:pt x="1948" y="1243"/>
                        </a:lnTo>
                        <a:lnTo>
                          <a:pt x="1932" y="1274"/>
                        </a:lnTo>
                        <a:lnTo>
                          <a:pt x="1924" y="1290"/>
                        </a:lnTo>
                        <a:lnTo>
                          <a:pt x="1915" y="1304"/>
                        </a:lnTo>
                        <a:lnTo>
                          <a:pt x="1906" y="1319"/>
                        </a:lnTo>
                        <a:lnTo>
                          <a:pt x="1896" y="1333"/>
                        </a:lnTo>
                        <a:lnTo>
                          <a:pt x="1846" y="1396"/>
                        </a:lnTo>
                        <a:lnTo>
                          <a:pt x="1793" y="1449"/>
                        </a:lnTo>
                        <a:lnTo>
                          <a:pt x="1740" y="1491"/>
                        </a:lnTo>
                        <a:lnTo>
                          <a:pt x="1685" y="1526"/>
                        </a:lnTo>
                        <a:lnTo>
                          <a:pt x="1629" y="1551"/>
                        </a:lnTo>
                        <a:lnTo>
                          <a:pt x="1572" y="1568"/>
                        </a:lnTo>
                        <a:lnTo>
                          <a:pt x="1514" y="1577"/>
                        </a:lnTo>
                        <a:lnTo>
                          <a:pt x="1456" y="1579"/>
                        </a:lnTo>
                        <a:lnTo>
                          <a:pt x="1397" y="1575"/>
                        </a:lnTo>
                        <a:lnTo>
                          <a:pt x="1338" y="1564"/>
                        </a:lnTo>
                        <a:lnTo>
                          <a:pt x="1278" y="1546"/>
                        </a:lnTo>
                        <a:lnTo>
                          <a:pt x="1219" y="1524"/>
                        </a:lnTo>
                        <a:lnTo>
                          <a:pt x="1160" y="1496"/>
                        </a:lnTo>
                        <a:lnTo>
                          <a:pt x="1101" y="1464"/>
                        </a:lnTo>
                        <a:lnTo>
                          <a:pt x="1042" y="1428"/>
                        </a:lnTo>
                        <a:lnTo>
                          <a:pt x="984" y="1389"/>
                        </a:lnTo>
                        <a:lnTo>
                          <a:pt x="927" y="1346"/>
                        </a:lnTo>
                        <a:lnTo>
                          <a:pt x="871" y="1301"/>
                        </a:lnTo>
                        <a:lnTo>
                          <a:pt x="816" y="1253"/>
                        </a:lnTo>
                        <a:lnTo>
                          <a:pt x="762" y="1204"/>
                        </a:lnTo>
                        <a:lnTo>
                          <a:pt x="709" y="1154"/>
                        </a:lnTo>
                        <a:lnTo>
                          <a:pt x="659" y="1103"/>
                        </a:lnTo>
                        <a:lnTo>
                          <a:pt x="610" y="1052"/>
                        </a:lnTo>
                        <a:lnTo>
                          <a:pt x="562" y="1001"/>
                        </a:lnTo>
                        <a:lnTo>
                          <a:pt x="517" y="951"/>
                        </a:lnTo>
                        <a:lnTo>
                          <a:pt x="474" y="902"/>
                        </a:lnTo>
                        <a:lnTo>
                          <a:pt x="433" y="854"/>
                        </a:lnTo>
                        <a:lnTo>
                          <a:pt x="395" y="809"/>
                        </a:lnTo>
                        <a:lnTo>
                          <a:pt x="328" y="726"/>
                        </a:lnTo>
                        <a:lnTo>
                          <a:pt x="271" y="657"/>
                        </a:lnTo>
                        <a:lnTo>
                          <a:pt x="253" y="633"/>
                        </a:lnTo>
                        <a:lnTo>
                          <a:pt x="234" y="606"/>
                        </a:lnTo>
                        <a:lnTo>
                          <a:pt x="214" y="576"/>
                        </a:lnTo>
                        <a:lnTo>
                          <a:pt x="195" y="542"/>
                        </a:lnTo>
                        <a:lnTo>
                          <a:pt x="176" y="507"/>
                        </a:lnTo>
                        <a:lnTo>
                          <a:pt x="156" y="469"/>
                        </a:lnTo>
                        <a:lnTo>
                          <a:pt x="137" y="429"/>
                        </a:lnTo>
                        <a:lnTo>
                          <a:pt x="118" y="385"/>
                        </a:lnTo>
                        <a:lnTo>
                          <a:pt x="100" y="342"/>
                        </a:lnTo>
                        <a:lnTo>
                          <a:pt x="84" y="296"/>
                        </a:lnTo>
                        <a:lnTo>
                          <a:pt x="67" y="248"/>
                        </a:lnTo>
                        <a:lnTo>
                          <a:pt x="52" y="200"/>
                        </a:lnTo>
                        <a:lnTo>
                          <a:pt x="36" y="152"/>
                        </a:lnTo>
                        <a:lnTo>
                          <a:pt x="23" y="101"/>
                        </a:lnTo>
                        <a:lnTo>
                          <a:pt x="10" y="50"/>
                        </a:lnTo>
                        <a:lnTo>
                          <a:pt x="0" y="0"/>
                        </a:lnTo>
                        <a:lnTo>
                          <a:pt x="53" y="47"/>
                        </a:lnTo>
                        <a:lnTo>
                          <a:pt x="105" y="93"/>
                        </a:lnTo>
                        <a:lnTo>
                          <a:pt x="158" y="138"/>
                        </a:lnTo>
                        <a:lnTo>
                          <a:pt x="212" y="183"/>
                        </a:lnTo>
                        <a:lnTo>
                          <a:pt x="266" y="227"/>
                        </a:lnTo>
                        <a:lnTo>
                          <a:pt x="322" y="271"/>
                        </a:lnTo>
                        <a:lnTo>
                          <a:pt x="378" y="313"/>
                        </a:lnTo>
                        <a:lnTo>
                          <a:pt x="434" y="355"/>
                        </a:lnTo>
                        <a:lnTo>
                          <a:pt x="492" y="396"/>
                        </a:lnTo>
                        <a:lnTo>
                          <a:pt x="550" y="438"/>
                        </a:lnTo>
                        <a:lnTo>
                          <a:pt x="609" y="479"/>
                        </a:lnTo>
                        <a:lnTo>
                          <a:pt x="669" y="518"/>
                        </a:lnTo>
                        <a:lnTo>
                          <a:pt x="729" y="557"/>
                        </a:lnTo>
                        <a:lnTo>
                          <a:pt x="792" y="596"/>
                        </a:lnTo>
                        <a:lnTo>
                          <a:pt x="854" y="633"/>
                        </a:lnTo>
                        <a:lnTo>
                          <a:pt x="916" y="671"/>
                        </a:lnTo>
                        <a:close/>
                      </a:path>
                    </a:pathLst>
                  </a:custGeom>
                  <a:solidFill>
                    <a:srgbClr val="312276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355" name="Freeform 200"/>
                  <p:cNvSpPr>
                    <a:spLocks/>
                  </p:cNvSpPr>
                  <p:nvPr/>
                </p:nvSpPr>
                <p:spPr bwMode="auto">
                  <a:xfrm>
                    <a:off x="3173" y="3841"/>
                    <a:ext cx="562" cy="216"/>
                  </a:xfrm>
                  <a:custGeom>
                    <a:avLst/>
                    <a:gdLst>
                      <a:gd name="T0" fmla="*/ 0 w 3934"/>
                      <a:gd name="T1" fmla="*/ 0 h 1507"/>
                      <a:gd name="T2" fmla="*/ 0 w 3934"/>
                      <a:gd name="T3" fmla="*/ 0 h 1507"/>
                      <a:gd name="T4" fmla="*/ 0 w 3934"/>
                      <a:gd name="T5" fmla="*/ 0 h 1507"/>
                      <a:gd name="T6" fmla="*/ 0 w 3934"/>
                      <a:gd name="T7" fmla="*/ 0 h 1507"/>
                      <a:gd name="T8" fmla="*/ 0 w 3934"/>
                      <a:gd name="T9" fmla="*/ 0 h 1507"/>
                      <a:gd name="T10" fmla="*/ 0 w 3934"/>
                      <a:gd name="T11" fmla="*/ 0 h 1507"/>
                      <a:gd name="T12" fmla="*/ 0 w 3934"/>
                      <a:gd name="T13" fmla="*/ 0 h 1507"/>
                      <a:gd name="T14" fmla="*/ 0 w 3934"/>
                      <a:gd name="T15" fmla="*/ 0 h 1507"/>
                      <a:gd name="T16" fmla="*/ 0 w 3934"/>
                      <a:gd name="T17" fmla="*/ 0 h 1507"/>
                      <a:gd name="T18" fmla="*/ 0 w 3934"/>
                      <a:gd name="T19" fmla="*/ 0 h 1507"/>
                      <a:gd name="T20" fmla="*/ 0 w 3934"/>
                      <a:gd name="T21" fmla="*/ 0 h 1507"/>
                      <a:gd name="T22" fmla="*/ 0 w 3934"/>
                      <a:gd name="T23" fmla="*/ 0 h 1507"/>
                      <a:gd name="T24" fmla="*/ 0 w 3934"/>
                      <a:gd name="T25" fmla="*/ 0 h 1507"/>
                      <a:gd name="T26" fmla="*/ 0 w 3934"/>
                      <a:gd name="T27" fmla="*/ 0 h 1507"/>
                      <a:gd name="T28" fmla="*/ 0 w 3934"/>
                      <a:gd name="T29" fmla="*/ 0 h 1507"/>
                      <a:gd name="T30" fmla="*/ 0 w 3934"/>
                      <a:gd name="T31" fmla="*/ 0 h 1507"/>
                      <a:gd name="T32" fmla="*/ 0 w 3934"/>
                      <a:gd name="T33" fmla="*/ 0 h 1507"/>
                      <a:gd name="T34" fmla="*/ 0 w 3934"/>
                      <a:gd name="T35" fmla="*/ 0 h 1507"/>
                      <a:gd name="T36" fmla="*/ 0 w 3934"/>
                      <a:gd name="T37" fmla="*/ 0 h 1507"/>
                      <a:gd name="T38" fmla="*/ 0 w 3934"/>
                      <a:gd name="T39" fmla="*/ 0 h 1507"/>
                      <a:gd name="T40" fmla="*/ 0 w 3934"/>
                      <a:gd name="T41" fmla="*/ 0 h 1507"/>
                      <a:gd name="T42" fmla="*/ 0 w 3934"/>
                      <a:gd name="T43" fmla="*/ 0 h 1507"/>
                      <a:gd name="T44" fmla="*/ 0 w 3934"/>
                      <a:gd name="T45" fmla="*/ 0 h 1507"/>
                      <a:gd name="T46" fmla="*/ 0 w 3934"/>
                      <a:gd name="T47" fmla="*/ 0 h 1507"/>
                      <a:gd name="T48" fmla="*/ 0 w 3934"/>
                      <a:gd name="T49" fmla="*/ 0 h 1507"/>
                      <a:gd name="T50" fmla="*/ 0 w 3934"/>
                      <a:gd name="T51" fmla="*/ 0 h 1507"/>
                      <a:gd name="T52" fmla="*/ 0 w 3934"/>
                      <a:gd name="T53" fmla="*/ 0 h 1507"/>
                      <a:gd name="T54" fmla="*/ 0 w 3934"/>
                      <a:gd name="T55" fmla="*/ 0 h 1507"/>
                      <a:gd name="T56" fmla="*/ 0 w 3934"/>
                      <a:gd name="T57" fmla="*/ 0 h 1507"/>
                      <a:gd name="T58" fmla="*/ 0 w 3934"/>
                      <a:gd name="T59" fmla="*/ 0 h 1507"/>
                      <a:gd name="T60" fmla="*/ 0 w 3934"/>
                      <a:gd name="T61" fmla="*/ 0 h 1507"/>
                      <a:gd name="T62" fmla="*/ 0 w 3934"/>
                      <a:gd name="T63" fmla="*/ 0 h 1507"/>
                      <a:gd name="T64" fmla="*/ 0 w 3934"/>
                      <a:gd name="T65" fmla="*/ 0 h 1507"/>
                      <a:gd name="T66" fmla="*/ 0 w 3934"/>
                      <a:gd name="T67" fmla="*/ 0 h 1507"/>
                      <a:gd name="T68" fmla="*/ 0 w 3934"/>
                      <a:gd name="T69" fmla="*/ 0 h 1507"/>
                      <a:gd name="T70" fmla="*/ 0 w 3934"/>
                      <a:gd name="T71" fmla="*/ 0 h 1507"/>
                      <a:gd name="T72" fmla="*/ 0 w 3934"/>
                      <a:gd name="T73" fmla="*/ 0 h 1507"/>
                      <a:gd name="T74" fmla="*/ 0 w 3934"/>
                      <a:gd name="T75" fmla="*/ 0 h 1507"/>
                      <a:gd name="T76" fmla="*/ 0 w 3934"/>
                      <a:gd name="T77" fmla="*/ 0 h 1507"/>
                      <a:gd name="T78" fmla="*/ 0 w 3934"/>
                      <a:gd name="T79" fmla="*/ 0 h 1507"/>
                      <a:gd name="T80" fmla="*/ 0 w 3934"/>
                      <a:gd name="T81" fmla="*/ 0 h 1507"/>
                      <a:gd name="T82" fmla="*/ 0 w 3934"/>
                      <a:gd name="T83" fmla="*/ 0 h 1507"/>
                      <a:gd name="T84" fmla="*/ 0 w 3934"/>
                      <a:gd name="T85" fmla="*/ 0 h 1507"/>
                      <a:gd name="T86" fmla="*/ 0 w 3934"/>
                      <a:gd name="T87" fmla="*/ 0 h 1507"/>
                      <a:gd name="T88" fmla="*/ 0 w 3934"/>
                      <a:gd name="T89" fmla="*/ 0 h 1507"/>
                      <a:gd name="T90" fmla="*/ 0 w 3934"/>
                      <a:gd name="T91" fmla="*/ 0 h 1507"/>
                      <a:gd name="T92" fmla="*/ 0 w 3934"/>
                      <a:gd name="T93" fmla="*/ 0 h 1507"/>
                      <a:gd name="T94" fmla="*/ 0 w 3934"/>
                      <a:gd name="T95" fmla="*/ 0 h 1507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w 3934"/>
                      <a:gd name="T145" fmla="*/ 0 h 1507"/>
                      <a:gd name="T146" fmla="*/ 3934 w 3934"/>
                      <a:gd name="T147" fmla="*/ 1507 h 1507"/>
                    </a:gdLst>
                    <a:ahLst/>
                    <a:cxnLst>
                      <a:cxn ang="T96">
                        <a:pos x="T0" y="T1"/>
                      </a:cxn>
                      <a:cxn ang="T97">
                        <a:pos x="T2" y="T3"/>
                      </a:cxn>
                      <a:cxn ang="T98">
                        <a:pos x="T4" y="T5"/>
                      </a:cxn>
                      <a:cxn ang="T99">
                        <a:pos x="T6" y="T7"/>
                      </a:cxn>
                      <a:cxn ang="T100">
                        <a:pos x="T8" y="T9"/>
                      </a:cxn>
                      <a:cxn ang="T101">
                        <a:pos x="T10" y="T11"/>
                      </a:cxn>
                      <a:cxn ang="T102">
                        <a:pos x="T12" y="T13"/>
                      </a:cxn>
                      <a:cxn ang="T103">
                        <a:pos x="T14" y="T15"/>
                      </a:cxn>
                      <a:cxn ang="T104">
                        <a:pos x="T16" y="T17"/>
                      </a:cxn>
                      <a:cxn ang="T105">
                        <a:pos x="T18" y="T19"/>
                      </a:cxn>
                      <a:cxn ang="T106">
                        <a:pos x="T20" y="T21"/>
                      </a:cxn>
                      <a:cxn ang="T107">
                        <a:pos x="T22" y="T23"/>
                      </a:cxn>
                      <a:cxn ang="T108">
                        <a:pos x="T24" y="T25"/>
                      </a:cxn>
                      <a:cxn ang="T109">
                        <a:pos x="T26" y="T27"/>
                      </a:cxn>
                      <a:cxn ang="T110">
                        <a:pos x="T28" y="T29"/>
                      </a:cxn>
                      <a:cxn ang="T111">
                        <a:pos x="T30" y="T31"/>
                      </a:cxn>
                      <a:cxn ang="T112">
                        <a:pos x="T32" y="T33"/>
                      </a:cxn>
                      <a:cxn ang="T113">
                        <a:pos x="T34" y="T35"/>
                      </a:cxn>
                      <a:cxn ang="T114">
                        <a:pos x="T36" y="T37"/>
                      </a:cxn>
                      <a:cxn ang="T115">
                        <a:pos x="T38" y="T39"/>
                      </a:cxn>
                      <a:cxn ang="T116">
                        <a:pos x="T40" y="T41"/>
                      </a:cxn>
                      <a:cxn ang="T117">
                        <a:pos x="T42" y="T43"/>
                      </a:cxn>
                      <a:cxn ang="T118">
                        <a:pos x="T44" y="T45"/>
                      </a:cxn>
                      <a:cxn ang="T119">
                        <a:pos x="T46" y="T47"/>
                      </a:cxn>
                      <a:cxn ang="T120">
                        <a:pos x="T48" y="T49"/>
                      </a:cxn>
                      <a:cxn ang="T121">
                        <a:pos x="T50" y="T51"/>
                      </a:cxn>
                      <a:cxn ang="T122">
                        <a:pos x="T52" y="T53"/>
                      </a:cxn>
                      <a:cxn ang="T123">
                        <a:pos x="T54" y="T55"/>
                      </a:cxn>
                      <a:cxn ang="T124">
                        <a:pos x="T56" y="T57"/>
                      </a:cxn>
                      <a:cxn ang="T125">
                        <a:pos x="T58" y="T59"/>
                      </a:cxn>
                      <a:cxn ang="T126">
                        <a:pos x="T60" y="T61"/>
                      </a:cxn>
                      <a:cxn ang="T127">
                        <a:pos x="T62" y="T63"/>
                      </a:cxn>
                      <a:cxn ang="T128">
                        <a:pos x="T64" y="T65"/>
                      </a:cxn>
                      <a:cxn ang="T129">
                        <a:pos x="T66" y="T67"/>
                      </a:cxn>
                      <a:cxn ang="T130">
                        <a:pos x="T68" y="T69"/>
                      </a:cxn>
                      <a:cxn ang="T131">
                        <a:pos x="T70" y="T71"/>
                      </a:cxn>
                      <a:cxn ang="T132">
                        <a:pos x="T72" y="T73"/>
                      </a:cxn>
                      <a:cxn ang="T133">
                        <a:pos x="T74" y="T75"/>
                      </a:cxn>
                      <a:cxn ang="T134">
                        <a:pos x="T76" y="T77"/>
                      </a:cxn>
                      <a:cxn ang="T135">
                        <a:pos x="T78" y="T79"/>
                      </a:cxn>
                      <a:cxn ang="T136">
                        <a:pos x="T80" y="T81"/>
                      </a:cxn>
                      <a:cxn ang="T137">
                        <a:pos x="T82" y="T83"/>
                      </a:cxn>
                      <a:cxn ang="T138">
                        <a:pos x="T84" y="T85"/>
                      </a:cxn>
                      <a:cxn ang="T139">
                        <a:pos x="T86" y="T87"/>
                      </a:cxn>
                      <a:cxn ang="T140">
                        <a:pos x="T88" y="T89"/>
                      </a:cxn>
                      <a:cxn ang="T141">
                        <a:pos x="T90" y="T91"/>
                      </a:cxn>
                      <a:cxn ang="T142">
                        <a:pos x="T92" y="T93"/>
                      </a:cxn>
                      <a:cxn ang="T143">
                        <a:pos x="T94" y="T95"/>
                      </a:cxn>
                    </a:cxnLst>
                    <a:rect l="T144" t="T145" r="T146" b="T147"/>
                    <a:pathLst>
                      <a:path w="3934" h="1507">
                        <a:moveTo>
                          <a:pt x="3766" y="0"/>
                        </a:moveTo>
                        <a:lnTo>
                          <a:pt x="3783" y="139"/>
                        </a:lnTo>
                        <a:lnTo>
                          <a:pt x="3781" y="269"/>
                        </a:lnTo>
                        <a:lnTo>
                          <a:pt x="3761" y="390"/>
                        </a:lnTo>
                        <a:lnTo>
                          <a:pt x="3725" y="500"/>
                        </a:lnTo>
                        <a:lnTo>
                          <a:pt x="3674" y="601"/>
                        </a:lnTo>
                        <a:lnTo>
                          <a:pt x="3608" y="693"/>
                        </a:lnTo>
                        <a:lnTo>
                          <a:pt x="3529" y="778"/>
                        </a:lnTo>
                        <a:lnTo>
                          <a:pt x="3438" y="852"/>
                        </a:lnTo>
                        <a:lnTo>
                          <a:pt x="3335" y="920"/>
                        </a:lnTo>
                        <a:lnTo>
                          <a:pt x="3221" y="979"/>
                        </a:lnTo>
                        <a:lnTo>
                          <a:pt x="3098" y="1032"/>
                        </a:lnTo>
                        <a:lnTo>
                          <a:pt x="2966" y="1076"/>
                        </a:lnTo>
                        <a:lnTo>
                          <a:pt x="2827" y="1113"/>
                        </a:lnTo>
                        <a:lnTo>
                          <a:pt x="2680" y="1144"/>
                        </a:lnTo>
                        <a:lnTo>
                          <a:pt x="2529" y="1168"/>
                        </a:lnTo>
                        <a:lnTo>
                          <a:pt x="2372" y="1186"/>
                        </a:lnTo>
                        <a:lnTo>
                          <a:pt x="2210" y="1199"/>
                        </a:lnTo>
                        <a:lnTo>
                          <a:pt x="2048" y="1205"/>
                        </a:lnTo>
                        <a:lnTo>
                          <a:pt x="1882" y="1206"/>
                        </a:lnTo>
                        <a:lnTo>
                          <a:pt x="1716" y="1203"/>
                        </a:lnTo>
                        <a:lnTo>
                          <a:pt x="1549" y="1194"/>
                        </a:lnTo>
                        <a:lnTo>
                          <a:pt x="1385" y="1181"/>
                        </a:lnTo>
                        <a:lnTo>
                          <a:pt x="1221" y="1163"/>
                        </a:lnTo>
                        <a:lnTo>
                          <a:pt x="1061" y="1142"/>
                        </a:lnTo>
                        <a:lnTo>
                          <a:pt x="905" y="1116"/>
                        </a:lnTo>
                        <a:lnTo>
                          <a:pt x="754" y="1087"/>
                        </a:lnTo>
                        <a:lnTo>
                          <a:pt x="608" y="1055"/>
                        </a:lnTo>
                        <a:lnTo>
                          <a:pt x="469" y="1020"/>
                        </a:lnTo>
                        <a:lnTo>
                          <a:pt x="337" y="983"/>
                        </a:lnTo>
                        <a:lnTo>
                          <a:pt x="215" y="943"/>
                        </a:lnTo>
                        <a:lnTo>
                          <a:pt x="102" y="901"/>
                        </a:lnTo>
                        <a:lnTo>
                          <a:pt x="0" y="857"/>
                        </a:lnTo>
                        <a:lnTo>
                          <a:pt x="12" y="878"/>
                        </a:lnTo>
                        <a:lnTo>
                          <a:pt x="26" y="898"/>
                        </a:lnTo>
                        <a:lnTo>
                          <a:pt x="39" y="918"/>
                        </a:lnTo>
                        <a:lnTo>
                          <a:pt x="52" y="937"/>
                        </a:lnTo>
                        <a:lnTo>
                          <a:pt x="67" y="955"/>
                        </a:lnTo>
                        <a:lnTo>
                          <a:pt x="80" y="973"/>
                        </a:lnTo>
                        <a:lnTo>
                          <a:pt x="95" y="989"/>
                        </a:lnTo>
                        <a:lnTo>
                          <a:pt x="109" y="1006"/>
                        </a:lnTo>
                        <a:lnTo>
                          <a:pt x="139" y="1036"/>
                        </a:lnTo>
                        <a:lnTo>
                          <a:pt x="169" y="1064"/>
                        </a:lnTo>
                        <a:lnTo>
                          <a:pt x="199" y="1089"/>
                        </a:lnTo>
                        <a:lnTo>
                          <a:pt x="229" y="1113"/>
                        </a:lnTo>
                        <a:lnTo>
                          <a:pt x="260" y="1134"/>
                        </a:lnTo>
                        <a:lnTo>
                          <a:pt x="291" y="1153"/>
                        </a:lnTo>
                        <a:lnTo>
                          <a:pt x="321" y="1170"/>
                        </a:lnTo>
                        <a:lnTo>
                          <a:pt x="351" y="1184"/>
                        </a:lnTo>
                        <a:lnTo>
                          <a:pt x="380" y="1197"/>
                        </a:lnTo>
                        <a:lnTo>
                          <a:pt x="407" y="1209"/>
                        </a:lnTo>
                        <a:lnTo>
                          <a:pt x="434" y="1219"/>
                        </a:lnTo>
                        <a:lnTo>
                          <a:pt x="461" y="1226"/>
                        </a:lnTo>
                        <a:lnTo>
                          <a:pt x="494" y="1236"/>
                        </a:lnTo>
                        <a:lnTo>
                          <a:pt x="529" y="1247"/>
                        </a:lnTo>
                        <a:lnTo>
                          <a:pt x="565" y="1261"/>
                        </a:lnTo>
                        <a:lnTo>
                          <a:pt x="604" y="1274"/>
                        </a:lnTo>
                        <a:lnTo>
                          <a:pt x="685" y="1305"/>
                        </a:lnTo>
                        <a:lnTo>
                          <a:pt x="769" y="1337"/>
                        </a:lnTo>
                        <a:lnTo>
                          <a:pt x="813" y="1352"/>
                        </a:lnTo>
                        <a:lnTo>
                          <a:pt x="857" y="1368"/>
                        </a:lnTo>
                        <a:lnTo>
                          <a:pt x="902" y="1382"/>
                        </a:lnTo>
                        <a:lnTo>
                          <a:pt x="947" y="1396"/>
                        </a:lnTo>
                        <a:lnTo>
                          <a:pt x="992" y="1408"/>
                        </a:lnTo>
                        <a:lnTo>
                          <a:pt x="1038" y="1418"/>
                        </a:lnTo>
                        <a:lnTo>
                          <a:pt x="1084" y="1427"/>
                        </a:lnTo>
                        <a:lnTo>
                          <a:pt x="1130" y="1432"/>
                        </a:lnTo>
                        <a:lnTo>
                          <a:pt x="1209" y="1442"/>
                        </a:lnTo>
                        <a:lnTo>
                          <a:pt x="1293" y="1452"/>
                        </a:lnTo>
                        <a:lnTo>
                          <a:pt x="1383" y="1463"/>
                        </a:lnTo>
                        <a:lnTo>
                          <a:pt x="1475" y="1475"/>
                        </a:lnTo>
                        <a:lnTo>
                          <a:pt x="1568" y="1486"/>
                        </a:lnTo>
                        <a:lnTo>
                          <a:pt x="1660" y="1495"/>
                        </a:lnTo>
                        <a:lnTo>
                          <a:pt x="1705" y="1499"/>
                        </a:lnTo>
                        <a:lnTo>
                          <a:pt x="1750" y="1502"/>
                        </a:lnTo>
                        <a:lnTo>
                          <a:pt x="1792" y="1505"/>
                        </a:lnTo>
                        <a:lnTo>
                          <a:pt x="1834" y="1507"/>
                        </a:lnTo>
                        <a:lnTo>
                          <a:pt x="1878" y="1507"/>
                        </a:lnTo>
                        <a:lnTo>
                          <a:pt x="1921" y="1506"/>
                        </a:lnTo>
                        <a:lnTo>
                          <a:pt x="1964" y="1503"/>
                        </a:lnTo>
                        <a:lnTo>
                          <a:pt x="2008" y="1500"/>
                        </a:lnTo>
                        <a:lnTo>
                          <a:pt x="2051" y="1495"/>
                        </a:lnTo>
                        <a:lnTo>
                          <a:pt x="2095" y="1489"/>
                        </a:lnTo>
                        <a:lnTo>
                          <a:pt x="2138" y="1482"/>
                        </a:lnTo>
                        <a:lnTo>
                          <a:pt x="2182" y="1476"/>
                        </a:lnTo>
                        <a:lnTo>
                          <a:pt x="2268" y="1461"/>
                        </a:lnTo>
                        <a:lnTo>
                          <a:pt x="2353" y="1449"/>
                        </a:lnTo>
                        <a:lnTo>
                          <a:pt x="2396" y="1443"/>
                        </a:lnTo>
                        <a:lnTo>
                          <a:pt x="2438" y="1438"/>
                        </a:lnTo>
                        <a:lnTo>
                          <a:pt x="2480" y="1434"/>
                        </a:lnTo>
                        <a:lnTo>
                          <a:pt x="2521" y="1432"/>
                        </a:lnTo>
                        <a:lnTo>
                          <a:pt x="2559" y="1430"/>
                        </a:lnTo>
                        <a:lnTo>
                          <a:pt x="2599" y="1427"/>
                        </a:lnTo>
                        <a:lnTo>
                          <a:pt x="2642" y="1421"/>
                        </a:lnTo>
                        <a:lnTo>
                          <a:pt x="2688" y="1414"/>
                        </a:lnTo>
                        <a:lnTo>
                          <a:pt x="2736" y="1406"/>
                        </a:lnTo>
                        <a:lnTo>
                          <a:pt x="2785" y="1397"/>
                        </a:lnTo>
                        <a:lnTo>
                          <a:pt x="2835" y="1387"/>
                        </a:lnTo>
                        <a:lnTo>
                          <a:pt x="2885" y="1375"/>
                        </a:lnTo>
                        <a:lnTo>
                          <a:pt x="2984" y="1354"/>
                        </a:lnTo>
                        <a:lnTo>
                          <a:pt x="3076" y="1332"/>
                        </a:lnTo>
                        <a:lnTo>
                          <a:pt x="3159" y="1311"/>
                        </a:lnTo>
                        <a:lnTo>
                          <a:pt x="3226" y="1294"/>
                        </a:lnTo>
                        <a:lnTo>
                          <a:pt x="3270" y="1282"/>
                        </a:lnTo>
                        <a:lnTo>
                          <a:pt x="3318" y="1268"/>
                        </a:lnTo>
                        <a:lnTo>
                          <a:pt x="3369" y="1251"/>
                        </a:lnTo>
                        <a:lnTo>
                          <a:pt x="3420" y="1232"/>
                        </a:lnTo>
                        <a:lnTo>
                          <a:pt x="3474" y="1211"/>
                        </a:lnTo>
                        <a:lnTo>
                          <a:pt x="3527" y="1189"/>
                        </a:lnTo>
                        <a:lnTo>
                          <a:pt x="3581" y="1163"/>
                        </a:lnTo>
                        <a:lnTo>
                          <a:pt x="3633" y="1136"/>
                        </a:lnTo>
                        <a:lnTo>
                          <a:pt x="3658" y="1122"/>
                        </a:lnTo>
                        <a:lnTo>
                          <a:pt x="3683" y="1107"/>
                        </a:lnTo>
                        <a:lnTo>
                          <a:pt x="3707" y="1093"/>
                        </a:lnTo>
                        <a:lnTo>
                          <a:pt x="3731" y="1077"/>
                        </a:lnTo>
                        <a:lnTo>
                          <a:pt x="3754" y="1062"/>
                        </a:lnTo>
                        <a:lnTo>
                          <a:pt x="3776" y="1045"/>
                        </a:lnTo>
                        <a:lnTo>
                          <a:pt x="3798" y="1028"/>
                        </a:lnTo>
                        <a:lnTo>
                          <a:pt x="3818" y="1010"/>
                        </a:lnTo>
                        <a:lnTo>
                          <a:pt x="3837" y="994"/>
                        </a:lnTo>
                        <a:lnTo>
                          <a:pt x="3854" y="976"/>
                        </a:lnTo>
                        <a:lnTo>
                          <a:pt x="3870" y="957"/>
                        </a:lnTo>
                        <a:lnTo>
                          <a:pt x="3886" y="938"/>
                        </a:lnTo>
                        <a:lnTo>
                          <a:pt x="3899" y="919"/>
                        </a:lnTo>
                        <a:lnTo>
                          <a:pt x="3911" y="900"/>
                        </a:lnTo>
                        <a:lnTo>
                          <a:pt x="3921" y="880"/>
                        </a:lnTo>
                        <a:lnTo>
                          <a:pt x="3930" y="860"/>
                        </a:lnTo>
                        <a:lnTo>
                          <a:pt x="3931" y="852"/>
                        </a:lnTo>
                        <a:lnTo>
                          <a:pt x="3933" y="845"/>
                        </a:lnTo>
                        <a:lnTo>
                          <a:pt x="3934" y="835"/>
                        </a:lnTo>
                        <a:lnTo>
                          <a:pt x="3934" y="822"/>
                        </a:lnTo>
                        <a:lnTo>
                          <a:pt x="3934" y="795"/>
                        </a:lnTo>
                        <a:lnTo>
                          <a:pt x="3931" y="761"/>
                        </a:lnTo>
                        <a:lnTo>
                          <a:pt x="3927" y="722"/>
                        </a:lnTo>
                        <a:lnTo>
                          <a:pt x="3921" y="679"/>
                        </a:lnTo>
                        <a:lnTo>
                          <a:pt x="3912" y="629"/>
                        </a:lnTo>
                        <a:lnTo>
                          <a:pt x="3903" y="575"/>
                        </a:lnTo>
                        <a:lnTo>
                          <a:pt x="3891" y="516"/>
                        </a:lnTo>
                        <a:lnTo>
                          <a:pt x="3878" y="454"/>
                        </a:lnTo>
                        <a:lnTo>
                          <a:pt x="3863" y="387"/>
                        </a:lnTo>
                        <a:lnTo>
                          <a:pt x="3847" y="316"/>
                        </a:lnTo>
                        <a:lnTo>
                          <a:pt x="3829" y="241"/>
                        </a:lnTo>
                        <a:lnTo>
                          <a:pt x="3810" y="164"/>
                        </a:lnTo>
                        <a:lnTo>
                          <a:pt x="3789" y="83"/>
                        </a:lnTo>
                        <a:lnTo>
                          <a:pt x="3766" y="0"/>
                        </a:lnTo>
                        <a:close/>
                      </a:path>
                    </a:pathLst>
                  </a:custGeom>
                  <a:solidFill>
                    <a:srgbClr val="312276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356" name="Freeform 201"/>
                  <p:cNvSpPr>
                    <a:spLocks/>
                  </p:cNvSpPr>
                  <p:nvPr/>
                </p:nvSpPr>
                <p:spPr bwMode="auto">
                  <a:xfrm>
                    <a:off x="3433" y="3505"/>
                    <a:ext cx="329" cy="332"/>
                  </a:xfrm>
                  <a:custGeom>
                    <a:avLst/>
                    <a:gdLst>
                      <a:gd name="T0" fmla="*/ 0 w 2305"/>
                      <a:gd name="T1" fmla="*/ 0 h 2325"/>
                      <a:gd name="T2" fmla="*/ 0 w 2305"/>
                      <a:gd name="T3" fmla="*/ 0 h 2325"/>
                      <a:gd name="T4" fmla="*/ 0 w 2305"/>
                      <a:gd name="T5" fmla="*/ 0 h 2325"/>
                      <a:gd name="T6" fmla="*/ 0 w 2305"/>
                      <a:gd name="T7" fmla="*/ 0 h 2325"/>
                      <a:gd name="T8" fmla="*/ 0 w 2305"/>
                      <a:gd name="T9" fmla="*/ 0 h 2325"/>
                      <a:gd name="T10" fmla="*/ 0 w 2305"/>
                      <a:gd name="T11" fmla="*/ 0 h 2325"/>
                      <a:gd name="T12" fmla="*/ 0 w 2305"/>
                      <a:gd name="T13" fmla="*/ 0 h 2325"/>
                      <a:gd name="T14" fmla="*/ 0 w 2305"/>
                      <a:gd name="T15" fmla="*/ 0 h 2325"/>
                      <a:gd name="T16" fmla="*/ 0 w 2305"/>
                      <a:gd name="T17" fmla="*/ 0 h 2325"/>
                      <a:gd name="T18" fmla="*/ 0 w 2305"/>
                      <a:gd name="T19" fmla="*/ 0 h 2325"/>
                      <a:gd name="T20" fmla="*/ 0 w 2305"/>
                      <a:gd name="T21" fmla="*/ 0 h 2325"/>
                      <a:gd name="T22" fmla="*/ 0 w 2305"/>
                      <a:gd name="T23" fmla="*/ 0 h 2325"/>
                      <a:gd name="T24" fmla="*/ 0 w 2305"/>
                      <a:gd name="T25" fmla="*/ 0 h 2325"/>
                      <a:gd name="T26" fmla="*/ 0 w 2305"/>
                      <a:gd name="T27" fmla="*/ 0 h 2325"/>
                      <a:gd name="T28" fmla="*/ 0 w 2305"/>
                      <a:gd name="T29" fmla="*/ 0 h 2325"/>
                      <a:gd name="T30" fmla="*/ 0 w 2305"/>
                      <a:gd name="T31" fmla="*/ 0 h 2325"/>
                      <a:gd name="T32" fmla="*/ 0 w 2305"/>
                      <a:gd name="T33" fmla="*/ 0 h 2325"/>
                      <a:gd name="T34" fmla="*/ 0 w 2305"/>
                      <a:gd name="T35" fmla="*/ 0 h 2325"/>
                      <a:gd name="T36" fmla="*/ 0 w 2305"/>
                      <a:gd name="T37" fmla="*/ 0 h 2325"/>
                      <a:gd name="T38" fmla="*/ 0 w 2305"/>
                      <a:gd name="T39" fmla="*/ 0 h 2325"/>
                      <a:gd name="T40" fmla="*/ 0 w 2305"/>
                      <a:gd name="T41" fmla="*/ 0 h 2325"/>
                      <a:gd name="T42" fmla="*/ 0 w 2305"/>
                      <a:gd name="T43" fmla="*/ 0 h 2325"/>
                      <a:gd name="T44" fmla="*/ 0 w 2305"/>
                      <a:gd name="T45" fmla="*/ 0 h 2325"/>
                      <a:gd name="T46" fmla="*/ 0 w 2305"/>
                      <a:gd name="T47" fmla="*/ 0 h 2325"/>
                      <a:gd name="T48" fmla="*/ 0 w 2305"/>
                      <a:gd name="T49" fmla="*/ 0 h 2325"/>
                      <a:gd name="T50" fmla="*/ 0 w 2305"/>
                      <a:gd name="T51" fmla="*/ 0 h 2325"/>
                      <a:gd name="T52" fmla="*/ 0 w 2305"/>
                      <a:gd name="T53" fmla="*/ 0 h 2325"/>
                      <a:gd name="T54" fmla="*/ 0 w 2305"/>
                      <a:gd name="T55" fmla="*/ 0 h 2325"/>
                      <a:gd name="T56" fmla="*/ 0 w 2305"/>
                      <a:gd name="T57" fmla="*/ 0 h 2325"/>
                      <a:gd name="T58" fmla="*/ 0 w 2305"/>
                      <a:gd name="T59" fmla="*/ 0 h 2325"/>
                      <a:gd name="T60" fmla="*/ 0 w 2305"/>
                      <a:gd name="T61" fmla="*/ 0 h 2325"/>
                      <a:gd name="T62" fmla="*/ 0 w 2305"/>
                      <a:gd name="T63" fmla="*/ 0 h 2325"/>
                      <a:gd name="T64" fmla="*/ 0 w 2305"/>
                      <a:gd name="T65" fmla="*/ 0 h 2325"/>
                      <a:gd name="T66" fmla="*/ 0 w 2305"/>
                      <a:gd name="T67" fmla="*/ 0 h 2325"/>
                      <a:gd name="T68" fmla="*/ 0 w 2305"/>
                      <a:gd name="T69" fmla="*/ 0 h 2325"/>
                      <a:gd name="T70" fmla="*/ 0 w 2305"/>
                      <a:gd name="T71" fmla="*/ 0 h 2325"/>
                      <a:gd name="T72" fmla="*/ 0 w 2305"/>
                      <a:gd name="T73" fmla="*/ 0 h 2325"/>
                      <a:gd name="T74" fmla="*/ 0 w 2305"/>
                      <a:gd name="T75" fmla="*/ 0 h 2325"/>
                      <a:gd name="T76" fmla="*/ 0 w 2305"/>
                      <a:gd name="T77" fmla="*/ 0 h 2325"/>
                      <a:gd name="T78" fmla="*/ 0 w 2305"/>
                      <a:gd name="T79" fmla="*/ 0 h 2325"/>
                      <a:gd name="T80" fmla="*/ 0 w 2305"/>
                      <a:gd name="T81" fmla="*/ 0 h 2325"/>
                      <a:gd name="T82" fmla="*/ 0 w 2305"/>
                      <a:gd name="T83" fmla="*/ 0 h 2325"/>
                      <a:gd name="T84" fmla="*/ 0 w 2305"/>
                      <a:gd name="T85" fmla="*/ 0 h 2325"/>
                      <a:gd name="T86" fmla="*/ 0 w 2305"/>
                      <a:gd name="T87" fmla="*/ 0 h 2325"/>
                      <a:gd name="T88" fmla="*/ 0 w 2305"/>
                      <a:gd name="T89" fmla="*/ 0 h 2325"/>
                      <a:gd name="T90" fmla="*/ 0 w 2305"/>
                      <a:gd name="T91" fmla="*/ 0 h 2325"/>
                      <a:gd name="T92" fmla="*/ 0 w 2305"/>
                      <a:gd name="T93" fmla="*/ 0 h 2325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w 2305"/>
                      <a:gd name="T142" fmla="*/ 0 h 2325"/>
                      <a:gd name="T143" fmla="*/ 2305 w 2305"/>
                      <a:gd name="T144" fmla="*/ 2325 h 2325"/>
                    </a:gdLst>
                    <a:ahLst/>
                    <a:cxnLst>
                      <a:cxn ang="T94">
                        <a:pos x="T0" y="T1"/>
                      </a:cxn>
                      <a:cxn ang="T95">
                        <a:pos x="T2" y="T3"/>
                      </a:cxn>
                      <a:cxn ang="T96">
                        <a:pos x="T4" y="T5"/>
                      </a:cxn>
                      <a:cxn ang="T97">
                        <a:pos x="T6" y="T7"/>
                      </a:cxn>
                      <a:cxn ang="T98">
                        <a:pos x="T8" y="T9"/>
                      </a:cxn>
                      <a:cxn ang="T99">
                        <a:pos x="T10" y="T11"/>
                      </a:cxn>
                      <a:cxn ang="T100">
                        <a:pos x="T12" y="T13"/>
                      </a:cxn>
                      <a:cxn ang="T101">
                        <a:pos x="T14" y="T15"/>
                      </a:cxn>
                      <a:cxn ang="T102">
                        <a:pos x="T16" y="T17"/>
                      </a:cxn>
                      <a:cxn ang="T103">
                        <a:pos x="T18" y="T19"/>
                      </a:cxn>
                      <a:cxn ang="T104">
                        <a:pos x="T20" y="T21"/>
                      </a:cxn>
                      <a:cxn ang="T105">
                        <a:pos x="T22" y="T23"/>
                      </a:cxn>
                      <a:cxn ang="T106">
                        <a:pos x="T24" y="T25"/>
                      </a:cxn>
                      <a:cxn ang="T107">
                        <a:pos x="T26" y="T27"/>
                      </a:cxn>
                      <a:cxn ang="T108">
                        <a:pos x="T28" y="T29"/>
                      </a:cxn>
                      <a:cxn ang="T109">
                        <a:pos x="T30" y="T31"/>
                      </a:cxn>
                      <a:cxn ang="T110">
                        <a:pos x="T32" y="T33"/>
                      </a:cxn>
                      <a:cxn ang="T111">
                        <a:pos x="T34" y="T35"/>
                      </a:cxn>
                      <a:cxn ang="T112">
                        <a:pos x="T36" y="T37"/>
                      </a:cxn>
                      <a:cxn ang="T113">
                        <a:pos x="T38" y="T39"/>
                      </a:cxn>
                      <a:cxn ang="T114">
                        <a:pos x="T40" y="T41"/>
                      </a:cxn>
                      <a:cxn ang="T115">
                        <a:pos x="T42" y="T43"/>
                      </a:cxn>
                      <a:cxn ang="T116">
                        <a:pos x="T44" y="T45"/>
                      </a:cxn>
                      <a:cxn ang="T117">
                        <a:pos x="T46" y="T47"/>
                      </a:cxn>
                      <a:cxn ang="T118">
                        <a:pos x="T48" y="T49"/>
                      </a:cxn>
                      <a:cxn ang="T119">
                        <a:pos x="T50" y="T51"/>
                      </a:cxn>
                      <a:cxn ang="T120">
                        <a:pos x="T52" y="T53"/>
                      </a:cxn>
                      <a:cxn ang="T121">
                        <a:pos x="T54" y="T55"/>
                      </a:cxn>
                      <a:cxn ang="T122">
                        <a:pos x="T56" y="T57"/>
                      </a:cxn>
                      <a:cxn ang="T123">
                        <a:pos x="T58" y="T59"/>
                      </a:cxn>
                      <a:cxn ang="T124">
                        <a:pos x="T60" y="T61"/>
                      </a:cxn>
                      <a:cxn ang="T125">
                        <a:pos x="T62" y="T63"/>
                      </a:cxn>
                      <a:cxn ang="T126">
                        <a:pos x="T64" y="T65"/>
                      </a:cxn>
                      <a:cxn ang="T127">
                        <a:pos x="T66" y="T67"/>
                      </a:cxn>
                      <a:cxn ang="T128">
                        <a:pos x="T68" y="T69"/>
                      </a:cxn>
                      <a:cxn ang="T129">
                        <a:pos x="T70" y="T71"/>
                      </a:cxn>
                      <a:cxn ang="T130">
                        <a:pos x="T72" y="T73"/>
                      </a:cxn>
                      <a:cxn ang="T131">
                        <a:pos x="T74" y="T75"/>
                      </a:cxn>
                      <a:cxn ang="T132">
                        <a:pos x="T76" y="T77"/>
                      </a:cxn>
                      <a:cxn ang="T133">
                        <a:pos x="T78" y="T79"/>
                      </a:cxn>
                      <a:cxn ang="T134">
                        <a:pos x="T80" y="T81"/>
                      </a:cxn>
                      <a:cxn ang="T135">
                        <a:pos x="T82" y="T83"/>
                      </a:cxn>
                      <a:cxn ang="T136">
                        <a:pos x="T84" y="T85"/>
                      </a:cxn>
                      <a:cxn ang="T137">
                        <a:pos x="T86" y="T87"/>
                      </a:cxn>
                      <a:cxn ang="T138">
                        <a:pos x="T88" y="T89"/>
                      </a:cxn>
                      <a:cxn ang="T139">
                        <a:pos x="T90" y="T91"/>
                      </a:cxn>
                      <a:cxn ang="T140">
                        <a:pos x="T92" y="T93"/>
                      </a:cxn>
                    </a:cxnLst>
                    <a:rect l="T141" t="T142" r="T143" b="T144"/>
                    <a:pathLst>
                      <a:path w="2305" h="2325">
                        <a:moveTo>
                          <a:pt x="1972" y="0"/>
                        </a:moveTo>
                        <a:lnTo>
                          <a:pt x="1961" y="3"/>
                        </a:lnTo>
                        <a:lnTo>
                          <a:pt x="1931" y="10"/>
                        </a:lnTo>
                        <a:lnTo>
                          <a:pt x="1881" y="20"/>
                        </a:lnTo>
                        <a:lnTo>
                          <a:pt x="1816" y="35"/>
                        </a:lnTo>
                        <a:lnTo>
                          <a:pt x="1736" y="52"/>
                        </a:lnTo>
                        <a:lnTo>
                          <a:pt x="1646" y="69"/>
                        </a:lnTo>
                        <a:lnTo>
                          <a:pt x="1545" y="89"/>
                        </a:lnTo>
                        <a:lnTo>
                          <a:pt x="1437" y="108"/>
                        </a:lnTo>
                        <a:lnTo>
                          <a:pt x="1324" y="126"/>
                        </a:lnTo>
                        <a:lnTo>
                          <a:pt x="1208" y="144"/>
                        </a:lnTo>
                        <a:lnTo>
                          <a:pt x="1149" y="152"/>
                        </a:lnTo>
                        <a:lnTo>
                          <a:pt x="1090" y="158"/>
                        </a:lnTo>
                        <a:lnTo>
                          <a:pt x="1032" y="165"/>
                        </a:lnTo>
                        <a:lnTo>
                          <a:pt x="974" y="171"/>
                        </a:lnTo>
                        <a:lnTo>
                          <a:pt x="916" y="175"/>
                        </a:lnTo>
                        <a:lnTo>
                          <a:pt x="860" y="180"/>
                        </a:lnTo>
                        <a:lnTo>
                          <a:pt x="806" y="182"/>
                        </a:lnTo>
                        <a:lnTo>
                          <a:pt x="752" y="183"/>
                        </a:lnTo>
                        <a:lnTo>
                          <a:pt x="701" y="184"/>
                        </a:lnTo>
                        <a:lnTo>
                          <a:pt x="652" y="182"/>
                        </a:lnTo>
                        <a:lnTo>
                          <a:pt x="605" y="180"/>
                        </a:lnTo>
                        <a:lnTo>
                          <a:pt x="562" y="175"/>
                        </a:lnTo>
                        <a:lnTo>
                          <a:pt x="479" y="166"/>
                        </a:lnTo>
                        <a:lnTo>
                          <a:pt x="405" y="160"/>
                        </a:lnTo>
                        <a:lnTo>
                          <a:pt x="373" y="156"/>
                        </a:lnTo>
                        <a:lnTo>
                          <a:pt x="342" y="155"/>
                        </a:lnTo>
                        <a:lnTo>
                          <a:pt x="313" y="154"/>
                        </a:lnTo>
                        <a:lnTo>
                          <a:pt x="286" y="154"/>
                        </a:lnTo>
                        <a:lnTo>
                          <a:pt x="262" y="155"/>
                        </a:lnTo>
                        <a:lnTo>
                          <a:pt x="238" y="156"/>
                        </a:lnTo>
                        <a:lnTo>
                          <a:pt x="218" y="158"/>
                        </a:lnTo>
                        <a:lnTo>
                          <a:pt x="198" y="163"/>
                        </a:lnTo>
                        <a:lnTo>
                          <a:pt x="181" y="167"/>
                        </a:lnTo>
                        <a:lnTo>
                          <a:pt x="165" y="173"/>
                        </a:lnTo>
                        <a:lnTo>
                          <a:pt x="150" y="180"/>
                        </a:lnTo>
                        <a:lnTo>
                          <a:pt x="138" y="188"/>
                        </a:lnTo>
                        <a:lnTo>
                          <a:pt x="126" y="197"/>
                        </a:lnTo>
                        <a:lnTo>
                          <a:pt x="116" y="208"/>
                        </a:lnTo>
                        <a:lnTo>
                          <a:pt x="107" y="221"/>
                        </a:lnTo>
                        <a:lnTo>
                          <a:pt x="99" y="234"/>
                        </a:lnTo>
                        <a:lnTo>
                          <a:pt x="92" y="249"/>
                        </a:lnTo>
                        <a:lnTo>
                          <a:pt x="87" y="265"/>
                        </a:lnTo>
                        <a:lnTo>
                          <a:pt x="81" y="283"/>
                        </a:lnTo>
                        <a:lnTo>
                          <a:pt x="78" y="302"/>
                        </a:lnTo>
                        <a:lnTo>
                          <a:pt x="75" y="323"/>
                        </a:lnTo>
                        <a:lnTo>
                          <a:pt x="71" y="345"/>
                        </a:lnTo>
                        <a:lnTo>
                          <a:pt x="69" y="370"/>
                        </a:lnTo>
                        <a:lnTo>
                          <a:pt x="68" y="397"/>
                        </a:lnTo>
                        <a:lnTo>
                          <a:pt x="67" y="453"/>
                        </a:lnTo>
                        <a:lnTo>
                          <a:pt x="67" y="519"/>
                        </a:lnTo>
                        <a:lnTo>
                          <a:pt x="66" y="558"/>
                        </a:lnTo>
                        <a:lnTo>
                          <a:pt x="65" y="598"/>
                        </a:lnTo>
                        <a:lnTo>
                          <a:pt x="62" y="641"/>
                        </a:lnTo>
                        <a:lnTo>
                          <a:pt x="59" y="686"/>
                        </a:lnTo>
                        <a:lnTo>
                          <a:pt x="51" y="780"/>
                        </a:lnTo>
                        <a:lnTo>
                          <a:pt x="41" y="882"/>
                        </a:lnTo>
                        <a:lnTo>
                          <a:pt x="30" y="987"/>
                        </a:lnTo>
                        <a:lnTo>
                          <a:pt x="20" y="1097"/>
                        </a:lnTo>
                        <a:lnTo>
                          <a:pt x="16" y="1151"/>
                        </a:lnTo>
                        <a:lnTo>
                          <a:pt x="11" y="1207"/>
                        </a:lnTo>
                        <a:lnTo>
                          <a:pt x="8" y="1262"/>
                        </a:lnTo>
                        <a:lnTo>
                          <a:pt x="4" y="1319"/>
                        </a:lnTo>
                        <a:lnTo>
                          <a:pt x="2" y="1375"/>
                        </a:lnTo>
                        <a:lnTo>
                          <a:pt x="1" y="1429"/>
                        </a:lnTo>
                        <a:lnTo>
                          <a:pt x="0" y="1485"/>
                        </a:lnTo>
                        <a:lnTo>
                          <a:pt x="1" y="1538"/>
                        </a:lnTo>
                        <a:lnTo>
                          <a:pt x="3" y="1592"/>
                        </a:lnTo>
                        <a:lnTo>
                          <a:pt x="8" y="1644"/>
                        </a:lnTo>
                        <a:lnTo>
                          <a:pt x="12" y="1696"/>
                        </a:lnTo>
                        <a:lnTo>
                          <a:pt x="20" y="1745"/>
                        </a:lnTo>
                        <a:lnTo>
                          <a:pt x="29" y="1794"/>
                        </a:lnTo>
                        <a:lnTo>
                          <a:pt x="39" y="1841"/>
                        </a:lnTo>
                        <a:lnTo>
                          <a:pt x="52" y="1887"/>
                        </a:lnTo>
                        <a:lnTo>
                          <a:pt x="67" y="1929"/>
                        </a:lnTo>
                        <a:lnTo>
                          <a:pt x="85" y="1970"/>
                        </a:lnTo>
                        <a:lnTo>
                          <a:pt x="104" y="2009"/>
                        </a:lnTo>
                        <a:lnTo>
                          <a:pt x="126" y="2045"/>
                        </a:lnTo>
                        <a:lnTo>
                          <a:pt x="151" y="2078"/>
                        </a:lnTo>
                        <a:lnTo>
                          <a:pt x="207" y="2141"/>
                        </a:lnTo>
                        <a:lnTo>
                          <a:pt x="266" y="2194"/>
                        </a:lnTo>
                        <a:lnTo>
                          <a:pt x="326" y="2237"/>
                        </a:lnTo>
                        <a:lnTo>
                          <a:pt x="387" y="2272"/>
                        </a:lnTo>
                        <a:lnTo>
                          <a:pt x="450" y="2296"/>
                        </a:lnTo>
                        <a:lnTo>
                          <a:pt x="514" y="2314"/>
                        </a:lnTo>
                        <a:lnTo>
                          <a:pt x="579" y="2323"/>
                        </a:lnTo>
                        <a:lnTo>
                          <a:pt x="644" y="2325"/>
                        </a:lnTo>
                        <a:lnTo>
                          <a:pt x="710" y="2320"/>
                        </a:lnTo>
                        <a:lnTo>
                          <a:pt x="777" y="2308"/>
                        </a:lnTo>
                        <a:lnTo>
                          <a:pt x="844" y="2292"/>
                        </a:lnTo>
                        <a:lnTo>
                          <a:pt x="909" y="2269"/>
                        </a:lnTo>
                        <a:lnTo>
                          <a:pt x="976" y="2242"/>
                        </a:lnTo>
                        <a:lnTo>
                          <a:pt x="1043" y="2209"/>
                        </a:lnTo>
                        <a:lnTo>
                          <a:pt x="1107" y="2174"/>
                        </a:lnTo>
                        <a:lnTo>
                          <a:pt x="1173" y="2134"/>
                        </a:lnTo>
                        <a:lnTo>
                          <a:pt x="1237" y="2091"/>
                        </a:lnTo>
                        <a:lnTo>
                          <a:pt x="1300" y="2046"/>
                        </a:lnTo>
                        <a:lnTo>
                          <a:pt x="1361" y="1999"/>
                        </a:lnTo>
                        <a:lnTo>
                          <a:pt x="1422" y="1950"/>
                        </a:lnTo>
                        <a:lnTo>
                          <a:pt x="1480" y="1900"/>
                        </a:lnTo>
                        <a:lnTo>
                          <a:pt x="1538" y="1849"/>
                        </a:lnTo>
                        <a:lnTo>
                          <a:pt x="1593" y="1798"/>
                        </a:lnTo>
                        <a:lnTo>
                          <a:pt x="1646" y="1746"/>
                        </a:lnTo>
                        <a:lnTo>
                          <a:pt x="1696" y="1696"/>
                        </a:lnTo>
                        <a:lnTo>
                          <a:pt x="1745" y="1647"/>
                        </a:lnTo>
                        <a:lnTo>
                          <a:pt x="1791" y="1600"/>
                        </a:lnTo>
                        <a:lnTo>
                          <a:pt x="1833" y="1554"/>
                        </a:lnTo>
                        <a:lnTo>
                          <a:pt x="1910" y="1472"/>
                        </a:lnTo>
                        <a:lnTo>
                          <a:pt x="1972" y="1403"/>
                        </a:lnTo>
                        <a:lnTo>
                          <a:pt x="1996" y="1376"/>
                        </a:lnTo>
                        <a:lnTo>
                          <a:pt x="2019" y="1346"/>
                        </a:lnTo>
                        <a:lnTo>
                          <a:pt x="2042" y="1311"/>
                        </a:lnTo>
                        <a:lnTo>
                          <a:pt x="2067" y="1273"/>
                        </a:lnTo>
                        <a:lnTo>
                          <a:pt x="2090" y="1233"/>
                        </a:lnTo>
                        <a:lnTo>
                          <a:pt x="2115" y="1190"/>
                        </a:lnTo>
                        <a:lnTo>
                          <a:pt x="2137" y="1144"/>
                        </a:lnTo>
                        <a:lnTo>
                          <a:pt x="2160" y="1095"/>
                        </a:lnTo>
                        <a:lnTo>
                          <a:pt x="2181" y="1045"/>
                        </a:lnTo>
                        <a:lnTo>
                          <a:pt x="2203" y="994"/>
                        </a:lnTo>
                        <a:lnTo>
                          <a:pt x="2222" y="941"/>
                        </a:lnTo>
                        <a:lnTo>
                          <a:pt x="2239" y="886"/>
                        </a:lnTo>
                        <a:lnTo>
                          <a:pt x="2255" y="832"/>
                        </a:lnTo>
                        <a:lnTo>
                          <a:pt x="2269" y="776"/>
                        </a:lnTo>
                        <a:lnTo>
                          <a:pt x="2282" y="719"/>
                        </a:lnTo>
                        <a:lnTo>
                          <a:pt x="2292" y="664"/>
                        </a:lnTo>
                        <a:lnTo>
                          <a:pt x="2299" y="608"/>
                        </a:lnTo>
                        <a:lnTo>
                          <a:pt x="2304" y="553"/>
                        </a:lnTo>
                        <a:lnTo>
                          <a:pt x="2305" y="499"/>
                        </a:lnTo>
                        <a:lnTo>
                          <a:pt x="2304" y="446"/>
                        </a:lnTo>
                        <a:lnTo>
                          <a:pt x="2299" y="394"/>
                        </a:lnTo>
                        <a:lnTo>
                          <a:pt x="2292" y="344"/>
                        </a:lnTo>
                        <a:lnTo>
                          <a:pt x="2279" y="296"/>
                        </a:lnTo>
                        <a:lnTo>
                          <a:pt x="2264" y="251"/>
                        </a:lnTo>
                        <a:lnTo>
                          <a:pt x="2244" y="207"/>
                        </a:lnTo>
                        <a:lnTo>
                          <a:pt x="2219" y="167"/>
                        </a:lnTo>
                        <a:lnTo>
                          <a:pt x="2192" y="129"/>
                        </a:lnTo>
                        <a:lnTo>
                          <a:pt x="2158" y="96"/>
                        </a:lnTo>
                        <a:lnTo>
                          <a:pt x="2119" y="66"/>
                        </a:lnTo>
                        <a:lnTo>
                          <a:pt x="2076" y="39"/>
                        </a:lnTo>
                        <a:lnTo>
                          <a:pt x="2027" y="17"/>
                        </a:lnTo>
                        <a:lnTo>
                          <a:pt x="1972" y="0"/>
                        </a:lnTo>
                        <a:close/>
                      </a:path>
                    </a:pathLst>
                  </a:custGeom>
                  <a:solidFill>
                    <a:srgbClr val="311F74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357" name="Freeform 202"/>
                  <p:cNvSpPr>
                    <a:spLocks/>
                  </p:cNvSpPr>
                  <p:nvPr/>
                </p:nvSpPr>
                <p:spPr bwMode="auto">
                  <a:xfrm>
                    <a:off x="3443" y="3593"/>
                    <a:ext cx="1" cy="10"/>
                  </a:xfrm>
                  <a:custGeom>
                    <a:avLst/>
                    <a:gdLst>
                      <a:gd name="T0" fmla="*/ 0 w 1"/>
                      <a:gd name="T1" fmla="*/ 0 h 39"/>
                      <a:gd name="T2" fmla="*/ 0 w 1"/>
                      <a:gd name="T3" fmla="*/ 0 h 39"/>
                      <a:gd name="T4" fmla="*/ 0 w 1"/>
                      <a:gd name="T5" fmla="*/ 0 h 39"/>
                      <a:gd name="T6" fmla="*/ 0 w 1"/>
                      <a:gd name="T7" fmla="*/ 0 h 39"/>
                      <a:gd name="T8" fmla="*/ 0 w 1"/>
                      <a:gd name="T9" fmla="*/ 0 h 39"/>
                      <a:gd name="T10" fmla="*/ 0 w 1"/>
                      <a:gd name="T11" fmla="*/ 0 h 39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"/>
                      <a:gd name="T19" fmla="*/ 0 h 39"/>
                      <a:gd name="T20" fmla="*/ 1 w 1"/>
                      <a:gd name="T21" fmla="*/ 39 h 39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" h="39">
                        <a:moveTo>
                          <a:pt x="0" y="39"/>
                        </a:moveTo>
                        <a:lnTo>
                          <a:pt x="0" y="0"/>
                        </a:lnTo>
                        <a:lnTo>
                          <a:pt x="0" y="10"/>
                        </a:lnTo>
                        <a:lnTo>
                          <a:pt x="0" y="19"/>
                        </a:lnTo>
                        <a:lnTo>
                          <a:pt x="0" y="29"/>
                        </a:lnTo>
                        <a:lnTo>
                          <a:pt x="0" y="39"/>
                        </a:lnTo>
                        <a:close/>
                      </a:path>
                    </a:pathLst>
                  </a:custGeom>
                  <a:solidFill>
                    <a:srgbClr val="3D4189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358" name="Freeform 203"/>
                  <p:cNvSpPr>
                    <a:spLocks/>
                  </p:cNvSpPr>
                  <p:nvPr/>
                </p:nvSpPr>
                <p:spPr bwMode="auto">
                  <a:xfrm>
                    <a:off x="3443" y="3511"/>
                    <a:ext cx="288" cy="72"/>
                  </a:xfrm>
                  <a:custGeom>
                    <a:avLst/>
                    <a:gdLst>
                      <a:gd name="T0" fmla="*/ 0 w 2014"/>
                      <a:gd name="T1" fmla="*/ 0 h 520"/>
                      <a:gd name="T2" fmla="*/ 0 w 2014"/>
                      <a:gd name="T3" fmla="*/ 0 h 520"/>
                      <a:gd name="T4" fmla="*/ 0 w 2014"/>
                      <a:gd name="T5" fmla="*/ 0 h 520"/>
                      <a:gd name="T6" fmla="*/ 0 w 2014"/>
                      <a:gd name="T7" fmla="*/ 0 h 520"/>
                      <a:gd name="T8" fmla="*/ 0 w 2014"/>
                      <a:gd name="T9" fmla="*/ 0 h 520"/>
                      <a:gd name="T10" fmla="*/ 0 w 2014"/>
                      <a:gd name="T11" fmla="*/ 0 h 520"/>
                      <a:gd name="T12" fmla="*/ 0 w 2014"/>
                      <a:gd name="T13" fmla="*/ 0 h 520"/>
                      <a:gd name="T14" fmla="*/ 0 w 2014"/>
                      <a:gd name="T15" fmla="*/ 0 h 520"/>
                      <a:gd name="T16" fmla="*/ 0 w 2014"/>
                      <a:gd name="T17" fmla="*/ 0 h 520"/>
                      <a:gd name="T18" fmla="*/ 0 w 2014"/>
                      <a:gd name="T19" fmla="*/ 0 h 520"/>
                      <a:gd name="T20" fmla="*/ 0 w 2014"/>
                      <a:gd name="T21" fmla="*/ 0 h 520"/>
                      <a:gd name="T22" fmla="*/ 0 w 2014"/>
                      <a:gd name="T23" fmla="*/ 0 h 520"/>
                      <a:gd name="T24" fmla="*/ 0 w 2014"/>
                      <a:gd name="T25" fmla="*/ 0 h 520"/>
                      <a:gd name="T26" fmla="*/ 0 w 2014"/>
                      <a:gd name="T27" fmla="*/ 0 h 520"/>
                      <a:gd name="T28" fmla="*/ 0 w 2014"/>
                      <a:gd name="T29" fmla="*/ 0 h 520"/>
                      <a:gd name="T30" fmla="*/ 0 w 2014"/>
                      <a:gd name="T31" fmla="*/ 0 h 520"/>
                      <a:gd name="T32" fmla="*/ 0 w 2014"/>
                      <a:gd name="T33" fmla="*/ 0 h 520"/>
                      <a:gd name="T34" fmla="*/ 0 w 2014"/>
                      <a:gd name="T35" fmla="*/ 0 h 520"/>
                      <a:gd name="T36" fmla="*/ 0 w 2014"/>
                      <a:gd name="T37" fmla="*/ 0 h 520"/>
                      <a:gd name="T38" fmla="*/ 0 w 2014"/>
                      <a:gd name="T39" fmla="*/ 0 h 520"/>
                      <a:gd name="T40" fmla="*/ 0 w 2014"/>
                      <a:gd name="T41" fmla="*/ 0 h 520"/>
                      <a:gd name="T42" fmla="*/ 0 w 2014"/>
                      <a:gd name="T43" fmla="*/ 0 h 520"/>
                      <a:gd name="T44" fmla="*/ 0 w 2014"/>
                      <a:gd name="T45" fmla="*/ 0 h 520"/>
                      <a:gd name="T46" fmla="*/ 0 w 2014"/>
                      <a:gd name="T47" fmla="*/ 0 h 520"/>
                      <a:gd name="T48" fmla="*/ 0 w 2014"/>
                      <a:gd name="T49" fmla="*/ 0 h 520"/>
                      <a:gd name="T50" fmla="*/ 0 w 2014"/>
                      <a:gd name="T51" fmla="*/ 0 h 520"/>
                      <a:gd name="T52" fmla="*/ 0 w 2014"/>
                      <a:gd name="T53" fmla="*/ 0 h 520"/>
                      <a:gd name="T54" fmla="*/ 0 w 2014"/>
                      <a:gd name="T55" fmla="*/ 0 h 520"/>
                      <a:gd name="T56" fmla="*/ 0 w 2014"/>
                      <a:gd name="T57" fmla="*/ 0 h 520"/>
                      <a:gd name="T58" fmla="*/ 0 w 2014"/>
                      <a:gd name="T59" fmla="*/ 0 h 520"/>
                      <a:gd name="T60" fmla="*/ 0 w 2014"/>
                      <a:gd name="T61" fmla="*/ 0 h 520"/>
                      <a:gd name="T62" fmla="*/ 0 w 2014"/>
                      <a:gd name="T63" fmla="*/ 0 h 520"/>
                      <a:gd name="T64" fmla="*/ 0 w 2014"/>
                      <a:gd name="T65" fmla="*/ 0 h 520"/>
                      <a:gd name="T66" fmla="*/ 0 w 2014"/>
                      <a:gd name="T67" fmla="*/ 0 h 520"/>
                      <a:gd name="T68" fmla="*/ 0 w 2014"/>
                      <a:gd name="T69" fmla="*/ 0 h 520"/>
                      <a:gd name="T70" fmla="*/ 0 w 2014"/>
                      <a:gd name="T71" fmla="*/ 0 h 520"/>
                      <a:gd name="T72" fmla="*/ 0 w 2014"/>
                      <a:gd name="T73" fmla="*/ 0 h 520"/>
                      <a:gd name="T74" fmla="*/ 0 w 2014"/>
                      <a:gd name="T75" fmla="*/ 0 h 520"/>
                      <a:gd name="T76" fmla="*/ 0 w 2014"/>
                      <a:gd name="T77" fmla="*/ 0 h 520"/>
                      <a:gd name="T78" fmla="*/ 0 w 2014"/>
                      <a:gd name="T79" fmla="*/ 0 h 520"/>
                      <a:gd name="T80" fmla="*/ 0 w 2014"/>
                      <a:gd name="T81" fmla="*/ 0 h 520"/>
                      <a:gd name="T82" fmla="*/ 0 w 2014"/>
                      <a:gd name="T83" fmla="*/ 0 h 520"/>
                      <a:gd name="T84" fmla="*/ 0 w 2014"/>
                      <a:gd name="T85" fmla="*/ 0 h 520"/>
                      <a:gd name="T86" fmla="*/ 0 w 2014"/>
                      <a:gd name="T87" fmla="*/ 0 h 520"/>
                      <a:gd name="T88" fmla="*/ 0 w 2014"/>
                      <a:gd name="T89" fmla="*/ 0 h 520"/>
                      <a:gd name="T90" fmla="*/ 0 w 2014"/>
                      <a:gd name="T91" fmla="*/ 0 h 520"/>
                      <a:gd name="T92" fmla="*/ 0 w 2014"/>
                      <a:gd name="T93" fmla="*/ 0 h 520"/>
                      <a:gd name="T94" fmla="*/ 0 w 2014"/>
                      <a:gd name="T95" fmla="*/ 0 h 520"/>
                      <a:gd name="T96" fmla="*/ 0 w 2014"/>
                      <a:gd name="T97" fmla="*/ 0 h 520"/>
                      <a:gd name="T98" fmla="*/ 0 w 2014"/>
                      <a:gd name="T99" fmla="*/ 0 h 520"/>
                      <a:gd name="T100" fmla="*/ 0 w 2014"/>
                      <a:gd name="T101" fmla="*/ 0 h 520"/>
                      <a:gd name="T102" fmla="*/ 0 w 2014"/>
                      <a:gd name="T103" fmla="*/ 0 h 520"/>
                      <a:gd name="T104" fmla="*/ 0 w 2014"/>
                      <a:gd name="T105" fmla="*/ 0 h 520"/>
                      <a:gd name="T106" fmla="*/ 0 w 2014"/>
                      <a:gd name="T107" fmla="*/ 0 h 520"/>
                      <a:gd name="T108" fmla="*/ 0 w 2014"/>
                      <a:gd name="T109" fmla="*/ 0 h 520"/>
                      <a:gd name="T110" fmla="*/ 0 w 2014"/>
                      <a:gd name="T111" fmla="*/ 0 h 520"/>
                      <a:gd name="T112" fmla="*/ 0 w 2014"/>
                      <a:gd name="T113" fmla="*/ 0 h 520"/>
                      <a:gd name="T114" fmla="*/ 0 w 2014"/>
                      <a:gd name="T115" fmla="*/ 0 h 520"/>
                      <a:gd name="T116" fmla="*/ 0 w 2014"/>
                      <a:gd name="T117" fmla="*/ 0 h 520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w 2014"/>
                      <a:gd name="T178" fmla="*/ 0 h 520"/>
                      <a:gd name="T179" fmla="*/ 2014 w 2014"/>
                      <a:gd name="T180" fmla="*/ 520 h 520"/>
                    </a:gdLst>
                    <a:ahLst/>
                    <a:cxnLst>
                      <a:cxn ang="T118">
                        <a:pos x="T0" y="T1"/>
                      </a:cxn>
                      <a:cxn ang="T119">
                        <a:pos x="T2" y="T3"/>
                      </a:cxn>
                      <a:cxn ang="T120">
                        <a:pos x="T4" y="T5"/>
                      </a:cxn>
                      <a:cxn ang="T121">
                        <a:pos x="T6" y="T7"/>
                      </a:cxn>
                      <a:cxn ang="T122">
                        <a:pos x="T8" y="T9"/>
                      </a:cxn>
                      <a:cxn ang="T123">
                        <a:pos x="T10" y="T11"/>
                      </a:cxn>
                      <a:cxn ang="T124">
                        <a:pos x="T12" y="T13"/>
                      </a:cxn>
                      <a:cxn ang="T125">
                        <a:pos x="T14" y="T15"/>
                      </a:cxn>
                      <a:cxn ang="T126">
                        <a:pos x="T16" y="T17"/>
                      </a:cxn>
                      <a:cxn ang="T127">
                        <a:pos x="T18" y="T19"/>
                      </a:cxn>
                      <a:cxn ang="T128">
                        <a:pos x="T20" y="T21"/>
                      </a:cxn>
                      <a:cxn ang="T129">
                        <a:pos x="T22" y="T23"/>
                      </a:cxn>
                      <a:cxn ang="T130">
                        <a:pos x="T24" y="T25"/>
                      </a:cxn>
                      <a:cxn ang="T131">
                        <a:pos x="T26" y="T27"/>
                      </a:cxn>
                      <a:cxn ang="T132">
                        <a:pos x="T28" y="T29"/>
                      </a:cxn>
                      <a:cxn ang="T133">
                        <a:pos x="T30" y="T31"/>
                      </a:cxn>
                      <a:cxn ang="T134">
                        <a:pos x="T32" y="T33"/>
                      </a:cxn>
                      <a:cxn ang="T135">
                        <a:pos x="T34" y="T35"/>
                      </a:cxn>
                      <a:cxn ang="T136">
                        <a:pos x="T36" y="T37"/>
                      </a:cxn>
                      <a:cxn ang="T137">
                        <a:pos x="T38" y="T39"/>
                      </a:cxn>
                      <a:cxn ang="T138">
                        <a:pos x="T40" y="T41"/>
                      </a:cxn>
                      <a:cxn ang="T139">
                        <a:pos x="T42" y="T43"/>
                      </a:cxn>
                      <a:cxn ang="T140">
                        <a:pos x="T44" y="T45"/>
                      </a:cxn>
                      <a:cxn ang="T141">
                        <a:pos x="T46" y="T47"/>
                      </a:cxn>
                      <a:cxn ang="T142">
                        <a:pos x="T48" y="T49"/>
                      </a:cxn>
                      <a:cxn ang="T143">
                        <a:pos x="T50" y="T51"/>
                      </a:cxn>
                      <a:cxn ang="T144">
                        <a:pos x="T52" y="T53"/>
                      </a:cxn>
                      <a:cxn ang="T145">
                        <a:pos x="T54" y="T55"/>
                      </a:cxn>
                      <a:cxn ang="T146">
                        <a:pos x="T56" y="T57"/>
                      </a:cxn>
                      <a:cxn ang="T147">
                        <a:pos x="T58" y="T59"/>
                      </a:cxn>
                      <a:cxn ang="T148">
                        <a:pos x="T60" y="T61"/>
                      </a:cxn>
                      <a:cxn ang="T149">
                        <a:pos x="T62" y="T63"/>
                      </a:cxn>
                      <a:cxn ang="T150">
                        <a:pos x="T64" y="T65"/>
                      </a:cxn>
                      <a:cxn ang="T151">
                        <a:pos x="T66" y="T67"/>
                      </a:cxn>
                      <a:cxn ang="T152">
                        <a:pos x="T68" y="T69"/>
                      </a:cxn>
                      <a:cxn ang="T153">
                        <a:pos x="T70" y="T71"/>
                      </a:cxn>
                      <a:cxn ang="T154">
                        <a:pos x="T72" y="T73"/>
                      </a:cxn>
                      <a:cxn ang="T155">
                        <a:pos x="T74" y="T75"/>
                      </a:cxn>
                      <a:cxn ang="T156">
                        <a:pos x="T76" y="T77"/>
                      </a:cxn>
                      <a:cxn ang="T157">
                        <a:pos x="T78" y="T79"/>
                      </a:cxn>
                      <a:cxn ang="T158">
                        <a:pos x="T80" y="T81"/>
                      </a:cxn>
                      <a:cxn ang="T159">
                        <a:pos x="T82" y="T83"/>
                      </a:cxn>
                      <a:cxn ang="T160">
                        <a:pos x="T84" y="T85"/>
                      </a:cxn>
                      <a:cxn ang="T161">
                        <a:pos x="T86" y="T87"/>
                      </a:cxn>
                      <a:cxn ang="T162">
                        <a:pos x="T88" y="T89"/>
                      </a:cxn>
                      <a:cxn ang="T163">
                        <a:pos x="T90" y="T91"/>
                      </a:cxn>
                      <a:cxn ang="T164">
                        <a:pos x="T92" y="T93"/>
                      </a:cxn>
                      <a:cxn ang="T165">
                        <a:pos x="T94" y="T95"/>
                      </a:cxn>
                      <a:cxn ang="T166">
                        <a:pos x="T96" y="T97"/>
                      </a:cxn>
                      <a:cxn ang="T167">
                        <a:pos x="T98" y="T99"/>
                      </a:cxn>
                      <a:cxn ang="T168">
                        <a:pos x="T100" y="T101"/>
                      </a:cxn>
                      <a:cxn ang="T169">
                        <a:pos x="T102" y="T103"/>
                      </a:cxn>
                      <a:cxn ang="T170">
                        <a:pos x="T104" y="T105"/>
                      </a:cxn>
                      <a:cxn ang="T171">
                        <a:pos x="T106" y="T107"/>
                      </a:cxn>
                      <a:cxn ang="T172">
                        <a:pos x="T108" y="T109"/>
                      </a:cxn>
                      <a:cxn ang="T173">
                        <a:pos x="T110" y="T111"/>
                      </a:cxn>
                      <a:cxn ang="T174">
                        <a:pos x="T112" y="T113"/>
                      </a:cxn>
                      <a:cxn ang="T175">
                        <a:pos x="T114" y="T115"/>
                      </a:cxn>
                      <a:cxn ang="T176">
                        <a:pos x="T116" y="T117"/>
                      </a:cxn>
                    </a:cxnLst>
                    <a:rect l="T177" t="T178" r="T179" b="T180"/>
                    <a:pathLst>
                      <a:path w="2014" h="520">
                        <a:moveTo>
                          <a:pt x="1906" y="0"/>
                        </a:moveTo>
                        <a:lnTo>
                          <a:pt x="1895" y="3"/>
                        </a:lnTo>
                        <a:lnTo>
                          <a:pt x="1864" y="10"/>
                        </a:lnTo>
                        <a:lnTo>
                          <a:pt x="1815" y="21"/>
                        </a:lnTo>
                        <a:lnTo>
                          <a:pt x="1749" y="36"/>
                        </a:lnTo>
                        <a:lnTo>
                          <a:pt x="1670" y="52"/>
                        </a:lnTo>
                        <a:lnTo>
                          <a:pt x="1579" y="70"/>
                        </a:lnTo>
                        <a:lnTo>
                          <a:pt x="1479" y="89"/>
                        </a:lnTo>
                        <a:lnTo>
                          <a:pt x="1371" y="108"/>
                        </a:lnTo>
                        <a:lnTo>
                          <a:pt x="1257" y="127"/>
                        </a:lnTo>
                        <a:lnTo>
                          <a:pt x="1141" y="145"/>
                        </a:lnTo>
                        <a:lnTo>
                          <a:pt x="1082" y="152"/>
                        </a:lnTo>
                        <a:lnTo>
                          <a:pt x="1023" y="159"/>
                        </a:lnTo>
                        <a:lnTo>
                          <a:pt x="964" y="166"/>
                        </a:lnTo>
                        <a:lnTo>
                          <a:pt x="906" y="171"/>
                        </a:lnTo>
                        <a:lnTo>
                          <a:pt x="850" y="176"/>
                        </a:lnTo>
                        <a:lnTo>
                          <a:pt x="794" y="180"/>
                        </a:lnTo>
                        <a:lnTo>
                          <a:pt x="738" y="182"/>
                        </a:lnTo>
                        <a:lnTo>
                          <a:pt x="686" y="184"/>
                        </a:lnTo>
                        <a:lnTo>
                          <a:pt x="635" y="184"/>
                        </a:lnTo>
                        <a:lnTo>
                          <a:pt x="586" y="182"/>
                        </a:lnTo>
                        <a:lnTo>
                          <a:pt x="539" y="180"/>
                        </a:lnTo>
                        <a:lnTo>
                          <a:pt x="495" y="176"/>
                        </a:lnTo>
                        <a:lnTo>
                          <a:pt x="412" y="167"/>
                        </a:lnTo>
                        <a:lnTo>
                          <a:pt x="339" y="159"/>
                        </a:lnTo>
                        <a:lnTo>
                          <a:pt x="305" y="157"/>
                        </a:lnTo>
                        <a:lnTo>
                          <a:pt x="275" y="156"/>
                        </a:lnTo>
                        <a:lnTo>
                          <a:pt x="246" y="155"/>
                        </a:lnTo>
                        <a:lnTo>
                          <a:pt x="220" y="155"/>
                        </a:lnTo>
                        <a:lnTo>
                          <a:pt x="195" y="155"/>
                        </a:lnTo>
                        <a:lnTo>
                          <a:pt x="172" y="157"/>
                        </a:lnTo>
                        <a:lnTo>
                          <a:pt x="151" y="159"/>
                        </a:lnTo>
                        <a:lnTo>
                          <a:pt x="132" y="162"/>
                        </a:lnTo>
                        <a:lnTo>
                          <a:pt x="114" y="168"/>
                        </a:lnTo>
                        <a:lnTo>
                          <a:pt x="98" y="174"/>
                        </a:lnTo>
                        <a:lnTo>
                          <a:pt x="84" y="180"/>
                        </a:lnTo>
                        <a:lnTo>
                          <a:pt x="71" y="188"/>
                        </a:lnTo>
                        <a:lnTo>
                          <a:pt x="59" y="198"/>
                        </a:lnTo>
                        <a:lnTo>
                          <a:pt x="49" y="208"/>
                        </a:lnTo>
                        <a:lnTo>
                          <a:pt x="41" y="220"/>
                        </a:lnTo>
                        <a:lnTo>
                          <a:pt x="33" y="234"/>
                        </a:lnTo>
                        <a:lnTo>
                          <a:pt x="25" y="249"/>
                        </a:lnTo>
                        <a:lnTo>
                          <a:pt x="19" y="265"/>
                        </a:lnTo>
                        <a:lnTo>
                          <a:pt x="15" y="283"/>
                        </a:lnTo>
                        <a:lnTo>
                          <a:pt x="10" y="303"/>
                        </a:lnTo>
                        <a:lnTo>
                          <a:pt x="7" y="324"/>
                        </a:lnTo>
                        <a:lnTo>
                          <a:pt x="5" y="346"/>
                        </a:lnTo>
                        <a:lnTo>
                          <a:pt x="3" y="371"/>
                        </a:lnTo>
                        <a:lnTo>
                          <a:pt x="2" y="396"/>
                        </a:lnTo>
                        <a:lnTo>
                          <a:pt x="0" y="454"/>
                        </a:lnTo>
                        <a:lnTo>
                          <a:pt x="0" y="520"/>
                        </a:lnTo>
                        <a:lnTo>
                          <a:pt x="3" y="507"/>
                        </a:lnTo>
                        <a:lnTo>
                          <a:pt x="14" y="477"/>
                        </a:lnTo>
                        <a:lnTo>
                          <a:pt x="24" y="458"/>
                        </a:lnTo>
                        <a:lnTo>
                          <a:pt x="37" y="436"/>
                        </a:lnTo>
                        <a:lnTo>
                          <a:pt x="46" y="425"/>
                        </a:lnTo>
                        <a:lnTo>
                          <a:pt x="55" y="413"/>
                        </a:lnTo>
                        <a:lnTo>
                          <a:pt x="66" y="402"/>
                        </a:lnTo>
                        <a:lnTo>
                          <a:pt x="78" y="391"/>
                        </a:lnTo>
                        <a:lnTo>
                          <a:pt x="92" y="378"/>
                        </a:lnTo>
                        <a:lnTo>
                          <a:pt x="106" y="367"/>
                        </a:lnTo>
                        <a:lnTo>
                          <a:pt x="122" y="357"/>
                        </a:lnTo>
                        <a:lnTo>
                          <a:pt x="140" y="347"/>
                        </a:lnTo>
                        <a:lnTo>
                          <a:pt x="159" y="337"/>
                        </a:lnTo>
                        <a:lnTo>
                          <a:pt x="180" y="328"/>
                        </a:lnTo>
                        <a:lnTo>
                          <a:pt x="202" y="319"/>
                        </a:lnTo>
                        <a:lnTo>
                          <a:pt x="226" y="313"/>
                        </a:lnTo>
                        <a:lnTo>
                          <a:pt x="253" y="306"/>
                        </a:lnTo>
                        <a:lnTo>
                          <a:pt x="281" y="302"/>
                        </a:lnTo>
                        <a:lnTo>
                          <a:pt x="312" y="297"/>
                        </a:lnTo>
                        <a:lnTo>
                          <a:pt x="344" y="295"/>
                        </a:lnTo>
                        <a:lnTo>
                          <a:pt x="378" y="294"/>
                        </a:lnTo>
                        <a:lnTo>
                          <a:pt x="415" y="295"/>
                        </a:lnTo>
                        <a:lnTo>
                          <a:pt x="453" y="297"/>
                        </a:lnTo>
                        <a:lnTo>
                          <a:pt x="495" y="302"/>
                        </a:lnTo>
                        <a:lnTo>
                          <a:pt x="539" y="305"/>
                        </a:lnTo>
                        <a:lnTo>
                          <a:pt x="586" y="308"/>
                        </a:lnTo>
                        <a:lnTo>
                          <a:pt x="635" y="309"/>
                        </a:lnTo>
                        <a:lnTo>
                          <a:pt x="686" y="309"/>
                        </a:lnTo>
                        <a:lnTo>
                          <a:pt x="738" y="307"/>
                        </a:lnTo>
                        <a:lnTo>
                          <a:pt x="794" y="305"/>
                        </a:lnTo>
                        <a:lnTo>
                          <a:pt x="850" y="302"/>
                        </a:lnTo>
                        <a:lnTo>
                          <a:pt x="906" y="296"/>
                        </a:lnTo>
                        <a:lnTo>
                          <a:pt x="964" y="290"/>
                        </a:lnTo>
                        <a:lnTo>
                          <a:pt x="1023" y="285"/>
                        </a:lnTo>
                        <a:lnTo>
                          <a:pt x="1082" y="277"/>
                        </a:lnTo>
                        <a:lnTo>
                          <a:pt x="1141" y="269"/>
                        </a:lnTo>
                        <a:lnTo>
                          <a:pt x="1257" y="253"/>
                        </a:lnTo>
                        <a:lnTo>
                          <a:pt x="1371" y="234"/>
                        </a:lnTo>
                        <a:lnTo>
                          <a:pt x="1479" y="215"/>
                        </a:lnTo>
                        <a:lnTo>
                          <a:pt x="1579" y="196"/>
                        </a:lnTo>
                        <a:lnTo>
                          <a:pt x="1670" y="177"/>
                        </a:lnTo>
                        <a:lnTo>
                          <a:pt x="1749" y="160"/>
                        </a:lnTo>
                        <a:lnTo>
                          <a:pt x="1815" y="147"/>
                        </a:lnTo>
                        <a:lnTo>
                          <a:pt x="1864" y="136"/>
                        </a:lnTo>
                        <a:lnTo>
                          <a:pt x="1895" y="128"/>
                        </a:lnTo>
                        <a:lnTo>
                          <a:pt x="1906" y="126"/>
                        </a:lnTo>
                        <a:lnTo>
                          <a:pt x="1901" y="127"/>
                        </a:lnTo>
                        <a:lnTo>
                          <a:pt x="1920" y="121"/>
                        </a:lnTo>
                        <a:lnTo>
                          <a:pt x="1936" y="117"/>
                        </a:lnTo>
                        <a:lnTo>
                          <a:pt x="1953" y="110"/>
                        </a:lnTo>
                        <a:lnTo>
                          <a:pt x="1969" y="102"/>
                        </a:lnTo>
                        <a:lnTo>
                          <a:pt x="1986" y="95"/>
                        </a:lnTo>
                        <a:lnTo>
                          <a:pt x="1994" y="90"/>
                        </a:lnTo>
                        <a:lnTo>
                          <a:pt x="1999" y="85"/>
                        </a:lnTo>
                        <a:lnTo>
                          <a:pt x="2005" y="80"/>
                        </a:lnTo>
                        <a:lnTo>
                          <a:pt x="2009" y="75"/>
                        </a:lnTo>
                        <a:lnTo>
                          <a:pt x="2013" y="69"/>
                        </a:lnTo>
                        <a:lnTo>
                          <a:pt x="2014" y="63"/>
                        </a:lnTo>
                        <a:lnTo>
                          <a:pt x="2014" y="58"/>
                        </a:lnTo>
                        <a:lnTo>
                          <a:pt x="2012" y="51"/>
                        </a:lnTo>
                        <a:lnTo>
                          <a:pt x="2007" y="46"/>
                        </a:lnTo>
                        <a:lnTo>
                          <a:pt x="2002" y="40"/>
                        </a:lnTo>
                        <a:lnTo>
                          <a:pt x="1993" y="33"/>
                        </a:lnTo>
                        <a:lnTo>
                          <a:pt x="1980" y="27"/>
                        </a:lnTo>
                        <a:lnTo>
                          <a:pt x="1967" y="20"/>
                        </a:lnTo>
                        <a:lnTo>
                          <a:pt x="1949" y="13"/>
                        </a:lnTo>
                        <a:lnTo>
                          <a:pt x="1929" y="7"/>
                        </a:lnTo>
                        <a:lnTo>
                          <a:pt x="1906" y="0"/>
                        </a:lnTo>
                        <a:close/>
                      </a:path>
                    </a:pathLst>
                  </a:custGeom>
                  <a:solidFill>
                    <a:srgbClr val="3D4189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359" name="Freeform 204"/>
                  <p:cNvSpPr>
                    <a:spLocks/>
                  </p:cNvSpPr>
                  <p:nvPr/>
                </p:nvSpPr>
                <p:spPr bwMode="auto">
                  <a:xfrm>
                    <a:off x="3433" y="3608"/>
                    <a:ext cx="324" cy="225"/>
                  </a:xfrm>
                  <a:custGeom>
                    <a:avLst/>
                    <a:gdLst>
                      <a:gd name="T0" fmla="*/ 0 w 2275"/>
                      <a:gd name="T1" fmla="*/ 0 h 1580"/>
                      <a:gd name="T2" fmla="*/ 0 w 2275"/>
                      <a:gd name="T3" fmla="*/ 0 h 1580"/>
                      <a:gd name="T4" fmla="*/ 0 w 2275"/>
                      <a:gd name="T5" fmla="*/ 0 h 1580"/>
                      <a:gd name="T6" fmla="*/ 0 w 2275"/>
                      <a:gd name="T7" fmla="*/ 0 h 1580"/>
                      <a:gd name="T8" fmla="*/ 0 w 2275"/>
                      <a:gd name="T9" fmla="*/ 0 h 1580"/>
                      <a:gd name="T10" fmla="*/ 0 w 2275"/>
                      <a:gd name="T11" fmla="*/ 0 h 1580"/>
                      <a:gd name="T12" fmla="*/ 0 w 2275"/>
                      <a:gd name="T13" fmla="*/ 0 h 1580"/>
                      <a:gd name="T14" fmla="*/ 0 w 2275"/>
                      <a:gd name="T15" fmla="*/ 0 h 1580"/>
                      <a:gd name="T16" fmla="*/ 0 w 2275"/>
                      <a:gd name="T17" fmla="*/ 0 h 1580"/>
                      <a:gd name="T18" fmla="*/ 0 w 2275"/>
                      <a:gd name="T19" fmla="*/ 0 h 1580"/>
                      <a:gd name="T20" fmla="*/ 0 w 2275"/>
                      <a:gd name="T21" fmla="*/ 0 h 1580"/>
                      <a:gd name="T22" fmla="*/ 0 w 2275"/>
                      <a:gd name="T23" fmla="*/ 0 h 1580"/>
                      <a:gd name="T24" fmla="*/ 0 w 2275"/>
                      <a:gd name="T25" fmla="*/ 0 h 1580"/>
                      <a:gd name="T26" fmla="*/ 0 w 2275"/>
                      <a:gd name="T27" fmla="*/ 0 h 1580"/>
                      <a:gd name="T28" fmla="*/ 0 w 2275"/>
                      <a:gd name="T29" fmla="*/ 0 h 1580"/>
                      <a:gd name="T30" fmla="*/ 0 w 2275"/>
                      <a:gd name="T31" fmla="*/ 0 h 1580"/>
                      <a:gd name="T32" fmla="*/ 0 w 2275"/>
                      <a:gd name="T33" fmla="*/ 0 h 1580"/>
                      <a:gd name="T34" fmla="*/ 0 w 2275"/>
                      <a:gd name="T35" fmla="*/ 0 h 1580"/>
                      <a:gd name="T36" fmla="*/ 0 w 2275"/>
                      <a:gd name="T37" fmla="*/ 0 h 1580"/>
                      <a:gd name="T38" fmla="*/ 0 w 2275"/>
                      <a:gd name="T39" fmla="*/ 0 h 1580"/>
                      <a:gd name="T40" fmla="*/ 0 w 2275"/>
                      <a:gd name="T41" fmla="*/ 0 h 1580"/>
                      <a:gd name="T42" fmla="*/ 0 w 2275"/>
                      <a:gd name="T43" fmla="*/ 0 h 1580"/>
                      <a:gd name="T44" fmla="*/ 0 w 2275"/>
                      <a:gd name="T45" fmla="*/ 0 h 1580"/>
                      <a:gd name="T46" fmla="*/ 0 w 2275"/>
                      <a:gd name="T47" fmla="*/ 0 h 1580"/>
                      <a:gd name="T48" fmla="*/ 0 w 2275"/>
                      <a:gd name="T49" fmla="*/ 0 h 1580"/>
                      <a:gd name="T50" fmla="*/ 0 w 2275"/>
                      <a:gd name="T51" fmla="*/ 0 h 1580"/>
                      <a:gd name="T52" fmla="*/ 0 w 2275"/>
                      <a:gd name="T53" fmla="*/ 0 h 1580"/>
                      <a:gd name="T54" fmla="*/ 0 w 2275"/>
                      <a:gd name="T55" fmla="*/ 0 h 1580"/>
                      <a:gd name="T56" fmla="*/ 0 w 2275"/>
                      <a:gd name="T57" fmla="*/ 0 h 1580"/>
                      <a:gd name="T58" fmla="*/ 0 w 2275"/>
                      <a:gd name="T59" fmla="*/ 0 h 1580"/>
                      <a:gd name="T60" fmla="*/ 0 w 2275"/>
                      <a:gd name="T61" fmla="*/ 0 h 1580"/>
                      <a:gd name="T62" fmla="*/ 0 w 2275"/>
                      <a:gd name="T63" fmla="*/ 0 h 1580"/>
                      <a:gd name="T64" fmla="*/ 0 w 2275"/>
                      <a:gd name="T65" fmla="*/ 0 h 1580"/>
                      <a:gd name="T66" fmla="*/ 0 w 2275"/>
                      <a:gd name="T67" fmla="*/ 0 h 1580"/>
                      <a:gd name="T68" fmla="*/ 0 w 2275"/>
                      <a:gd name="T69" fmla="*/ 0 h 1580"/>
                      <a:gd name="T70" fmla="*/ 0 w 2275"/>
                      <a:gd name="T71" fmla="*/ 0 h 1580"/>
                      <a:gd name="T72" fmla="*/ 0 w 2275"/>
                      <a:gd name="T73" fmla="*/ 0 h 1580"/>
                      <a:gd name="T74" fmla="*/ 0 w 2275"/>
                      <a:gd name="T75" fmla="*/ 0 h 1580"/>
                      <a:gd name="T76" fmla="*/ 0 w 2275"/>
                      <a:gd name="T77" fmla="*/ 0 h 1580"/>
                      <a:gd name="T78" fmla="*/ 0 w 2275"/>
                      <a:gd name="T79" fmla="*/ 0 h 1580"/>
                      <a:gd name="T80" fmla="*/ 0 w 2275"/>
                      <a:gd name="T81" fmla="*/ 0 h 1580"/>
                      <a:gd name="T82" fmla="*/ 0 w 2275"/>
                      <a:gd name="T83" fmla="*/ 0 h 1580"/>
                      <a:gd name="T84" fmla="*/ 0 w 2275"/>
                      <a:gd name="T85" fmla="*/ 0 h 1580"/>
                      <a:gd name="T86" fmla="*/ 0 w 2275"/>
                      <a:gd name="T87" fmla="*/ 0 h 1580"/>
                      <a:gd name="T88" fmla="*/ 0 w 2275"/>
                      <a:gd name="T89" fmla="*/ 0 h 1580"/>
                      <a:gd name="T90" fmla="*/ 0 w 2275"/>
                      <a:gd name="T91" fmla="*/ 0 h 1580"/>
                      <a:gd name="T92" fmla="*/ 0 w 2275"/>
                      <a:gd name="T93" fmla="*/ 0 h 1580"/>
                      <a:gd name="T94" fmla="*/ 0 w 2275"/>
                      <a:gd name="T95" fmla="*/ 0 h 1580"/>
                      <a:gd name="T96" fmla="*/ 0 w 2275"/>
                      <a:gd name="T97" fmla="*/ 0 h 1580"/>
                      <a:gd name="T98" fmla="*/ 0 w 2275"/>
                      <a:gd name="T99" fmla="*/ 0 h 1580"/>
                      <a:gd name="T100" fmla="*/ 0 w 2275"/>
                      <a:gd name="T101" fmla="*/ 0 h 1580"/>
                      <a:gd name="T102" fmla="*/ 0 w 2275"/>
                      <a:gd name="T103" fmla="*/ 0 h 1580"/>
                      <a:gd name="T104" fmla="*/ 0 w 2275"/>
                      <a:gd name="T105" fmla="*/ 0 h 1580"/>
                      <a:gd name="T106" fmla="*/ 0 w 2275"/>
                      <a:gd name="T107" fmla="*/ 0 h 1580"/>
                      <a:gd name="T108" fmla="*/ 0 w 2275"/>
                      <a:gd name="T109" fmla="*/ 0 h 1580"/>
                      <a:gd name="T110" fmla="*/ 0 w 2275"/>
                      <a:gd name="T111" fmla="*/ 0 h 1580"/>
                      <a:gd name="T112" fmla="*/ 0 w 2275"/>
                      <a:gd name="T113" fmla="*/ 0 h 1580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w 2275"/>
                      <a:gd name="T172" fmla="*/ 0 h 1580"/>
                      <a:gd name="T173" fmla="*/ 2275 w 2275"/>
                      <a:gd name="T174" fmla="*/ 1580 h 1580"/>
                    </a:gdLst>
                    <a:ahLst/>
                    <a:cxnLst>
                      <a:cxn ang="T114">
                        <a:pos x="T0" y="T1"/>
                      </a:cxn>
                      <a:cxn ang="T115">
                        <a:pos x="T2" y="T3"/>
                      </a:cxn>
                      <a:cxn ang="T116">
                        <a:pos x="T4" y="T5"/>
                      </a:cxn>
                      <a:cxn ang="T117">
                        <a:pos x="T6" y="T7"/>
                      </a:cxn>
                      <a:cxn ang="T118">
                        <a:pos x="T8" y="T9"/>
                      </a:cxn>
                      <a:cxn ang="T119">
                        <a:pos x="T10" y="T11"/>
                      </a:cxn>
                      <a:cxn ang="T120">
                        <a:pos x="T12" y="T13"/>
                      </a:cxn>
                      <a:cxn ang="T121">
                        <a:pos x="T14" y="T15"/>
                      </a:cxn>
                      <a:cxn ang="T122">
                        <a:pos x="T16" y="T17"/>
                      </a:cxn>
                      <a:cxn ang="T123">
                        <a:pos x="T18" y="T19"/>
                      </a:cxn>
                      <a:cxn ang="T124">
                        <a:pos x="T20" y="T21"/>
                      </a:cxn>
                      <a:cxn ang="T125">
                        <a:pos x="T22" y="T23"/>
                      </a:cxn>
                      <a:cxn ang="T126">
                        <a:pos x="T24" y="T25"/>
                      </a:cxn>
                      <a:cxn ang="T127">
                        <a:pos x="T26" y="T27"/>
                      </a:cxn>
                      <a:cxn ang="T128">
                        <a:pos x="T28" y="T29"/>
                      </a:cxn>
                      <a:cxn ang="T129">
                        <a:pos x="T30" y="T31"/>
                      </a:cxn>
                      <a:cxn ang="T130">
                        <a:pos x="T32" y="T33"/>
                      </a:cxn>
                      <a:cxn ang="T131">
                        <a:pos x="T34" y="T35"/>
                      </a:cxn>
                      <a:cxn ang="T132">
                        <a:pos x="T36" y="T37"/>
                      </a:cxn>
                      <a:cxn ang="T133">
                        <a:pos x="T38" y="T39"/>
                      </a:cxn>
                      <a:cxn ang="T134">
                        <a:pos x="T40" y="T41"/>
                      </a:cxn>
                      <a:cxn ang="T135">
                        <a:pos x="T42" y="T43"/>
                      </a:cxn>
                      <a:cxn ang="T136">
                        <a:pos x="T44" y="T45"/>
                      </a:cxn>
                      <a:cxn ang="T137">
                        <a:pos x="T46" y="T47"/>
                      </a:cxn>
                      <a:cxn ang="T138">
                        <a:pos x="T48" y="T49"/>
                      </a:cxn>
                      <a:cxn ang="T139">
                        <a:pos x="T50" y="T51"/>
                      </a:cxn>
                      <a:cxn ang="T140">
                        <a:pos x="T52" y="T53"/>
                      </a:cxn>
                      <a:cxn ang="T141">
                        <a:pos x="T54" y="T55"/>
                      </a:cxn>
                      <a:cxn ang="T142">
                        <a:pos x="T56" y="T57"/>
                      </a:cxn>
                      <a:cxn ang="T143">
                        <a:pos x="T58" y="T59"/>
                      </a:cxn>
                      <a:cxn ang="T144">
                        <a:pos x="T60" y="T61"/>
                      </a:cxn>
                      <a:cxn ang="T145">
                        <a:pos x="T62" y="T63"/>
                      </a:cxn>
                      <a:cxn ang="T146">
                        <a:pos x="T64" y="T65"/>
                      </a:cxn>
                      <a:cxn ang="T147">
                        <a:pos x="T66" y="T67"/>
                      </a:cxn>
                      <a:cxn ang="T148">
                        <a:pos x="T68" y="T69"/>
                      </a:cxn>
                      <a:cxn ang="T149">
                        <a:pos x="T70" y="T71"/>
                      </a:cxn>
                      <a:cxn ang="T150">
                        <a:pos x="T72" y="T73"/>
                      </a:cxn>
                      <a:cxn ang="T151">
                        <a:pos x="T74" y="T75"/>
                      </a:cxn>
                      <a:cxn ang="T152">
                        <a:pos x="T76" y="T77"/>
                      </a:cxn>
                      <a:cxn ang="T153">
                        <a:pos x="T78" y="T79"/>
                      </a:cxn>
                      <a:cxn ang="T154">
                        <a:pos x="T80" y="T81"/>
                      </a:cxn>
                      <a:cxn ang="T155">
                        <a:pos x="T82" y="T83"/>
                      </a:cxn>
                      <a:cxn ang="T156">
                        <a:pos x="T84" y="T85"/>
                      </a:cxn>
                      <a:cxn ang="T157">
                        <a:pos x="T86" y="T87"/>
                      </a:cxn>
                      <a:cxn ang="T158">
                        <a:pos x="T88" y="T89"/>
                      </a:cxn>
                      <a:cxn ang="T159">
                        <a:pos x="T90" y="T91"/>
                      </a:cxn>
                      <a:cxn ang="T160">
                        <a:pos x="T92" y="T93"/>
                      </a:cxn>
                      <a:cxn ang="T161">
                        <a:pos x="T94" y="T95"/>
                      </a:cxn>
                      <a:cxn ang="T162">
                        <a:pos x="T96" y="T97"/>
                      </a:cxn>
                      <a:cxn ang="T163">
                        <a:pos x="T98" y="T99"/>
                      </a:cxn>
                      <a:cxn ang="T164">
                        <a:pos x="T100" y="T101"/>
                      </a:cxn>
                      <a:cxn ang="T165">
                        <a:pos x="T102" y="T103"/>
                      </a:cxn>
                      <a:cxn ang="T166">
                        <a:pos x="T104" y="T105"/>
                      </a:cxn>
                      <a:cxn ang="T167">
                        <a:pos x="T106" y="T107"/>
                      </a:cxn>
                      <a:cxn ang="T168">
                        <a:pos x="T108" y="T109"/>
                      </a:cxn>
                      <a:cxn ang="T169">
                        <a:pos x="T110" y="T111"/>
                      </a:cxn>
                      <a:cxn ang="T170">
                        <a:pos x="T112" y="T113"/>
                      </a:cxn>
                    </a:cxnLst>
                    <a:rect l="T171" t="T172" r="T173" b="T174"/>
                    <a:pathLst>
                      <a:path w="2275" h="1580">
                        <a:moveTo>
                          <a:pt x="1248" y="671"/>
                        </a:moveTo>
                        <a:lnTo>
                          <a:pt x="1201" y="695"/>
                        </a:lnTo>
                        <a:lnTo>
                          <a:pt x="1155" y="717"/>
                        </a:lnTo>
                        <a:lnTo>
                          <a:pt x="1110" y="737"/>
                        </a:lnTo>
                        <a:lnTo>
                          <a:pt x="1065" y="756"/>
                        </a:lnTo>
                        <a:lnTo>
                          <a:pt x="1021" y="774"/>
                        </a:lnTo>
                        <a:lnTo>
                          <a:pt x="976" y="789"/>
                        </a:lnTo>
                        <a:lnTo>
                          <a:pt x="934" y="804"/>
                        </a:lnTo>
                        <a:lnTo>
                          <a:pt x="891" y="816"/>
                        </a:lnTo>
                        <a:lnTo>
                          <a:pt x="848" y="827"/>
                        </a:lnTo>
                        <a:lnTo>
                          <a:pt x="807" y="837"/>
                        </a:lnTo>
                        <a:lnTo>
                          <a:pt x="766" y="846"/>
                        </a:lnTo>
                        <a:lnTo>
                          <a:pt x="725" y="853"/>
                        </a:lnTo>
                        <a:lnTo>
                          <a:pt x="685" y="858"/>
                        </a:lnTo>
                        <a:lnTo>
                          <a:pt x="645" y="863"/>
                        </a:lnTo>
                        <a:lnTo>
                          <a:pt x="606" y="865"/>
                        </a:lnTo>
                        <a:lnTo>
                          <a:pt x="567" y="866"/>
                        </a:lnTo>
                        <a:lnTo>
                          <a:pt x="529" y="866"/>
                        </a:lnTo>
                        <a:lnTo>
                          <a:pt x="491" y="865"/>
                        </a:lnTo>
                        <a:lnTo>
                          <a:pt x="453" y="863"/>
                        </a:lnTo>
                        <a:lnTo>
                          <a:pt x="416" y="858"/>
                        </a:lnTo>
                        <a:lnTo>
                          <a:pt x="380" y="853"/>
                        </a:lnTo>
                        <a:lnTo>
                          <a:pt x="343" y="846"/>
                        </a:lnTo>
                        <a:lnTo>
                          <a:pt x="307" y="838"/>
                        </a:lnTo>
                        <a:lnTo>
                          <a:pt x="272" y="828"/>
                        </a:lnTo>
                        <a:lnTo>
                          <a:pt x="236" y="818"/>
                        </a:lnTo>
                        <a:lnTo>
                          <a:pt x="202" y="806"/>
                        </a:lnTo>
                        <a:lnTo>
                          <a:pt x="167" y="794"/>
                        </a:lnTo>
                        <a:lnTo>
                          <a:pt x="133" y="779"/>
                        </a:lnTo>
                        <a:lnTo>
                          <a:pt x="99" y="764"/>
                        </a:lnTo>
                        <a:lnTo>
                          <a:pt x="66" y="747"/>
                        </a:lnTo>
                        <a:lnTo>
                          <a:pt x="32" y="729"/>
                        </a:lnTo>
                        <a:lnTo>
                          <a:pt x="0" y="710"/>
                        </a:lnTo>
                        <a:lnTo>
                          <a:pt x="0" y="756"/>
                        </a:lnTo>
                        <a:lnTo>
                          <a:pt x="1" y="803"/>
                        </a:lnTo>
                        <a:lnTo>
                          <a:pt x="3" y="847"/>
                        </a:lnTo>
                        <a:lnTo>
                          <a:pt x="6" y="892"/>
                        </a:lnTo>
                        <a:lnTo>
                          <a:pt x="10" y="935"/>
                        </a:lnTo>
                        <a:lnTo>
                          <a:pt x="16" y="977"/>
                        </a:lnTo>
                        <a:lnTo>
                          <a:pt x="22" y="1020"/>
                        </a:lnTo>
                        <a:lnTo>
                          <a:pt x="30" y="1060"/>
                        </a:lnTo>
                        <a:lnTo>
                          <a:pt x="39" y="1100"/>
                        </a:lnTo>
                        <a:lnTo>
                          <a:pt x="50" y="1138"/>
                        </a:lnTo>
                        <a:lnTo>
                          <a:pt x="62" y="1174"/>
                        </a:lnTo>
                        <a:lnTo>
                          <a:pt x="76" y="1210"/>
                        </a:lnTo>
                        <a:lnTo>
                          <a:pt x="84" y="1227"/>
                        </a:lnTo>
                        <a:lnTo>
                          <a:pt x="93" y="1243"/>
                        </a:lnTo>
                        <a:lnTo>
                          <a:pt x="100" y="1260"/>
                        </a:lnTo>
                        <a:lnTo>
                          <a:pt x="109" y="1276"/>
                        </a:lnTo>
                        <a:lnTo>
                          <a:pt x="119" y="1290"/>
                        </a:lnTo>
                        <a:lnTo>
                          <a:pt x="129" y="1306"/>
                        </a:lnTo>
                        <a:lnTo>
                          <a:pt x="139" y="1319"/>
                        </a:lnTo>
                        <a:lnTo>
                          <a:pt x="150" y="1334"/>
                        </a:lnTo>
                        <a:lnTo>
                          <a:pt x="206" y="1397"/>
                        </a:lnTo>
                        <a:lnTo>
                          <a:pt x="265" y="1449"/>
                        </a:lnTo>
                        <a:lnTo>
                          <a:pt x="325" y="1493"/>
                        </a:lnTo>
                        <a:lnTo>
                          <a:pt x="386" y="1526"/>
                        </a:lnTo>
                        <a:lnTo>
                          <a:pt x="449" y="1552"/>
                        </a:lnTo>
                        <a:lnTo>
                          <a:pt x="513" y="1568"/>
                        </a:lnTo>
                        <a:lnTo>
                          <a:pt x="578" y="1578"/>
                        </a:lnTo>
                        <a:lnTo>
                          <a:pt x="643" y="1580"/>
                        </a:lnTo>
                        <a:lnTo>
                          <a:pt x="709" y="1575"/>
                        </a:lnTo>
                        <a:lnTo>
                          <a:pt x="776" y="1564"/>
                        </a:lnTo>
                        <a:lnTo>
                          <a:pt x="843" y="1546"/>
                        </a:lnTo>
                        <a:lnTo>
                          <a:pt x="908" y="1524"/>
                        </a:lnTo>
                        <a:lnTo>
                          <a:pt x="975" y="1497"/>
                        </a:lnTo>
                        <a:lnTo>
                          <a:pt x="1042" y="1465"/>
                        </a:lnTo>
                        <a:lnTo>
                          <a:pt x="1106" y="1428"/>
                        </a:lnTo>
                        <a:lnTo>
                          <a:pt x="1172" y="1389"/>
                        </a:lnTo>
                        <a:lnTo>
                          <a:pt x="1236" y="1347"/>
                        </a:lnTo>
                        <a:lnTo>
                          <a:pt x="1299" y="1301"/>
                        </a:lnTo>
                        <a:lnTo>
                          <a:pt x="1360" y="1253"/>
                        </a:lnTo>
                        <a:lnTo>
                          <a:pt x="1421" y="1204"/>
                        </a:lnTo>
                        <a:lnTo>
                          <a:pt x="1479" y="1154"/>
                        </a:lnTo>
                        <a:lnTo>
                          <a:pt x="1537" y="1104"/>
                        </a:lnTo>
                        <a:lnTo>
                          <a:pt x="1592" y="1053"/>
                        </a:lnTo>
                        <a:lnTo>
                          <a:pt x="1645" y="1002"/>
                        </a:lnTo>
                        <a:lnTo>
                          <a:pt x="1695" y="951"/>
                        </a:lnTo>
                        <a:lnTo>
                          <a:pt x="1744" y="902"/>
                        </a:lnTo>
                        <a:lnTo>
                          <a:pt x="1790" y="855"/>
                        </a:lnTo>
                        <a:lnTo>
                          <a:pt x="1832" y="809"/>
                        </a:lnTo>
                        <a:lnTo>
                          <a:pt x="1909" y="726"/>
                        </a:lnTo>
                        <a:lnTo>
                          <a:pt x="1971" y="657"/>
                        </a:lnTo>
                        <a:lnTo>
                          <a:pt x="1992" y="634"/>
                        </a:lnTo>
                        <a:lnTo>
                          <a:pt x="2014" y="606"/>
                        </a:lnTo>
                        <a:lnTo>
                          <a:pt x="2035" y="576"/>
                        </a:lnTo>
                        <a:lnTo>
                          <a:pt x="2057" y="542"/>
                        </a:lnTo>
                        <a:lnTo>
                          <a:pt x="2079" y="507"/>
                        </a:lnTo>
                        <a:lnTo>
                          <a:pt x="2100" y="469"/>
                        </a:lnTo>
                        <a:lnTo>
                          <a:pt x="2122" y="429"/>
                        </a:lnTo>
                        <a:lnTo>
                          <a:pt x="2143" y="387"/>
                        </a:lnTo>
                        <a:lnTo>
                          <a:pt x="2163" y="342"/>
                        </a:lnTo>
                        <a:lnTo>
                          <a:pt x="2183" y="296"/>
                        </a:lnTo>
                        <a:lnTo>
                          <a:pt x="2201" y="249"/>
                        </a:lnTo>
                        <a:lnTo>
                          <a:pt x="2218" y="201"/>
                        </a:lnTo>
                        <a:lnTo>
                          <a:pt x="2235" y="152"/>
                        </a:lnTo>
                        <a:lnTo>
                          <a:pt x="2250" y="102"/>
                        </a:lnTo>
                        <a:lnTo>
                          <a:pt x="2263" y="52"/>
                        </a:lnTo>
                        <a:lnTo>
                          <a:pt x="2275" y="0"/>
                        </a:lnTo>
                        <a:lnTo>
                          <a:pt x="2217" y="47"/>
                        </a:lnTo>
                        <a:lnTo>
                          <a:pt x="2158" y="93"/>
                        </a:lnTo>
                        <a:lnTo>
                          <a:pt x="2098" y="138"/>
                        </a:lnTo>
                        <a:lnTo>
                          <a:pt x="2038" y="183"/>
                        </a:lnTo>
                        <a:lnTo>
                          <a:pt x="1976" y="227"/>
                        </a:lnTo>
                        <a:lnTo>
                          <a:pt x="1914" y="271"/>
                        </a:lnTo>
                        <a:lnTo>
                          <a:pt x="1852" y="313"/>
                        </a:lnTo>
                        <a:lnTo>
                          <a:pt x="1788" y="355"/>
                        </a:lnTo>
                        <a:lnTo>
                          <a:pt x="1724" y="398"/>
                        </a:lnTo>
                        <a:lnTo>
                          <a:pt x="1658" y="438"/>
                        </a:lnTo>
                        <a:lnTo>
                          <a:pt x="1593" y="479"/>
                        </a:lnTo>
                        <a:lnTo>
                          <a:pt x="1525" y="518"/>
                        </a:lnTo>
                        <a:lnTo>
                          <a:pt x="1457" y="558"/>
                        </a:lnTo>
                        <a:lnTo>
                          <a:pt x="1388" y="596"/>
                        </a:lnTo>
                        <a:lnTo>
                          <a:pt x="1319" y="634"/>
                        </a:lnTo>
                        <a:lnTo>
                          <a:pt x="1248" y="671"/>
                        </a:lnTo>
                        <a:close/>
                      </a:path>
                    </a:pathLst>
                  </a:custGeom>
                  <a:solidFill>
                    <a:srgbClr val="312276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</p:grpSp>
          </p:grpSp>
          <p:grpSp>
            <p:nvGrpSpPr>
              <p:cNvPr id="310" name="Group 205"/>
              <p:cNvGrpSpPr>
                <a:grpSpLocks/>
              </p:cNvGrpSpPr>
              <p:nvPr/>
            </p:nvGrpSpPr>
            <p:grpSpPr bwMode="auto">
              <a:xfrm>
                <a:off x="7591147" y="1499294"/>
                <a:ext cx="411406" cy="206924"/>
                <a:chOff x="2759" y="2304"/>
                <a:chExt cx="1393" cy="766"/>
              </a:xfrm>
            </p:grpSpPr>
            <p:sp>
              <p:nvSpPr>
                <p:cNvPr id="311" name="Freeform 206"/>
                <p:cNvSpPr>
                  <a:spLocks/>
                </p:cNvSpPr>
                <p:nvPr/>
              </p:nvSpPr>
              <p:spPr bwMode="auto">
                <a:xfrm>
                  <a:off x="3640" y="2608"/>
                  <a:ext cx="508" cy="319"/>
                </a:xfrm>
                <a:custGeom>
                  <a:avLst/>
                  <a:gdLst>
                    <a:gd name="T0" fmla="*/ 0 w 3583"/>
                    <a:gd name="T1" fmla="*/ 0 h 2227"/>
                    <a:gd name="T2" fmla="*/ 0 w 3583"/>
                    <a:gd name="T3" fmla="*/ 0 h 2227"/>
                    <a:gd name="T4" fmla="*/ 0 w 3583"/>
                    <a:gd name="T5" fmla="*/ 0 h 2227"/>
                    <a:gd name="T6" fmla="*/ 0 w 3583"/>
                    <a:gd name="T7" fmla="*/ 0 h 2227"/>
                    <a:gd name="T8" fmla="*/ 0 w 3583"/>
                    <a:gd name="T9" fmla="*/ 0 h 2227"/>
                    <a:gd name="T10" fmla="*/ 0 w 3583"/>
                    <a:gd name="T11" fmla="*/ 0 h 2227"/>
                    <a:gd name="T12" fmla="*/ 0 w 3583"/>
                    <a:gd name="T13" fmla="*/ 0 h 2227"/>
                    <a:gd name="T14" fmla="*/ 0 w 3583"/>
                    <a:gd name="T15" fmla="*/ 0 h 2227"/>
                    <a:gd name="T16" fmla="*/ 0 w 3583"/>
                    <a:gd name="T17" fmla="*/ 0 h 2227"/>
                    <a:gd name="T18" fmla="*/ 0 w 3583"/>
                    <a:gd name="T19" fmla="*/ 0 h 2227"/>
                    <a:gd name="T20" fmla="*/ 0 w 3583"/>
                    <a:gd name="T21" fmla="*/ 0 h 2227"/>
                    <a:gd name="T22" fmla="*/ 0 w 3583"/>
                    <a:gd name="T23" fmla="*/ 0 h 2227"/>
                    <a:gd name="T24" fmla="*/ 0 w 3583"/>
                    <a:gd name="T25" fmla="*/ 0 h 2227"/>
                    <a:gd name="T26" fmla="*/ 0 w 3583"/>
                    <a:gd name="T27" fmla="*/ 0 h 2227"/>
                    <a:gd name="T28" fmla="*/ 0 w 3583"/>
                    <a:gd name="T29" fmla="*/ 0 h 2227"/>
                    <a:gd name="T30" fmla="*/ 0 w 3583"/>
                    <a:gd name="T31" fmla="*/ 0 h 2227"/>
                    <a:gd name="T32" fmla="*/ 0 w 3583"/>
                    <a:gd name="T33" fmla="*/ 0 h 2227"/>
                    <a:gd name="T34" fmla="*/ 0 w 3583"/>
                    <a:gd name="T35" fmla="*/ 0 h 2227"/>
                    <a:gd name="T36" fmla="*/ 0 w 3583"/>
                    <a:gd name="T37" fmla="*/ 0 h 2227"/>
                    <a:gd name="T38" fmla="*/ 0 w 3583"/>
                    <a:gd name="T39" fmla="*/ 0 h 2227"/>
                    <a:gd name="T40" fmla="*/ 0 w 3583"/>
                    <a:gd name="T41" fmla="*/ 0 h 2227"/>
                    <a:gd name="T42" fmla="*/ 0 w 3583"/>
                    <a:gd name="T43" fmla="*/ 0 h 2227"/>
                    <a:gd name="T44" fmla="*/ 0 w 3583"/>
                    <a:gd name="T45" fmla="*/ 0 h 2227"/>
                    <a:gd name="T46" fmla="*/ 0 w 3583"/>
                    <a:gd name="T47" fmla="*/ 0 h 2227"/>
                    <a:gd name="T48" fmla="*/ 0 w 3583"/>
                    <a:gd name="T49" fmla="*/ 0 h 2227"/>
                    <a:gd name="T50" fmla="*/ 0 w 3583"/>
                    <a:gd name="T51" fmla="*/ 0 h 2227"/>
                    <a:gd name="T52" fmla="*/ 0 w 3583"/>
                    <a:gd name="T53" fmla="*/ 0 h 2227"/>
                    <a:gd name="T54" fmla="*/ 0 w 3583"/>
                    <a:gd name="T55" fmla="*/ 0 h 2227"/>
                    <a:gd name="T56" fmla="*/ 0 w 3583"/>
                    <a:gd name="T57" fmla="*/ 0 h 2227"/>
                    <a:gd name="T58" fmla="*/ 0 w 3583"/>
                    <a:gd name="T59" fmla="*/ 0 h 2227"/>
                    <a:gd name="T60" fmla="*/ 0 w 3583"/>
                    <a:gd name="T61" fmla="*/ 0 h 2227"/>
                    <a:gd name="T62" fmla="*/ 0 w 3583"/>
                    <a:gd name="T63" fmla="*/ 0 h 2227"/>
                    <a:gd name="T64" fmla="*/ 0 w 3583"/>
                    <a:gd name="T65" fmla="*/ 0 h 2227"/>
                    <a:gd name="T66" fmla="*/ 0 w 3583"/>
                    <a:gd name="T67" fmla="*/ 0 h 2227"/>
                    <a:gd name="T68" fmla="*/ 0 w 3583"/>
                    <a:gd name="T69" fmla="*/ 0 h 2227"/>
                    <a:gd name="T70" fmla="*/ 0 w 3583"/>
                    <a:gd name="T71" fmla="*/ 0 h 2227"/>
                    <a:gd name="T72" fmla="*/ 0 w 3583"/>
                    <a:gd name="T73" fmla="*/ 0 h 2227"/>
                    <a:gd name="T74" fmla="*/ 0 w 3583"/>
                    <a:gd name="T75" fmla="*/ 0 h 2227"/>
                    <a:gd name="T76" fmla="*/ 0 w 3583"/>
                    <a:gd name="T77" fmla="*/ 0 h 2227"/>
                    <a:gd name="T78" fmla="*/ 0 w 3583"/>
                    <a:gd name="T79" fmla="*/ 0 h 2227"/>
                    <a:gd name="T80" fmla="*/ 0 w 3583"/>
                    <a:gd name="T81" fmla="*/ 0 h 2227"/>
                    <a:gd name="T82" fmla="*/ 0 w 3583"/>
                    <a:gd name="T83" fmla="*/ 0 h 2227"/>
                    <a:gd name="T84" fmla="*/ 0 w 3583"/>
                    <a:gd name="T85" fmla="*/ 0 h 2227"/>
                    <a:gd name="T86" fmla="*/ 0 w 3583"/>
                    <a:gd name="T87" fmla="*/ 0 h 2227"/>
                    <a:gd name="T88" fmla="*/ 0 w 3583"/>
                    <a:gd name="T89" fmla="*/ 0 h 2227"/>
                    <a:gd name="T90" fmla="*/ 0 w 3583"/>
                    <a:gd name="T91" fmla="*/ 0 h 2227"/>
                    <a:gd name="T92" fmla="*/ 0 w 3583"/>
                    <a:gd name="T93" fmla="*/ 0 h 2227"/>
                    <a:gd name="T94" fmla="*/ 0 w 3583"/>
                    <a:gd name="T95" fmla="*/ 0 h 2227"/>
                    <a:gd name="T96" fmla="*/ 0 w 3583"/>
                    <a:gd name="T97" fmla="*/ 0 h 2227"/>
                    <a:gd name="T98" fmla="*/ 0 w 3583"/>
                    <a:gd name="T99" fmla="*/ 0 h 2227"/>
                    <a:gd name="T100" fmla="*/ 0 w 3583"/>
                    <a:gd name="T101" fmla="*/ 0 h 2227"/>
                    <a:gd name="T102" fmla="*/ 0 w 3583"/>
                    <a:gd name="T103" fmla="*/ 0 h 2227"/>
                    <a:gd name="T104" fmla="*/ 0 w 3583"/>
                    <a:gd name="T105" fmla="*/ 0 h 2227"/>
                    <a:gd name="T106" fmla="*/ 0 w 3583"/>
                    <a:gd name="T107" fmla="*/ 0 h 2227"/>
                    <a:gd name="T108" fmla="*/ 0 w 3583"/>
                    <a:gd name="T109" fmla="*/ 0 h 2227"/>
                    <a:gd name="T110" fmla="*/ 0 w 3583"/>
                    <a:gd name="T111" fmla="*/ 0 h 2227"/>
                    <a:gd name="T112" fmla="*/ 0 w 3583"/>
                    <a:gd name="T113" fmla="*/ 0 h 2227"/>
                    <a:gd name="T114" fmla="*/ 0 w 3583"/>
                    <a:gd name="T115" fmla="*/ 0 h 2227"/>
                    <a:gd name="T116" fmla="*/ 0 w 3583"/>
                    <a:gd name="T117" fmla="*/ 0 h 2227"/>
                    <a:gd name="T118" fmla="*/ 0 w 3583"/>
                    <a:gd name="T119" fmla="*/ 0 h 2227"/>
                    <a:gd name="T120" fmla="*/ 0 w 3583"/>
                    <a:gd name="T121" fmla="*/ 0 h 2227"/>
                    <a:gd name="T122" fmla="*/ 0 w 3583"/>
                    <a:gd name="T123" fmla="*/ 0 h 2227"/>
                    <a:gd name="T124" fmla="*/ 0 w 3583"/>
                    <a:gd name="T125" fmla="*/ 0 h 2227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3583"/>
                    <a:gd name="T190" fmla="*/ 0 h 2227"/>
                    <a:gd name="T191" fmla="*/ 3583 w 3583"/>
                    <a:gd name="T192" fmla="*/ 2227 h 2227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3583" h="2227">
                      <a:moveTo>
                        <a:pt x="3554" y="1071"/>
                      </a:moveTo>
                      <a:lnTo>
                        <a:pt x="3545" y="1035"/>
                      </a:lnTo>
                      <a:lnTo>
                        <a:pt x="3533" y="998"/>
                      </a:lnTo>
                      <a:lnTo>
                        <a:pt x="3521" y="962"/>
                      </a:lnTo>
                      <a:lnTo>
                        <a:pt x="3506" y="925"/>
                      </a:lnTo>
                      <a:lnTo>
                        <a:pt x="3491" y="887"/>
                      </a:lnTo>
                      <a:lnTo>
                        <a:pt x="3473" y="849"/>
                      </a:lnTo>
                      <a:lnTo>
                        <a:pt x="3455" y="810"/>
                      </a:lnTo>
                      <a:lnTo>
                        <a:pt x="3435" y="771"/>
                      </a:lnTo>
                      <a:lnTo>
                        <a:pt x="3414" y="733"/>
                      </a:lnTo>
                      <a:lnTo>
                        <a:pt x="3392" y="694"/>
                      </a:lnTo>
                      <a:lnTo>
                        <a:pt x="3368" y="657"/>
                      </a:lnTo>
                      <a:lnTo>
                        <a:pt x="3344" y="619"/>
                      </a:lnTo>
                      <a:lnTo>
                        <a:pt x="3318" y="581"/>
                      </a:lnTo>
                      <a:lnTo>
                        <a:pt x="3291" y="544"/>
                      </a:lnTo>
                      <a:lnTo>
                        <a:pt x="3264" y="508"/>
                      </a:lnTo>
                      <a:lnTo>
                        <a:pt x="3236" y="472"/>
                      </a:lnTo>
                      <a:lnTo>
                        <a:pt x="3206" y="437"/>
                      </a:lnTo>
                      <a:lnTo>
                        <a:pt x="3176" y="404"/>
                      </a:lnTo>
                      <a:lnTo>
                        <a:pt x="3144" y="372"/>
                      </a:lnTo>
                      <a:lnTo>
                        <a:pt x="3113" y="340"/>
                      </a:lnTo>
                      <a:lnTo>
                        <a:pt x="3081" y="309"/>
                      </a:lnTo>
                      <a:lnTo>
                        <a:pt x="3049" y="282"/>
                      </a:lnTo>
                      <a:lnTo>
                        <a:pt x="3014" y="254"/>
                      </a:lnTo>
                      <a:lnTo>
                        <a:pt x="2981" y="228"/>
                      </a:lnTo>
                      <a:lnTo>
                        <a:pt x="2946" y="205"/>
                      </a:lnTo>
                      <a:lnTo>
                        <a:pt x="2912" y="183"/>
                      </a:lnTo>
                      <a:lnTo>
                        <a:pt x="2876" y="163"/>
                      </a:lnTo>
                      <a:lnTo>
                        <a:pt x="2841" y="145"/>
                      </a:lnTo>
                      <a:lnTo>
                        <a:pt x="2805" y="128"/>
                      </a:lnTo>
                      <a:lnTo>
                        <a:pt x="2769" y="115"/>
                      </a:lnTo>
                      <a:lnTo>
                        <a:pt x="2734" y="104"/>
                      </a:lnTo>
                      <a:lnTo>
                        <a:pt x="2697" y="95"/>
                      </a:lnTo>
                      <a:lnTo>
                        <a:pt x="2615" y="79"/>
                      </a:lnTo>
                      <a:lnTo>
                        <a:pt x="2531" y="66"/>
                      </a:lnTo>
                      <a:lnTo>
                        <a:pt x="2446" y="52"/>
                      </a:lnTo>
                      <a:lnTo>
                        <a:pt x="2359" y="41"/>
                      </a:lnTo>
                      <a:lnTo>
                        <a:pt x="2270" y="32"/>
                      </a:lnTo>
                      <a:lnTo>
                        <a:pt x="2180" y="23"/>
                      </a:lnTo>
                      <a:lnTo>
                        <a:pt x="2089" y="17"/>
                      </a:lnTo>
                      <a:lnTo>
                        <a:pt x="1998" y="11"/>
                      </a:lnTo>
                      <a:lnTo>
                        <a:pt x="1906" y="7"/>
                      </a:lnTo>
                      <a:lnTo>
                        <a:pt x="1814" y="3"/>
                      </a:lnTo>
                      <a:lnTo>
                        <a:pt x="1722" y="1"/>
                      </a:lnTo>
                      <a:lnTo>
                        <a:pt x="1631" y="0"/>
                      </a:lnTo>
                      <a:lnTo>
                        <a:pt x="1541" y="0"/>
                      </a:lnTo>
                      <a:lnTo>
                        <a:pt x="1450" y="1"/>
                      </a:lnTo>
                      <a:lnTo>
                        <a:pt x="1361" y="3"/>
                      </a:lnTo>
                      <a:lnTo>
                        <a:pt x="1274" y="6"/>
                      </a:lnTo>
                      <a:lnTo>
                        <a:pt x="1188" y="9"/>
                      </a:lnTo>
                      <a:lnTo>
                        <a:pt x="1103" y="13"/>
                      </a:lnTo>
                      <a:lnTo>
                        <a:pt x="1021" y="18"/>
                      </a:lnTo>
                      <a:lnTo>
                        <a:pt x="941" y="23"/>
                      </a:lnTo>
                      <a:lnTo>
                        <a:pt x="864" y="30"/>
                      </a:lnTo>
                      <a:lnTo>
                        <a:pt x="789" y="37"/>
                      </a:lnTo>
                      <a:lnTo>
                        <a:pt x="717" y="43"/>
                      </a:lnTo>
                      <a:lnTo>
                        <a:pt x="649" y="51"/>
                      </a:lnTo>
                      <a:lnTo>
                        <a:pt x="583" y="59"/>
                      </a:lnTo>
                      <a:lnTo>
                        <a:pt x="522" y="67"/>
                      </a:lnTo>
                      <a:lnTo>
                        <a:pt x="464" y="76"/>
                      </a:lnTo>
                      <a:lnTo>
                        <a:pt x="411" y="85"/>
                      </a:lnTo>
                      <a:lnTo>
                        <a:pt x="362" y="94"/>
                      </a:lnTo>
                      <a:lnTo>
                        <a:pt x="319" y="102"/>
                      </a:lnTo>
                      <a:lnTo>
                        <a:pt x="279" y="111"/>
                      </a:lnTo>
                      <a:lnTo>
                        <a:pt x="245" y="120"/>
                      </a:lnTo>
                      <a:lnTo>
                        <a:pt x="214" y="130"/>
                      </a:lnTo>
                      <a:lnTo>
                        <a:pt x="186" y="141"/>
                      </a:lnTo>
                      <a:lnTo>
                        <a:pt x="161" y="155"/>
                      </a:lnTo>
                      <a:lnTo>
                        <a:pt x="137" y="169"/>
                      </a:lnTo>
                      <a:lnTo>
                        <a:pt x="116" y="186"/>
                      </a:lnTo>
                      <a:lnTo>
                        <a:pt x="96" y="203"/>
                      </a:lnTo>
                      <a:lnTo>
                        <a:pt x="79" y="222"/>
                      </a:lnTo>
                      <a:lnTo>
                        <a:pt x="64" y="242"/>
                      </a:lnTo>
                      <a:lnTo>
                        <a:pt x="50" y="264"/>
                      </a:lnTo>
                      <a:lnTo>
                        <a:pt x="38" y="286"/>
                      </a:lnTo>
                      <a:lnTo>
                        <a:pt x="28" y="309"/>
                      </a:lnTo>
                      <a:lnTo>
                        <a:pt x="19" y="335"/>
                      </a:lnTo>
                      <a:lnTo>
                        <a:pt x="12" y="361"/>
                      </a:lnTo>
                      <a:lnTo>
                        <a:pt x="8" y="387"/>
                      </a:lnTo>
                      <a:lnTo>
                        <a:pt x="4" y="414"/>
                      </a:lnTo>
                      <a:lnTo>
                        <a:pt x="1" y="443"/>
                      </a:lnTo>
                      <a:lnTo>
                        <a:pt x="0" y="472"/>
                      </a:lnTo>
                      <a:lnTo>
                        <a:pt x="1" y="502"/>
                      </a:lnTo>
                      <a:lnTo>
                        <a:pt x="2" y="532"/>
                      </a:lnTo>
                      <a:lnTo>
                        <a:pt x="6" y="563"/>
                      </a:lnTo>
                      <a:lnTo>
                        <a:pt x="9" y="594"/>
                      </a:lnTo>
                      <a:lnTo>
                        <a:pt x="15" y="627"/>
                      </a:lnTo>
                      <a:lnTo>
                        <a:pt x="20" y="659"/>
                      </a:lnTo>
                      <a:lnTo>
                        <a:pt x="27" y="691"/>
                      </a:lnTo>
                      <a:lnTo>
                        <a:pt x="35" y="723"/>
                      </a:lnTo>
                      <a:lnTo>
                        <a:pt x="44" y="757"/>
                      </a:lnTo>
                      <a:lnTo>
                        <a:pt x="53" y="789"/>
                      </a:lnTo>
                      <a:lnTo>
                        <a:pt x="63" y="822"/>
                      </a:lnTo>
                      <a:lnTo>
                        <a:pt x="84" y="889"/>
                      </a:lnTo>
                      <a:lnTo>
                        <a:pt x="107" y="955"/>
                      </a:lnTo>
                      <a:lnTo>
                        <a:pt x="119" y="987"/>
                      </a:lnTo>
                      <a:lnTo>
                        <a:pt x="133" y="1021"/>
                      </a:lnTo>
                      <a:lnTo>
                        <a:pt x="148" y="1053"/>
                      </a:lnTo>
                      <a:lnTo>
                        <a:pt x="164" y="1085"/>
                      </a:lnTo>
                      <a:lnTo>
                        <a:pt x="179" y="1117"/>
                      </a:lnTo>
                      <a:lnTo>
                        <a:pt x="197" y="1149"/>
                      </a:lnTo>
                      <a:lnTo>
                        <a:pt x="215" y="1179"/>
                      </a:lnTo>
                      <a:lnTo>
                        <a:pt x="234" y="1210"/>
                      </a:lnTo>
                      <a:lnTo>
                        <a:pt x="254" y="1240"/>
                      </a:lnTo>
                      <a:lnTo>
                        <a:pt x="274" y="1269"/>
                      </a:lnTo>
                      <a:lnTo>
                        <a:pt x="295" y="1299"/>
                      </a:lnTo>
                      <a:lnTo>
                        <a:pt x="316" y="1327"/>
                      </a:lnTo>
                      <a:lnTo>
                        <a:pt x="340" y="1356"/>
                      </a:lnTo>
                      <a:lnTo>
                        <a:pt x="362" y="1383"/>
                      </a:lnTo>
                      <a:lnTo>
                        <a:pt x="386" y="1410"/>
                      </a:lnTo>
                      <a:lnTo>
                        <a:pt x="411" y="1437"/>
                      </a:lnTo>
                      <a:lnTo>
                        <a:pt x="435" y="1463"/>
                      </a:lnTo>
                      <a:lnTo>
                        <a:pt x="461" y="1489"/>
                      </a:lnTo>
                      <a:lnTo>
                        <a:pt x="487" y="1515"/>
                      </a:lnTo>
                      <a:lnTo>
                        <a:pt x="513" y="1539"/>
                      </a:lnTo>
                      <a:lnTo>
                        <a:pt x="540" y="1564"/>
                      </a:lnTo>
                      <a:lnTo>
                        <a:pt x="568" y="1587"/>
                      </a:lnTo>
                      <a:lnTo>
                        <a:pt x="596" y="1609"/>
                      </a:lnTo>
                      <a:lnTo>
                        <a:pt x="625" y="1632"/>
                      </a:lnTo>
                      <a:lnTo>
                        <a:pt x="652" y="1654"/>
                      </a:lnTo>
                      <a:lnTo>
                        <a:pt x="683" y="1675"/>
                      </a:lnTo>
                      <a:lnTo>
                        <a:pt x="711" y="1696"/>
                      </a:lnTo>
                      <a:lnTo>
                        <a:pt x="742" y="1715"/>
                      </a:lnTo>
                      <a:lnTo>
                        <a:pt x="772" y="1735"/>
                      </a:lnTo>
                      <a:lnTo>
                        <a:pt x="802" y="1753"/>
                      </a:lnTo>
                      <a:lnTo>
                        <a:pt x="832" y="1772"/>
                      </a:lnTo>
                      <a:lnTo>
                        <a:pt x="863" y="1788"/>
                      </a:lnTo>
                      <a:lnTo>
                        <a:pt x="917" y="1818"/>
                      </a:lnTo>
                      <a:lnTo>
                        <a:pt x="974" y="1847"/>
                      </a:lnTo>
                      <a:lnTo>
                        <a:pt x="1034" y="1876"/>
                      </a:lnTo>
                      <a:lnTo>
                        <a:pt x="1097" y="1905"/>
                      </a:lnTo>
                      <a:lnTo>
                        <a:pt x="1160" y="1934"/>
                      </a:lnTo>
                      <a:lnTo>
                        <a:pt x="1226" y="1962"/>
                      </a:lnTo>
                      <a:lnTo>
                        <a:pt x="1294" y="1989"/>
                      </a:lnTo>
                      <a:lnTo>
                        <a:pt x="1364" y="2015"/>
                      </a:lnTo>
                      <a:lnTo>
                        <a:pt x="1434" y="2040"/>
                      </a:lnTo>
                      <a:lnTo>
                        <a:pt x="1506" y="2064"/>
                      </a:lnTo>
                      <a:lnTo>
                        <a:pt x="1580" y="2088"/>
                      </a:lnTo>
                      <a:lnTo>
                        <a:pt x="1654" y="2110"/>
                      </a:lnTo>
                      <a:lnTo>
                        <a:pt x="1729" y="2130"/>
                      </a:lnTo>
                      <a:lnTo>
                        <a:pt x="1804" y="2149"/>
                      </a:lnTo>
                      <a:lnTo>
                        <a:pt x="1880" y="2166"/>
                      </a:lnTo>
                      <a:lnTo>
                        <a:pt x="1956" y="2181"/>
                      </a:lnTo>
                      <a:lnTo>
                        <a:pt x="2033" y="2195"/>
                      </a:lnTo>
                      <a:lnTo>
                        <a:pt x="2108" y="2206"/>
                      </a:lnTo>
                      <a:lnTo>
                        <a:pt x="2184" y="2215"/>
                      </a:lnTo>
                      <a:lnTo>
                        <a:pt x="2260" y="2221"/>
                      </a:lnTo>
                      <a:lnTo>
                        <a:pt x="2334" y="2225"/>
                      </a:lnTo>
                      <a:lnTo>
                        <a:pt x="2409" y="2227"/>
                      </a:lnTo>
                      <a:lnTo>
                        <a:pt x="2482" y="2226"/>
                      </a:lnTo>
                      <a:lnTo>
                        <a:pt x="2553" y="2221"/>
                      </a:lnTo>
                      <a:lnTo>
                        <a:pt x="2625" y="2215"/>
                      </a:lnTo>
                      <a:lnTo>
                        <a:pt x="2694" y="2205"/>
                      </a:lnTo>
                      <a:lnTo>
                        <a:pt x="2762" y="2191"/>
                      </a:lnTo>
                      <a:lnTo>
                        <a:pt x="2827" y="2175"/>
                      </a:lnTo>
                      <a:lnTo>
                        <a:pt x="2892" y="2155"/>
                      </a:lnTo>
                      <a:lnTo>
                        <a:pt x="2954" y="2131"/>
                      </a:lnTo>
                      <a:lnTo>
                        <a:pt x="3013" y="2103"/>
                      </a:lnTo>
                      <a:lnTo>
                        <a:pt x="3071" y="2072"/>
                      </a:lnTo>
                      <a:lnTo>
                        <a:pt x="3104" y="2051"/>
                      </a:lnTo>
                      <a:lnTo>
                        <a:pt x="3138" y="2030"/>
                      </a:lnTo>
                      <a:lnTo>
                        <a:pt x="3170" y="2007"/>
                      </a:lnTo>
                      <a:lnTo>
                        <a:pt x="3202" y="1984"/>
                      </a:lnTo>
                      <a:lnTo>
                        <a:pt x="3232" y="1960"/>
                      </a:lnTo>
                      <a:lnTo>
                        <a:pt x="3262" y="1935"/>
                      </a:lnTo>
                      <a:lnTo>
                        <a:pt x="3290" y="1911"/>
                      </a:lnTo>
                      <a:lnTo>
                        <a:pt x="3318" y="1885"/>
                      </a:lnTo>
                      <a:lnTo>
                        <a:pt x="3344" y="1859"/>
                      </a:lnTo>
                      <a:lnTo>
                        <a:pt x="3369" y="1832"/>
                      </a:lnTo>
                      <a:lnTo>
                        <a:pt x="3393" y="1804"/>
                      </a:lnTo>
                      <a:lnTo>
                        <a:pt x="3416" y="1775"/>
                      </a:lnTo>
                      <a:lnTo>
                        <a:pt x="3437" y="1746"/>
                      </a:lnTo>
                      <a:lnTo>
                        <a:pt x="3457" y="1716"/>
                      </a:lnTo>
                      <a:lnTo>
                        <a:pt x="3476" y="1686"/>
                      </a:lnTo>
                      <a:lnTo>
                        <a:pt x="3493" y="1655"/>
                      </a:lnTo>
                      <a:lnTo>
                        <a:pt x="3510" y="1623"/>
                      </a:lnTo>
                      <a:lnTo>
                        <a:pt x="3523" y="1590"/>
                      </a:lnTo>
                      <a:lnTo>
                        <a:pt x="3536" y="1557"/>
                      </a:lnTo>
                      <a:lnTo>
                        <a:pt x="3548" y="1524"/>
                      </a:lnTo>
                      <a:lnTo>
                        <a:pt x="3557" y="1489"/>
                      </a:lnTo>
                      <a:lnTo>
                        <a:pt x="3566" y="1455"/>
                      </a:lnTo>
                      <a:lnTo>
                        <a:pt x="3573" y="1419"/>
                      </a:lnTo>
                      <a:lnTo>
                        <a:pt x="3577" y="1382"/>
                      </a:lnTo>
                      <a:lnTo>
                        <a:pt x="3581" y="1346"/>
                      </a:lnTo>
                      <a:lnTo>
                        <a:pt x="3583" y="1308"/>
                      </a:lnTo>
                      <a:lnTo>
                        <a:pt x="3583" y="1270"/>
                      </a:lnTo>
                      <a:lnTo>
                        <a:pt x="3581" y="1231"/>
                      </a:lnTo>
                      <a:lnTo>
                        <a:pt x="3577" y="1192"/>
                      </a:lnTo>
                      <a:lnTo>
                        <a:pt x="3572" y="1152"/>
                      </a:lnTo>
                      <a:lnTo>
                        <a:pt x="3564" y="1112"/>
                      </a:lnTo>
                      <a:lnTo>
                        <a:pt x="3554" y="1071"/>
                      </a:lnTo>
                      <a:close/>
                    </a:path>
                  </a:pathLst>
                </a:custGeom>
                <a:solidFill>
                  <a:srgbClr val="242D54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312" name="Freeform 207"/>
                <p:cNvSpPr>
                  <a:spLocks/>
                </p:cNvSpPr>
                <p:nvPr/>
              </p:nvSpPr>
              <p:spPr bwMode="auto">
                <a:xfrm>
                  <a:off x="3638" y="2652"/>
                  <a:ext cx="508" cy="269"/>
                </a:xfrm>
                <a:custGeom>
                  <a:avLst/>
                  <a:gdLst>
                    <a:gd name="T0" fmla="*/ 0 w 3582"/>
                    <a:gd name="T1" fmla="*/ 0 h 1884"/>
                    <a:gd name="T2" fmla="*/ 0 w 3582"/>
                    <a:gd name="T3" fmla="*/ 0 h 1884"/>
                    <a:gd name="T4" fmla="*/ 0 w 3582"/>
                    <a:gd name="T5" fmla="*/ 0 h 1884"/>
                    <a:gd name="T6" fmla="*/ 0 w 3582"/>
                    <a:gd name="T7" fmla="*/ 0 h 1884"/>
                    <a:gd name="T8" fmla="*/ 0 w 3582"/>
                    <a:gd name="T9" fmla="*/ 0 h 1884"/>
                    <a:gd name="T10" fmla="*/ 0 w 3582"/>
                    <a:gd name="T11" fmla="*/ 0 h 1884"/>
                    <a:gd name="T12" fmla="*/ 0 w 3582"/>
                    <a:gd name="T13" fmla="*/ 0 h 1884"/>
                    <a:gd name="T14" fmla="*/ 0 w 3582"/>
                    <a:gd name="T15" fmla="*/ 0 h 1884"/>
                    <a:gd name="T16" fmla="*/ 0 w 3582"/>
                    <a:gd name="T17" fmla="*/ 0 h 1884"/>
                    <a:gd name="T18" fmla="*/ 0 w 3582"/>
                    <a:gd name="T19" fmla="*/ 0 h 1884"/>
                    <a:gd name="T20" fmla="*/ 0 w 3582"/>
                    <a:gd name="T21" fmla="*/ 0 h 1884"/>
                    <a:gd name="T22" fmla="*/ 0 w 3582"/>
                    <a:gd name="T23" fmla="*/ 0 h 1884"/>
                    <a:gd name="T24" fmla="*/ 0 w 3582"/>
                    <a:gd name="T25" fmla="*/ 0 h 1884"/>
                    <a:gd name="T26" fmla="*/ 0 w 3582"/>
                    <a:gd name="T27" fmla="*/ 0 h 1884"/>
                    <a:gd name="T28" fmla="*/ 0 w 3582"/>
                    <a:gd name="T29" fmla="*/ 0 h 1884"/>
                    <a:gd name="T30" fmla="*/ 0 w 3582"/>
                    <a:gd name="T31" fmla="*/ 0 h 1884"/>
                    <a:gd name="T32" fmla="*/ 0 w 3582"/>
                    <a:gd name="T33" fmla="*/ 0 h 1884"/>
                    <a:gd name="T34" fmla="*/ 0 w 3582"/>
                    <a:gd name="T35" fmla="*/ 0 h 1884"/>
                    <a:gd name="T36" fmla="*/ 0 w 3582"/>
                    <a:gd name="T37" fmla="*/ 0 h 1884"/>
                    <a:gd name="T38" fmla="*/ 0 w 3582"/>
                    <a:gd name="T39" fmla="*/ 0 h 1884"/>
                    <a:gd name="T40" fmla="*/ 0 w 3582"/>
                    <a:gd name="T41" fmla="*/ 0 h 1884"/>
                    <a:gd name="T42" fmla="*/ 0 w 3582"/>
                    <a:gd name="T43" fmla="*/ 0 h 1884"/>
                    <a:gd name="T44" fmla="*/ 0 w 3582"/>
                    <a:gd name="T45" fmla="*/ 0 h 1884"/>
                    <a:gd name="T46" fmla="*/ 0 w 3582"/>
                    <a:gd name="T47" fmla="*/ 0 h 1884"/>
                    <a:gd name="T48" fmla="*/ 0 w 3582"/>
                    <a:gd name="T49" fmla="*/ 0 h 1884"/>
                    <a:gd name="T50" fmla="*/ 0 w 3582"/>
                    <a:gd name="T51" fmla="*/ 0 h 1884"/>
                    <a:gd name="T52" fmla="*/ 0 w 3582"/>
                    <a:gd name="T53" fmla="*/ 0 h 1884"/>
                    <a:gd name="T54" fmla="*/ 0 w 3582"/>
                    <a:gd name="T55" fmla="*/ 0 h 1884"/>
                    <a:gd name="T56" fmla="*/ 0 w 3582"/>
                    <a:gd name="T57" fmla="*/ 0 h 1884"/>
                    <a:gd name="T58" fmla="*/ 0 w 3582"/>
                    <a:gd name="T59" fmla="*/ 0 h 1884"/>
                    <a:gd name="T60" fmla="*/ 0 w 3582"/>
                    <a:gd name="T61" fmla="*/ 0 h 1884"/>
                    <a:gd name="T62" fmla="*/ 0 w 3582"/>
                    <a:gd name="T63" fmla="*/ 0 h 1884"/>
                    <a:gd name="T64" fmla="*/ 0 w 3582"/>
                    <a:gd name="T65" fmla="*/ 0 h 1884"/>
                    <a:gd name="T66" fmla="*/ 0 w 3582"/>
                    <a:gd name="T67" fmla="*/ 0 h 1884"/>
                    <a:gd name="T68" fmla="*/ 0 w 3582"/>
                    <a:gd name="T69" fmla="*/ 0 h 1884"/>
                    <a:gd name="T70" fmla="*/ 0 w 3582"/>
                    <a:gd name="T71" fmla="*/ 0 h 1884"/>
                    <a:gd name="T72" fmla="*/ 0 w 3582"/>
                    <a:gd name="T73" fmla="*/ 0 h 1884"/>
                    <a:gd name="T74" fmla="*/ 0 w 3582"/>
                    <a:gd name="T75" fmla="*/ 0 h 1884"/>
                    <a:gd name="T76" fmla="*/ 0 w 3582"/>
                    <a:gd name="T77" fmla="*/ 0 h 1884"/>
                    <a:gd name="T78" fmla="*/ 0 w 3582"/>
                    <a:gd name="T79" fmla="*/ 0 h 1884"/>
                    <a:gd name="T80" fmla="*/ 0 w 3582"/>
                    <a:gd name="T81" fmla="*/ 0 h 1884"/>
                    <a:gd name="T82" fmla="*/ 0 w 3582"/>
                    <a:gd name="T83" fmla="*/ 0 h 1884"/>
                    <a:gd name="T84" fmla="*/ 0 w 3582"/>
                    <a:gd name="T85" fmla="*/ 0 h 1884"/>
                    <a:gd name="T86" fmla="*/ 0 w 3582"/>
                    <a:gd name="T87" fmla="*/ 0 h 1884"/>
                    <a:gd name="T88" fmla="*/ 0 w 3582"/>
                    <a:gd name="T89" fmla="*/ 0 h 1884"/>
                    <a:gd name="T90" fmla="*/ 0 w 3582"/>
                    <a:gd name="T91" fmla="*/ 0 h 1884"/>
                    <a:gd name="T92" fmla="*/ 0 w 3582"/>
                    <a:gd name="T93" fmla="*/ 0 h 1884"/>
                    <a:gd name="T94" fmla="*/ 0 w 3582"/>
                    <a:gd name="T95" fmla="*/ 0 h 1884"/>
                    <a:gd name="T96" fmla="*/ 0 w 3582"/>
                    <a:gd name="T97" fmla="*/ 0 h 1884"/>
                    <a:gd name="T98" fmla="*/ 0 w 3582"/>
                    <a:gd name="T99" fmla="*/ 0 h 1884"/>
                    <a:gd name="T100" fmla="*/ 0 w 3582"/>
                    <a:gd name="T101" fmla="*/ 0 h 1884"/>
                    <a:gd name="T102" fmla="*/ 0 w 3582"/>
                    <a:gd name="T103" fmla="*/ 0 h 1884"/>
                    <a:gd name="T104" fmla="*/ 0 w 3582"/>
                    <a:gd name="T105" fmla="*/ 0 h 1884"/>
                    <a:gd name="T106" fmla="*/ 0 w 3582"/>
                    <a:gd name="T107" fmla="*/ 0 h 1884"/>
                    <a:gd name="T108" fmla="*/ 0 w 3582"/>
                    <a:gd name="T109" fmla="*/ 0 h 1884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3582"/>
                    <a:gd name="T166" fmla="*/ 0 h 1884"/>
                    <a:gd name="T167" fmla="*/ 3582 w 3582"/>
                    <a:gd name="T168" fmla="*/ 1884 h 1884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3582" h="1884">
                      <a:moveTo>
                        <a:pt x="3553" y="728"/>
                      </a:moveTo>
                      <a:lnTo>
                        <a:pt x="3550" y="715"/>
                      </a:lnTo>
                      <a:lnTo>
                        <a:pt x="3547" y="702"/>
                      </a:lnTo>
                      <a:lnTo>
                        <a:pt x="3542" y="689"/>
                      </a:lnTo>
                      <a:lnTo>
                        <a:pt x="3539" y="677"/>
                      </a:lnTo>
                      <a:lnTo>
                        <a:pt x="3533" y="701"/>
                      </a:lnTo>
                      <a:lnTo>
                        <a:pt x="3527" y="725"/>
                      </a:lnTo>
                      <a:lnTo>
                        <a:pt x="3520" y="749"/>
                      </a:lnTo>
                      <a:lnTo>
                        <a:pt x="3512" y="773"/>
                      </a:lnTo>
                      <a:lnTo>
                        <a:pt x="3504" y="796"/>
                      </a:lnTo>
                      <a:lnTo>
                        <a:pt x="3495" y="819"/>
                      </a:lnTo>
                      <a:lnTo>
                        <a:pt x="3485" y="842"/>
                      </a:lnTo>
                      <a:lnTo>
                        <a:pt x="3475" y="864"/>
                      </a:lnTo>
                      <a:lnTo>
                        <a:pt x="3463" y="886"/>
                      </a:lnTo>
                      <a:lnTo>
                        <a:pt x="3452" y="908"/>
                      </a:lnTo>
                      <a:lnTo>
                        <a:pt x="3439" y="929"/>
                      </a:lnTo>
                      <a:lnTo>
                        <a:pt x="3426" y="951"/>
                      </a:lnTo>
                      <a:lnTo>
                        <a:pt x="3412" y="972"/>
                      </a:lnTo>
                      <a:lnTo>
                        <a:pt x="3398" y="992"/>
                      </a:lnTo>
                      <a:lnTo>
                        <a:pt x="3382" y="1012"/>
                      </a:lnTo>
                      <a:lnTo>
                        <a:pt x="3366" y="1032"/>
                      </a:lnTo>
                      <a:lnTo>
                        <a:pt x="3351" y="1052"/>
                      </a:lnTo>
                      <a:lnTo>
                        <a:pt x="3333" y="1071"/>
                      </a:lnTo>
                      <a:lnTo>
                        <a:pt x="3316" y="1090"/>
                      </a:lnTo>
                      <a:lnTo>
                        <a:pt x="3297" y="1108"/>
                      </a:lnTo>
                      <a:lnTo>
                        <a:pt x="3280" y="1126"/>
                      </a:lnTo>
                      <a:lnTo>
                        <a:pt x="3260" y="1144"/>
                      </a:lnTo>
                      <a:lnTo>
                        <a:pt x="3241" y="1162"/>
                      </a:lnTo>
                      <a:lnTo>
                        <a:pt x="3221" y="1179"/>
                      </a:lnTo>
                      <a:lnTo>
                        <a:pt x="3199" y="1195"/>
                      </a:lnTo>
                      <a:lnTo>
                        <a:pt x="3178" y="1212"/>
                      </a:lnTo>
                      <a:lnTo>
                        <a:pt x="3156" y="1229"/>
                      </a:lnTo>
                      <a:lnTo>
                        <a:pt x="3134" y="1244"/>
                      </a:lnTo>
                      <a:lnTo>
                        <a:pt x="3088" y="1276"/>
                      </a:lnTo>
                      <a:lnTo>
                        <a:pt x="3041" y="1304"/>
                      </a:lnTo>
                      <a:lnTo>
                        <a:pt x="2984" y="1336"/>
                      </a:lnTo>
                      <a:lnTo>
                        <a:pt x="2925" y="1363"/>
                      </a:lnTo>
                      <a:lnTo>
                        <a:pt x="2862" y="1387"/>
                      </a:lnTo>
                      <a:lnTo>
                        <a:pt x="2799" y="1407"/>
                      </a:lnTo>
                      <a:lnTo>
                        <a:pt x="2732" y="1424"/>
                      </a:lnTo>
                      <a:lnTo>
                        <a:pt x="2664" y="1437"/>
                      </a:lnTo>
                      <a:lnTo>
                        <a:pt x="2595" y="1447"/>
                      </a:lnTo>
                      <a:lnTo>
                        <a:pt x="2525" y="1455"/>
                      </a:lnTo>
                      <a:lnTo>
                        <a:pt x="2453" y="1458"/>
                      </a:lnTo>
                      <a:lnTo>
                        <a:pt x="2379" y="1459"/>
                      </a:lnTo>
                      <a:lnTo>
                        <a:pt x="2305" y="1458"/>
                      </a:lnTo>
                      <a:lnTo>
                        <a:pt x="2230" y="1454"/>
                      </a:lnTo>
                      <a:lnTo>
                        <a:pt x="2154" y="1447"/>
                      </a:lnTo>
                      <a:lnTo>
                        <a:pt x="2079" y="1438"/>
                      </a:lnTo>
                      <a:lnTo>
                        <a:pt x="2003" y="1427"/>
                      </a:lnTo>
                      <a:lnTo>
                        <a:pt x="1926" y="1414"/>
                      </a:lnTo>
                      <a:lnTo>
                        <a:pt x="1850" y="1398"/>
                      </a:lnTo>
                      <a:lnTo>
                        <a:pt x="1775" y="1381"/>
                      </a:lnTo>
                      <a:lnTo>
                        <a:pt x="1699" y="1362"/>
                      </a:lnTo>
                      <a:lnTo>
                        <a:pt x="1625" y="1342"/>
                      </a:lnTo>
                      <a:lnTo>
                        <a:pt x="1550" y="1320"/>
                      </a:lnTo>
                      <a:lnTo>
                        <a:pt x="1477" y="1298"/>
                      </a:lnTo>
                      <a:lnTo>
                        <a:pt x="1404" y="1273"/>
                      </a:lnTo>
                      <a:lnTo>
                        <a:pt x="1334" y="1248"/>
                      </a:lnTo>
                      <a:lnTo>
                        <a:pt x="1264" y="1221"/>
                      </a:lnTo>
                      <a:lnTo>
                        <a:pt x="1197" y="1194"/>
                      </a:lnTo>
                      <a:lnTo>
                        <a:pt x="1130" y="1166"/>
                      </a:lnTo>
                      <a:lnTo>
                        <a:pt x="1067" y="1139"/>
                      </a:lnTo>
                      <a:lnTo>
                        <a:pt x="1005" y="1110"/>
                      </a:lnTo>
                      <a:lnTo>
                        <a:pt x="944" y="1080"/>
                      </a:lnTo>
                      <a:lnTo>
                        <a:pt x="888" y="1051"/>
                      </a:lnTo>
                      <a:lnTo>
                        <a:pt x="833" y="1022"/>
                      </a:lnTo>
                      <a:lnTo>
                        <a:pt x="802" y="1004"/>
                      </a:lnTo>
                      <a:lnTo>
                        <a:pt x="772" y="986"/>
                      </a:lnTo>
                      <a:lnTo>
                        <a:pt x="742" y="967"/>
                      </a:lnTo>
                      <a:lnTo>
                        <a:pt x="712" y="948"/>
                      </a:lnTo>
                      <a:lnTo>
                        <a:pt x="682" y="928"/>
                      </a:lnTo>
                      <a:lnTo>
                        <a:pt x="653" y="907"/>
                      </a:lnTo>
                      <a:lnTo>
                        <a:pt x="624" y="886"/>
                      </a:lnTo>
                      <a:lnTo>
                        <a:pt x="595" y="865"/>
                      </a:lnTo>
                      <a:lnTo>
                        <a:pt x="566" y="843"/>
                      </a:lnTo>
                      <a:lnTo>
                        <a:pt x="538" y="819"/>
                      </a:lnTo>
                      <a:lnTo>
                        <a:pt x="512" y="796"/>
                      </a:lnTo>
                      <a:lnTo>
                        <a:pt x="484" y="771"/>
                      </a:lnTo>
                      <a:lnTo>
                        <a:pt x="457" y="747"/>
                      </a:lnTo>
                      <a:lnTo>
                        <a:pt x="431" y="722"/>
                      </a:lnTo>
                      <a:lnTo>
                        <a:pt x="406" y="696"/>
                      </a:lnTo>
                      <a:lnTo>
                        <a:pt x="381" y="670"/>
                      </a:lnTo>
                      <a:lnTo>
                        <a:pt x="357" y="643"/>
                      </a:lnTo>
                      <a:lnTo>
                        <a:pt x="333" y="616"/>
                      </a:lnTo>
                      <a:lnTo>
                        <a:pt x="310" y="588"/>
                      </a:lnTo>
                      <a:lnTo>
                        <a:pt x="288" y="560"/>
                      </a:lnTo>
                      <a:lnTo>
                        <a:pt x="266" y="531"/>
                      </a:lnTo>
                      <a:lnTo>
                        <a:pt x="244" y="502"/>
                      </a:lnTo>
                      <a:lnTo>
                        <a:pt x="224" y="472"/>
                      </a:lnTo>
                      <a:lnTo>
                        <a:pt x="204" y="442"/>
                      </a:lnTo>
                      <a:lnTo>
                        <a:pt x="185" y="412"/>
                      </a:lnTo>
                      <a:lnTo>
                        <a:pt x="168" y="381"/>
                      </a:lnTo>
                      <a:lnTo>
                        <a:pt x="150" y="350"/>
                      </a:lnTo>
                      <a:lnTo>
                        <a:pt x="134" y="317"/>
                      </a:lnTo>
                      <a:lnTo>
                        <a:pt x="119" y="286"/>
                      </a:lnTo>
                      <a:lnTo>
                        <a:pt x="104" y="253"/>
                      </a:lnTo>
                      <a:lnTo>
                        <a:pt x="90" y="221"/>
                      </a:lnTo>
                      <a:lnTo>
                        <a:pt x="77" y="187"/>
                      </a:lnTo>
                      <a:lnTo>
                        <a:pt x="69" y="164"/>
                      </a:lnTo>
                      <a:lnTo>
                        <a:pt x="61" y="140"/>
                      </a:lnTo>
                      <a:lnTo>
                        <a:pt x="53" y="117"/>
                      </a:lnTo>
                      <a:lnTo>
                        <a:pt x="45" y="94"/>
                      </a:lnTo>
                      <a:lnTo>
                        <a:pt x="37" y="70"/>
                      </a:lnTo>
                      <a:lnTo>
                        <a:pt x="31" y="47"/>
                      </a:lnTo>
                      <a:lnTo>
                        <a:pt x="23" y="24"/>
                      </a:lnTo>
                      <a:lnTo>
                        <a:pt x="17" y="0"/>
                      </a:lnTo>
                      <a:lnTo>
                        <a:pt x="13" y="16"/>
                      </a:lnTo>
                      <a:lnTo>
                        <a:pt x="10" y="33"/>
                      </a:lnTo>
                      <a:lnTo>
                        <a:pt x="6" y="49"/>
                      </a:lnTo>
                      <a:lnTo>
                        <a:pt x="4" y="66"/>
                      </a:lnTo>
                      <a:lnTo>
                        <a:pt x="1" y="100"/>
                      </a:lnTo>
                      <a:lnTo>
                        <a:pt x="0" y="136"/>
                      </a:lnTo>
                      <a:lnTo>
                        <a:pt x="1" y="173"/>
                      </a:lnTo>
                      <a:lnTo>
                        <a:pt x="4" y="211"/>
                      </a:lnTo>
                      <a:lnTo>
                        <a:pt x="8" y="250"/>
                      </a:lnTo>
                      <a:lnTo>
                        <a:pt x="14" y="288"/>
                      </a:lnTo>
                      <a:lnTo>
                        <a:pt x="22" y="329"/>
                      </a:lnTo>
                      <a:lnTo>
                        <a:pt x="31" y="369"/>
                      </a:lnTo>
                      <a:lnTo>
                        <a:pt x="41" y="409"/>
                      </a:lnTo>
                      <a:lnTo>
                        <a:pt x="52" y="450"/>
                      </a:lnTo>
                      <a:lnTo>
                        <a:pt x="64" y="491"/>
                      </a:lnTo>
                      <a:lnTo>
                        <a:pt x="77" y="531"/>
                      </a:lnTo>
                      <a:lnTo>
                        <a:pt x="91" y="572"/>
                      </a:lnTo>
                      <a:lnTo>
                        <a:pt x="105" y="612"/>
                      </a:lnTo>
                      <a:lnTo>
                        <a:pt x="119" y="646"/>
                      </a:lnTo>
                      <a:lnTo>
                        <a:pt x="132" y="678"/>
                      </a:lnTo>
                      <a:lnTo>
                        <a:pt x="146" y="710"/>
                      </a:lnTo>
                      <a:lnTo>
                        <a:pt x="162" y="742"/>
                      </a:lnTo>
                      <a:lnTo>
                        <a:pt x="179" y="775"/>
                      </a:lnTo>
                      <a:lnTo>
                        <a:pt x="195" y="806"/>
                      </a:lnTo>
                      <a:lnTo>
                        <a:pt x="214" y="837"/>
                      </a:lnTo>
                      <a:lnTo>
                        <a:pt x="233" y="867"/>
                      </a:lnTo>
                      <a:lnTo>
                        <a:pt x="252" y="897"/>
                      </a:lnTo>
                      <a:lnTo>
                        <a:pt x="272" y="927"/>
                      </a:lnTo>
                      <a:lnTo>
                        <a:pt x="293" y="956"/>
                      </a:lnTo>
                      <a:lnTo>
                        <a:pt x="316" y="985"/>
                      </a:lnTo>
                      <a:lnTo>
                        <a:pt x="338" y="1013"/>
                      </a:lnTo>
                      <a:lnTo>
                        <a:pt x="361" y="1041"/>
                      </a:lnTo>
                      <a:lnTo>
                        <a:pt x="385" y="1069"/>
                      </a:lnTo>
                      <a:lnTo>
                        <a:pt x="409" y="1095"/>
                      </a:lnTo>
                      <a:lnTo>
                        <a:pt x="435" y="1121"/>
                      </a:lnTo>
                      <a:lnTo>
                        <a:pt x="460" y="1146"/>
                      </a:lnTo>
                      <a:lnTo>
                        <a:pt x="486" y="1172"/>
                      </a:lnTo>
                      <a:lnTo>
                        <a:pt x="513" y="1197"/>
                      </a:lnTo>
                      <a:lnTo>
                        <a:pt x="539" y="1221"/>
                      </a:lnTo>
                      <a:lnTo>
                        <a:pt x="567" y="1244"/>
                      </a:lnTo>
                      <a:lnTo>
                        <a:pt x="595" y="1268"/>
                      </a:lnTo>
                      <a:lnTo>
                        <a:pt x="623" y="1290"/>
                      </a:lnTo>
                      <a:lnTo>
                        <a:pt x="652" y="1311"/>
                      </a:lnTo>
                      <a:lnTo>
                        <a:pt x="681" y="1332"/>
                      </a:lnTo>
                      <a:lnTo>
                        <a:pt x="711" y="1353"/>
                      </a:lnTo>
                      <a:lnTo>
                        <a:pt x="740" y="1373"/>
                      </a:lnTo>
                      <a:lnTo>
                        <a:pt x="770" y="1392"/>
                      </a:lnTo>
                      <a:lnTo>
                        <a:pt x="800" y="1411"/>
                      </a:lnTo>
                      <a:lnTo>
                        <a:pt x="831" y="1429"/>
                      </a:lnTo>
                      <a:lnTo>
                        <a:pt x="861" y="1446"/>
                      </a:lnTo>
                      <a:lnTo>
                        <a:pt x="916" y="1476"/>
                      </a:lnTo>
                      <a:lnTo>
                        <a:pt x="973" y="1505"/>
                      </a:lnTo>
                      <a:lnTo>
                        <a:pt x="1032" y="1535"/>
                      </a:lnTo>
                      <a:lnTo>
                        <a:pt x="1095" y="1563"/>
                      </a:lnTo>
                      <a:lnTo>
                        <a:pt x="1159" y="1592"/>
                      </a:lnTo>
                      <a:lnTo>
                        <a:pt x="1225" y="1619"/>
                      </a:lnTo>
                      <a:lnTo>
                        <a:pt x="1293" y="1646"/>
                      </a:lnTo>
                      <a:lnTo>
                        <a:pt x="1362" y="1673"/>
                      </a:lnTo>
                      <a:lnTo>
                        <a:pt x="1433" y="1698"/>
                      </a:lnTo>
                      <a:lnTo>
                        <a:pt x="1505" y="1723"/>
                      </a:lnTo>
                      <a:lnTo>
                        <a:pt x="1579" y="1745"/>
                      </a:lnTo>
                      <a:lnTo>
                        <a:pt x="1652" y="1767"/>
                      </a:lnTo>
                      <a:lnTo>
                        <a:pt x="1727" y="1787"/>
                      </a:lnTo>
                      <a:lnTo>
                        <a:pt x="1803" y="1806"/>
                      </a:lnTo>
                      <a:lnTo>
                        <a:pt x="1878" y="1823"/>
                      </a:lnTo>
                      <a:lnTo>
                        <a:pt x="1955" y="1839"/>
                      </a:lnTo>
                      <a:lnTo>
                        <a:pt x="2031" y="1852"/>
                      </a:lnTo>
                      <a:lnTo>
                        <a:pt x="2108" y="1863"/>
                      </a:lnTo>
                      <a:lnTo>
                        <a:pt x="2183" y="1872"/>
                      </a:lnTo>
                      <a:lnTo>
                        <a:pt x="2259" y="1879"/>
                      </a:lnTo>
                      <a:lnTo>
                        <a:pt x="2334" y="1883"/>
                      </a:lnTo>
                      <a:lnTo>
                        <a:pt x="2408" y="1884"/>
                      </a:lnTo>
                      <a:lnTo>
                        <a:pt x="2480" y="1883"/>
                      </a:lnTo>
                      <a:lnTo>
                        <a:pt x="2553" y="1879"/>
                      </a:lnTo>
                      <a:lnTo>
                        <a:pt x="2624" y="1872"/>
                      </a:lnTo>
                      <a:lnTo>
                        <a:pt x="2693" y="1862"/>
                      </a:lnTo>
                      <a:lnTo>
                        <a:pt x="2761" y="1849"/>
                      </a:lnTo>
                      <a:lnTo>
                        <a:pt x="2827" y="1832"/>
                      </a:lnTo>
                      <a:lnTo>
                        <a:pt x="2891" y="1812"/>
                      </a:lnTo>
                      <a:lnTo>
                        <a:pt x="2952" y="1789"/>
                      </a:lnTo>
                      <a:lnTo>
                        <a:pt x="3012" y="1761"/>
                      </a:lnTo>
                      <a:lnTo>
                        <a:pt x="3069" y="1730"/>
                      </a:lnTo>
                      <a:lnTo>
                        <a:pt x="3104" y="1708"/>
                      </a:lnTo>
                      <a:lnTo>
                        <a:pt x="3137" y="1687"/>
                      </a:lnTo>
                      <a:lnTo>
                        <a:pt x="3169" y="1665"/>
                      </a:lnTo>
                      <a:lnTo>
                        <a:pt x="3201" y="1642"/>
                      </a:lnTo>
                      <a:lnTo>
                        <a:pt x="3232" y="1618"/>
                      </a:lnTo>
                      <a:lnTo>
                        <a:pt x="3261" y="1594"/>
                      </a:lnTo>
                      <a:lnTo>
                        <a:pt x="3290" y="1568"/>
                      </a:lnTo>
                      <a:lnTo>
                        <a:pt x="3316" y="1543"/>
                      </a:lnTo>
                      <a:lnTo>
                        <a:pt x="3343" y="1516"/>
                      </a:lnTo>
                      <a:lnTo>
                        <a:pt x="3367" y="1489"/>
                      </a:lnTo>
                      <a:lnTo>
                        <a:pt x="3392" y="1461"/>
                      </a:lnTo>
                      <a:lnTo>
                        <a:pt x="3414" y="1432"/>
                      </a:lnTo>
                      <a:lnTo>
                        <a:pt x="3435" y="1404"/>
                      </a:lnTo>
                      <a:lnTo>
                        <a:pt x="3455" y="1373"/>
                      </a:lnTo>
                      <a:lnTo>
                        <a:pt x="3474" y="1343"/>
                      </a:lnTo>
                      <a:lnTo>
                        <a:pt x="3492" y="1312"/>
                      </a:lnTo>
                      <a:lnTo>
                        <a:pt x="3508" y="1280"/>
                      </a:lnTo>
                      <a:lnTo>
                        <a:pt x="3522" y="1248"/>
                      </a:lnTo>
                      <a:lnTo>
                        <a:pt x="3536" y="1215"/>
                      </a:lnTo>
                      <a:lnTo>
                        <a:pt x="3547" y="1181"/>
                      </a:lnTo>
                      <a:lnTo>
                        <a:pt x="3557" y="1148"/>
                      </a:lnTo>
                      <a:lnTo>
                        <a:pt x="3566" y="1112"/>
                      </a:lnTo>
                      <a:lnTo>
                        <a:pt x="3572" y="1076"/>
                      </a:lnTo>
                      <a:lnTo>
                        <a:pt x="3577" y="1041"/>
                      </a:lnTo>
                      <a:lnTo>
                        <a:pt x="3580" y="1003"/>
                      </a:lnTo>
                      <a:lnTo>
                        <a:pt x="3582" y="966"/>
                      </a:lnTo>
                      <a:lnTo>
                        <a:pt x="3581" y="928"/>
                      </a:lnTo>
                      <a:lnTo>
                        <a:pt x="3580" y="889"/>
                      </a:lnTo>
                      <a:lnTo>
                        <a:pt x="3576" y="849"/>
                      </a:lnTo>
                      <a:lnTo>
                        <a:pt x="3570" y="809"/>
                      </a:lnTo>
                      <a:lnTo>
                        <a:pt x="3562" y="769"/>
                      </a:lnTo>
                      <a:lnTo>
                        <a:pt x="3553" y="728"/>
                      </a:lnTo>
                      <a:close/>
                    </a:path>
                  </a:pathLst>
                </a:custGeom>
                <a:solidFill>
                  <a:srgbClr val="1B233E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313" name="Freeform 208"/>
                <p:cNvSpPr>
                  <a:spLocks/>
                </p:cNvSpPr>
                <p:nvPr/>
              </p:nvSpPr>
              <p:spPr bwMode="auto">
                <a:xfrm>
                  <a:off x="3634" y="2612"/>
                  <a:ext cx="508" cy="230"/>
                </a:xfrm>
                <a:custGeom>
                  <a:avLst/>
                  <a:gdLst>
                    <a:gd name="T0" fmla="*/ 0 w 3578"/>
                    <a:gd name="T1" fmla="*/ 0 h 1617"/>
                    <a:gd name="T2" fmla="*/ 0 w 3578"/>
                    <a:gd name="T3" fmla="*/ 0 h 1617"/>
                    <a:gd name="T4" fmla="*/ 0 w 3578"/>
                    <a:gd name="T5" fmla="*/ 0 h 1617"/>
                    <a:gd name="T6" fmla="*/ 0 w 3578"/>
                    <a:gd name="T7" fmla="*/ 0 h 1617"/>
                    <a:gd name="T8" fmla="*/ 0 w 3578"/>
                    <a:gd name="T9" fmla="*/ 0 h 1617"/>
                    <a:gd name="T10" fmla="*/ 0 w 3578"/>
                    <a:gd name="T11" fmla="*/ 0 h 1617"/>
                    <a:gd name="T12" fmla="*/ 0 w 3578"/>
                    <a:gd name="T13" fmla="*/ 0 h 1617"/>
                    <a:gd name="T14" fmla="*/ 0 w 3578"/>
                    <a:gd name="T15" fmla="*/ 0 h 1617"/>
                    <a:gd name="T16" fmla="*/ 0 w 3578"/>
                    <a:gd name="T17" fmla="*/ 0 h 1617"/>
                    <a:gd name="T18" fmla="*/ 0 w 3578"/>
                    <a:gd name="T19" fmla="*/ 0 h 1617"/>
                    <a:gd name="T20" fmla="*/ 0 w 3578"/>
                    <a:gd name="T21" fmla="*/ 0 h 1617"/>
                    <a:gd name="T22" fmla="*/ 0 w 3578"/>
                    <a:gd name="T23" fmla="*/ 0 h 1617"/>
                    <a:gd name="T24" fmla="*/ 0 w 3578"/>
                    <a:gd name="T25" fmla="*/ 0 h 1617"/>
                    <a:gd name="T26" fmla="*/ 0 w 3578"/>
                    <a:gd name="T27" fmla="*/ 0 h 1617"/>
                    <a:gd name="T28" fmla="*/ 0 w 3578"/>
                    <a:gd name="T29" fmla="*/ 0 h 1617"/>
                    <a:gd name="T30" fmla="*/ 0 w 3578"/>
                    <a:gd name="T31" fmla="*/ 0 h 1617"/>
                    <a:gd name="T32" fmla="*/ 0 w 3578"/>
                    <a:gd name="T33" fmla="*/ 0 h 1617"/>
                    <a:gd name="T34" fmla="*/ 0 w 3578"/>
                    <a:gd name="T35" fmla="*/ 0 h 1617"/>
                    <a:gd name="T36" fmla="*/ 0 w 3578"/>
                    <a:gd name="T37" fmla="*/ 0 h 1617"/>
                    <a:gd name="T38" fmla="*/ 0 w 3578"/>
                    <a:gd name="T39" fmla="*/ 0 h 1617"/>
                    <a:gd name="T40" fmla="*/ 0 w 3578"/>
                    <a:gd name="T41" fmla="*/ 0 h 1617"/>
                    <a:gd name="T42" fmla="*/ 0 w 3578"/>
                    <a:gd name="T43" fmla="*/ 0 h 1617"/>
                    <a:gd name="T44" fmla="*/ 0 w 3578"/>
                    <a:gd name="T45" fmla="*/ 0 h 1617"/>
                    <a:gd name="T46" fmla="*/ 0 w 3578"/>
                    <a:gd name="T47" fmla="*/ 0 h 1617"/>
                    <a:gd name="T48" fmla="*/ 0 w 3578"/>
                    <a:gd name="T49" fmla="*/ 0 h 1617"/>
                    <a:gd name="T50" fmla="*/ 0 w 3578"/>
                    <a:gd name="T51" fmla="*/ 0 h 1617"/>
                    <a:gd name="T52" fmla="*/ 0 w 3578"/>
                    <a:gd name="T53" fmla="*/ 0 h 1617"/>
                    <a:gd name="T54" fmla="*/ 0 w 3578"/>
                    <a:gd name="T55" fmla="*/ 0 h 1617"/>
                    <a:gd name="T56" fmla="*/ 0 w 3578"/>
                    <a:gd name="T57" fmla="*/ 0 h 1617"/>
                    <a:gd name="T58" fmla="*/ 0 w 3578"/>
                    <a:gd name="T59" fmla="*/ 0 h 1617"/>
                    <a:gd name="T60" fmla="*/ 0 w 3578"/>
                    <a:gd name="T61" fmla="*/ 0 h 1617"/>
                    <a:gd name="T62" fmla="*/ 0 w 3578"/>
                    <a:gd name="T63" fmla="*/ 0 h 1617"/>
                    <a:gd name="T64" fmla="*/ 0 w 3578"/>
                    <a:gd name="T65" fmla="*/ 0 h 1617"/>
                    <a:gd name="T66" fmla="*/ 0 w 3578"/>
                    <a:gd name="T67" fmla="*/ 0 h 1617"/>
                    <a:gd name="T68" fmla="*/ 0 w 3578"/>
                    <a:gd name="T69" fmla="*/ 0 h 1617"/>
                    <a:gd name="T70" fmla="*/ 0 w 3578"/>
                    <a:gd name="T71" fmla="*/ 0 h 1617"/>
                    <a:gd name="T72" fmla="*/ 0 w 3578"/>
                    <a:gd name="T73" fmla="*/ 0 h 1617"/>
                    <a:gd name="T74" fmla="*/ 0 w 3578"/>
                    <a:gd name="T75" fmla="*/ 0 h 1617"/>
                    <a:gd name="T76" fmla="*/ 0 w 3578"/>
                    <a:gd name="T77" fmla="*/ 0 h 1617"/>
                    <a:gd name="T78" fmla="*/ 0 w 3578"/>
                    <a:gd name="T79" fmla="*/ 0 h 1617"/>
                    <a:gd name="T80" fmla="*/ 0 w 3578"/>
                    <a:gd name="T81" fmla="*/ 0 h 1617"/>
                    <a:gd name="T82" fmla="*/ 0 w 3578"/>
                    <a:gd name="T83" fmla="*/ 0 h 1617"/>
                    <a:gd name="T84" fmla="*/ 0 w 3578"/>
                    <a:gd name="T85" fmla="*/ 0 h 1617"/>
                    <a:gd name="T86" fmla="*/ 0 w 3578"/>
                    <a:gd name="T87" fmla="*/ 0 h 1617"/>
                    <a:gd name="T88" fmla="*/ 0 w 3578"/>
                    <a:gd name="T89" fmla="*/ 0 h 1617"/>
                    <a:gd name="T90" fmla="*/ 0 w 3578"/>
                    <a:gd name="T91" fmla="*/ 0 h 1617"/>
                    <a:gd name="T92" fmla="*/ 0 w 3578"/>
                    <a:gd name="T93" fmla="*/ 0 h 1617"/>
                    <a:gd name="T94" fmla="*/ 0 w 3578"/>
                    <a:gd name="T95" fmla="*/ 0 h 1617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3578"/>
                    <a:gd name="T145" fmla="*/ 0 h 1617"/>
                    <a:gd name="T146" fmla="*/ 3578 w 3578"/>
                    <a:gd name="T147" fmla="*/ 1617 h 1617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3578" h="1617">
                      <a:moveTo>
                        <a:pt x="184" y="291"/>
                      </a:moveTo>
                      <a:lnTo>
                        <a:pt x="218" y="282"/>
                      </a:lnTo>
                      <a:lnTo>
                        <a:pt x="257" y="273"/>
                      </a:lnTo>
                      <a:lnTo>
                        <a:pt x="302" y="263"/>
                      </a:lnTo>
                      <a:lnTo>
                        <a:pt x="351" y="255"/>
                      </a:lnTo>
                      <a:lnTo>
                        <a:pt x="403" y="246"/>
                      </a:lnTo>
                      <a:lnTo>
                        <a:pt x="461" y="237"/>
                      </a:lnTo>
                      <a:lnTo>
                        <a:pt x="522" y="229"/>
                      </a:lnTo>
                      <a:lnTo>
                        <a:pt x="588" y="222"/>
                      </a:lnTo>
                      <a:lnTo>
                        <a:pt x="656" y="214"/>
                      </a:lnTo>
                      <a:lnTo>
                        <a:pt x="728" y="206"/>
                      </a:lnTo>
                      <a:lnTo>
                        <a:pt x="803" y="201"/>
                      </a:lnTo>
                      <a:lnTo>
                        <a:pt x="880" y="194"/>
                      </a:lnTo>
                      <a:lnTo>
                        <a:pt x="961" y="188"/>
                      </a:lnTo>
                      <a:lnTo>
                        <a:pt x="1043" y="184"/>
                      </a:lnTo>
                      <a:lnTo>
                        <a:pt x="1126" y="179"/>
                      </a:lnTo>
                      <a:lnTo>
                        <a:pt x="1213" y="176"/>
                      </a:lnTo>
                      <a:lnTo>
                        <a:pt x="1300" y="173"/>
                      </a:lnTo>
                      <a:lnTo>
                        <a:pt x="1389" y="172"/>
                      </a:lnTo>
                      <a:lnTo>
                        <a:pt x="1479" y="170"/>
                      </a:lnTo>
                      <a:lnTo>
                        <a:pt x="1571" y="170"/>
                      </a:lnTo>
                      <a:lnTo>
                        <a:pt x="1662" y="172"/>
                      </a:lnTo>
                      <a:lnTo>
                        <a:pt x="1753" y="174"/>
                      </a:lnTo>
                      <a:lnTo>
                        <a:pt x="1845" y="177"/>
                      </a:lnTo>
                      <a:lnTo>
                        <a:pt x="1937" y="182"/>
                      </a:lnTo>
                      <a:lnTo>
                        <a:pt x="2028" y="187"/>
                      </a:lnTo>
                      <a:lnTo>
                        <a:pt x="2118" y="194"/>
                      </a:lnTo>
                      <a:lnTo>
                        <a:pt x="2208" y="203"/>
                      </a:lnTo>
                      <a:lnTo>
                        <a:pt x="2297" y="212"/>
                      </a:lnTo>
                      <a:lnTo>
                        <a:pt x="2384" y="223"/>
                      </a:lnTo>
                      <a:lnTo>
                        <a:pt x="2470" y="235"/>
                      </a:lnTo>
                      <a:lnTo>
                        <a:pt x="2554" y="250"/>
                      </a:lnTo>
                      <a:lnTo>
                        <a:pt x="2636" y="265"/>
                      </a:lnTo>
                      <a:lnTo>
                        <a:pt x="2672" y="274"/>
                      </a:lnTo>
                      <a:lnTo>
                        <a:pt x="2708" y="285"/>
                      </a:lnTo>
                      <a:lnTo>
                        <a:pt x="2744" y="298"/>
                      </a:lnTo>
                      <a:lnTo>
                        <a:pt x="2780" y="314"/>
                      </a:lnTo>
                      <a:lnTo>
                        <a:pt x="2815" y="333"/>
                      </a:lnTo>
                      <a:lnTo>
                        <a:pt x="2850" y="353"/>
                      </a:lnTo>
                      <a:lnTo>
                        <a:pt x="2885" y="374"/>
                      </a:lnTo>
                      <a:lnTo>
                        <a:pt x="2919" y="399"/>
                      </a:lnTo>
                      <a:lnTo>
                        <a:pt x="2954" y="424"/>
                      </a:lnTo>
                      <a:lnTo>
                        <a:pt x="2987" y="451"/>
                      </a:lnTo>
                      <a:lnTo>
                        <a:pt x="3020" y="480"/>
                      </a:lnTo>
                      <a:lnTo>
                        <a:pt x="3052" y="510"/>
                      </a:lnTo>
                      <a:lnTo>
                        <a:pt x="3084" y="542"/>
                      </a:lnTo>
                      <a:lnTo>
                        <a:pt x="3114" y="574"/>
                      </a:lnTo>
                      <a:lnTo>
                        <a:pt x="3145" y="608"/>
                      </a:lnTo>
                      <a:lnTo>
                        <a:pt x="3174" y="642"/>
                      </a:lnTo>
                      <a:lnTo>
                        <a:pt x="3202" y="678"/>
                      </a:lnTo>
                      <a:lnTo>
                        <a:pt x="3230" y="715"/>
                      </a:lnTo>
                      <a:lnTo>
                        <a:pt x="3257" y="751"/>
                      </a:lnTo>
                      <a:lnTo>
                        <a:pt x="3282" y="789"/>
                      </a:lnTo>
                      <a:lnTo>
                        <a:pt x="3307" y="827"/>
                      </a:lnTo>
                      <a:lnTo>
                        <a:pt x="3330" y="865"/>
                      </a:lnTo>
                      <a:lnTo>
                        <a:pt x="3352" y="904"/>
                      </a:lnTo>
                      <a:lnTo>
                        <a:pt x="3374" y="942"/>
                      </a:lnTo>
                      <a:lnTo>
                        <a:pt x="3394" y="981"/>
                      </a:lnTo>
                      <a:lnTo>
                        <a:pt x="3413" y="1018"/>
                      </a:lnTo>
                      <a:lnTo>
                        <a:pt x="3429" y="1057"/>
                      </a:lnTo>
                      <a:lnTo>
                        <a:pt x="3445" y="1095"/>
                      </a:lnTo>
                      <a:lnTo>
                        <a:pt x="3459" y="1132"/>
                      </a:lnTo>
                      <a:lnTo>
                        <a:pt x="3473" y="1169"/>
                      </a:lnTo>
                      <a:lnTo>
                        <a:pt x="3484" y="1205"/>
                      </a:lnTo>
                      <a:lnTo>
                        <a:pt x="3494" y="1240"/>
                      </a:lnTo>
                      <a:lnTo>
                        <a:pt x="3499" y="1266"/>
                      </a:lnTo>
                      <a:lnTo>
                        <a:pt x="3505" y="1291"/>
                      </a:lnTo>
                      <a:lnTo>
                        <a:pt x="3509" y="1316"/>
                      </a:lnTo>
                      <a:lnTo>
                        <a:pt x="3513" y="1340"/>
                      </a:lnTo>
                      <a:lnTo>
                        <a:pt x="3516" y="1365"/>
                      </a:lnTo>
                      <a:lnTo>
                        <a:pt x="3518" y="1389"/>
                      </a:lnTo>
                      <a:lnTo>
                        <a:pt x="3520" y="1412"/>
                      </a:lnTo>
                      <a:lnTo>
                        <a:pt x="3522" y="1437"/>
                      </a:lnTo>
                      <a:lnTo>
                        <a:pt x="3522" y="1460"/>
                      </a:lnTo>
                      <a:lnTo>
                        <a:pt x="3522" y="1484"/>
                      </a:lnTo>
                      <a:lnTo>
                        <a:pt x="3520" y="1506"/>
                      </a:lnTo>
                      <a:lnTo>
                        <a:pt x="3519" y="1529"/>
                      </a:lnTo>
                      <a:lnTo>
                        <a:pt x="3517" y="1552"/>
                      </a:lnTo>
                      <a:lnTo>
                        <a:pt x="3514" y="1574"/>
                      </a:lnTo>
                      <a:lnTo>
                        <a:pt x="3510" y="1596"/>
                      </a:lnTo>
                      <a:lnTo>
                        <a:pt x="3506" y="1617"/>
                      </a:lnTo>
                      <a:lnTo>
                        <a:pt x="3519" y="1587"/>
                      </a:lnTo>
                      <a:lnTo>
                        <a:pt x="3532" y="1557"/>
                      </a:lnTo>
                      <a:lnTo>
                        <a:pt x="3542" y="1526"/>
                      </a:lnTo>
                      <a:lnTo>
                        <a:pt x="3552" y="1494"/>
                      </a:lnTo>
                      <a:lnTo>
                        <a:pt x="3559" y="1461"/>
                      </a:lnTo>
                      <a:lnTo>
                        <a:pt x="3566" y="1429"/>
                      </a:lnTo>
                      <a:lnTo>
                        <a:pt x="3572" y="1396"/>
                      </a:lnTo>
                      <a:lnTo>
                        <a:pt x="3575" y="1361"/>
                      </a:lnTo>
                      <a:lnTo>
                        <a:pt x="3577" y="1327"/>
                      </a:lnTo>
                      <a:lnTo>
                        <a:pt x="3578" y="1292"/>
                      </a:lnTo>
                      <a:lnTo>
                        <a:pt x="3577" y="1257"/>
                      </a:lnTo>
                      <a:lnTo>
                        <a:pt x="3575" y="1220"/>
                      </a:lnTo>
                      <a:lnTo>
                        <a:pt x="3572" y="1183"/>
                      </a:lnTo>
                      <a:lnTo>
                        <a:pt x="3566" y="1146"/>
                      </a:lnTo>
                      <a:lnTo>
                        <a:pt x="3558" y="1109"/>
                      </a:lnTo>
                      <a:lnTo>
                        <a:pt x="3549" y="1071"/>
                      </a:lnTo>
                      <a:lnTo>
                        <a:pt x="3541" y="1035"/>
                      </a:lnTo>
                      <a:lnTo>
                        <a:pt x="3529" y="1000"/>
                      </a:lnTo>
                      <a:lnTo>
                        <a:pt x="3516" y="963"/>
                      </a:lnTo>
                      <a:lnTo>
                        <a:pt x="3502" y="925"/>
                      </a:lnTo>
                      <a:lnTo>
                        <a:pt x="3486" y="887"/>
                      </a:lnTo>
                      <a:lnTo>
                        <a:pt x="3469" y="849"/>
                      </a:lnTo>
                      <a:lnTo>
                        <a:pt x="3450" y="810"/>
                      </a:lnTo>
                      <a:lnTo>
                        <a:pt x="3430" y="773"/>
                      </a:lnTo>
                      <a:lnTo>
                        <a:pt x="3409" y="734"/>
                      </a:lnTo>
                      <a:lnTo>
                        <a:pt x="3387" y="695"/>
                      </a:lnTo>
                      <a:lnTo>
                        <a:pt x="3364" y="657"/>
                      </a:lnTo>
                      <a:lnTo>
                        <a:pt x="3339" y="619"/>
                      </a:lnTo>
                      <a:lnTo>
                        <a:pt x="3313" y="581"/>
                      </a:lnTo>
                      <a:lnTo>
                        <a:pt x="3287" y="544"/>
                      </a:lnTo>
                      <a:lnTo>
                        <a:pt x="3259" y="509"/>
                      </a:lnTo>
                      <a:lnTo>
                        <a:pt x="3231" y="473"/>
                      </a:lnTo>
                      <a:lnTo>
                        <a:pt x="3201" y="438"/>
                      </a:lnTo>
                      <a:lnTo>
                        <a:pt x="3171" y="404"/>
                      </a:lnTo>
                      <a:lnTo>
                        <a:pt x="3141" y="372"/>
                      </a:lnTo>
                      <a:lnTo>
                        <a:pt x="3109" y="341"/>
                      </a:lnTo>
                      <a:lnTo>
                        <a:pt x="3076" y="311"/>
                      </a:lnTo>
                      <a:lnTo>
                        <a:pt x="3044" y="282"/>
                      </a:lnTo>
                      <a:lnTo>
                        <a:pt x="3011" y="254"/>
                      </a:lnTo>
                      <a:lnTo>
                        <a:pt x="2976" y="228"/>
                      </a:lnTo>
                      <a:lnTo>
                        <a:pt x="2942" y="205"/>
                      </a:lnTo>
                      <a:lnTo>
                        <a:pt x="2907" y="183"/>
                      </a:lnTo>
                      <a:lnTo>
                        <a:pt x="2872" y="163"/>
                      </a:lnTo>
                      <a:lnTo>
                        <a:pt x="2837" y="145"/>
                      </a:lnTo>
                      <a:lnTo>
                        <a:pt x="2800" y="128"/>
                      </a:lnTo>
                      <a:lnTo>
                        <a:pt x="2765" y="115"/>
                      </a:lnTo>
                      <a:lnTo>
                        <a:pt x="2729" y="104"/>
                      </a:lnTo>
                      <a:lnTo>
                        <a:pt x="2692" y="95"/>
                      </a:lnTo>
                      <a:lnTo>
                        <a:pt x="2611" y="79"/>
                      </a:lnTo>
                      <a:lnTo>
                        <a:pt x="2527" y="66"/>
                      </a:lnTo>
                      <a:lnTo>
                        <a:pt x="2441" y="53"/>
                      </a:lnTo>
                      <a:lnTo>
                        <a:pt x="2354" y="41"/>
                      </a:lnTo>
                      <a:lnTo>
                        <a:pt x="2265" y="33"/>
                      </a:lnTo>
                      <a:lnTo>
                        <a:pt x="2175" y="24"/>
                      </a:lnTo>
                      <a:lnTo>
                        <a:pt x="2085" y="17"/>
                      </a:lnTo>
                      <a:lnTo>
                        <a:pt x="1993" y="11"/>
                      </a:lnTo>
                      <a:lnTo>
                        <a:pt x="1902" y="7"/>
                      </a:lnTo>
                      <a:lnTo>
                        <a:pt x="1810" y="4"/>
                      </a:lnTo>
                      <a:lnTo>
                        <a:pt x="1719" y="1"/>
                      </a:lnTo>
                      <a:lnTo>
                        <a:pt x="1627" y="0"/>
                      </a:lnTo>
                      <a:lnTo>
                        <a:pt x="1536" y="0"/>
                      </a:lnTo>
                      <a:lnTo>
                        <a:pt x="1446" y="1"/>
                      </a:lnTo>
                      <a:lnTo>
                        <a:pt x="1357" y="4"/>
                      </a:lnTo>
                      <a:lnTo>
                        <a:pt x="1270" y="6"/>
                      </a:lnTo>
                      <a:lnTo>
                        <a:pt x="1183" y="9"/>
                      </a:lnTo>
                      <a:lnTo>
                        <a:pt x="1099" y="14"/>
                      </a:lnTo>
                      <a:lnTo>
                        <a:pt x="1017" y="18"/>
                      </a:lnTo>
                      <a:lnTo>
                        <a:pt x="937" y="24"/>
                      </a:lnTo>
                      <a:lnTo>
                        <a:pt x="859" y="30"/>
                      </a:lnTo>
                      <a:lnTo>
                        <a:pt x="785" y="37"/>
                      </a:lnTo>
                      <a:lnTo>
                        <a:pt x="712" y="44"/>
                      </a:lnTo>
                      <a:lnTo>
                        <a:pt x="644" y="51"/>
                      </a:lnTo>
                      <a:lnTo>
                        <a:pt x="579" y="59"/>
                      </a:lnTo>
                      <a:lnTo>
                        <a:pt x="518" y="67"/>
                      </a:lnTo>
                      <a:lnTo>
                        <a:pt x="460" y="76"/>
                      </a:lnTo>
                      <a:lnTo>
                        <a:pt x="406" y="85"/>
                      </a:lnTo>
                      <a:lnTo>
                        <a:pt x="358" y="94"/>
                      </a:lnTo>
                      <a:lnTo>
                        <a:pt x="314" y="103"/>
                      </a:lnTo>
                      <a:lnTo>
                        <a:pt x="274" y="112"/>
                      </a:lnTo>
                      <a:lnTo>
                        <a:pt x="240" y="120"/>
                      </a:lnTo>
                      <a:lnTo>
                        <a:pt x="212" y="129"/>
                      </a:lnTo>
                      <a:lnTo>
                        <a:pt x="185" y="140"/>
                      </a:lnTo>
                      <a:lnTo>
                        <a:pt x="160" y="153"/>
                      </a:lnTo>
                      <a:lnTo>
                        <a:pt x="138" y="166"/>
                      </a:lnTo>
                      <a:lnTo>
                        <a:pt x="118" y="181"/>
                      </a:lnTo>
                      <a:lnTo>
                        <a:pt x="99" y="197"/>
                      </a:lnTo>
                      <a:lnTo>
                        <a:pt x="81" y="214"/>
                      </a:lnTo>
                      <a:lnTo>
                        <a:pt x="67" y="233"/>
                      </a:lnTo>
                      <a:lnTo>
                        <a:pt x="52" y="252"/>
                      </a:lnTo>
                      <a:lnTo>
                        <a:pt x="41" y="273"/>
                      </a:lnTo>
                      <a:lnTo>
                        <a:pt x="30" y="294"/>
                      </a:lnTo>
                      <a:lnTo>
                        <a:pt x="21" y="317"/>
                      </a:lnTo>
                      <a:lnTo>
                        <a:pt x="15" y="341"/>
                      </a:lnTo>
                      <a:lnTo>
                        <a:pt x="8" y="365"/>
                      </a:lnTo>
                      <a:lnTo>
                        <a:pt x="3" y="390"/>
                      </a:lnTo>
                      <a:lnTo>
                        <a:pt x="0" y="416"/>
                      </a:lnTo>
                      <a:lnTo>
                        <a:pt x="8" y="405"/>
                      </a:lnTo>
                      <a:lnTo>
                        <a:pt x="16" y="395"/>
                      </a:lnTo>
                      <a:lnTo>
                        <a:pt x="25" y="385"/>
                      </a:lnTo>
                      <a:lnTo>
                        <a:pt x="33" y="375"/>
                      </a:lnTo>
                      <a:lnTo>
                        <a:pt x="42" y="366"/>
                      </a:lnTo>
                      <a:lnTo>
                        <a:pt x="52" y="357"/>
                      </a:lnTo>
                      <a:lnTo>
                        <a:pt x="64" y="349"/>
                      </a:lnTo>
                      <a:lnTo>
                        <a:pt x="75" y="341"/>
                      </a:lnTo>
                      <a:lnTo>
                        <a:pt x="86" y="333"/>
                      </a:lnTo>
                      <a:lnTo>
                        <a:pt x="98" y="326"/>
                      </a:lnTo>
                      <a:lnTo>
                        <a:pt x="111" y="319"/>
                      </a:lnTo>
                      <a:lnTo>
                        <a:pt x="125" y="312"/>
                      </a:lnTo>
                      <a:lnTo>
                        <a:pt x="138" y="306"/>
                      </a:lnTo>
                      <a:lnTo>
                        <a:pt x="153" y="301"/>
                      </a:lnTo>
                      <a:lnTo>
                        <a:pt x="168" y="295"/>
                      </a:lnTo>
                      <a:lnTo>
                        <a:pt x="184" y="291"/>
                      </a:lnTo>
                      <a:close/>
                    </a:path>
                  </a:pathLst>
                </a:custGeom>
                <a:solidFill>
                  <a:srgbClr val="1B457C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314" name="Freeform 209"/>
                <p:cNvSpPr>
                  <a:spLocks/>
                </p:cNvSpPr>
                <p:nvPr/>
              </p:nvSpPr>
              <p:spPr bwMode="auto">
                <a:xfrm>
                  <a:off x="3132" y="2304"/>
                  <a:ext cx="652" cy="558"/>
                </a:xfrm>
                <a:custGeom>
                  <a:avLst/>
                  <a:gdLst>
                    <a:gd name="T0" fmla="*/ 0 w 4574"/>
                    <a:gd name="T1" fmla="*/ 0 h 3909"/>
                    <a:gd name="T2" fmla="*/ 0 w 4574"/>
                    <a:gd name="T3" fmla="*/ 0 h 3909"/>
                    <a:gd name="T4" fmla="*/ 0 w 4574"/>
                    <a:gd name="T5" fmla="*/ 0 h 3909"/>
                    <a:gd name="T6" fmla="*/ 0 w 4574"/>
                    <a:gd name="T7" fmla="*/ 0 h 3909"/>
                    <a:gd name="T8" fmla="*/ 0 w 4574"/>
                    <a:gd name="T9" fmla="*/ 0 h 3909"/>
                    <a:gd name="T10" fmla="*/ 0 w 4574"/>
                    <a:gd name="T11" fmla="*/ 0 h 3909"/>
                    <a:gd name="T12" fmla="*/ 0 w 4574"/>
                    <a:gd name="T13" fmla="*/ 0 h 3909"/>
                    <a:gd name="T14" fmla="*/ 0 w 4574"/>
                    <a:gd name="T15" fmla="*/ 0 h 3909"/>
                    <a:gd name="T16" fmla="*/ 0 w 4574"/>
                    <a:gd name="T17" fmla="*/ 0 h 3909"/>
                    <a:gd name="T18" fmla="*/ 0 w 4574"/>
                    <a:gd name="T19" fmla="*/ 0 h 3909"/>
                    <a:gd name="T20" fmla="*/ 0 w 4574"/>
                    <a:gd name="T21" fmla="*/ 0 h 3909"/>
                    <a:gd name="T22" fmla="*/ 0 w 4574"/>
                    <a:gd name="T23" fmla="*/ 0 h 3909"/>
                    <a:gd name="T24" fmla="*/ 0 w 4574"/>
                    <a:gd name="T25" fmla="*/ 0 h 3909"/>
                    <a:gd name="T26" fmla="*/ 0 w 4574"/>
                    <a:gd name="T27" fmla="*/ 0 h 3909"/>
                    <a:gd name="T28" fmla="*/ 0 w 4574"/>
                    <a:gd name="T29" fmla="*/ 0 h 3909"/>
                    <a:gd name="T30" fmla="*/ 0 w 4574"/>
                    <a:gd name="T31" fmla="*/ 0 h 3909"/>
                    <a:gd name="T32" fmla="*/ 0 w 4574"/>
                    <a:gd name="T33" fmla="*/ 0 h 3909"/>
                    <a:gd name="T34" fmla="*/ 0 w 4574"/>
                    <a:gd name="T35" fmla="*/ 0 h 3909"/>
                    <a:gd name="T36" fmla="*/ 0 w 4574"/>
                    <a:gd name="T37" fmla="*/ 0 h 3909"/>
                    <a:gd name="T38" fmla="*/ 0 w 4574"/>
                    <a:gd name="T39" fmla="*/ 0 h 3909"/>
                    <a:gd name="T40" fmla="*/ 0 w 4574"/>
                    <a:gd name="T41" fmla="*/ 0 h 3909"/>
                    <a:gd name="T42" fmla="*/ 0 w 4574"/>
                    <a:gd name="T43" fmla="*/ 0 h 3909"/>
                    <a:gd name="T44" fmla="*/ 0 w 4574"/>
                    <a:gd name="T45" fmla="*/ 0 h 3909"/>
                    <a:gd name="T46" fmla="*/ 0 w 4574"/>
                    <a:gd name="T47" fmla="*/ 0 h 3909"/>
                    <a:gd name="T48" fmla="*/ 0 w 4574"/>
                    <a:gd name="T49" fmla="*/ 0 h 3909"/>
                    <a:gd name="T50" fmla="*/ 0 w 4574"/>
                    <a:gd name="T51" fmla="*/ 0 h 3909"/>
                    <a:gd name="T52" fmla="*/ 0 w 4574"/>
                    <a:gd name="T53" fmla="*/ 0 h 3909"/>
                    <a:gd name="T54" fmla="*/ 0 w 4574"/>
                    <a:gd name="T55" fmla="*/ 0 h 3909"/>
                    <a:gd name="T56" fmla="*/ 0 w 4574"/>
                    <a:gd name="T57" fmla="*/ 0 h 3909"/>
                    <a:gd name="T58" fmla="*/ 0 w 4574"/>
                    <a:gd name="T59" fmla="*/ 0 h 3909"/>
                    <a:gd name="T60" fmla="*/ 0 w 4574"/>
                    <a:gd name="T61" fmla="*/ 0 h 3909"/>
                    <a:gd name="T62" fmla="*/ 0 w 4574"/>
                    <a:gd name="T63" fmla="*/ 0 h 3909"/>
                    <a:gd name="T64" fmla="*/ 0 w 4574"/>
                    <a:gd name="T65" fmla="*/ 0 h 3909"/>
                    <a:gd name="T66" fmla="*/ 0 w 4574"/>
                    <a:gd name="T67" fmla="*/ 0 h 3909"/>
                    <a:gd name="T68" fmla="*/ 0 w 4574"/>
                    <a:gd name="T69" fmla="*/ 0 h 3909"/>
                    <a:gd name="T70" fmla="*/ 0 w 4574"/>
                    <a:gd name="T71" fmla="*/ 0 h 3909"/>
                    <a:gd name="T72" fmla="*/ 0 w 4574"/>
                    <a:gd name="T73" fmla="*/ 0 h 3909"/>
                    <a:gd name="T74" fmla="*/ 0 w 4574"/>
                    <a:gd name="T75" fmla="*/ 0 h 3909"/>
                    <a:gd name="T76" fmla="*/ 0 w 4574"/>
                    <a:gd name="T77" fmla="*/ 0 h 3909"/>
                    <a:gd name="T78" fmla="*/ 0 w 4574"/>
                    <a:gd name="T79" fmla="*/ 0 h 3909"/>
                    <a:gd name="T80" fmla="*/ 0 w 4574"/>
                    <a:gd name="T81" fmla="*/ 0 h 3909"/>
                    <a:gd name="T82" fmla="*/ 0 w 4574"/>
                    <a:gd name="T83" fmla="*/ 0 h 3909"/>
                    <a:gd name="T84" fmla="*/ 0 w 4574"/>
                    <a:gd name="T85" fmla="*/ 0 h 3909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4574"/>
                    <a:gd name="T130" fmla="*/ 0 h 3909"/>
                    <a:gd name="T131" fmla="*/ 4574 w 4574"/>
                    <a:gd name="T132" fmla="*/ 3909 h 3909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4574" h="3909">
                      <a:moveTo>
                        <a:pt x="4538" y="1754"/>
                      </a:moveTo>
                      <a:lnTo>
                        <a:pt x="4558" y="1950"/>
                      </a:lnTo>
                      <a:lnTo>
                        <a:pt x="4570" y="2133"/>
                      </a:lnTo>
                      <a:lnTo>
                        <a:pt x="4574" y="2305"/>
                      </a:lnTo>
                      <a:lnTo>
                        <a:pt x="4571" y="2465"/>
                      </a:lnTo>
                      <a:lnTo>
                        <a:pt x="4561" y="2614"/>
                      </a:lnTo>
                      <a:lnTo>
                        <a:pt x="4544" y="2753"/>
                      </a:lnTo>
                      <a:lnTo>
                        <a:pt x="4520" y="2881"/>
                      </a:lnTo>
                      <a:lnTo>
                        <a:pt x="4490" y="3000"/>
                      </a:lnTo>
                      <a:lnTo>
                        <a:pt x="4452" y="3109"/>
                      </a:lnTo>
                      <a:lnTo>
                        <a:pt x="4409" y="3209"/>
                      </a:lnTo>
                      <a:lnTo>
                        <a:pt x="4360" y="3301"/>
                      </a:lnTo>
                      <a:lnTo>
                        <a:pt x="4304" y="3383"/>
                      </a:lnTo>
                      <a:lnTo>
                        <a:pt x="4243" y="3459"/>
                      </a:lnTo>
                      <a:lnTo>
                        <a:pt x="4177" y="3525"/>
                      </a:lnTo>
                      <a:lnTo>
                        <a:pt x="4105" y="3587"/>
                      </a:lnTo>
                      <a:lnTo>
                        <a:pt x="4028" y="3640"/>
                      </a:lnTo>
                      <a:lnTo>
                        <a:pt x="3947" y="3687"/>
                      </a:lnTo>
                      <a:lnTo>
                        <a:pt x="3861" y="3729"/>
                      </a:lnTo>
                      <a:lnTo>
                        <a:pt x="3771" y="3765"/>
                      </a:lnTo>
                      <a:lnTo>
                        <a:pt x="3676" y="3796"/>
                      </a:lnTo>
                      <a:lnTo>
                        <a:pt x="3577" y="3821"/>
                      </a:lnTo>
                      <a:lnTo>
                        <a:pt x="3475" y="3844"/>
                      </a:lnTo>
                      <a:lnTo>
                        <a:pt x="3369" y="3862"/>
                      </a:lnTo>
                      <a:lnTo>
                        <a:pt x="3260" y="3876"/>
                      </a:lnTo>
                      <a:lnTo>
                        <a:pt x="3148" y="3887"/>
                      </a:lnTo>
                      <a:lnTo>
                        <a:pt x="3032" y="3895"/>
                      </a:lnTo>
                      <a:lnTo>
                        <a:pt x="2913" y="3902"/>
                      </a:lnTo>
                      <a:lnTo>
                        <a:pt x="2793" y="3905"/>
                      </a:lnTo>
                      <a:lnTo>
                        <a:pt x="2669" y="3907"/>
                      </a:lnTo>
                      <a:lnTo>
                        <a:pt x="2544" y="3908"/>
                      </a:lnTo>
                      <a:lnTo>
                        <a:pt x="2416" y="3909"/>
                      </a:lnTo>
                      <a:lnTo>
                        <a:pt x="2287" y="3909"/>
                      </a:lnTo>
                      <a:lnTo>
                        <a:pt x="2158" y="3909"/>
                      </a:lnTo>
                      <a:lnTo>
                        <a:pt x="2031" y="3909"/>
                      </a:lnTo>
                      <a:lnTo>
                        <a:pt x="1905" y="3908"/>
                      </a:lnTo>
                      <a:lnTo>
                        <a:pt x="1783" y="3906"/>
                      </a:lnTo>
                      <a:lnTo>
                        <a:pt x="1662" y="3903"/>
                      </a:lnTo>
                      <a:lnTo>
                        <a:pt x="1544" y="3897"/>
                      </a:lnTo>
                      <a:lnTo>
                        <a:pt x="1428" y="3889"/>
                      </a:lnTo>
                      <a:lnTo>
                        <a:pt x="1316" y="3879"/>
                      </a:lnTo>
                      <a:lnTo>
                        <a:pt x="1205" y="3866"/>
                      </a:lnTo>
                      <a:lnTo>
                        <a:pt x="1100" y="3849"/>
                      </a:lnTo>
                      <a:lnTo>
                        <a:pt x="997" y="3828"/>
                      </a:lnTo>
                      <a:lnTo>
                        <a:pt x="898" y="3803"/>
                      </a:lnTo>
                      <a:lnTo>
                        <a:pt x="804" y="3773"/>
                      </a:lnTo>
                      <a:lnTo>
                        <a:pt x="713" y="3737"/>
                      </a:lnTo>
                      <a:lnTo>
                        <a:pt x="627" y="3697"/>
                      </a:lnTo>
                      <a:lnTo>
                        <a:pt x="545" y="3650"/>
                      </a:lnTo>
                      <a:lnTo>
                        <a:pt x="469" y="3597"/>
                      </a:lnTo>
                      <a:lnTo>
                        <a:pt x="397" y="3537"/>
                      </a:lnTo>
                      <a:lnTo>
                        <a:pt x="331" y="3470"/>
                      </a:lnTo>
                      <a:lnTo>
                        <a:pt x="269" y="3394"/>
                      </a:lnTo>
                      <a:lnTo>
                        <a:pt x="215" y="3312"/>
                      </a:lnTo>
                      <a:lnTo>
                        <a:pt x="165" y="3221"/>
                      </a:lnTo>
                      <a:lnTo>
                        <a:pt x="121" y="3120"/>
                      </a:lnTo>
                      <a:lnTo>
                        <a:pt x="85" y="3011"/>
                      </a:lnTo>
                      <a:lnTo>
                        <a:pt x="53" y="2892"/>
                      </a:lnTo>
                      <a:lnTo>
                        <a:pt x="30" y="2763"/>
                      </a:lnTo>
                      <a:lnTo>
                        <a:pt x="12" y="2623"/>
                      </a:lnTo>
                      <a:lnTo>
                        <a:pt x="2" y="2473"/>
                      </a:lnTo>
                      <a:lnTo>
                        <a:pt x="0" y="2311"/>
                      </a:lnTo>
                      <a:lnTo>
                        <a:pt x="4" y="2138"/>
                      </a:lnTo>
                      <a:lnTo>
                        <a:pt x="18" y="1952"/>
                      </a:lnTo>
                      <a:lnTo>
                        <a:pt x="38" y="1754"/>
                      </a:lnTo>
                      <a:lnTo>
                        <a:pt x="51" y="1659"/>
                      </a:lnTo>
                      <a:lnTo>
                        <a:pt x="70" y="1568"/>
                      </a:lnTo>
                      <a:lnTo>
                        <a:pt x="95" y="1477"/>
                      </a:lnTo>
                      <a:lnTo>
                        <a:pt x="124" y="1388"/>
                      </a:lnTo>
                      <a:lnTo>
                        <a:pt x="156" y="1301"/>
                      </a:lnTo>
                      <a:lnTo>
                        <a:pt x="194" y="1216"/>
                      </a:lnTo>
                      <a:lnTo>
                        <a:pt x="236" y="1134"/>
                      </a:lnTo>
                      <a:lnTo>
                        <a:pt x="282" y="1053"/>
                      </a:lnTo>
                      <a:lnTo>
                        <a:pt x="332" y="975"/>
                      </a:lnTo>
                      <a:lnTo>
                        <a:pt x="386" y="899"/>
                      </a:lnTo>
                      <a:lnTo>
                        <a:pt x="444" y="826"/>
                      </a:lnTo>
                      <a:lnTo>
                        <a:pt x="505" y="755"/>
                      </a:lnTo>
                      <a:lnTo>
                        <a:pt x="571" y="687"/>
                      </a:lnTo>
                      <a:lnTo>
                        <a:pt x="639" y="621"/>
                      </a:lnTo>
                      <a:lnTo>
                        <a:pt x="711" y="558"/>
                      </a:lnTo>
                      <a:lnTo>
                        <a:pt x="786" y="497"/>
                      </a:lnTo>
                      <a:lnTo>
                        <a:pt x="864" y="441"/>
                      </a:lnTo>
                      <a:lnTo>
                        <a:pt x="944" y="387"/>
                      </a:lnTo>
                      <a:lnTo>
                        <a:pt x="1027" y="336"/>
                      </a:lnTo>
                      <a:lnTo>
                        <a:pt x="1113" y="288"/>
                      </a:lnTo>
                      <a:lnTo>
                        <a:pt x="1201" y="244"/>
                      </a:lnTo>
                      <a:lnTo>
                        <a:pt x="1291" y="204"/>
                      </a:lnTo>
                      <a:lnTo>
                        <a:pt x="1383" y="166"/>
                      </a:lnTo>
                      <a:lnTo>
                        <a:pt x="1478" y="132"/>
                      </a:lnTo>
                      <a:lnTo>
                        <a:pt x="1574" y="101"/>
                      </a:lnTo>
                      <a:lnTo>
                        <a:pt x="1672" y="76"/>
                      </a:lnTo>
                      <a:lnTo>
                        <a:pt x="1772" y="52"/>
                      </a:lnTo>
                      <a:lnTo>
                        <a:pt x="1872" y="33"/>
                      </a:lnTo>
                      <a:lnTo>
                        <a:pt x="1974" y="19"/>
                      </a:lnTo>
                      <a:lnTo>
                        <a:pt x="2078" y="9"/>
                      </a:lnTo>
                      <a:lnTo>
                        <a:pt x="2183" y="2"/>
                      </a:lnTo>
                      <a:lnTo>
                        <a:pt x="2287" y="0"/>
                      </a:lnTo>
                      <a:lnTo>
                        <a:pt x="2393" y="2"/>
                      </a:lnTo>
                      <a:lnTo>
                        <a:pt x="2498" y="9"/>
                      </a:lnTo>
                      <a:lnTo>
                        <a:pt x="2600" y="19"/>
                      </a:lnTo>
                      <a:lnTo>
                        <a:pt x="2702" y="33"/>
                      </a:lnTo>
                      <a:lnTo>
                        <a:pt x="2804" y="52"/>
                      </a:lnTo>
                      <a:lnTo>
                        <a:pt x="2903" y="76"/>
                      </a:lnTo>
                      <a:lnTo>
                        <a:pt x="3001" y="101"/>
                      </a:lnTo>
                      <a:lnTo>
                        <a:pt x="3097" y="132"/>
                      </a:lnTo>
                      <a:lnTo>
                        <a:pt x="3192" y="166"/>
                      </a:lnTo>
                      <a:lnTo>
                        <a:pt x="3284" y="204"/>
                      </a:lnTo>
                      <a:lnTo>
                        <a:pt x="3375" y="244"/>
                      </a:lnTo>
                      <a:lnTo>
                        <a:pt x="3463" y="288"/>
                      </a:lnTo>
                      <a:lnTo>
                        <a:pt x="3548" y="336"/>
                      </a:lnTo>
                      <a:lnTo>
                        <a:pt x="3632" y="387"/>
                      </a:lnTo>
                      <a:lnTo>
                        <a:pt x="3712" y="441"/>
                      </a:lnTo>
                      <a:lnTo>
                        <a:pt x="3790" y="497"/>
                      </a:lnTo>
                      <a:lnTo>
                        <a:pt x="3864" y="558"/>
                      </a:lnTo>
                      <a:lnTo>
                        <a:pt x="3936" y="621"/>
                      </a:lnTo>
                      <a:lnTo>
                        <a:pt x="4005" y="687"/>
                      </a:lnTo>
                      <a:lnTo>
                        <a:pt x="4069" y="755"/>
                      </a:lnTo>
                      <a:lnTo>
                        <a:pt x="4131" y="826"/>
                      </a:lnTo>
                      <a:lnTo>
                        <a:pt x="4189" y="899"/>
                      </a:lnTo>
                      <a:lnTo>
                        <a:pt x="4243" y="975"/>
                      </a:lnTo>
                      <a:lnTo>
                        <a:pt x="4293" y="1053"/>
                      </a:lnTo>
                      <a:lnTo>
                        <a:pt x="4340" y="1134"/>
                      </a:lnTo>
                      <a:lnTo>
                        <a:pt x="4382" y="1216"/>
                      </a:lnTo>
                      <a:lnTo>
                        <a:pt x="4419" y="1301"/>
                      </a:lnTo>
                      <a:lnTo>
                        <a:pt x="4452" y="1388"/>
                      </a:lnTo>
                      <a:lnTo>
                        <a:pt x="4481" y="1477"/>
                      </a:lnTo>
                      <a:lnTo>
                        <a:pt x="4504" y="1568"/>
                      </a:lnTo>
                      <a:lnTo>
                        <a:pt x="4523" y="1659"/>
                      </a:lnTo>
                      <a:lnTo>
                        <a:pt x="4538" y="1754"/>
                      </a:lnTo>
                      <a:close/>
                    </a:path>
                  </a:pathLst>
                </a:custGeom>
                <a:solidFill>
                  <a:srgbClr val="242D54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315" name="Freeform 210"/>
                <p:cNvSpPr>
                  <a:spLocks/>
                </p:cNvSpPr>
                <p:nvPr/>
              </p:nvSpPr>
              <p:spPr bwMode="auto">
                <a:xfrm>
                  <a:off x="3132" y="2460"/>
                  <a:ext cx="652" cy="406"/>
                </a:xfrm>
                <a:custGeom>
                  <a:avLst/>
                  <a:gdLst>
                    <a:gd name="T0" fmla="*/ 0 w 4574"/>
                    <a:gd name="T1" fmla="*/ 0 h 2849"/>
                    <a:gd name="T2" fmla="*/ 0 w 4574"/>
                    <a:gd name="T3" fmla="*/ 0 h 2849"/>
                    <a:gd name="T4" fmla="*/ 0 w 4574"/>
                    <a:gd name="T5" fmla="*/ 0 h 2849"/>
                    <a:gd name="T6" fmla="*/ 0 w 4574"/>
                    <a:gd name="T7" fmla="*/ 0 h 2849"/>
                    <a:gd name="T8" fmla="*/ 0 w 4574"/>
                    <a:gd name="T9" fmla="*/ 0 h 2849"/>
                    <a:gd name="T10" fmla="*/ 0 w 4574"/>
                    <a:gd name="T11" fmla="*/ 0 h 2849"/>
                    <a:gd name="T12" fmla="*/ 0 w 4574"/>
                    <a:gd name="T13" fmla="*/ 0 h 2849"/>
                    <a:gd name="T14" fmla="*/ 0 w 4574"/>
                    <a:gd name="T15" fmla="*/ 0 h 2849"/>
                    <a:gd name="T16" fmla="*/ 0 w 4574"/>
                    <a:gd name="T17" fmla="*/ 0 h 2849"/>
                    <a:gd name="T18" fmla="*/ 0 w 4574"/>
                    <a:gd name="T19" fmla="*/ 0 h 2849"/>
                    <a:gd name="T20" fmla="*/ 0 w 4574"/>
                    <a:gd name="T21" fmla="*/ 0 h 2849"/>
                    <a:gd name="T22" fmla="*/ 0 w 4574"/>
                    <a:gd name="T23" fmla="*/ 0 h 2849"/>
                    <a:gd name="T24" fmla="*/ 0 w 4574"/>
                    <a:gd name="T25" fmla="*/ 0 h 2849"/>
                    <a:gd name="T26" fmla="*/ 0 w 4574"/>
                    <a:gd name="T27" fmla="*/ 0 h 2849"/>
                    <a:gd name="T28" fmla="*/ 0 w 4574"/>
                    <a:gd name="T29" fmla="*/ 0 h 2849"/>
                    <a:gd name="T30" fmla="*/ 0 w 4574"/>
                    <a:gd name="T31" fmla="*/ 0 h 2849"/>
                    <a:gd name="T32" fmla="*/ 0 w 4574"/>
                    <a:gd name="T33" fmla="*/ 0 h 2849"/>
                    <a:gd name="T34" fmla="*/ 0 w 4574"/>
                    <a:gd name="T35" fmla="*/ 0 h 2849"/>
                    <a:gd name="T36" fmla="*/ 0 w 4574"/>
                    <a:gd name="T37" fmla="*/ 0 h 2849"/>
                    <a:gd name="T38" fmla="*/ 0 w 4574"/>
                    <a:gd name="T39" fmla="*/ 0 h 2849"/>
                    <a:gd name="T40" fmla="*/ 0 w 4574"/>
                    <a:gd name="T41" fmla="*/ 0 h 2849"/>
                    <a:gd name="T42" fmla="*/ 0 w 4574"/>
                    <a:gd name="T43" fmla="*/ 0 h 2849"/>
                    <a:gd name="T44" fmla="*/ 0 w 4574"/>
                    <a:gd name="T45" fmla="*/ 0 h 2849"/>
                    <a:gd name="T46" fmla="*/ 0 w 4574"/>
                    <a:gd name="T47" fmla="*/ 0 h 2849"/>
                    <a:gd name="T48" fmla="*/ 0 w 4574"/>
                    <a:gd name="T49" fmla="*/ 0 h 2849"/>
                    <a:gd name="T50" fmla="*/ 0 w 4574"/>
                    <a:gd name="T51" fmla="*/ 0 h 2849"/>
                    <a:gd name="T52" fmla="*/ 0 w 4574"/>
                    <a:gd name="T53" fmla="*/ 0 h 2849"/>
                    <a:gd name="T54" fmla="*/ 0 w 4574"/>
                    <a:gd name="T55" fmla="*/ 0 h 2849"/>
                    <a:gd name="T56" fmla="*/ 0 w 4574"/>
                    <a:gd name="T57" fmla="*/ 0 h 2849"/>
                    <a:gd name="T58" fmla="*/ 0 w 4574"/>
                    <a:gd name="T59" fmla="*/ 0 h 2849"/>
                    <a:gd name="T60" fmla="*/ 0 w 4574"/>
                    <a:gd name="T61" fmla="*/ 0 h 2849"/>
                    <a:gd name="T62" fmla="*/ 0 w 4574"/>
                    <a:gd name="T63" fmla="*/ 0 h 2849"/>
                    <a:gd name="T64" fmla="*/ 0 w 4574"/>
                    <a:gd name="T65" fmla="*/ 0 h 2849"/>
                    <a:gd name="T66" fmla="*/ 0 w 4574"/>
                    <a:gd name="T67" fmla="*/ 0 h 2849"/>
                    <a:gd name="T68" fmla="*/ 0 w 4574"/>
                    <a:gd name="T69" fmla="*/ 0 h 2849"/>
                    <a:gd name="T70" fmla="*/ 0 w 4574"/>
                    <a:gd name="T71" fmla="*/ 0 h 2849"/>
                    <a:gd name="T72" fmla="*/ 0 w 4574"/>
                    <a:gd name="T73" fmla="*/ 0 h 2849"/>
                    <a:gd name="T74" fmla="*/ 0 w 4574"/>
                    <a:gd name="T75" fmla="*/ 0 h 2849"/>
                    <a:gd name="T76" fmla="*/ 0 w 4574"/>
                    <a:gd name="T77" fmla="*/ 0 h 2849"/>
                    <a:gd name="T78" fmla="*/ 0 w 4574"/>
                    <a:gd name="T79" fmla="*/ 0 h 2849"/>
                    <a:gd name="T80" fmla="*/ 0 w 4574"/>
                    <a:gd name="T81" fmla="*/ 0 h 2849"/>
                    <a:gd name="T82" fmla="*/ 0 w 4574"/>
                    <a:gd name="T83" fmla="*/ 0 h 2849"/>
                    <a:gd name="T84" fmla="*/ 0 w 4574"/>
                    <a:gd name="T85" fmla="*/ 0 h 2849"/>
                    <a:gd name="T86" fmla="*/ 0 w 4574"/>
                    <a:gd name="T87" fmla="*/ 0 h 2849"/>
                    <a:gd name="T88" fmla="*/ 0 w 4574"/>
                    <a:gd name="T89" fmla="*/ 0 h 2849"/>
                    <a:gd name="T90" fmla="*/ 0 w 4574"/>
                    <a:gd name="T91" fmla="*/ 0 h 2849"/>
                    <a:gd name="T92" fmla="*/ 0 w 4574"/>
                    <a:gd name="T93" fmla="*/ 0 h 2849"/>
                    <a:gd name="T94" fmla="*/ 0 w 4574"/>
                    <a:gd name="T95" fmla="*/ 0 h 2849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4574"/>
                    <a:gd name="T145" fmla="*/ 0 h 2849"/>
                    <a:gd name="T146" fmla="*/ 4574 w 4574"/>
                    <a:gd name="T147" fmla="*/ 2849 h 2849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4574" h="2849">
                      <a:moveTo>
                        <a:pt x="4538" y="693"/>
                      </a:moveTo>
                      <a:lnTo>
                        <a:pt x="4531" y="646"/>
                      </a:lnTo>
                      <a:lnTo>
                        <a:pt x="4523" y="601"/>
                      </a:lnTo>
                      <a:lnTo>
                        <a:pt x="4515" y="554"/>
                      </a:lnTo>
                      <a:lnTo>
                        <a:pt x="4505" y="509"/>
                      </a:lnTo>
                      <a:lnTo>
                        <a:pt x="4494" y="464"/>
                      </a:lnTo>
                      <a:lnTo>
                        <a:pt x="4482" y="419"/>
                      </a:lnTo>
                      <a:lnTo>
                        <a:pt x="4468" y="375"/>
                      </a:lnTo>
                      <a:lnTo>
                        <a:pt x="4453" y="331"/>
                      </a:lnTo>
                      <a:lnTo>
                        <a:pt x="4438" y="288"/>
                      </a:lnTo>
                      <a:lnTo>
                        <a:pt x="4421" y="246"/>
                      </a:lnTo>
                      <a:lnTo>
                        <a:pt x="4403" y="203"/>
                      </a:lnTo>
                      <a:lnTo>
                        <a:pt x="4384" y="161"/>
                      </a:lnTo>
                      <a:lnTo>
                        <a:pt x="4364" y="120"/>
                      </a:lnTo>
                      <a:lnTo>
                        <a:pt x="4343" y="80"/>
                      </a:lnTo>
                      <a:lnTo>
                        <a:pt x="4321" y="40"/>
                      </a:lnTo>
                      <a:lnTo>
                        <a:pt x="4297" y="0"/>
                      </a:lnTo>
                      <a:lnTo>
                        <a:pt x="4274" y="32"/>
                      </a:lnTo>
                      <a:lnTo>
                        <a:pt x="4251" y="64"/>
                      </a:lnTo>
                      <a:lnTo>
                        <a:pt x="4226" y="95"/>
                      </a:lnTo>
                      <a:lnTo>
                        <a:pt x="4200" y="125"/>
                      </a:lnTo>
                      <a:lnTo>
                        <a:pt x="4175" y="155"/>
                      </a:lnTo>
                      <a:lnTo>
                        <a:pt x="4148" y="184"/>
                      </a:lnTo>
                      <a:lnTo>
                        <a:pt x="4121" y="212"/>
                      </a:lnTo>
                      <a:lnTo>
                        <a:pt x="4094" y="239"/>
                      </a:lnTo>
                      <a:lnTo>
                        <a:pt x="4054" y="273"/>
                      </a:lnTo>
                      <a:lnTo>
                        <a:pt x="4012" y="307"/>
                      </a:lnTo>
                      <a:lnTo>
                        <a:pt x="3970" y="339"/>
                      </a:lnTo>
                      <a:lnTo>
                        <a:pt x="3926" y="370"/>
                      </a:lnTo>
                      <a:lnTo>
                        <a:pt x="3880" y="400"/>
                      </a:lnTo>
                      <a:lnTo>
                        <a:pt x="3833" y="429"/>
                      </a:lnTo>
                      <a:lnTo>
                        <a:pt x="3784" y="457"/>
                      </a:lnTo>
                      <a:lnTo>
                        <a:pt x="3735" y="484"/>
                      </a:lnTo>
                      <a:lnTo>
                        <a:pt x="3684" y="509"/>
                      </a:lnTo>
                      <a:lnTo>
                        <a:pt x="3633" y="534"/>
                      </a:lnTo>
                      <a:lnTo>
                        <a:pt x="3581" y="557"/>
                      </a:lnTo>
                      <a:lnTo>
                        <a:pt x="3527" y="579"/>
                      </a:lnTo>
                      <a:lnTo>
                        <a:pt x="3474" y="602"/>
                      </a:lnTo>
                      <a:lnTo>
                        <a:pt x="3419" y="623"/>
                      </a:lnTo>
                      <a:lnTo>
                        <a:pt x="3363" y="643"/>
                      </a:lnTo>
                      <a:lnTo>
                        <a:pt x="3309" y="662"/>
                      </a:lnTo>
                      <a:lnTo>
                        <a:pt x="3252" y="680"/>
                      </a:lnTo>
                      <a:lnTo>
                        <a:pt x="3197" y="697"/>
                      </a:lnTo>
                      <a:lnTo>
                        <a:pt x="3141" y="715"/>
                      </a:lnTo>
                      <a:lnTo>
                        <a:pt x="3084" y="731"/>
                      </a:lnTo>
                      <a:lnTo>
                        <a:pt x="2972" y="762"/>
                      </a:lnTo>
                      <a:lnTo>
                        <a:pt x="2860" y="790"/>
                      </a:lnTo>
                      <a:lnTo>
                        <a:pt x="2750" y="815"/>
                      </a:lnTo>
                      <a:lnTo>
                        <a:pt x="2643" y="840"/>
                      </a:lnTo>
                      <a:lnTo>
                        <a:pt x="2539" y="863"/>
                      </a:lnTo>
                      <a:lnTo>
                        <a:pt x="2439" y="884"/>
                      </a:lnTo>
                      <a:lnTo>
                        <a:pt x="2368" y="899"/>
                      </a:lnTo>
                      <a:lnTo>
                        <a:pt x="2297" y="910"/>
                      </a:lnTo>
                      <a:lnTo>
                        <a:pt x="2226" y="921"/>
                      </a:lnTo>
                      <a:lnTo>
                        <a:pt x="2154" y="929"/>
                      </a:lnTo>
                      <a:lnTo>
                        <a:pt x="2081" y="936"/>
                      </a:lnTo>
                      <a:lnTo>
                        <a:pt x="2009" y="941"/>
                      </a:lnTo>
                      <a:lnTo>
                        <a:pt x="1935" y="944"/>
                      </a:lnTo>
                      <a:lnTo>
                        <a:pt x="1862" y="948"/>
                      </a:lnTo>
                      <a:lnTo>
                        <a:pt x="1787" y="948"/>
                      </a:lnTo>
                      <a:lnTo>
                        <a:pt x="1713" y="948"/>
                      </a:lnTo>
                      <a:lnTo>
                        <a:pt x="1638" y="947"/>
                      </a:lnTo>
                      <a:lnTo>
                        <a:pt x="1563" y="944"/>
                      </a:lnTo>
                      <a:lnTo>
                        <a:pt x="1488" y="940"/>
                      </a:lnTo>
                      <a:lnTo>
                        <a:pt x="1412" y="936"/>
                      </a:lnTo>
                      <a:lnTo>
                        <a:pt x="1337" y="930"/>
                      </a:lnTo>
                      <a:lnTo>
                        <a:pt x="1261" y="924"/>
                      </a:lnTo>
                      <a:lnTo>
                        <a:pt x="1185" y="917"/>
                      </a:lnTo>
                      <a:lnTo>
                        <a:pt x="1111" y="910"/>
                      </a:lnTo>
                      <a:lnTo>
                        <a:pt x="1035" y="901"/>
                      </a:lnTo>
                      <a:lnTo>
                        <a:pt x="959" y="892"/>
                      </a:lnTo>
                      <a:lnTo>
                        <a:pt x="809" y="873"/>
                      </a:lnTo>
                      <a:lnTo>
                        <a:pt x="660" y="853"/>
                      </a:lnTo>
                      <a:lnTo>
                        <a:pt x="512" y="833"/>
                      </a:lnTo>
                      <a:lnTo>
                        <a:pt x="366" y="812"/>
                      </a:lnTo>
                      <a:lnTo>
                        <a:pt x="221" y="792"/>
                      </a:lnTo>
                      <a:lnTo>
                        <a:pt x="80" y="773"/>
                      </a:lnTo>
                      <a:lnTo>
                        <a:pt x="68" y="771"/>
                      </a:lnTo>
                      <a:lnTo>
                        <a:pt x="55" y="770"/>
                      </a:lnTo>
                      <a:lnTo>
                        <a:pt x="42" y="769"/>
                      </a:lnTo>
                      <a:lnTo>
                        <a:pt x="30" y="766"/>
                      </a:lnTo>
                      <a:lnTo>
                        <a:pt x="12" y="958"/>
                      </a:lnTo>
                      <a:lnTo>
                        <a:pt x="2" y="1137"/>
                      </a:lnTo>
                      <a:lnTo>
                        <a:pt x="0" y="1305"/>
                      </a:lnTo>
                      <a:lnTo>
                        <a:pt x="6" y="1461"/>
                      </a:lnTo>
                      <a:lnTo>
                        <a:pt x="18" y="1607"/>
                      </a:lnTo>
                      <a:lnTo>
                        <a:pt x="37" y="1741"/>
                      </a:lnTo>
                      <a:lnTo>
                        <a:pt x="62" y="1866"/>
                      </a:lnTo>
                      <a:lnTo>
                        <a:pt x="95" y="1981"/>
                      </a:lnTo>
                      <a:lnTo>
                        <a:pt x="132" y="2086"/>
                      </a:lnTo>
                      <a:lnTo>
                        <a:pt x="177" y="2183"/>
                      </a:lnTo>
                      <a:lnTo>
                        <a:pt x="227" y="2271"/>
                      </a:lnTo>
                      <a:lnTo>
                        <a:pt x="284" y="2351"/>
                      </a:lnTo>
                      <a:lnTo>
                        <a:pt x="345" y="2423"/>
                      </a:lnTo>
                      <a:lnTo>
                        <a:pt x="412" y="2489"/>
                      </a:lnTo>
                      <a:lnTo>
                        <a:pt x="483" y="2547"/>
                      </a:lnTo>
                      <a:lnTo>
                        <a:pt x="560" y="2598"/>
                      </a:lnTo>
                      <a:lnTo>
                        <a:pt x="641" y="2643"/>
                      </a:lnTo>
                      <a:lnTo>
                        <a:pt x="728" y="2683"/>
                      </a:lnTo>
                      <a:lnTo>
                        <a:pt x="818" y="2716"/>
                      </a:lnTo>
                      <a:lnTo>
                        <a:pt x="912" y="2745"/>
                      </a:lnTo>
                      <a:lnTo>
                        <a:pt x="1009" y="2770"/>
                      </a:lnTo>
                      <a:lnTo>
                        <a:pt x="1112" y="2791"/>
                      </a:lnTo>
                      <a:lnTo>
                        <a:pt x="1217" y="2806"/>
                      </a:lnTo>
                      <a:lnTo>
                        <a:pt x="1326" y="2820"/>
                      </a:lnTo>
                      <a:lnTo>
                        <a:pt x="1437" y="2830"/>
                      </a:lnTo>
                      <a:lnTo>
                        <a:pt x="1552" y="2837"/>
                      </a:lnTo>
                      <a:lnTo>
                        <a:pt x="1668" y="2842"/>
                      </a:lnTo>
                      <a:lnTo>
                        <a:pt x="1789" y="2845"/>
                      </a:lnTo>
                      <a:lnTo>
                        <a:pt x="1910" y="2847"/>
                      </a:lnTo>
                      <a:lnTo>
                        <a:pt x="2035" y="2849"/>
                      </a:lnTo>
                      <a:lnTo>
                        <a:pt x="2160" y="2849"/>
                      </a:lnTo>
                      <a:lnTo>
                        <a:pt x="2287" y="2849"/>
                      </a:lnTo>
                      <a:lnTo>
                        <a:pt x="2416" y="2849"/>
                      </a:lnTo>
                      <a:lnTo>
                        <a:pt x="2544" y="2849"/>
                      </a:lnTo>
                      <a:lnTo>
                        <a:pt x="2669" y="2846"/>
                      </a:lnTo>
                      <a:lnTo>
                        <a:pt x="2793" y="2844"/>
                      </a:lnTo>
                      <a:lnTo>
                        <a:pt x="2913" y="2841"/>
                      </a:lnTo>
                      <a:lnTo>
                        <a:pt x="3032" y="2834"/>
                      </a:lnTo>
                      <a:lnTo>
                        <a:pt x="3148" y="2826"/>
                      </a:lnTo>
                      <a:lnTo>
                        <a:pt x="3260" y="2815"/>
                      </a:lnTo>
                      <a:lnTo>
                        <a:pt x="3369" y="2801"/>
                      </a:lnTo>
                      <a:lnTo>
                        <a:pt x="3475" y="2783"/>
                      </a:lnTo>
                      <a:lnTo>
                        <a:pt x="3577" y="2761"/>
                      </a:lnTo>
                      <a:lnTo>
                        <a:pt x="3676" y="2735"/>
                      </a:lnTo>
                      <a:lnTo>
                        <a:pt x="3771" y="2704"/>
                      </a:lnTo>
                      <a:lnTo>
                        <a:pt x="3861" y="2668"/>
                      </a:lnTo>
                      <a:lnTo>
                        <a:pt x="3947" y="2627"/>
                      </a:lnTo>
                      <a:lnTo>
                        <a:pt x="4028" y="2579"/>
                      </a:lnTo>
                      <a:lnTo>
                        <a:pt x="4105" y="2526"/>
                      </a:lnTo>
                      <a:lnTo>
                        <a:pt x="4177" y="2465"/>
                      </a:lnTo>
                      <a:lnTo>
                        <a:pt x="4243" y="2398"/>
                      </a:lnTo>
                      <a:lnTo>
                        <a:pt x="4304" y="2322"/>
                      </a:lnTo>
                      <a:lnTo>
                        <a:pt x="4360" y="2240"/>
                      </a:lnTo>
                      <a:lnTo>
                        <a:pt x="4409" y="2149"/>
                      </a:lnTo>
                      <a:lnTo>
                        <a:pt x="4452" y="2048"/>
                      </a:lnTo>
                      <a:lnTo>
                        <a:pt x="4490" y="1939"/>
                      </a:lnTo>
                      <a:lnTo>
                        <a:pt x="4520" y="1820"/>
                      </a:lnTo>
                      <a:lnTo>
                        <a:pt x="4544" y="1692"/>
                      </a:lnTo>
                      <a:lnTo>
                        <a:pt x="4561" y="1554"/>
                      </a:lnTo>
                      <a:lnTo>
                        <a:pt x="4571" y="1404"/>
                      </a:lnTo>
                      <a:lnTo>
                        <a:pt x="4574" y="1244"/>
                      </a:lnTo>
                      <a:lnTo>
                        <a:pt x="4570" y="1072"/>
                      </a:lnTo>
                      <a:lnTo>
                        <a:pt x="4558" y="889"/>
                      </a:lnTo>
                      <a:lnTo>
                        <a:pt x="4538" y="693"/>
                      </a:lnTo>
                      <a:close/>
                    </a:path>
                  </a:pathLst>
                </a:custGeom>
                <a:solidFill>
                  <a:srgbClr val="1B233E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316" name="Freeform 211"/>
                <p:cNvSpPr>
                  <a:spLocks/>
                </p:cNvSpPr>
                <p:nvPr/>
              </p:nvSpPr>
              <p:spPr bwMode="auto">
                <a:xfrm>
                  <a:off x="2759" y="2608"/>
                  <a:ext cx="511" cy="319"/>
                </a:xfrm>
                <a:custGeom>
                  <a:avLst/>
                  <a:gdLst>
                    <a:gd name="T0" fmla="*/ 0 w 3582"/>
                    <a:gd name="T1" fmla="*/ 0 h 2227"/>
                    <a:gd name="T2" fmla="*/ 0 w 3582"/>
                    <a:gd name="T3" fmla="*/ 0 h 2227"/>
                    <a:gd name="T4" fmla="*/ 0 w 3582"/>
                    <a:gd name="T5" fmla="*/ 0 h 2227"/>
                    <a:gd name="T6" fmla="*/ 0 w 3582"/>
                    <a:gd name="T7" fmla="*/ 0 h 2227"/>
                    <a:gd name="T8" fmla="*/ 0 w 3582"/>
                    <a:gd name="T9" fmla="*/ 0 h 2227"/>
                    <a:gd name="T10" fmla="*/ 0 w 3582"/>
                    <a:gd name="T11" fmla="*/ 0 h 2227"/>
                    <a:gd name="T12" fmla="*/ 0 w 3582"/>
                    <a:gd name="T13" fmla="*/ 0 h 2227"/>
                    <a:gd name="T14" fmla="*/ 0 w 3582"/>
                    <a:gd name="T15" fmla="*/ 0 h 2227"/>
                    <a:gd name="T16" fmla="*/ 0 w 3582"/>
                    <a:gd name="T17" fmla="*/ 0 h 2227"/>
                    <a:gd name="T18" fmla="*/ 0 w 3582"/>
                    <a:gd name="T19" fmla="*/ 0 h 2227"/>
                    <a:gd name="T20" fmla="*/ 0 w 3582"/>
                    <a:gd name="T21" fmla="*/ 0 h 2227"/>
                    <a:gd name="T22" fmla="*/ 0 w 3582"/>
                    <a:gd name="T23" fmla="*/ 0 h 2227"/>
                    <a:gd name="T24" fmla="*/ 0 w 3582"/>
                    <a:gd name="T25" fmla="*/ 0 h 2227"/>
                    <a:gd name="T26" fmla="*/ 0 w 3582"/>
                    <a:gd name="T27" fmla="*/ 0 h 2227"/>
                    <a:gd name="T28" fmla="*/ 0 w 3582"/>
                    <a:gd name="T29" fmla="*/ 0 h 2227"/>
                    <a:gd name="T30" fmla="*/ 0 w 3582"/>
                    <a:gd name="T31" fmla="*/ 0 h 2227"/>
                    <a:gd name="T32" fmla="*/ 0 w 3582"/>
                    <a:gd name="T33" fmla="*/ 0 h 2227"/>
                    <a:gd name="T34" fmla="*/ 0 w 3582"/>
                    <a:gd name="T35" fmla="*/ 0 h 2227"/>
                    <a:gd name="T36" fmla="*/ 0 w 3582"/>
                    <a:gd name="T37" fmla="*/ 0 h 2227"/>
                    <a:gd name="T38" fmla="*/ 0 w 3582"/>
                    <a:gd name="T39" fmla="*/ 0 h 2227"/>
                    <a:gd name="T40" fmla="*/ 0 w 3582"/>
                    <a:gd name="T41" fmla="*/ 0 h 2227"/>
                    <a:gd name="T42" fmla="*/ 0 w 3582"/>
                    <a:gd name="T43" fmla="*/ 0 h 2227"/>
                    <a:gd name="T44" fmla="*/ 0 w 3582"/>
                    <a:gd name="T45" fmla="*/ 0 h 2227"/>
                    <a:gd name="T46" fmla="*/ 0 w 3582"/>
                    <a:gd name="T47" fmla="*/ 0 h 2227"/>
                    <a:gd name="T48" fmla="*/ 0 w 3582"/>
                    <a:gd name="T49" fmla="*/ 0 h 2227"/>
                    <a:gd name="T50" fmla="*/ 0 w 3582"/>
                    <a:gd name="T51" fmla="*/ 0 h 2227"/>
                    <a:gd name="T52" fmla="*/ 0 w 3582"/>
                    <a:gd name="T53" fmla="*/ 0 h 2227"/>
                    <a:gd name="T54" fmla="*/ 0 w 3582"/>
                    <a:gd name="T55" fmla="*/ 0 h 2227"/>
                    <a:gd name="T56" fmla="*/ 0 w 3582"/>
                    <a:gd name="T57" fmla="*/ 0 h 2227"/>
                    <a:gd name="T58" fmla="*/ 0 w 3582"/>
                    <a:gd name="T59" fmla="*/ 0 h 2227"/>
                    <a:gd name="T60" fmla="*/ 0 w 3582"/>
                    <a:gd name="T61" fmla="*/ 0 h 2227"/>
                    <a:gd name="T62" fmla="*/ 0 w 3582"/>
                    <a:gd name="T63" fmla="*/ 0 h 2227"/>
                    <a:gd name="T64" fmla="*/ 0 w 3582"/>
                    <a:gd name="T65" fmla="*/ 0 h 2227"/>
                    <a:gd name="T66" fmla="*/ 0 w 3582"/>
                    <a:gd name="T67" fmla="*/ 0 h 2227"/>
                    <a:gd name="T68" fmla="*/ 0 w 3582"/>
                    <a:gd name="T69" fmla="*/ 0 h 2227"/>
                    <a:gd name="T70" fmla="*/ 0 w 3582"/>
                    <a:gd name="T71" fmla="*/ 0 h 2227"/>
                    <a:gd name="T72" fmla="*/ 0 w 3582"/>
                    <a:gd name="T73" fmla="*/ 0 h 2227"/>
                    <a:gd name="T74" fmla="*/ 0 w 3582"/>
                    <a:gd name="T75" fmla="*/ 0 h 2227"/>
                    <a:gd name="T76" fmla="*/ 0 w 3582"/>
                    <a:gd name="T77" fmla="*/ 0 h 2227"/>
                    <a:gd name="T78" fmla="*/ 0 w 3582"/>
                    <a:gd name="T79" fmla="*/ 0 h 2227"/>
                    <a:gd name="T80" fmla="*/ 0 w 3582"/>
                    <a:gd name="T81" fmla="*/ 0 h 2227"/>
                    <a:gd name="T82" fmla="*/ 0 w 3582"/>
                    <a:gd name="T83" fmla="*/ 0 h 2227"/>
                    <a:gd name="T84" fmla="*/ 0 w 3582"/>
                    <a:gd name="T85" fmla="*/ 0 h 2227"/>
                    <a:gd name="T86" fmla="*/ 0 w 3582"/>
                    <a:gd name="T87" fmla="*/ 0 h 2227"/>
                    <a:gd name="T88" fmla="*/ 0 w 3582"/>
                    <a:gd name="T89" fmla="*/ 0 h 2227"/>
                    <a:gd name="T90" fmla="*/ 0 w 3582"/>
                    <a:gd name="T91" fmla="*/ 0 h 2227"/>
                    <a:gd name="T92" fmla="*/ 0 w 3582"/>
                    <a:gd name="T93" fmla="*/ 0 h 2227"/>
                    <a:gd name="T94" fmla="*/ 0 w 3582"/>
                    <a:gd name="T95" fmla="*/ 0 h 2227"/>
                    <a:gd name="T96" fmla="*/ 0 w 3582"/>
                    <a:gd name="T97" fmla="*/ 0 h 2227"/>
                    <a:gd name="T98" fmla="*/ 0 w 3582"/>
                    <a:gd name="T99" fmla="*/ 0 h 2227"/>
                    <a:gd name="T100" fmla="*/ 0 w 3582"/>
                    <a:gd name="T101" fmla="*/ 0 h 2227"/>
                    <a:gd name="T102" fmla="*/ 0 w 3582"/>
                    <a:gd name="T103" fmla="*/ 0 h 2227"/>
                    <a:gd name="T104" fmla="*/ 0 w 3582"/>
                    <a:gd name="T105" fmla="*/ 0 h 2227"/>
                    <a:gd name="T106" fmla="*/ 0 w 3582"/>
                    <a:gd name="T107" fmla="*/ 0 h 2227"/>
                    <a:gd name="T108" fmla="*/ 0 w 3582"/>
                    <a:gd name="T109" fmla="*/ 0 h 2227"/>
                    <a:gd name="T110" fmla="*/ 0 w 3582"/>
                    <a:gd name="T111" fmla="*/ 0 h 2227"/>
                    <a:gd name="T112" fmla="*/ 0 w 3582"/>
                    <a:gd name="T113" fmla="*/ 0 h 2227"/>
                    <a:gd name="T114" fmla="*/ 0 w 3582"/>
                    <a:gd name="T115" fmla="*/ 0 h 2227"/>
                    <a:gd name="T116" fmla="*/ 0 w 3582"/>
                    <a:gd name="T117" fmla="*/ 0 h 2227"/>
                    <a:gd name="T118" fmla="*/ 0 w 3582"/>
                    <a:gd name="T119" fmla="*/ 0 h 2227"/>
                    <a:gd name="T120" fmla="*/ 0 w 3582"/>
                    <a:gd name="T121" fmla="*/ 0 h 2227"/>
                    <a:gd name="T122" fmla="*/ 0 w 3582"/>
                    <a:gd name="T123" fmla="*/ 0 h 2227"/>
                    <a:gd name="T124" fmla="*/ 0 w 3582"/>
                    <a:gd name="T125" fmla="*/ 0 h 2227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3582"/>
                    <a:gd name="T190" fmla="*/ 0 h 2227"/>
                    <a:gd name="T191" fmla="*/ 3582 w 3582"/>
                    <a:gd name="T192" fmla="*/ 2227 h 2227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3582" h="2227">
                      <a:moveTo>
                        <a:pt x="29" y="1071"/>
                      </a:moveTo>
                      <a:lnTo>
                        <a:pt x="38" y="1035"/>
                      </a:lnTo>
                      <a:lnTo>
                        <a:pt x="49" y="998"/>
                      </a:lnTo>
                      <a:lnTo>
                        <a:pt x="63" y="962"/>
                      </a:lnTo>
                      <a:lnTo>
                        <a:pt x="77" y="925"/>
                      </a:lnTo>
                      <a:lnTo>
                        <a:pt x="93" y="887"/>
                      </a:lnTo>
                      <a:lnTo>
                        <a:pt x="109" y="849"/>
                      </a:lnTo>
                      <a:lnTo>
                        <a:pt x="128" y="810"/>
                      </a:lnTo>
                      <a:lnTo>
                        <a:pt x="148" y="771"/>
                      </a:lnTo>
                      <a:lnTo>
                        <a:pt x="169" y="733"/>
                      </a:lnTo>
                      <a:lnTo>
                        <a:pt x="192" y="694"/>
                      </a:lnTo>
                      <a:lnTo>
                        <a:pt x="215" y="657"/>
                      </a:lnTo>
                      <a:lnTo>
                        <a:pt x="240" y="619"/>
                      </a:lnTo>
                      <a:lnTo>
                        <a:pt x="265" y="581"/>
                      </a:lnTo>
                      <a:lnTo>
                        <a:pt x="292" y="544"/>
                      </a:lnTo>
                      <a:lnTo>
                        <a:pt x="320" y="508"/>
                      </a:lnTo>
                      <a:lnTo>
                        <a:pt x="347" y="472"/>
                      </a:lnTo>
                      <a:lnTo>
                        <a:pt x="378" y="437"/>
                      </a:lnTo>
                      <a:lnTo>
                        <a:pt x="408" y="404"/>
                      </a:lnTo>
                      <a:lnTo>
                        <a:pt x="438" y="372"/>
                      </a:lnTo>
                      <a:lnTo>
                        <a:pt x="470" y="340"/>
                      </a:lnTo>
                      <a:lnTo>
                        <a:pt x="502" y="309"/>
                      </a:lnTo>
                      <a:lnTo>
                        <a:pt x="534" y="282"/>
                      </a:lnTo>
                      <a:lnTo>
                        <a:pt x="568" y="254"/>
                      </a:lnTo>
                      <a:lnTo>
                        <a:pt x="602" y="228"/>
                      </a:lnTo>
                      <a:lnTo>
                        <a:pt x="637" y="205"/>
                      </a:lnTo>
                      <a:lnTo>
                        <a:pt x="671" y="183"/>
                      </a:lnTo>
                      <a:lnTo>
                        <a:pt x="707" y="163"/>
                      </a:lnTo>
                      <a:lnTo>
                        <a:pt x="743" y="145"/>
                      </a:lnTo>
                      <a:lnTo>
                        <a:pt x="778" y="128"/>
                      </a:lnTo>
                      <a:lnTo>
                        <a:pt x="814" y="115"/>
                      </a:lnTo>
                      <a:lnTo>
                        <a:pt x="849" y="104"/>
                      </a:lnTo>
                      <a:lnTo>
                        <a:pt x="886" y="95"/>
                      </a:lnTo>
                      <a:lnTo>
                        <a:pt x="967" y="79"/>
                      </a:lnTo>
                      <a:lnTo>
                        <a:pt x="1052" y="66"/>
                      </a:lnTo>
                      <a:lnTo>
                        <a:pt x="1138" y="52"/>
                      </a:lnTo>
                      <a:lnTo>
                        <a:pt x="1225" y="41"/>
                      </a:lnTo>
                      <a:lnTo>
                        <a:pt x="1314" y="32"/>
                      </a:lnTo>
                      <a:lnTo>
                        <a:pt x="1404" y="23"/>
                      </a:lnTo>
                      <a:lnTo>
                        <a:pt x="1494" y="17"/>
                      </a:lnTo>
                      <a:lnTo>
                        <a:pt x="1585" y="11"/>
                      </a:lnTo>
                      <a:lnTo>
                        <a:pt x="1676" y="7"/>
                      </a:lnTo>
                      <a:lnTo>
                        <a:pt x="1769" y="3"/>
                      </a:lnTo>
                      <a:lnTo>
                        <a:pt x="1860" y="1"/>
                      </a:lnTo>
                      <a:lnTo>
                        <a:pt x="1951" y="0"/>
                      </a:lnTo>
                      <a:lnTo>
                        <a:pt x="2043" y="0"/>
                      </a:lnTo>
                      <a:lnTo>
                        <a:pt x="2133" y="1"/>
                      </a:lnTo>
                      <a:lnTo>
                        <a:pt x="2222" y="3"/>
                      </a:lnTo>
                      <a:lnTo>
                        <a:pt x="2309" y="6"/>
                      </a:lnTo>
                      <a:lnTo>
                        <a:pt x="2395" y="9"/>
                      </a:lnTo>
                      <a:lnTo>
                        <a:pt x="2480" y="13"/>
                      </a:lnTo>
                      <a:lnTo>
                        <a:pt x="2561" y="18"/>
                      </a:lnTo>
                      <a:lnTo>
                        <a:pt x="2641" y="23"/>
                      </a:lnTo>
                      <a:lnTo>
                        <a:pt x="2719" y="30"/>
                      </a:lnTo>
                      <a:lnTo>
                        <a:pt x="2794" y="37"/>
                      </a:lnTo>
                      <a:lnTo>
                        <a:pt x="2866" y="43"/>
                      </a:lnTo>
                      <a:lnTo>
                        <a:pt x="2934" y="51"/>
                      </a:lnTo>
                      <a:lnTo>
                        <a:pt x="3000" y="59"/>
                      </a:lnTo>
                      <a:lnTo>
                        <a:pt x="3061" y="67"/>
                      </a:lnTo>
                      <a:lnTo>
                        <a:pt x="3119" y="76"/>
                      </a:lnTo>
                      <a:lnTo>
                        <a:pt x="3172" y="85"/>
                      </a:lnTo>
                      <a:lnTo>
                        <a:pt x="3220" y="94"/>
                      </a:lnTo>
                      <a:lnTo>
                        <a:pt x="3265" y="102"/>
                      </a:lnTo>
                      <a:lnTo>
                        <a:pt x="3304" y="111"/>
                      </a:lnTo>
                      <a:lnTo>
                        <a:pt x="3338" y="120"/>
                      </a:lnTo>
                      <a:lnTo>
                        <a:pt x="3368" y="130"/>
                      </a:lnTo>
                      <a:lnTo>
                        <a:pt x="3397" y="141"/>
                      </a:lnTo>
                      <a:lnTo>
                        <a:pt x="3423" y="155"/>
                      </a:lnTo>
                      <a:lnTo>
                        <a:pt x="3446" y="169"/>
                      </a:lnTo>
                      <a:lnTo>
                        <a:pt x="3467" y="186"/>
                      </a:lnTo>
                      <a:lnTo>
                        <a:pt x="3487" y="203"/>
                      </a:lnTo>
                      <a:lnTo>
                        <a:pt x="3504" y="222"/>
                      </a:lnTo>
                      <a:lnTo>
                        <a:pt x="3520" y="242"/>
                      </a:lnTo>
                      <a:lnTo>
                        <a:pt x="3533" y="264"/>
                      </a:lnTo>
                      <a:lnTo>
                        <a:pt x="3545" y="286"/>
                      </a:lnTo>
                      <a:lnTo>
                        <a:pt x="3555" y="309"/>
                      </a:lnTo>
                      <a:lnTo>
                        <a:pt x="3563" y="335"/>
                      </a:lnTo>
                      <a:lnTo>
                        <a:pt x="3570" y="361"/>
                      </a:lnTo>
                      <a:lnTo>
                        <a:pt x="3575" y="387"/>
                      </a:lnTo>
                      <a:lnTo>
                        <a:pt x="3579" y="414"/>
                      </a:lnTo>
                      <a:lnTo>
                        <a:pt x="3582" y="443"/>
                      </a:lnTo>
                      <a:lnTo>
                        <a:pt x="3582" y="472"/>
                      </a:lnTo>
                      <a:lnTo>
                        <a:pt x="3582" y="502"/>
                      </a:lnTo>
                      <a:lnTo>
                        <a:pt x="3581" y="532"/>
                      </a:lnTo>
                      <a:lnTo>
                        <a:pt x="3577" y="563"/>
                      </a:lnTo>
                      <a:lnTo>
                        <a:pt x="3574" y="594"/>
                      </a:lnTo>
                      <a:lnTo>
                        <a:pt x="3569" y="627"/>
                      </a:lnTo>
                      <a:lnTo>
                        <a:pt x="3563" y="659"/>
                      </a:lnTo>
                      <a:lnTo>
                        <a:pt x="3556" y="691"/>
                      </a:lnTo>
                      <a:lnTo>
                        <a:pt x="3548" y="723"/>
                      </a:lnTo>
                      <a:lnTo>
                        <a:pt x="3540" y="757"/>
                      </a:lnTo>
                      <a:lnTo>
                        <a:pt x="3531" y="789"/>
                      </a:lnTo>
                      <a:lnTo>
                        <a:pt x="3521" y="822"/>
                      </a:lnTo>
                      <a:lnTo>
                        <a:pt x="3500" y="889"/>
                      </a:lnTo>
                      <a:lnTo>
                        <a:pt x="3476" y="955"/>
                      </a:lnTo>
                      <a:lnTo>
                        <a:pt x="3464" y="987"/>
                      </a:lnTo>
                      <a:lnTo>
                        <a:pt x="3449" y="1021"/>
                      </a:lnTo>
                      <a:lnTo>
                        <a:pt x="3435" y="1053"/>
                      </a:lnTo>
                      <a:lnTo>
                        <a:pt x="3419" y="1085"/>
                      </a:lnTo>
                      <a:lnTo>
                        <a:pt x="3404" y="1117"/>
                      </a:lnTo>
                      <a:lnTo>
                        <a:pt x="3386" y="1149"/>
                      </a:lnTo>
                      <a:lnTo>
                        <a:pt x="3368" y="1179"/>
                      </a:lnTo>
                      <a:lnTo>
                        <a:pt x="3349" y="1210"/>
                      </a:lnTo>
                      <a:lnTo>
                        <a:pt x="3329" y="1240"/>
                      </a:lnTo>
                      <a:lnTo>
                        <a:pt x="3309" y="1269"/>
                      </a:lnTo>
                      <a:lnTo>
                        <a:pt x="3288" y="1299"/>
                      </a:lnTo>
                      <a:lnTo>
                        <a:pt x="3266" y="1327"/>
                      </a:lnTo>
                      <a:lnTo>
                        <a:pt x="3244" y="1356"/>
                      </a:lnTo>
                      <a:lnTo>
                        <a:pt x="3220" y="1383"/>
                      </a:lnTo>
                      <a:lnTo>
                        <a:pt x="3197" y="1410"/>
                      </a:lnTo>
                      <a:lnTo>
                        <a:pt x="3172" y="1437"/>
                      </a:lnTo>
                      <a:lnTo>
                        <a:pt x="3148" y="1463"/>
                      </a:lnTo>
                      <a:lnTo>
                        <a:pt x="3122" y="1489"/>
                      </a:lnTo>
                      <a:lnTo>
                        <a:pt x="3095" y="1515"/>
                      </a:lnTo>
                      <a:lnTo>
                        <a:pt x="3070" y="1539"/>
                      </a:lnTo>
                      <a:lnTo>
                        <a:pt x="3042" y="1564"/>
                      </a:lnTo>
                      <a:lnTo>
                        <a:pt x="3015" y="1587"/>
                      </a:lnTo>
                      <a:lnTo>
                        <a:pt x="2988" y="1609"/>
                      </a:lnTo>
                      <a:lnTo>
                        <a:pt x="2959" y="1632"/>
                      </a:lnTo>
                      <a:lnTo>
                        <a:pt x="2930" y="1654"/>
                      </a:lnTo>
                      <a:lnTo>
                        <a:pt x="2901" y="1675"/>
                      </a:lnTo>
                      <a:lnTo>
                        <a:pt x="2872" y="1696"/>
                      </a:lnTo>
                      <a:lnTo>
                        <a:pt x="2842" y="1715"/>
                      </a:lnTo>
                      <a:lnTo>
                        <a:pt x="2812" y="1735"/>
                      </a:lnTo>
                      <a:lnTo>
                        <a:pt x="2782" y="1753"/>
                      </a:lnTo>
                      <a:lnTo>
                        <a:pt x="2752" y="1772"/>
                      </a:lnTo>
                      <a:lnTo>
                        <a:pt x="2720" y="1788"/>
                      </a:lnTo>
                      <a:lnTo>
                        <a:pt x="2666" y="1818"/>
                      </a:lnTo>
                      <a:lnTo>
                        <a:pt x="2609" y="1847"/>
                      </a:lnTo>
                      <a:lnTo>
                        <a:pt x="2549" y="1876"/>
                      </a:lnTo>
                      <a:lnTo>
                        <a:pt x="2487" y="1905"/>
                      </a:lnTo>
                      <a:lnTo>
                        <a:pt x="2423" y="1934"/>
                      </a:lnTo>
                      <a:lnTo>
                        <a:pt x="2356" y="1962"/>
                      </a:lnTo>
                      <a:lnTo>
                        <a:pt x="2289" y="1989"/>
                      </a:lnTo>
                      <a:lnTo>
                        <a:pt x="2220" y="2015"/>
                      </a:lnTo>
                      <a:lnTo>
                        <a:pt x="2148" y="2040"/>
                      </a:lnTo>
                      <a:lnTo>
                        <a:pt x="2077" y="2064"/>
                      </a:lnTo>
                      <a:lnTo>
                        <a:pt x="2004" y="2088"/>
                      </a:lnTo>
                      <a:lnTo>
                        <a:pt x="1929" y="2110"/>
                      </a:lnTo>
                      <a:lnTo>
                        <a:pt x="1854" y="2130"/>
                      </a:lnTo>
                      <a:lnTo>
                        <a:pt x="1779" y="2149"/>
                      </a:lnTo>
                      <a:lnTo>
                        <a:pt x="1703" y="2166"/>
                      </a:lnTo>
                      <a:lnTo>
                        <a:pt x="1627" y="2181"/>
                      </a:lnTo>
                      <a:lnTo>
                        <a:pt x="1551" y="2195"/>
                      </a:lnTo>
                      <a:lnTo>
                        <a:pt x="1475" y="2206"/>
                      </a:lnTo>
                      <a:lnTo>
                        <a:pt x="1398" y="2215"/>
                      </a:lnTo>
                      <a:lnTo>
                        <a:pt x="1324" y="2221"/>
                      </a:lnTo>
                      <a:lnTo>
                        <a:pt x="1248" y="2225"/>
                      </a:lnTo>
                      <a:lnTo>
                        <a:pt x="1174" y="2227"/>
                      </a:lnTo>
                      <a:lnTo>
                        <a:pt x="1101" y="2226"/>
                      </a:lnTo>
                      <a:lnTo>
                        <a:pt x="1029" y="2221"/>
                      </a:lnTo>
                      <a:lnTo>
                        <a:pt x="959" y="2215"/>
                      </a:lnTo>
                      <a:lnTo>
                        <a:pt x="888" y="2205"/>
                      </a:lnTo>
                      <a:lnTo>
                        <a:pt x="822" y="2191"/>
                      </a:lnTo>
                      <a:lnTo>
                        <a:pt x="755" y="2175"/>
                      </a:lnTo>
                      <a:lnTo>
                        <a:pt x="691" y="2155"/>
                      </a:lnTo>
                      <a:lnTo>
                        <a:pt x="629" y="2131"/>
                      </a:lnTo>
                      <a:lnTo>
                        <a:pt x="570" y="2103"/>
                      </a:lnTo>
                      <a:lnTo>
                        <a:pt x="512" y="2072"/>
                      </a:lnTo>
                      <a:lnTo>
                        <a:pt x="479" y="2051"/>
                      </a:lnTo>
                      <a:lnTo>
                        <a:pt x="445" y="2030"/>
                      </a:lnTo>
                      <a:lnTo>
                        <a:pt x="412" y="2007"/>
                      </a:lnTo>
                      <a:lnTo>
                        <a:pt x="381" y="1984"/>
                      </a:lnTo>
                      <a:lnTo>
                        <a:pt x="351" y="1960"/>
                      </a:lnTo>
                      <a:lnTo>
                        <a:pt x="321" y="1935"/>
                      </a:lnTo>
                      <a:lnTo>
                        <a:pt x="293" y="1911"/>
                      </a:lnTo>
                      <a:lnTo>
                        <a:pt x="265" y="1885"/>
                      </a:lnTo>
                      <a:lnTo>
                        <a:pt x="240" y="1859"/>
                      </a:lnTo>
                      <a:lnTo>
                        <a:pt x="214" y="1832"/>
                      </a:lnTo>
                      <a:lnTo>
                        <a:pt x="191" y="1804"/>
                      </a:lnTo>
                      <a:lnTo>
                        <a:pt x="167" y="1775"/>
                      </a:lnTo>
                      <a:lnTo>
                        <a:pt x="146" y="1746"/>
                      </a:lnTo>
                      <a:lnTo>
                        <a:pt x="126" y="1716"/>
                      </a:lnTo>
                      <a:lnTo>
                        <a:pt x="107" y="1686"/>
                      </a:lnTo>
                      <a:lnTo>
                        <a:pt x="90" y="1655"/>
                      </a:lnTo>
                      <a:lnTo>
                        <a:pt x="74" y="1623"/>
                      </a:lnTo>
                      <a:lnTo>
                        <a:pt x="59" y="1590"/>
                      </a:lnTo>
                      <a:lnTo>
                        <a:pt x="47" y="1557"/>
                      </a:lnTo>
                      <a:lnTo>
                        <a:pt x="35" y="1524"/>
                      </a:lnTo>
                      <a:lnTo>
                        <a:pt x="25" y="1489"/>
                      </a:lnTo>
                      <a:lnTo>
                        <a:pt x="17" y="1455"/>
                      </a:lnTo>
                      <a:lnTo>
                        <a:pt x="10" y="1419"/>
                      </a:lnTo>
                      <a:lnTo>
                        <a:pt x="5" y="1382"/>
                      </a:lnTo>
                      <a:lnTo>
                        <a:pt x="1" y="1346"/>
                      </a:lnTo>
                      <a:lnTo>
                        <a:pt x="0" y="1308"/>
                      </a:lnTo>
                      <a:lnTo>
                        <a:pt x="0" y="1270"/>
                      </a:lnTo>
                      <a:lnTo>
                        <a:pt x="2" y="1231"/>
                      </a:lnTo>
                      <a:lnTo>
                        <a:pt x="6" y="1192"/>
                      </a:lnTo>
                      <a:lnTo>
                        <a:pt x="11" y="1152"/>
                      </a:lnTo>
                      <a:lnTo>
                        <a:pt x="19" y="1112"/>
                      </a:lnTo>
                      <a:lnTo>
                        <a:pt x="29" y="1071"/>
                      </a:lnTo>
                      <a:close/>
                    </a:path>
                  </a:pathLst>
                </a:custGeom>
                <a:solidFill>
                  <a:srgbClr val="242D54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317" name="Freeform 212"/>
                <p:cNvSpPr>
                  <a:spLocks/>
                </p:cNvSpPr>
                <p:nvPr/>
              </p:nvSpPr>
              <p:spPr bwMode="auto">
                <a:xfrm>
                  <a:off x="2763" y="2652"/>
                  <a:ext cx="509" cy="269"/>
                </a:xfrm>
                <a:custGeom>
                  <a:avLst/>
                  <a:gdLst>
                    <a:gd name="T0" fmla="*/ 0 w 3582"/>
                    <a:gd name="T1" fmla="*/ 0 h 1884"/>
                    <a:gd name="T2" fmla="*/ 0 w 3582"/>
                    <a:gd name="T3" fmla="*/ 0 h 1884"/>
                    <a:gd name="T4" fmla="*/ 0 w 3582"/>
                    <a:gd name="T5" fmla="*/ 0 h 1884"/>
                    <a:gd name="T6" fmla="*/ 0 w 3582"/>
                    <a:gd name="T7" fmla="*/ 0 h 1884"/>
                    <a:gd name="T8" fmla="*/ 0 w 3582"/>
                    <a:gd name="T9" fmla="*/ 0 h 1884"/>
                    <a:gd name="T10" fmla="*/ 0 w 3582"/>
                    <a:gd name="T11" fmla="*/ 0 h 1884"/>
                    <a:gd name="T12" fmla="*/ 0 w 3582"/>
                    <a:gd name="T13" fmla="*/ 0 h 1884"/>
                    <a:gd name="T14" fmla="*/ 0 w 3582"/>
                    <a:gd name="T15" fmla="*/ 0 h 1884"/>
                    <a:gd name="T16" fmla="*/ 0 w 3582"/>
                    <a:gd name="T17" fmla="*/ 0 h 1884"/>
                    <a:gd name="T18" fmla="*/ 0 w 3582"/>
                    <a:gd name="T19" fmla="*/ 0 h 1884"/>
                    <a:gd name="T20" fmla="*/ 0 w 3582"/>
                    <a:gd name="T21" fmla="*/ 0 h 1884"/>
                    <a:gd name="T22" fmla="*/ 0 w 3582"/>
                    <a:gd name="T23" fmla="*/ 0 h 1884"/>
                    <a:gd name="T24" fmla="*/ 0 w 3582"/>
                    <a:gd name="T25" fmla="*/ 0 h 1884"/>
                    <a:gd name="T26" fmla="*/ 0 w 3582"/>
                    <a:gd name="T27" fmla="*/ 0 h 1884"/>
                    <a:gd name="T28" fmla="*/ 0 w 3582"/>
                    <a:gd name="T29" fmla="*/ 0 h 1884"/>
                    <a:gd name="T30" fmla="*/ 0 w 3582"/>
                    <a:gd name="T31" fmla="*/ 0 h 1884"/>
                    <a:gd name="T32" fmla="*/ 0 w 3582"/>
                    <a:gd name="T33" fmla="*/ 0 h 1884"/>
                    <a:gd name="T34" fmla="*/ 0 w 3582"/>
                    <a:gd name="T35" fmla="*/ 0 h 1884"/>
                    <a:gd name="T36" fmla="*/ 0 w 3582"/>
                    <a:gd name="T37" fmla="*/ 0 h 1884"/>
                    <a:gd name="T38" fmla="*/ 0 w 3582"/>
                    <a:gd name="T39" fmla="*/ 0 h 1884"/>
                    <a:gd name="T40" fmla="*/ 0 w 3582"/>
                    <a:gd name="T41" fmla="*/ 0 h 1884"/>
                    <a:gd name="T42" fmla="*/ 0 w 3582"/>
                    <a:gd name="T43" fmla="*/ 0 h 1884"/>
                    <a:gd name="T44" fmla="*/ 0 w 3582"/>
                    <a:gd name="T45" fmla="*/ 0 h 1884"/>
                    <a:gd name="T46" fmla="*/ 0 w 3582"/>
                    <a:gd name="T47" fmla="*/ 0 h 1884"/>
                    <a:gd name="T48" fmla="*/ 0 w 3582"/>
                    <a:gd name="T49" fmla="*/ 0 h 1884"/>
                    <a:gd name="T50" fmla="*/ 0 w 3582"/>
                    <a:gd name="T51" fmla="*/ 0 h 1884"/>
                    <a:gd name="T52" fmla="*/ 0 w 3582"/>
                    <a:gd name="T53" fmla="*/ 0 h 1884"/>
                    <a:gd name="T54" fmla="*/ 0 w 3582"/>
                    <a:gd name="T55" fmla="*/ 0 h 1884"/>
                    <a:gd name="T56" fmla="*/ 0 w 3582"/>
                    <a:gd name="T57" fmla="*/ 0 h 1884"/>
                    <a:gd name="T58" fmla="*/ 0 w 3582"/>
                    <a:gd name="T59" fmla="*/ 0 h 1884"/>
                    <a:gd name="T60" fmla="*/ 0 w 3582"/>
                    <a:gd name="T61" fmla="*/ 0 h 1884"/>
                    <a:gd name="T62" fmla="*/ 0 w 3582"/>
                    <a:gd name="T63" fmla="*/ 0 h 1884"/>
                    <a:gd name="T64" fmla="*/ 0 w 3582"/>
                    <a:gd name="T65" fmla="*/ 0 h 1884"/>
                    <a:gd name="T66" fmla="*/ 0 w 3582"/>
                    <a:gd name="T67" fmla="*/ 0 h 1884"/>
                    <a:gd name="T68" fmla="*/ 0 w 3582"/>
                    <a:gd name="T69" fmla="*/ 0 h 1884"/>
                    <a:gd name="T70" fmla="*/ 0 w 3582"/>
                    <a:gd name="T71" fmla="*/ 0 h 1884"/>
                    <a:gd name="T72" fmla="*/ 0 w 3582"/>
                    <a:gd name="T73" fmla="*/ 0 h 1884"/>
                    <a:gd name="T74" fmla="*/ 0 w 3582"/>
                    <a:gd name="T75" fmla="*/ 0 h 1884"/>
                    <a:gd name="T76" fmla="*/ 0 w 3582"/>
                    <a:gd name="T77" fmla="*/ 0 h 1884"/>
                    <a:gd name="T78" fmla="*/ 0 w 3582"/>
                    <a:gd name="T79" fmla="*/ 0 h 1884"/>
                    <a:gd name="T80" fmla="*/ 0 w 3582"/>
                    <a:gd name="T81" fmla="*/ 0 h 1884"/>
                    <a:gd name="T82" fmla="*/ 0 w 3582"/>
                    <a:gd name="T83" fmla="*/ 0 h 1884"/>
                    <a:gd name="T84" fmla="*/ 0 w 3582"/>
                    <a:gd name="T85" fmla="*/ 0 h 1884"/>
                    <a:gd name="T86" fmla="*/ 0 w 3582"/>
                    <a:gd name="T87" fmla="*/ 0 h 1884"/>
                    <a:gd name="T88" fmla="*/ 0 w 3582"/>
                    <a:gd name="T89" fmla="*/ 0 h 1884"/>
                    <a:gd name="T90" fmla="*/ 0 w 3582"/>
                    <a:gd name="T91" fmla="*/ 0 h 1884"/>
                    <a:gd name="T92" fmla="*/ 0 w 3582"/>
                    <a:gd name="T93" fmla="*/ 0 h 1884"/>
                    <a:gd name="T94" fmla="*/ 0 w 3582"/>
                    <a:gd name="T95" fmla="*/ 0 h 1884"/>
                    <a:gd name="T96" fmla="*/ 0 w 3582"/>
                    <a:gd name="T97" fmla="*/ 0 h 1884"/>
                    <a:gd name="T98" fmla="*/ 0 w 3582"/>
                    <a:gd name="T99" fmla="*/ 0 h 1884"/>
                    <a:gd name="T100" fmla="*/ 0 w 3582"/>
                    <a:gd name="T101" fmla="*/ 0 h 1884"/>
                    <a:gd name="T102" fmla="*/ 0 w 3582"/>
                    <a:gd name="T103" fmla="*/ 0 h 1884"/>
                    <a:gd name="T104" fmla="*/ 0 w 3582"/>
                    <a:gd name="T105" fmla="*/ 0 h 1884"/>
                    <a:gd name="T106" fmla="*/ 0 w 3582"/>
                    <a:gd name="T107" fmla="*/ 0 h 1884"/>
                    <a:gd name="T108" fmla="*/ 0 w 3582"/>
                    <a:gd name="T109" fmla="*/ 0 h 1884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3582"/>
                    <a:gd name="T166" fmla="*/ 0 h 1884"/>
                    <a:gd name="T167" fmla="*/ 3582 w 3582"/>
                    <a:gd name="T168" fmla="*/ 1884 h 1884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3582" h="1884">
                      <a:moveTo>
                        <a:pt x="29" y="728"/>
                      </a:moveTo>
                      <a:lnTo>
                        <a:pt x="32" y="715"/>
                      </a:lnTo>
                      <a:lnTo>
                        <a:pt x="36" y="702"/>
                      </a:lnTo>
                      <a:lnTo>
                        <a:pt x="40" y="689"/>
                      </a:lnTo>
                      <a:lnTo>
                        <a:pt x="43" y="677"/>
                      </a:lnTo>
                      <a:lnTo>
                        <a:pt x="49" y="701"/>
                      </a:lnTo>
                      <a:lnTo>
                        <a:pt x="56" y="725"/>
                      </a:lnTo>
                      <a:lnTo>
                        <a:pt x="62" y="749"/>
                      </a:lnTo>
                      <a:lnTo>
                        <a:pt x="70" y="773"/>
                      </a:lnTo>
                      <a:lnTo>
                        <a:pt x="78" y="796"/>
                      </a:lnTo>
                      <a:lnTo>
                        <a:pt x="87" y="819"/>
                      </a:lnTo>
                      <a:lnTo>
                        <a:pt x="97" y="842"/>
                      </a:lnTo>
                      <a:lnTo>
                        <a:pt x="107" y="864"/>
                      </a:lnTo>
                      <a:lnTo>
                        <a:pt x="118" y="886"/>
                      </a:lnTo>
                      <a:lnTo>
                        <a:pt x="130" y="908"/>
                      </a:lnTo>
                      <a:lnTo>
                        <a:pt x="142" y="929"/>
                      </a:lnTo>
                      <a:lnTo>
                        <a:pt x="156" y="951"/>
                      </a:lnTo>
                      <a:lnTo>
                        <a:pt x="170" y="972"/>
                      </a:lnTo>
                      <a:lnTo>
                        <a:pt x="185" y="992"/>
                      </a:lnTo>
                      <a:lnTo>
                        <a:pt x="199" y="1012"/>
                      </a:lnTo>
                      <a:lnTo>
                        <a:pt x="216" y="1032"/>
                      </a:lnTo>
                      <a:lnTo>
                        <a:pt x="231" y="1052"/>
                      </a:lnTo>
                      <a:lnTo>
                        <a:pt x="249" y="1071"/>
                      </a:lnTo>
                      <a:lnTo>
                        <a:pt x="266" y="1090"/>
                      </a:lnTo>
                      <a:lnTo>
                        <a:pt x="285" y="1108"/>
                      </a:lnTo>
                      <a:lnTo>
                        <a:pt x="303" y="1126"/>
                      </a:lnTo>
                      <a:lnTo>
                        <a:pt x="322" y="1144"/>
                      </a:lnTo>
                      <a:lnTo>
                        <a:pt x="342" y="1162"/>
                      </a:lnTo>
                      <a:lnTo>
                        <a:pt x="362" y="1179"/>
                      </a:lnTo>
                      <a:lnTo>
                        <a:pt x="383" y="1195"/>
                      </a:lnTo>
                      <a:lnTo>
                        <a:pt x="404" y="1212"/>
                      </a:lnTo>
                      <a:lnTo>
                        <a:pt x="426" y="1229"/>
                      </a:lnTo>
                      <a:lnTo>
                        <a:pt x="448" y="1244"/>
                      </a:lnTo>
                      <a:lnTo>
                        <a:pt x="494" y="1276"/>
                      </a:lnTo>
                      <a:lnTo>
                        <a:pt x="541" y="1304"/>
                      </a:lnTo>
                      <a:lnTo>
                        <a:pt x="599" y="1336"/>
                      </a:lnTo>
                      <a:lnTo>
                        <a:pt x="658" y="1363"/>
                      </a:lnTo>
                      <a:lnTo>
                        <a:pt x="720" y="1387"/>
                      </a:lnTo>
                      <a:lnTo>
                        <a:pt x="783" y="1407"/>
                      </a:lnTo>
                      <a:lnTo>
                        <a:pt x="850" y="1424"/>
                      </a:lnTo>
                      <a:lnTo>
                        <a:pt x="917" y="1437"/>
                      </a:lnTo>
                      <a:lnTo>
                        <a:pt x="987" y="1447"/>
                      </a:lnTo>
                      <a:lnTo>
                        <a:pt x="1057" y="1455"/>
                      </a:lnTo>
                      <a:lnTo>
                        <a:pt x="1130" y="1458"/>
                      </a:lnTo>
                      <a:lnTo>
                        <a:pt x="1203" y="1459"/>
                      </a:lnTo>
                      <a:lnTo>
                        <a:pt x="1277" y="1458"/>
                      </a:lnTo>
                      <a:lnTo>
                        <a:pt x="1352" y="1454"/>
                      </a:lnTo>
                      <a:lnTo>
                        <a:pt x="1427" y="1447"/>
                      </a:lnTo>
                      <a:lnTo>
                        <a:pt x="1504" y="1438"/>
                      </a:lnTo>
                      <a:lnTo>
                        <a:pt x="1579" y="1427"/>
                      </a:lnTo>
                      <a:lnTo>
                        <a:pt x="1656" y="1414"/>
                      </a:lnTo>
                      <a:lnTo>
                        <a:pt x="1732" y="1398"/>
                      </a:lnTo>
                      <a:lnTo>
                        <a:pt x="1807" y="1381"/>
                      </a:lnTo>
                      <a:lnTo>
                        <a:pt x="1883" y="1362"/>
                      </a:lnTo>
                      <a:lnTo>
                        <a:pt x="1958" y="1342"/>
                      </a:lnTo>
                      <a:lnTo>
                        <a:pt x="2032" y="1320"/>
                      </a:lnTo>
                      <a:lnTo>
                        <a:pt x="2106" y="1298"/>
                      </a:lnTo>
                      <a:lnTo>
                        <a:pt x="2177" y="1273"/>
                      </a:lnTo>
                      <a:lnTo>
                        <a:pt x="2248" y="1248"/>
                      </a:lnTo>
                      <a:lnTo>
                        <a:pt x="2317" y="1221"/>
                      </a:lnTo>
                      <a:lnTo>
                        <a:pt x="2385" y="1194"/>
                      </a:lnTo>
                      <a:lnTo>
                        <a:pt x="2452" y="1166"/>
                      </a:lnTo>
                      <a:lnTo>
                        <a:pt x="2515" y="1139"/>
                      </a:lnTo>
                      <a:lnTo>
                        <a:pt x="2578" y="1110"/>
                      </a:lnTo>
                      <a:lnTo>
                        <a:pt x="2637" y="1080"/>
                      </a:lnTo>
                      <a:lnTo>
                        <a:pt x="2695" y="1051"/>
                      </a:lnTo>
                      <a:lnTo>
                        <a:pt x="2749" y="1022"/>
                      </a:lnTo>
                      <a:lnTo>
                        <a:pt x="2780" y="1004"/>
                      </a:lnTo>
                      <a:lnTo>
                        <a:pt x="2810" y="986"/>
                      </a:lnTo>
                      <a:lnTo>
                        <a:pt x="2840" y="967"/>
                      </a:lnTo>
                      <a:lnTo>
                        <a:pt x="2870" y="948"/>
                      </a:lnTo>
                      <a:lnTo>
                        <a:pt x="2900" y="928"/>
                      </a:lnTo>
                      <a:lnTo>
                        <a:pt x="2929" y="907"/>
                      </a:lnTo>
                      <a:lnTo>
                        <a:pt x="2958" y="886"/>
                      </a:lnTo>
                      <a:lnTo>
                        <a:pt x="2987" y="865"/>
                      </a:lnTo>
                      <a:lnTo>
                        <a:pt x="3015" y="843"/>
                      </a:lnTo>
                      <a:lnTo>
                        <a:pt x="3044" y="819"/>
                      </a:lnTo>
                      <a:lnTo>
                        <a:pt x="3071" y="796"/>
                      </a:lnTo>
                      <a:lnTo>
                        <a:pt x="3099" y="771"/>
                      </a:lnTo>
                      <a:lnTo>
                        <a:pt x="3124" y="747"/>
                      </a:lnTo>
                      <a:lnTo>
                        <a:pt x="3151" y="722"/>
                      </a:lnTo>
                      <a:lnTo>
                        <a:pt x="3176" y="696"/>
                      </a:lnTo>
                      <a:lnTo>
                        <a:pt x="3201" y="670"/>
                      </a:lnTo>
                      <a:lnTo>
                        <a:pt x="3225" y="643"/>
                      </a:lnTo>
                      <a:lnTo>
                        <a:pt x="3249" y="616"/>
                      </a:lnTo>
                      <a:lnTo>
                        <a:pt x="3272" y="588"/>
                      </a:lnTo>
                      <a:lnTo>
                        <a:pt x="3294" y="560"/>
                      </a:lnTo>
                      <a:lnTo>
                        <a:pt x="3317" y="531"/>
                      </a:lnTo>
                      <a:lnTo>
                        <a:pt x="3338" y="502"/>
                      </a:lnTo>
                      <a:lnTo>
                        <a:pt x="3358" y="472"/>
                      </a:lnTo>
                      <a:lnTo>
                        <a:pt x="3378" y="442"/>
                      </a:lnTo>
                      <a:lnTo>
                        <a:pt x="3397" y="412"/>
                      </a:lnTo>
                      <a:lnTo>
                        <a:pt x="3415" y="381"/>
                      </a:lnTo>
                      <a:lnTo>
                        <a:pt x="3431" y="350"/>
                      </a:lnTo>
                      <a:lnTo>
                        <a:pt x="3448" y="317"/>
                      </a:lnTo>
                      <a:lnTo>
                        <a:pt x="3464" y="286"/>
                      </a:lnTo>
                      <a:lnTo>
                        <a:pt x="3478" y="253"/>
                      </a:lnTo>
                      <a:lnTo>
                        <a:pt x="3493" y="221"/>
                      </a:lnTo>
                      <a:lnTo>
                        <a:pt x="3505" y="187"/>
                      </a:lnTo>
                      <a:lnTo>
                        <a:pt x="3514" y="164"/>
                      </a:lnTo>
                      <a:lnTo>
                        <a:pt x="3521" y="140"/>
                      </a:lnTo>
                      <a:lnTo>
                        <a:pt x="3529" y="117"/>
                      </a:lnTo>
                      <a:lnTo>
                        <a:pt x="3537" y="94"/>
                      </a:lnTo>
                      <a:lnTo>
                        <a:pt x="3545" y="70"/>
                      </a:lnTo>
                      <a:lnTo>
                        <a:pt x="3552" y="47"/>
                      </a:lnTo>
                      <a:lnTo>
                        <a:pt x="3558" y="24"/>
                      </a:lnTo>
                      <a:lnTo>
                        <a:pt x="3565" y="0"/>
                      </a:lnTo>
                      <a:lnTo>
                        <a:pt x="3569" y="16"/>
                      </a:lnTo>
                      <a:lnTo>
                        <a:pt x="3573" y="33"/>
                      </a:lnTo>
                      <a:lnTo>
                        <a:pt x="3576" y="49"/>
                      </a:lnTo>
                      <a:lnTo>
                        <a:pt x="3578" y="66"/>
                      </a:lnTo>
                      <a:lnTo>
                        <a:pt x="3582" y="100"/>
                      </a:lnTo>
                      <a:lnTo>
                        <a:pt x="3582" y="136"/>
                      </a:lnTo>
                      <a:lnTo>
                        <a:pt x="3582" y="173"/>
                      </a:lnTo>
                      <a:lnTo>
                        <a:pt x="3578" y="211"/>
                      </a:lnTo>
                      <a:lnTo>
                        <a:pt x="3574" y="250"/>
                      </a:lnTo>
                      <a:lnTo>
                        <a:pt x="3568" y="288"/>
                      </a:lnTo>
                      <a:lnTo>
                        <a:pt x="3560" y="329"/>
                      </a:lnTo>
                      <a:lnTo>
                        <a:pt x="3552" y="369"/>
                      </a:lnTo>
                      <a:lnTo>
                        <a:pt x="3541" y="409"/>
                      </a:lnTo>
                      <a:lnTo>
                        <a:pt x="3530" y="450"/>
                      </a:lnTo>
                      <a:lnTo>
                        <a:pt x="3518" y="491"/>
                      </a:lnTo>
                      <a:lnTo>
                        <a:pt x="3505" y="531"/>
                      </a:lnTo>
                      <a:lnTo>
                        <a:pt x="3491" y="572"/>
                      </a:lnTo>
                      <a:lnTo>
                        <a:pt x="3477" y="612"/>
                      </a:lnTo>
                      <a:lnTo>
                        <a:pt x="3464" y="646"/>
                      </a:lnTo>
                      <a:lnTo>
                        <a:pt x="3450" y="678"/>
                      </a:lnTo>
                      <a:lnTo>
                        <a:pt x="3436" y="710"/>
                      </a:lnTo>
                      <a:lnTo>
                        <a:pt x="3420" y="742"/>
                      </a:lnTo>
                      <a:lnTo>
                        <a:pt x="3403" y="775"/>
                      </a:lnTo>
                      <a:lnTo>
                        <a:pt x="3387" y="806"/>
                      </a:lnTo>
                      <a:lnTo>
                        <a:pt x="3368" y="837"/>
                      </a:lnTo>
                      <a:lnTo>
                        <a:pt x="3349" y="867"/>
                      </a:lnTo>
                      <a:lnTo>
                        <a:pt x="3330" y="897"/>
                      </a:lnTo>
                      <a:lnTo>
                        <a:pt x="3309" y="927"/>
                      </a:lnTo>
                      <a:lnTo>
                        <a:pt x="3288" y="956"/>
                      </a:lnTo>
                      <a:lnTo>
                        <a:pt x="3267" y="985"/>
                      </a:lnTo>
                      <a:lnTo>
                        <a:pt x="3244" y="1013"/>
                      </a:lnTo>
                      <a:lnTo>
                        <a:pt x="3221" y="1041"/>
                      </a:lnTo>
                      <a:lnTo>
                        <a:pt x="3196" y="1069"/>
                      </a:lnTo>
                      <a:lnTo>
                        <a:pt x="3173" y="1095"/>
                      </a:lnTo>
                      <a:lnTo>
                        <a:pt x="3147" y="1121"/>
                      </a:lnTo>
                      <a:lnTo>
                        <a:pt x="3122" y="1146"/>
                      </a:lnTo>
                      <a:lnTo>
                        <a:pt x="3096" y="1172"/>
                      </a:lnTo>
                      <a:lnTo>
                        <a:pt x="3070" y="1197"/>
                      </a:lnTo>
                      <a:lnTo>
                        <a:pt x="3043" y="1221"/>
                      </a:lnTo>
                      <a:lnTo>
                        <a:pt x="3015" y="1244"/>
                      </a:lnTo>
                      <a:lnTo>
                        <a:pt x="2987" y="1268"/>
                      </a:lnTo>
                      <a:lnTo>
                        <a:pt x="2959" y="1290"/>
                      </a:lnTo>
                      <a:lnTo>
                        <a:pt x="2930" y="1311"/>
                      </a:lnTo>
                      <a:lnTo>
                        <a:pt x="2902" y="1332"/>
                      </a:lnTo>
                      <a:lnTo>
                        <a:pt x="2871" y="1353"/>
                      </a:lnTo>
                      <a:lnTo>
                        <a:pt x="2843" y="1373"/>
                      </a:lnTo>
                      <a:lnTo>
                        <a:pt x="2812" y="1392"/>
                      </a:lnTo>
                      <a:lnTo>
                        <a:pt x="2781" y="1411"/>
                      </a:lnTo>
                      <a:lnTo>
                        <a:pt x="2751" y="1429"/>
                      </a:lnTo>
                      <a:lnTo>
                        <a:pt x="2721" y="1446"/>
                      </a:lnTo>
                      <a:lnTo>
                        <a:pt x="2666" y="1476"/>
                      </a:lnTo>
                      <a:lnTo>
                        <a:pt x="2609" y="1505"/>
                      </a:lnTo>
                      <a:lnTo>
                        <a:pt x="2549" y="1535"/>
                      </a:lnTo>
                      <a:lnTo>
                        <a:pt x="2487" y="1563"/>
                      </a:lnTo>
                      <a:lnTo>
                        <a:pt x="2423" y="1592"/>
                      </a:lnTo>
                      <a:lnTo>
                        <a:pt x="2357" y="1619"/>
                      </a:lnTo>
                      <a:lnTo>
                        <a:pt x="2289" y="1646"/>
                      </a:lnTo>
                      <a:lnTo>
                        <a:pt x="2220" y="1673"/>
                      </a:lnTo>
                      <a:lnTo>
                        <a:pt x="2149" y="1698"/>
                      </a:lnTo>
                      <a:lnTo>
                        <a:pt x="2077" y="1723"/>
                      </a:lnTo>
                      <a:lnTo>
                        <a:pt x="2003" y="1745"/>
                      </a:lnTo>
                      <a:lnTo>
                        <a:pt x="1930" y="1767"/>
                      </a:lnTo>
                      <a:lnTo>
                        <a:pt x="1854" y="1787"/>
                      </a:lnTo>
                      <a:lnTo>
                        <a:pt x="1780" y="1806"/>
                      </a:lnTo>
                      <a:lnTo>
                        <a:pt x="1703" y="1823"/>
                      </a:lnTo>
                      <a:lnTo>
                        <a:pt x="1627" y="1839"/>
                      </a:lnTo>
                      <a:lnTo>
                        <a:pt x="1550" y="1852"/>
                      </a:lnTo>
                      <a:lnTo>
                        <a:pt x="1475" y="1863"/>
                      </a:lnTo>
                      <a:lnTo>
                        <a:pt x="1399" y="1872"/>
                      </a:lnTo>
                      <a:lnTo>
                        <a:pt x="1323" y="1879"/>
                      </a:lnTo>
                      <a:lnTo>
                        <a:pt x="1249" y="1883"/>
                      </a:lnTo>
                      <a:lnTo>
                        <a:pt x="1174" y="1884"/>
                      </a:lnTo>
                      <a:lnTo>
                        <a:pt x="1102" y="1883"/>
                      </a:lnTo>
                      <a:lnTo>
                        <a:pt x="1029" y="1879"/>
                      </a:lnTo>
                      <a:lnTo>
                        <a:pt x="958" y="1872"/>
                      </a:lnTo>
                      <a:lnTo>
                        <a:pt x="889" y="1862"/>
                      </a:lnTo>
                      <a:lnTo>
                        <a:pt x="821" y="1849"/>
                      </a:lnTo>
                      <a:lnTo>
                        <a:pt x="756" y="1832"/>
                      </a:lnTo>
                      <a:lnTo>
                        <a:pt x="691" y="1812"/>
                      </a:lnTo>
                      <a:lnTo>
                        <a:pt x="630" y="1789"/>
                      </a:lnTo>
                      <a:lnTo>
                        <a:pt x="570" y="1761"/>
                      </a:lnTo>
                      <a:lnTo>
                        <a:pt x="513" y="1730"/>
                      </a:lnTo>
                      <a:lnTo>
                        <a:pt x="479" y="1708"/>
                      </a:lnTo>
                      <a:lnTo>
                        <a:pt x="445" y="1687"/>
                      </a:lnTo>
                      <a:lnTo>
                        <a:pt x="413" y="1665"/>
                      </a:lnTo>
                      <a:lnTo>
                        <a:pt x="382" y="1642"/>
                      </a:lnTo>
                      <a:lnTo>
                        <a:pt x="351" y="1618"/>
                      </a:lnTo>
                      <a:lnTo>
                        <a:pt x="322" y="1594"/>
                      </a:lnTo>
                      <a:lnTo>
                        <a:pt x="293" y="1568"/>
                      </a:lnTo>
                      <a:lnTo>
                        <a:pt x="266" y="1543"/>
                      </a:lnTo>
                      <a:lnTo>
                        <a:pt x="239" y="1516"/>
                      </a:lnTo>
                      <a:lnTo>
                        <a:pt x="215" y="1489"/>
                      </a:lnTo>
                      <a:lnTo>
                        <a:pt x="190" y="1461"/>
                      </a:lnTo>
                      <a:lnTo>
                        <a:pt x="168" y="1432"/>
                      </a:lnTo>
                      <a:lnTo>
                        <a:pt x="147" y="1404"/>
                      </a:lnTo>
                      <a:lnTo>
                        <a:pt x="127" y="1373"/>
                      </a:lnTo>
                      <a:lnTo>
                        <a:pt x="108" y="1343"/>
                      </a:lnTo>
                      <a:lnTo>
                        <a:pt x="90" y="1312"/>
                      </a:lnTo>
                      <a:lnTo>
                        <a:pt x="74" y="1280"/>
                      </a:lnTo>
                      <a:lnTo>
                        <a:pt x="60" y="1248"/>
                      </a:lnTo>
                      <a:lnTo>
                        <a:pt x="47" y="1215"/>
                      </a:lnTo>
                      <a:lnTo>
                        <a:pt x="36" y="1181"/>
                      </a:lnTo>
                      <a:lnTo>
                        <a:pt x="26" y="1148"/>
                      </a:lnTo>
                      <a:lnTo>
                        <a:pt x="17" y="1112"/>
                      </a:lnTo>
                      <a:lnTo>
                        <a:pt x="10" y="1076"/>
                      </a:lnTo>
                      <a:lnTo>
                        <a:pt x="5" y="1041"/>
                      </a:lnTo>
                      <a:lnTo>
                        <a:pt x="2" y="1003"/>
                      </a:lnTo>
                      <a:lnTo>
                        <a:pt x="0" y="966"/>
                      </a:lnTo>
                      <a:lnTo>
                        <a:pt x="0" y="928"/>
                      </a:lnTo>
                      <a:lnTo>
                        <a:pt x="2" y="889"/>
                      </a:lnTo>
                      <a:lnTo>
                        <a:pt x="7" y="849"/>
                      </a:lnTo>
                      <a:lnTo>
                        <a:pt x="12" y="809"/>
                      </a:lnTo>
                      <a:lnTo>
                        <a:pt x="20" y="769"/>
                      </a:lnTo>
                      <a:lnTo>
                        <a:pt x="29" y="728"/>
                      </a:lnTo>
                      <a:close/>
                    </a:path>
                  </a:pathLst>
                </a:custGeom>
                <a:solidFill>
                  <a:srgbClr val="1B233E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318" name="Freeform 213"/>
                <p:cNvSpPr>
                  <a:spLocks/>
                </p:cNvSpPr>
                <p:nvPr/>
              </p:nvSpPr>
              <p:spPr bwMode="auto">
                <a:xfrm>
                  <a:off x="2767" y="2612"/>
                  <a:ext cx="509" cy="230"/>
                </a:xfrm>
                <a:custGeom>
                  <a:avLst/>
                  <a:gdLst>
                    <a:gd name="T0" fmla="*/ 0 w 3578"/>
                    <a:gd name="T1" fmla="*/ 0 h 1617"/>
                    <a:gd name="T2" fmla="*/ 0 w 3578"/>
                    <a:gd name="T3" fmla="*/ 0 h 1617"/>
                    <a:gd name="T4" fmla="*/ 0 w 3578"/>
                    <a:gd name="T5" fmla="*/ 0 h 1617"/>
                    <a:gd name="T6" fmla="*/ 0 w 3578"/>
                    <a:gd name="T7" fmla="*/ 0 h 1617"/>
                    <a:gd name="T8" fmla="*/ 0 w 3578"/>
                    <a:gd name="T9" fmla="*/ 0 h 1617"/>
                    <a:gd name="T10" fmla="*/ 0 w 3578"/>
                    <a:gd name="T11" fmla="*/ 0 h 1617"/>
                    <a:gd name="T12" fmla="*/ 0 w 3578"/>
                    <a:gd name="T13" fmla="*/ 0 h 1617"/>
                    <a:gd name="T14" fmla="*/ 0 w 3578"/>
                    <a:gd name="T15" fmla="*/ 0 h 1617"/>
                    <a:gd name="T16" fmla="*/ 0 w 3578"/>
                    <a:gd name="T17" fmla="*/ 0 h 1617"/>
                    <a:gd name="T18" fmla="*/ 0 w 3578"/>
                    <a:gd name="T19" fmla="*/ 0 h 1617"/>
                    <a:gd name="T20" fmla="*/ 0 w 3578"/>
                    <a:gd name="T21" fmla="*/ 0 h 1617"/>
                    <a:gd name="T22" fmla="*/ 0 w 3578"/>
                    <a:gd name="T23" fmla="*/ 0 h 1617"/>
                    <a:gd name="T24" fmla="*/ 0 w 3578"/>
                    <a:gd name="T25" fmla="*/ 0 h 1617"/>
                    <a:gd name="T26" fmla="*/ 0 w 3578"/>
                    <a:gd name="T27" fmla="*/ 0 h 1617"/>
                    <a:gd name="T28" fmla="*/ 0 w 3578"/>
                    <a:gd name="T29" fmla="*/ 0 h 1617"/>
                    <a:gd name="T30" fmla="*/ 0 w 3578"/>
                    <a:gd name="T31" fmla="*/ 0 h 1617"/>
                    <a:gd name="T32" fmla="*/ 0 w 3578"/>
                    <a:gd name="T33" fmla="*/ 0 h 1617"/>
                    <a:gd name="T34" fmla="*/ 0 w 3578"/>
                    <a:gd name="T35" fmla="*/ 0 h 1617"/>
                    <a:gd name="T36" fmla="*/ 0 w 3578"/>
                    <a:gd name="T37" fmla="*/ 0 h 1617"/>
                    <a:gd name="T38" fmla="*/ 0 w 3578"/>
                    <a:gd name="T39" fmla="*/ 0 h 1617"/>
                    <a:gd name="T40" fmla="*/ 0 w 3578"/>
                    <a:gd name="T41" fmla="*/ 0 h 1617"/>
                    <a:gd name="T42" fmla="*/ 0 w 3578"/>
                    <a:gd name="T43" fmla="*/ 0 h 1617"/>
                    <a:gd name="T44" fmla="*/ 0 w 3578"/>
                    <a:gd name="T45" fmla="*/ 0 h 1617"/>
                    <a:gd name="T46" fmla="*/ 0 w 3578"/>
                    <a:gd name="T47" fmla="*/ 0 h 1617"/>
                    <a:gd name="T48" fmla="*/ 0 w 3578"/>
                    <a:gd name="T49" fmla="*/ 0 h 1617"/>
                    <a:gd name="T50" fmla="*/ 0 w 3578"/>
                    <a:gd name="T51" fmla="*/ 0 h 1617"/>
                    <a:gd name="T52" fmla="*/ 0 w 3578"/>
                    <a:gd name="T53" fmla="*/ 0 h 1617"/>
                    <a:gd name="T54" fmla="*/ 0 w 3578"/>
                    <a:gd name="T55" fmla="*/ 0 h 1617"/>
                    <a:gd name="T56" fmla="*/ 0 w 3578"/>
                    <a:gd name="T57" fmla="*/ 0 h 1617"/>
                    <a:gd name="T58" fmla="*/ 0 w 3578"/>
                    <a:gd name="T59" fmla="*/ 0 h 1617"/>
                    <a:gd name="T60" fmla="*/ 0 w 3578"/>
                    <a:gd name="T61" fmla="*/ 0 h 1617"/>
                    <a:gd name="T62" fmla="*/ 0 w 3578"/>
                    <a:gd name="T63" fmla="*/ 0 h 1617"/>
                    <a:gd name="T64" fmla="*/ 0 w 3578"/>
                    <a:gd name="T65" fmla="*/ 0 h 1617"/>
                    <a:gd name="T66" fmla="*/ 0 w 3578"/>
                    <a:gd name="T67" fmla="*/ 0 h 1617"/>
                    <a:gd name="T68" fmla="*/ 0 w 3578"/>
                    <a:gd name="T69" fmla="*/ 0 h 1617"/>
                    <a:gd name="T70" fmla="*/ 0 w 3578"/>
                    <a:gd name="T71" fmla="*/ 0 h 1617"/>
                    <a:gd name="T72" fmla="*/ 0 w 3578"/>
                    <a:gd name="T73" fmla="*/ 0 h 1617"/>
                    <a:gd name="T74" fmla="*/ 0 w 3578"/>
                    <a:gd name="T75" fmla="*/ 0 h 1617"/>
                    <a:gd name="T76" fmla="*/ 0 w 3578"/>
                    <a:gd name="T77" fmla="*/ 0 h 1617"/>
                    <a:gd name="T78" fmla="*/ 0 w 3578"/>
                    <a:gd name="T79" fmla="*/ 0 h 1617"/>
                    <a:gd name="T80" fmla="*/ 0 w 3578"/>
                    <a:gd name="T81" fmla="*/ 0 h 1617"/>
                    <a:gd name="T82" fmla="*/ 0 w 3578"/>
                    <a:gd name="T83" fmla="*/ 0 h 1617"/>
                    <a:gd name="T84" fmla="*/ 0 w 3578"/>
                    <a:gd name="T85" fmla="*/ 0 h 1617"/>
                    <a:gd name="T86" fmla="*/ 0 w 3578"/>
                    <a:gd name="T87" fmla="*/ 0 h 1617"/>
                    <a:gd name="T88" fmla="*/ 0 w 3578"/>
                    <a:gd name="T89" fmla="*/ 0 h 1617"/>
                    <a:gd name="T90" fmla="*/ 0 w 3578"/>
                    <a:gd name="T91" fmla="*/ 0 h 1617"/>
                    <a:gd name="T92" fmla="*/ 0 w 3578"/>
                    <a:gd name="T93" fmla="*/ 0 h 1617"/>
                    <a:gd name="T94" fmla="*/ 0 w 3578"/>
                    <a:gd name="T95" fmla="*/ 0 h 1617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3578"/>
                    <a:gd name="T145" fmla="*/ 0 h 1617"/>
                    <a:gd name="T146" fmla="*/ 3578 w 3578"/>
                    <a:gd name="T147" fmla="*/ 1617 h 1617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3578" h="1617">
                      <a:moveTo>
                        <a:pt x="3395" y="291"/>
                      </a:moveTo>
                      <a:lnTo>
                        <a:pt x="3360" y="282"/>
                      </a:lnTo>
                      <a:lnTo>
                        <a:pt x="3321" y="273"/>
                      </a:lnTo>
                      <a:lnTo>
                        <a:pt x="3277" y="263"/>
                      </a:lnTo>
                      <a:lnTo>
                        <a:pt x="3228" y="255"/>
                      </a:lnTo>
                      <a:lnTo>
                        <a:pt x="3174" y="246"/>
                      </a:lnTo>
                      <a:lnTo>
                        <a:pt x="3117" y="237"/>
                      </a:lnTo>
                      <a:lnTo>
                        <a:pt x="3056" y="229"/>
                      </a:lnTo>
                      <a:lnTo>
                        <a:pt x="2990" y="222"/>
                      </a:lnTo>
                      <a:lnTo>
                        <a:pt x="2921" y="214"/>
                      </a:lnTo>
                      <a:lnTo>
                        <a:pt x="2850" y="206"/>
                      </a:lnTo>
                      <a:lnTo>
                        <a:pt x="2776" y="201"/>
                      </a:lnTo>
                      <a:lnTo>
                        <a:pt x="2698" y="194"/>
                      </a:lnTo>
                      <a:lnTo>
                        <a:pt x="2618" y="188"/>
                      </a:lnTo>
                      <a:lnTo>
                        <a:pt x="2535" y="184"/>
                      </a:lnTo>
                      <a:lnTo>
                        <a:pt x="2452" y="179"/>
                      </a:lnTo>
                      <a:lnTo>
                        <a:pt x="2365" y="176"/>
                      </a:lnTo>
                      <a:lnTo>
                        <a:pt x="2277" y="173"/>
                      </a:lnTo>
                      <a:lnTo>
                        <a:pt x="2189" y="172"/>
                      </a:lnTo>
                      <a:lnTo>
                        <a:pt x="2099" y="170"/>
                      </a:lnTo>
                      <a:lnTo>
                        <a:pt x="2008" y="170"/>
                      </a:lnTo>
                      <a:lnTo>
                        <a:pt x="1916" y="172"/>
                      </a:lnTo>
                      <a:lnTo>
                        <a:pt x="1825" y="174"/>
                      </a:lnTo>
                      <a:lnTo>
                        <a:pt x="1733" y="177"/>
                      </a:lnTo>
                      <a:lnTo>
                        <a:pt x="1642" y="182"/>
                      </a:lnTo>
                      <a:lnTo>
                        <a:pt x="1550" y="187"/>
                      </a:lnTo>
                      <a:lnTo>
                        <a:pt x="1459" y="194"/>
                      </a:lnTo>
                      <a:lnTo>
                        <a:pt x="1370" y="203"/>
                      </a:lnTo>
                      <a:lnTo>
                        <a:pt x="1281" y="212"/>
                      </a:lnTo>
                      <a:lnTo>
                        <a:pt x="1194" y="223"/>
                      </a:lnTo>
                      <a:lnTo>
                        <a:pt x="1108" y="235"/>
                      </a:lnTo>
                      <a:lnTo>
                        <a:pt x="1024" y="250"/>
                      </a:lnTo>
                      <a:lnTo>
                        <a:pt x="943" y="265"/>
                      </a:lnTo>
                      <a:lnTo>
                        <a:pt x="906" y="274"/>
                      </a:lnTo>
                      <a:lnTo>
                        <a:pt x="870" y="285"/>
                      </a:lnTo>
                      <a:lnTo>
                        <a:pt x="834" y="298"/>
                      </a:lnTo>
                      <a:lnTo>
                        <a:pt x="798" y="314"/>
                      </a:lnTo>
                      <a:lnTo>
                        <a:pt x="762" y="333"/>
                      </a:lnTo>
                      <a:lnTo>
                        <a:pt x="728" y="353"/>
                      </a:lnTo>
                      <a:lnTo>
                        <a:pt x="692" y="374"/>
                      </a:lnTo>
                      <a:lnTo>
                        <a:pt x="659" y="399"/>
                      </a:lnTo>
                      <a:lnTo>
                        <a:pt x="624" y="424"/>
                      </a:lnTo>
                      <a:lnTo>
                        <a:pt x="591" y="451"/>
                      </a:lnTo>
                      <a:lnTo>
                        <a:pt x="557" y="480"/>
                      </a:lnTo>
                      <a:lnTo>
                        <a:pt x="526" y="510"/>
                      </a:lnTo>
                      <a:lnTo>
                        <a:pt x="494" y="542"/>
                      </a:lnTo>
                      <a:lnTo>
                        <a:pt x="463" y="574"/>
                      </a:lnTo>
                      <a:lnTo>
                        <a:pt x="433" y="608"/>
                      </a:lnTo>
                      <a:lnTo>
                        <a:pt x="404" y="642"/>
                      </a:lnTo>
                      <a:lnTo>
                        <a:pt x="375" y="678"/>
                      </a:lnTo>
                      <a:lnTo>
                        <a:pt x="348" y="715"/>
                      </a:lnTo>
                      <a:lnTo>
                        <a:pt x="322" y="751"/>
                      </a:lnTo>
                      <a:lnTo>
                        <a:pt x="296" y="789"/>
                      </a:lnTo>
                      <a:lnTo>
                        <a:pt x="271" y="827"/>
                      </a:lnTo>
                      <a:lnTo>
                        <a:pt x="248" y="865"/>
                      </a:lnTo>
                      <a:lnTo>
                        <a:pt x="226" y="904"/>
                      </a:lnTo>
                      <a:lnTo>
                        <a:pt x="205" y="942"/>
                      </a:lnTo>
                      <a:lnTo>
                        <a:pt x="185" y="981"/>
                      </a:lnTo>
                      <a:lnTo>
                        <a:pt x="166" y="1018"/>
                      </a:lnTo>
                      <a:lnTo>
                        <a:pt x="149" y="1057"/>
                      </a:lnTo>
                      <a:lnTo>
                        <a:pt x="133" y="1095"/>
                      </a:lnTo>
                      <a:lnTo>
                        <a:pt x="119" y="1132"/>
                      </a:lnTo>
                      <a:lnTo>
                        <a:pt x="106" y="1169"/>
                      </a:lnTo>
                      <a:lnTo>
                        <a:pt x="94" y="1205"/>
                      </a:lnTo>
                      <a:lnTo>
                        <a:pt x="86" y="1240"/>
                      </a:lnTo>
                      <a:lnTo>
                        <a:pt x="79" y="1266"/>
                      </a:lnTo>
                      <a:lnTo>
                        <a:pt x="73" y="1291"/>
                      </a:lnTo>
                      <a:lnTo>
                        <a:pt x="69" y="1316"/>
                      </a:lnTo>
                      <a:lnTo>
                        <a:pt x="66" y="1340"/>
                      </a:lnTo>
                      <a:lnTo>
                        <a:pt x="62" y="1365"/>
                      </a:lnTo>
                      <a:lnTo>
                        <a:pt x="60" y="1389"/>
                      </a:lnTo>
                      <a:lnTo>
                        <a:pt x="58" y="1412"/>
                      </a:lnTo>
                      <a:lnTo>
                        <a:pt x="57" y="1437"/>
                      </a:lnTo>
                      <a:lnTo>
                        <a:pt x="57" y="1460"/>
                      </a:lnTo>
                      <a:lnTo>
                        <a:pt x="57" y="1484"/>
                      </a:lnTo>
                      <a:lnTo>
                        <a:pt x="58" y="1506"/>
                      </a:lnTo>
                      <a:lnTo>
                        <a:pt x="59" y="1529"/>
                      </a:lnTo>
                      <a:lnTo>
                        <a:pt x="61" y="1552"/>
                      </a:lnTo>
                      <a:lnTo>
                        <a:pt x="64" y="1574"/>
                      </a:lnTo>
                      <a:lnTo>
                        <a:pt x="68" y="1596"/>
                      </a:lnTo>
                      <a:lnTo>
                        <a:pt x="72" y="1617"/>
                      </a:lnTo>
                      <a:lnTo>
                        <a:pt x="59" y="1587"/>
                      </a:lnTo>
                      <a:lnTo>
                        <a:pt x="47" y="1557"/>
                      </a:lnTo>
                      <a:lnTo>
                        <a:pt x="35" y="1526"/>
                      </a:lnTo>
                      <a:lnTo>
                        <a:pt x="27" y="1494"/>
                      </a:lnTo>
                      <a:lnTo>
                        <a:pt x="19" y="1461"/>
                      </a:lnTo>
                      <a:lnTo>
                        <a:pt x="12" y="1429"/>
                      </a:lnTo>
                      <a:lnTo>
                        <a:pt x="7" y="1396"/>
                      </a:lnTo>
                      <a:lnTo>
                        <a:pt x="3" y="1361"/>
                      </a:lnTo>
                      <a:lnTo>
                        <a:pt x="1" y="1327"/>
                      </a:lnTo>
                      <a:lnTo>
                        <a:pt x="0" y="1292"/>
                      </a:lnTo>
                      <a:lnTo>
                        <a:pt x="1" y="1257"/>
                      </a:lnTo>
                      <a:lnTo>
                        <a:pt x="3" y="1220"/>
                      </a:lnTo>
                      <a:lnTo>
                        <a:pt x="7" y="1183"/>
                      </a:lnTo>
                      <a:lnTo>
                        <a:pt x="12" y="1146"/>
                      </a:lnTo>
                      <a:lnTo>
                        <a:pt x="20" y="1109"/>
                      </a:lnTo>
                      <a:lnTo>
                        <a:pt x="29" y="1071"/>
                      </a:lnTo>
                      <a:lnTo>
                        <a:pt x="38" y="1035"/>
                      </a:lnTo>
                      <a:lnTo>
                        <a:pt x="49" y="1000"/>
                      </a:lnTo>
                      <a:lnTo>
                        <a:pt x="62" y="963"/>
                      </a:lnTo>
                      <a:lnTo>
                        <a:pt x="77" y="925"/>
                      </a:lnTo>
                      <a:lnTo>
                        <a:pt x="92" y="887"/>
                      </a:lnTo>
                      <a:lnTo>
                        <a:pt x="109" y="849"/>
                      </a:lnTo>
                      <a:lnTo>
                        <a:pt x="128" y="810"/>
                      </a:lnTo>
                      <a:lnTo>
                        <a:pt x="148" y="773"/>
                      </a:lnTo>
                      <a:lnTo>
                        <a:pt x="169" y="734"/>
                      </a:lnTo>
                      <a:lnTo>
                        <a:pt x="191" y="695"/>
                      </a:lnTo>
                      <a:lnTo>
                        <a:pt x="215" y="657"/>
                      </a:lnTo>
                      <a:lnTo>
                        <a:pt x="239" y="619"/>
                      </a:lnTo>
                      <a:lnTo>
                        <a:pt x="265" y="581"/>
                      </a:lnTo>
                      <a:lnTo>
                        <a:pt x="291" y="544"/>
                      </a:lnTo>
                      <a:lnTo>
                        <a:pt x="319" y="509"/>
                      </a:lnTo>
                      <a:lnTo>
                        <a:pt x="347" y="473"/>
                      </a:lnTo>
                      <a:lnTo>
                        <a:pt x="376" y="438"/>
                      </a:lnTo>
                      <a:lnTo>
                        <a:pt x="407" y="404"/>
                      </a:lnTo>
                      <a:lnTo>
                        <a:pt x="437" y="372"/>
                      </a:lnTo>
                      <a:lnTo>
                        <a:pt x="470" y="341"/>
                      </a:lnTo>
                      <a:lnTo>
                        <a:pt x="502" y="311"/>
                      </a:lnTo>
                      <a:lnTo>
                        <a:pt x="534" y="282"/>
                      </a:lnTo>
                      <a:lnTo>
                        <a:pt x="567" y="254"/>
                      </a:lnTo>
                      <a:lnTo>
                        <a:pt x="602" y="228"/>
                      </a:lnTo>
                      <a:lnTo>
                        <a:pt x="637" y="205"/>
                      </a:lnTo>
                      <a:lnTo>
                        <a:pt x="671" y="183"/>
                      </a:lnTo>
                      <a:lnTo>
                        <a:pt x="706" y="163"/>
                      </a:lnTo>
                      <a:lnTo>
                        <a:pt x="741" y="145"/>
                      </a:lnTo>
                      <a:lnTo>
                        <a:pt x="777" y="128"/>
                      </a:lnTo>
                      <a:lnTo>
                        <a:pt x="813" y="115"/>
                      </a:lnTo>
                      <a:lnTo>
                        <a:pt x="849" y="104"/>
                      </a:lnTo>
                      <a:lnTo>
                        <a:pt x="886" y="95"/>
                      </a:lnTo>
                      <a:lnTo>
                        <a:pt x="967" y="79"/>
                      </a:lnTo>
                      <a:lnTo>
                        <a:pt x="1052" y="66"/>
                      </a:lnTo>
                      <a:lnTo>
                        <a:pt x="1137" y="53"/>
                      </a:lnTo>
                      <a:lnTo>
                        <a:pt x="1224" y="41"/>
                      </a:lnTo>
                      <a:lnTo>
                        <a:pt x="1313" y="33"/>
                      </a:lnTo>
                      <a:lnTo>
                        <a:pt x="1403" y="24"/>
                      </a:lnTo>
                      <a:lnTo>
                        <a:pt x="1494" y="17"/>
                      </a:lnTo>
                      <a:lnTo>
                        <a:pt x="1585" y="11"/>
                      </a:lnTo>
                      <a:lnTo>
                        <a:pt x="1676" y="7"/>
                      </a:lnTo>
                      <a:lnTo>
                        <a:pt x="1768" y="4"/>
                      </a:lnTo>
                      <a:lnTo>
                        <a:pt x="1860" y="1"/>
                      </a:lnTo>
                      <a:lnTo>
                        <a:pt x="1951" y="0"/>
                      </a:lnTo>
                      <a:lnTo>
                        <a:pt x="2042" y="0"/>
                      </a:lnTo>
                      <a:lnTo>
                        <a:pt x="2132" y="1"/>
                      </a:lnTo>
                      <a:lnTo>
                        <a:pt x="2221" y="4"/>
                      </a:lnTo>
                      <a:lnTo>
                        <a:pt x="2308" y="6"/>
                      </a:lnTo>
                      <a:lnTo>
                        <a:pt x="2395" y="9"/>
                      </a:lnTo>
                      <a:lnTo>
                        <a:pt x="2479" y="14"/>
                      </a:lnTo>
                      <a:lnTo>
                        <a:pt x="2561" y="18"/>
                      </a:lnTo>
                      <a:lnTo>
                        <a:pt x="2641" y="24"/>
                      </a:lnTo>
                      <a:lnTo>
                        <a:pt x="2719" y="30"/>
                      </a:lnTo>
                      <a:lnTo>
                        <a:pt x="2793" y="37"/>
                      </a:lnTo>
                      <a:lnTo>
                        <a:pt x="2866" y="44"/>
                      </a:lnTo>
                      <a:lnTo>
                        <a:pt x="2934" y="51"/>
                      </a:lnTo>
                      <a:lnTo>
                        <a:pt x="2999" y="59"/>
                      </a:lnTo>
                      <a:lnTo>
                        <a:pt x="3061" y="67"/>
                      </a:lnTo>
                      <a:lnTo>
                        <a:pt x="3117" y="76"/>
                      </a:lnTo>
                      <a:lnTo>
                        <a:pt x="3171" y="85"/>
                      </a:lnTo>
                      <a:lnTo>
                        <a:pt x="3220" y="94"/>
                      </a:lnTo>
                      <a:lnTo>
                        <a:pt x="3264" y="103"/>
                      </a:lnTo>
                      <a:lnTo>
                        <a:pt x="3303" y="112"/>
                      </a:lnTo>
                      <a:lnTo>
                        <a:pt x="3338" y="120"/>
                      </a:lnTo>
                      <a:lnTo>
                        <a:pt x="3367" y="129"/>
                      </a:lnTo>
                      <a:lnTo>
                        <a:pt x="3393" y="140"/>
                      </a:lnTo>
                      <a:lnTo>
                        <a:pt x="3418" y="153"/>
                      </a:lnTo>
                      <a:lnTo>
                        <a:pt x="3440" y="166"/>
                      </a:lnTo>
                      <a:lnTo>
                        <a:pt x="3460" y="181"/>
                      </a:lnTo>
                      <a:lnTo>
                        <a:pt x="3479" y="197"/>
                      </a:lnTo>
                      <a:lnTo>
                        <a:pt x="3496" y="214"/>
                      </a:lnTo>
                      <a:lnTo>
                        <a:pt x="3511" y="233"/>
                      </a:lnTo>
                      <a:lnTo>
                        <a:pt x="3525" y="252"/>
                      </a:lnTo>
                      <a:lnTo>
                        <a:pt x="3537" y="273"/>
                      </a:lnTo>
                      <a:lnTo>
                        <a:pt x="3547" y="294"/>
                      </a:lnTo>
                      <a:lnTo>
                        <a:pt x="3556" y="317"/>
                      </a:lnTo>
                      <a:lnTo>
                        <a:pt x="3564" y="341"/>
                      </a:lnTo>
                      <a:lnTo>
                        <a:pt x="3570" y="365"/>
                      </a:lnTo>
                      <a:lnTo>
                        <a:pt x="3575" y="390"/>
                      </a:lnTo>
                      <a:lnTo>
                        <a:pt x="3578" y="416"/>
                      </a:lnTo>
                      <a:lnTo>
                        <a:pt x="3570" y="405"/>
                      </a:lnTo>
                      <a:lnTo>
                        <a:pt x="3563" y="395"/>
                      </a:lnTo>
                      <a:lnTo>
                        <a:pt x="3554" y="385"/>
                      </a:lnTo>
                      <a:lnTo>
                        <a:pt x="3545" y="375"/>
                      </a:lnTo>
                      <a:lnTo>
                        <a:pt x="3536" y="366"/>
                      </a:lnTo>
                      <a:lnTo>
                        <a:pt x="3526" y="357"/>
                      </a:lnTo>
                      <a:lnTo>
                        <a:pt x="3515" y="349"/>
                      </a:lnTo>
                      <a:lnTo>
                        <a:pt x="3504" y="341"/>
                      </a:lnTo>
                      <a:lnTo>
                        <a:pt x="3492" y="333"/>
                      </a:lnTo>
                      <a:lnTo>
                        <a:pt x="3480" y="326"/>
                      </a:lnTo>
                      <a:lnTo>
                        <a:pt x="3467" y="319"/>
                      </a:lnTo>
                      <a:lnTo>
                        <a:pt x="3454" y="312"/>
                      </a:lnTo>
                      <a:lnTo>
                        <a:pt x="3440" y="306"/>
                      </a:lnTo>
                      <a:lnTo>
                        <a:pt x="3426" y="301"/>
                      </a:lnTo>
                      <a:lnTo>
                        <a:pt x="3410" y="295"/>
                      </a:lnTo>
                      <a:lnTo>
                        <a:pt x="3395" y="291"/>
                      </a:lnTo>
                      <a:close/>
                    </a:path>
                  </a:pathLst>
                </a:custGeom>
                <a:solidFill>
                  <a:srgbClr val="1B457C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319" name="Freeform 214"/>
                <p:cNvSpPr>
                  <a:spLocks/>
                </p:cNvSpPr>
                <p:nvPr/>
              </p:nvSpPr>
              <p:spPr bwMode="auto">
                <a:xfrm>
                  <a:off x="2950" y="2489"/>
                  <a:ext cx="984" cy="575"/>
                </a:xfrm>
                <a:custGeom>
                  <a:avLst/>
                  <a:gdLst>
                    <a:gd name="T0" fmla="*/ 0 w 6882"/>
                    <a:gd name="T1" fmla="*/ 0 h 4066"/>
                    <a:gd name="T2" fmla="*/ 0 w 6882"/>
                    <a:gd name="T3" fmla="*/ 0 h 4066"/>
                    <a:gd name="T4" fmla="*/ 0 w 6882"/>
                    <a:gd name="T5" fmla="*/ 0 h 4066"/>
                    <a:gd name="T6" fmla="*/ 0 w 6882"/>
                    <a:gd name="T7" fmla="*/ 0 h 4066"/>
                    <a:gd name="T8" fmla="*/ 0 w 6882"/>
                    <a:gd name="T9" fmla="*/ 0 h 4066"/>
                    <a:gd name="T10" fmla="*/ 0 w 6882"/>
                    <a:gd name="T11" fmla="*/ 0 h 4066"/>
                    <a:gd name="T12" fmla="*/ 0 w 6882"/>
                    <a:gd name="T13" fmla="*/ 0 h 4066"/>
                    <a:gd name="T14" fmla="*/ 0 w 6882"/>
                    <a:gd name="T15" fmla="*/ 0 h 4066"/>
                    <a:gd name="T16" fmla="*/ 0 w 6882"/>
                    <a:gd name="T17" fmla="*/ 0 h 4066"/>
                    <a:gd name="T18" fmla="*/ 0 w 6882"/>
                    <a:gd name="T19" fmla="*/ 0 h 4066"/>
                    <a:gd name="T20" fmla="*/ 0 w 6882"/>
                    <a:gd name="T21" fmla="*/ 0 h 4066"/>
                    <a:gd name="T22" fmla="*/ 0 w 6882"/>
                    <a:gd name="T23" fmla="*/ 0 h 4066"/>
                    <a:gd name="T24" fmla="*/ 0 w 6882"/>
                    <a:gd name="T25" fmla="*/ 0 h 4066"/>
                    <a:gd name="T26" fmla="*/ 0 w 6882"/>
                    <a:gd name="T27" fmla="*/ 0 h 4066"/>
                    <a:gd name="T28" fmla="*/ 0 w 6882"/>
                    <a:gd name="T29" fmla="*/ 0 h 4066"/>
                    <a:gd name="T30" fmla="*/ 0 w 6882"/>
                    <a:gd name="T31" fmla="*/ 0 h 4066"/>
                    <a:gd name="T32" fmla="*/ 0 w 6882"/>
                    <a:gd name="T33" fmla="*/ 0 h 4066"/>
                    <a:gd name="T34" fmla="*/ 0 w 6882"/>
                    <a:gd name="T35" fmla="*/ 0 h 4066"/>
                    <a:gd name="T36" fmla="*/ 0 w 6882"/>
                    <a:gd name="T37" fmla="*/ 0 h 4066"/>
                    <a:gd name="T38" fmla="*/ 0 w 6882"/>
                    <a:gd name="T39" fmla="*/ 0 h 4066"/>
                    <a:gd name="T40" fmla="*/ 0 w 6882"/>
                    <a:gd name="T41" fmla="*/ 0 h 4066"/>
                    <a:gd name="T42" fmla="*/ 0 w 6882"/>
                    <a:gd name="T43" fmla="*/ 0 h 4066"/>
                    <a:gd name="T44" fmla="*/ 0 w 6882"/>
                    <a:gd name="T45" fmla="*/ 0 h 4066"/>
                    <a:gd name="T46" fmla="*/ 0 w 6882"/>
                    <a:gd name="T47" fmla="*/ 0 h 4066"/>
                    <a:gd name="T48" fmla="*/ 0 w 6882"/>
                    <a:gd name="T49" fmla="*/ 0 h 4066"/>
                    <a:gd name="T50" fmla="*/ 0 w 6882"/>
                    <a:gd name="T51" fmla="*/ 0 h 4066"/>
                    <a:gd name="T52" fmla="*/ 0 w 6882"/>
                    <a:gd name="T53" fmla="*/ 0 h 4066"/>
                    <a:gd name="T54" fmla="*/ 0 w 6882"/>
                    <a:gd name="T55" fmla="*/ 0 h 4066"/>
                    <a:gd name="T56" fmla="*/ 0 w 6882"/>
                    <a:gd name="T57" fmla="*/ 0 h 4066"/>
                    <a:gd name="T58" fmla="*/ 0 w 6882"/>
                    <a:gd name="T59" fmla="*/ 0 h 4066"/>
                    <a:gd name="T60" fmla="*/ 0 w 6882"/>
                    <a:gd name="T61" fmla="*/ 0 h 4066"/>
                    <a:gd name="T62" fmla="*/ 0 w 6882"/>
                    <a:gd name="T63" fmla="*/ 0 h 4066"/>
                    <a:gd name="T64" fmla="*/ 0 w 6882"/>
                    <a:gd name="T65" fmla="*/ 0 h 4066"/>
                    <a:gd name="T66" fmla="*/ 0 w 6882"/>
                    <a:gd name="T67" fmla="*/ 0 h 4066"/>
                    <a:gd name="T68" fmla="*/ 0 w 6882"/>
                    <a:gd name="T69" fmla="*/ 0 h 4066"/>
                    <a:gd name="T70" fmla="*/ 0 w 6882"/>
                    <a:gd name="T71" fmla="*/ 0 h 4066"/>
                    <a:gd name="T72" fmla="*/ 0 w 6882"/>
                    <a:gd name="T73" fmla="*/ 0 h 4066"/>
                    <a:gd name="T74" fmla="*/ 0 w 6882"/>
                    <a:gd name="T75" fmla="*/ 0 h 4066"/>
                    <a:gd name="T76" fmla="*/ 0 w 6882"/>
                    <a:gd name="T77" fmla="*/ 0 h 4066"/>
                    <a:gd name="T78" fmla="*/ 0 w 6882"/>
                    <a:gd name="T79" fmla="*/ 0 h 4066"/>
                    <a:gd name="T80" fmla="*/ 0 w 6882"/>
                    <a:gd name="T81" fmla="*/ 0 h 4066"/>
                    <a:gd name="T82" fmla="*/ 0 w 6882"/>
                    <a:gd name="T83" fmla="*/ 0 h 4066"/>
                    <a:gd name="T84" fmla="*/ 0 w 6882"/>
                    <a:gd name="T85" fmla="*/ 0 h 4066"/>
                    <a:gd name="T86" fmla="*/ 0 w 6882"/>
                    <a:gd name="T87" fmla="*/ 0 h 4066"/>
                    <a:gd name="T88" fmla="*/ 0 w 6882"/>
                    <a:gd name="T89" fmla="*/ 0 h 4066"/>
                    <a:gd name="T90" fmla="*/ 0 w 6882"/>
                    <a:gd name="T91" fmla="*/ 0 h 4066"/>
                    <a:gd name="T92" fmla="*/ 0 w 6882"/>
                    <a:gd name="T93" fmla="*/ 0 h 4066"/>
                    <a:gd name="T94" fmla="*/ 0 w 6882"/>
                    <a:gd name="T95" fmla="*/ 0 h 406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6882"/>
                    <a:gd name="T145" fmla="*/ 0 h 4066"/>
                    <a:gd name="T146" fmla="*/ 6882 w 6882"/>
                    <a:gd name="T147" fmla="*/ 4066 h 4066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6882" h="4066">
                      <a:moveTo>
                        <a:pt x="6852" y="4060"/>
                      </a:moveTo>
                      <a:lnTo>
                        <a:pt x="6873" y="3833"/>
                      </a:lnTo>
                      <a:lnTo>
                        <a:pt x="6882" y="3612"/>
                      </a:lnTo>
                      <a:lnTo>
                        <a:pt x="6877" y="3395"/>
                      </a:lnTo>
                      <a:lnTo>
                        <a:pt x="6863" y="3183"/>
                      </a:lnTo>
                      <a:lnTo>
                        <a:pt x="6836" y="2978"/>
                      </a:lnTo>
                      <a:lnTo>
                        <a:pt x="6799" y="2777"/>
                      </a:lnTo>
                      <a:lnTo>
                        <a:pt x="6752" y="2582"/>
                      </a:lnTo>
                      <a:lnTo>
                        <a:pt x="6694" y="2394"/>
                      </a:lnTo>
                      <a:lnTo>
                        <a:pt x="6627" y="2211"/>
                      </a:lnTo>
                      <a:lnTo>
                        <a:pt x="6551" y="2035"/>
                      </a:lnTo>
                      <a:lnTo>
                        <a:pt x="6467" y="1865"/>
                      </a:lnTo>
                      <a:lnTo>
                        <a:pt x="6373" y="1701"/>
                      </a:lnTo>
                      <a:lnTo>
                        <a:pt x="6273" y="1543"/>
                      </a:lnTo>
                      <a:lnTo>
                        <a:pt x="6165" y="1393"/>
                      </a:lnTo>
                      <a:lnTo>
                        <a:pt x="6050" y="1249"/>
                      </a:lnTo>
                      <a:lnTo>
                        <a:pt x="5929" y="1112"/>
                      </a:lnTo>
                      <a:lnTo>
                        <a:pt x="5801" y="983"/>
                      </a:lnTo>
                      <a:lnTo>
                        <a:pt x="5669" y="861"/>
                      </a:lnTo>
                      <a:lnTo>
                        <a:pt x="5531" y="746"/>
                      </a:lnTo>
                      <a:lnTo>
                        <a:pt x="5387" y="639"/>
                      </a:lnTo>
                      <a:lnTo>
                        <a:pt x="5240" y="540"/>
                      </a:lnTo>
                      <a:lnTo>
                        <a:pt x="5089" y="449"/>
                      </a:lnTo>
                      <a:lnTo>
                        <a:pt x="4934" y="366"/>
                      </a:lnTo>
                      <a:lnTo>
                        <a:pt x="4777" y="290"/>
                      </a:lnTo>
                      <a:lnTo>
                        <a:pt x="4617" y="223"/>
                      </a:lnTo>
                      <a:lnTo>
                        <a:pt x="4454" y="164"/>
                      </a:lnTo>
                      <a:lnTo>
                        <a:pt x="4290" y="114"/>
                      </a:lnTo>
                      <a:lnTo>
                        <a:pt x="4125" y="73"/>
                      </a:lnTo>
                      <a:lnTo>
                        <a:pt x="3958" y="42"/>
                      </a:lnTo>
                      <a:lnTo>
                        <a:pt x="3792" y="18"/>
                      </a:lnTo>
                      <a:lnTo>
                        <a:pt x="3625" y="4"/>
                      </a:lnTo>
                      <a:lnTo>
                        <a:pt x="3459" y="0"/>
                      </a:lnTo>
                      <a:lnTo>
                        <a:pt x="3292" y="4"/>
                      </a:lnTo>
                      <a:lnTo>
                        <a:pt x="3124" y="20"/>
                      </a:lnTo>
                      <a:lnTo>
                        <a:pt x="2956" y="43"/>
                      </a:lnTo>
                      <a:lnTo>
                        <a:pt x="2789" y="77"/>
                      </a:lnTo>
                      <a:lnTo>
                        <a:pt x="2622" y="121"/>
                      </a:lnTo>
                      <a:lnTo>
                        <a:pt x="2456" y="172"/>
                      </a:lnTo>
                      <a:lnTo>
                        <a:pt x="2292" y="233"/>
                      </a:lnTo>
                      <a:lnTo>
                        <a:pt x="2130" y="302"/>
                      </a:lnTo>
                      <a:lnTo>
                        <a:pt x="1970" y="381"/>
                      </a:lnTo>
                      <a:lnTo>
                        <a:pt x="1813" y="467"/>
                      </a:lnTo>
                      <a:lnTo>
                        <a:pt x="1660" y="562"/>
                      </a:lnTo>
                      <a:lnTo>
                        <a:pt x="1510" y="664"/>
                      </a:lnTo>
                      <a:lnTo>
                        <a:pt x="1365" y="773"/>
                      </a:lnTo>
                      <a:lnTo>
                        <a:pt x="1224" y="891"/>
                      </a:lnTo>
                      <a:lnTo>
                        <a:pt x="1089" y="1016"/>
                      </a:lnTo>
                      <a:lnTo>
                        <a:pt x="959" y="1147"/>
                      </a:lnTo>
                      <a:lnTo>
                        <a:pt x="836" y="1286"/>
                      </a:lnTo>
                      <a:lnTo>
                        <a:pt x="719" y="1432"/>
                      </a:lnTo>
                      <a:lnTo>
                        <a:pt x="609" y="1583"/>
                      </a:lnTo>
                      <a:lnTo>
                        <a:pt x="506" y="1742"/>
                      </a:lnTo>
                      <a:lnTo>
                        <a:pt x="413" y="1906"/>
                      </a:lnTo>
                      <a:lnTo>
                        <a:pt x="327" y="2077"/>
                      </a:lnTo>
                      <a:lnTo>
                        <a:pt x="250" y="2253"/>
                      </a:lnTo>
                      <a:lnTo>
                        <a:pt x="183" y="2434"/>
                      </a:lnTo>
                      <a:lnTo>
                        <a:pt x="125" y="2621"/>
                      </a:lnTo>
                      <a:lnTo>
                        <a:pt x="77" y="2814"/>
                      </a:lnTo>
                      <a:lnTo>
                        <a:pt x="40" y="3011"/>
                      </a:lnTo>
                      <a:lnTo>
                        <a:pt x="16" y="3213"/>
                      </a:lnTo>
                      <a:lnTo>
                        <a:pt x="1" y="3420"/>
                      </a:lnTo>
                      <a:lnTo>
                        <a:pt x="0" y="3631"/>
                      </a:lnTo>
                      <a:lnTo>
                        <a:pt x="10" y="3847"/>
                      </a:lnTo>
                      <a:lnTo>
                        <a:pt x="35" y="4066"/>
                      </a:lnTo>
                      <a:lnTo>
                        <a:pt x="101" y="4016"/>
                      </a:lnTo>
                      <a:lnTo>
                        <a:pt x="181" y="3959"/>
                      </a:lnTo>
                      <a:lnTo>
                        <a:pt x="274" y="3897"/>
                      </a:lnTo>
                      <a:lnTo>
                        <a:pt x="378" y="3829"/>
                      </a:lnTo>
                      <a:lnTo>
                        <a:pt x="494" y="3757"/>
                      </a:lnTo>
                      <a:lnTo>
                        <a:pt x="622" y="3681"/>
                      </a:lnTo>
                      <a:lnTo>
                        <a:pt x="761" y="3604"/>
                      </a:lnTo>
                      <a:lnTo>
                        <a:pt x="912" y="3525"/>
                      </a:lnTo>
                      <a:lnTo>
                        <a:pt x="1072" y="3447"/>
                      </a:lnTo>
                      <a:lnTo>
                        <a:pt x="1243" y="3369"/>
                      </a:lnTo>
                      <a:lnTo>
                        <a:pt x="1424" y="3295"/>
                      </a:lnTo>
                      <a:lnTo>
                        <a:pt x="1613" y="3222"/>
                      </a:lnTo>
                      <a:lnTo>
                        <a:pt x="1812" y="3154"/>
                      </a:lnTo>
                      <a:lnTo>
                        <a:pt x="2019" y="3092"/>
                      </a:lnTo>
                      <a:lnTo>
                        <a:pt x="2235" y="3037"/>
                      </a:lnTo>
                      <a:lnTo>
                        <a:pt x="2460" y="2988"/>
                      </a:lnTo>
                      <a:lnTo>
                        <a:pt x="2691" y="2946"/>
                      </a:lnTo>
                      <a:lnTo>
                        <a:pt x="2931" y="2916"/>
                      </a:lnTo>
                      <a:lnTo>
                        <a:pt x="3177" y="2895"/>
                      </a:lnTo>
                      <a:lnTo>
                        <a:pt x="3429" y="2886"/>
                      </a:lnTo>
                      <a:lnTo>
                        <a:pt x="3687" y="2891"/>
                      </a:lnTo>
                      <a:lnTo>
                        <a:pt x="3952" y="2907"/>
                      </a:lnTo>
                      <a:lnTo>
                        <a:pt x="4223" y="2940"/>
                      </a:lnTo>
                      <a:lnTo>
                        <a:pt x="4499" y="2988"/>
                      </a:lnTo>
                      <a:lnTo>
                        <a:pt x="4779" y="3052"/>
                      </a:lnTo>
                      <a:lnTo>
                        <a:pt x="5064" y="3134"/>
                      </a:lnTo>
                      <a:lnTo>
                        <a:pt x="5354" y="3236"/>
                      </a:lnTo>
                      <a:lnTo>
                        <a:pt x="5647" y="3356"/>
                      </a:lnTo>
                      <a:lnTo>
                        <a:pt x="5943" y="3498"/>
                      </a:lnTo>
                      <a:lnTo>
                        <a:pt x="6244" y="3662"/>
                      </a:lnTo>
                      <a:lnTo>
                        <a:pt x="6547" y="3849"/>
                      </a:lnTo>
                      <a:lnTo>
                        <a:pt x="6852" y="4060"/>
                      </a:lnTo>
                      <a:close/>
                    </a:path>
                  </a:pathLst>
                </a:custGeom>
                <a:solidFill>
                  <a:srgbClr val="242D54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320" name="Freeform 215"/>
                <p:cNvSpPr>
                  <a:spLocks/>
                </p:cNvSpPr>
                <p:nvPr/>
              </p:nvSpPr>
              <p:spPr bwMode="auto">
                <a:xfrm>
                  <a:off x="2950" y="2628"/>
                  <a:ext cx="984" cy="436"/>
                </a:xfrm>
                <a:custGeom>
                  <a:avLst/>
                  <a:gdLst>
                    <a:gd name="T0" fmla="*/ 0 w 6883"/>
                    <a:gd name="T1" fmla="*/ 0 h 3057"/>
                    <a:gd name="T2" fmla="*/ 0 w 6883"/>
                    <a:gd name="T3" fmla="*/ 0 h 3057"/>
                    <a:gd name="T4" fmla="*/ 0 w 6883"/>
                    <a:gd name="T5" fmla="*/ 0 h 3057"/>
                    <a:gd name="T6" fmla="*/ 0 w 6883"/>
                    <a:gd name="T7" fmla="*/ 0 h 3057"/>
                    <a:gd name="T8" fmla="*/ 0 w 6883"/>
                    <a:gd name="T9" fmla="*/ 0 h 3057"/>
                    <a:gd name="T10" fmla="*/ 0 w 6883"/>
                    <a:gd name="T11" fmla="*/ 0 h 3057"/>
                    <a:gd name="T12" fmla="*/ 0 w 6883"/>
                    <a:gd name="T13" fmla="*/ 0 h 3057"/>
                    <a:gd name="T14" fmla="*/ 0 w 6883"/>
                    <a:gd name="T15" fmla="*/ 0 h 3057"/>
                    <a:gd name="T16" fmla="*/ 0 w 6883"/>
                    <a:gd name="T17" fmla="*/ 0 h 3057"/>
                    <a:gd name="T18" fmla="*/ 0 w 6883"/>
                    <a:gd name="T19" fmla="*/ 0 h 3057"/>
                    <a:gd name="T20" fmla="*/ 0 w 6883"/>
                    <a:gd name="T21" fmla="*/ 0 h 3057"/>
                    <a:gd name="T22" fmla="*/ 0 w 6883"/>
                    <a:gd name="T23" fmla="*/ 0 h 3057"/>
                    <a:gd name="T24" fmla="*/ 0 w 6883"/>
                    <a:gd name="T25" fmla="*/ 0 h 3057"/>
                    <a:gd name="T26" fmla="*/ 0 w 6883"/>
                    <a:gd name="T27" fmla="*/ 0 h 3057"/>
                    <a:gd name="T28" fmla="*/ 0 w 6883"/>
                    <a:gd name="T29" fmla="*/ 0 h 3057"/>
                    <a:gd name="T30" fmla="*/ 0 w 6883"/>
                    <a:gd name="T31" fmla="*/ 0 h 3057"/>
                    <a:gd name="T32" fmla="*/ 0 w 6883"/>
                    <a:gd name="T33" fmla="*/ 0 h 3057"/>
                    <a:gd name="T34" fmla="*/ 0 w 6883"/>
                    <a:gd name="T35" fmla="*/ 0 h 3057"/>
                    <a:gd name="T36" fmla="*/ 0 w 6883"/>
                    <a:gd name="T37" fmla="*/ 0 h 3057"/>
                    <a:gd name="T38" fmla="*/ 0 w 6883"/>
                    <a:gd name="T39" fmla="*/ 0 h 3057"/>
                    <a:gd name="T40" fmla="*/ 0 w 6883"/>
                    <a:gd name="T41" fmla="*/ 0 h 3057"/>
                    <a:gd name="T42" fmla="*/ 0 w 6883"/>
                    <a:gd name="T43" fmla="*/ 0 h 3057"/>
                    <a:gd name="T44" fmla="*/ 0 w 6883"/>
                    <a:gd name="T45" fmla="*/ 0 h 3057"/>
                    <a:gd name="T46" fmla="*/ 0 w 6883"/>
                    <a:gd name="T47" fmla="*/ 0 h 3057"/>
                    <a:gd name="T48" fmla="*/ 0 w 6883"/>
                    <a:gd name="T49" fmla="*/ 0 h 3057"/>
                    <a:gd name="T50" fmla="*/ 0 w 6883"/>
                    <a:gd name="T51" fmla="*/ 0 h 3057"/>
                    <a:gd name="T52" fmla="*/ 0 w 6883"/>
                    <a:gd name="T53" fmla="*/ 0 h 3057"/>
                    <a:gd name="T54" fmla="*/ 0 w 6883"/>
                    <a:gd name="T55" fmla="*/ 0 h 3057"/>
                    <a:gd name="T56" fmla="*/ 0 w 6883"/>
                    <a:gd name="T57" fmla="*/ 0 h 3057"/>
                    <a:gd name="T58" fmla="*/ 0 w 6883"/>
                    <a:gd name="T59" fmla="*/ 0 h 3057"/>
                    <a:gd name="T60" fmla="*/ 0 w 6883"/>
                    <a:gd name="T61" fmla="*/ 0 h 3057"/>
                    <a:gd name="T62" fmla="*/ 0 w 6883"/>
                    <a:gd name="T63" fmla="*/ 0 h 3057"/>
                    <a:gd name="T64" fmla="*/ 0 w 6883"/>
                    <a:gd name="T65" fmla="*/ 0 h 3057"/>
                    <a:gd name="T66" fmla="*/ 0 w 6883"/>
                    <a:gd name="T67" fmla="*/ 0 h 3057"/>
                    <a:gd name="T68" fmla="*/ 0 w 6883"/>
                    <a:gd name="T69" fmla="*/ 0 h 3057"/>
                    <a:gd name="T70" fmla="*/ 0 w 6883"/>
                    <a:gd name="T71" fmla="*/ 0 h 3057"/>
                    <a:gd name="T72" fmla="*/ 0 w 6883"/>
                    <a:gd name="T73" fmla="*/ 0 h 3057"/>
                    <a:gd name="T74" fmla="*/ 0 w 6883"/>
                    <a:gd name="T75" fmla="*/ 0 h 3057"/>
                    <a:gd name="T76" fmla="*/ 0 w 6883"/>
                    <a:gd name="T77" fmla="*/ 0 h 3057"/>
                    <a:gd name="T78" fmla="*/ 0 w 6883"/>
                    <a:gd name="T79" fmla="*/ 0 h 3057"/>
                    <a:gd name="T80" fmla="*/ 0 w 6883"/>
                    <a:gd name="T81" fmla="*/ 0 h 3057"/>
                    <a:gd name="T82" fmla="*/ 0 w 6883"/>
                    <a:gd name="T83" fmla="*/ 0 h 3057"/>
                    <a:gd name="T84" fmla="*/ 0 w 6883"/>
                    <a:gd name="T85" fmla="*/ 0 h 3057"/>
                    <a:gd name="T86" fmla="*/ 0 w 6883"/>
                    <a:gd name="T87" fmla="*/ 0 h 3057"/>
                    <a:gd name="T88" fmla="*/ 0 w 6883"/>
                    <a:gd name="T89" fmla="*/ 0 h 3057"/>
                    <a:gd name="T90" fmla="*/ 0 w 6883"/>
                    <a:gd name="T91" fmla="*/ 0 h 3057"/>
                    <a:gd name="T92" fmla="*/ 0 w 6883"/>
                    <a:gd name="T93" fmla="*/ 0 h 3057"/>
                    <a:gd name="T94" fmla="*/ 0 w 6883"/>
                    <a:gd name="T95" fmla="*/ 0 h 3057"/>
                    <a:gd name="T96" fmla="*/ 0 w 6883"/>
                    <a:gd name="T97" fmla="*/ 0 h 3057"/>
                    <a:gd name="T98" fmla="*/ 0 w 6883"/>
                    <a:gd name="T99" fmla="*/ 0 h 3057"/>
                    <a:gd name="T100" fmla="*/ 0 w 6883"/>
                    <a:gd name="T101" fmla="*/ 0 h 3057"/>
                    <a:gd name="T102" fmla="*/ 0 w 6883"/>
                    <a:gd name="T103" fmla="*/ 0 h 3057"/>
                    <a:gd name="T104" fmla="*/ 0 w 6883"/>
                    <a:gd name="T105" fmla="*/ 0 h 3057"/>
                    <a:gd name="T106" fmla="*/ 0 w 6883"/>
                    <a:gd name="T107" fmla="*/ 0 h 3057"/>
                    <a:gd name="T108" fmla="*/ 0 w 6883"/>
                    <a:gd name="T109" fmla="*/ 0 h 3057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6883"/>
                    <a:gd name="T166" fmla="*/ 0 h 3057"/>
                    <a:gd name="T167" fmla="*/ 6883 w 6883"/>
                    <a:gd name="T168" fmla="*/ 3057 h 3057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6883" h="3057">
                      <a:moveTo>
                        <a:pt x="5829" y="0"/>
                      </a:moveTo>
                      <a:lnTo>
                        <a:pt x="5815" y="20"/>
                      </a:lnTo>
                      <a:lnTo>
                        <a:pt x="5804" y="39"/>
                      </a:lnTo>
                      <a:lnTo>
                        <a:pt x="5793" y="58"/>
                      </a:lnTo>
                      <a:lnTo>
                        <a:pt x="5782" y="75"/>
                      </a:lnTo>
                      <a:lnTo>
                        <a:pt x="5760" y="113"/>
                      </a:lnTo>
                      <a:lnTo>
                        <a:pt x="5736" y="150"/>
                      </a:lnTo>
                      <a:lnTo>
                        <a:pt x="5714" y="186"/>
                      </a:lnTo>
                      <a:lnTo>
                        <a:pt x="5691" y="220"/>
                      </a:lnTo>
                      <a:lnTo>
                        <a:pt x="5667" y="252"/>
                      </a:lnTo>
                      <a:lnTo>
                        <a:pt x="5644" y="285"/>
                      </a:lnTo>
                      <a:lnTo>
                        <a:pt x="5619" y="315"/>
                      </a:lnTo>
                      <a:lnTo>
                        <a:pt x="5595" y="345"/>
                      </a:lnTo>
                      <a:lnTo>
                        <a:pt x="5571" y="374"/>
                      </a:lnTo>
                      <a:lnTo>
                        <a:pt x="5546" y="401"/>
                      </a:lnTo>
                      <a:lnTo>
                        <a:pt x="5520" y="428"/>
                      </a:lnTo>
                      <a:lnTo>
                        <a:pt x="5495" y="454"/>
                      </a:lnTo>
                      <a:lnTo>
                        <a:pt x="5469" y="478"/>
                      </a:lnTo>
                      <a:lnTo>
                        <a:pt x="5443" y="503"/>
                      </a:lnTo>
                      <a:lnTo>
                        <a:pt x="5416" y="526"/>
                      </a:lnTo>
                      <a:lnTo>
                        <a:pt x="5388" y="549"/>
                      </a:lnTo>
                      <a:lnTo>
                        <a:pt x="5360" y="572"/>
                      </a:lnTo>
                      <a:lnTo>
                        <a:pt x="5331" y="593"/>
                      </a:lnTo>
                      <a:lnTo>
                        <a:pt x="5302" y="614"/>
                      </a:lnTo>
                      <a:lnTo>
                        <a:pt x="5272" y="635"/>
                      </a:lnTo>
                      <a:lnTo>
                        <a:pt x="5242" y="655"/>
                      </a:lnTo>
                      <a:lnTo>
                        <a:pt x="5212" y="674"/>
                      </a:lnTo>
                      <a:lnTo>
                        <a:pt x="5180" y="693"/>
                      </a:lnTo>
                      <a:lnTo>
                        <a:pt x="5149" y="712"/>
                      </a:lnTo>
                      <a:lnTo>
                        <a:pt x="5082" y="749"/>
                      </a:lnTo>
                      <a:lnTo>
                        <a:pt x="5013" y="784"/>
                      </a:lnTo>
                      <a:lnTo>
                        <a:pt x="4942" y="820"/>
                      </a:lnTo>
                      <a:lnTo>
                        <a:pt x="4866" y="856"/>
                      </a:lnTo>
                      <a:lnTo>
                        <a:pt x="4803" y="883"/>
                      </a:lnTo>
                      <a:lnTo>
                        <a:pt x="4739" y="910"/>
                      </a:lnTo>
                      <a:lnTo>
                        <a:pt x="4677" y="935"/>
                      </a:lnTo>
                      <a:lnTo>
                        <a:pt x="4613" y="958"/>
                      </a:lnTo>
                      <a:lnTo>
                        <a:pt x="4551" y="979"/>
                      </a:lnTo>
                      <a:lnTo>
                        <a:pt x="4489" y="999"/>
                      </a:lnTo>
                      <a:lnTo>
                        <a:pt x="4427" y="1017"/>
                      </a:lnTo>
                      <a:lnTo>
                        <a:pt x="4365" y="1034"/>
                      </a:lnTo>
                      <a:lnTo>
                        <a:pt x="4304" y="1049"/>
                      </a:lnTo>
                      <a:lnTo>
                        <a:pt x="4243" y="1064"/>
                      </a:lnTo>
                      <a:lnTo>
                        <a:pt x="4180" y="1076"/>
                      </a:lnTo>
                      <a:lnTo>
                        <a:pt x="4119" y="1087"/>
                      </a:lnTo>
                      <a:lnTo>
                        <a:pt x="4058" y="1098"/>
                      </a:lnTo>
                      <a:lnTo>
                        <a:pt x="3997" y="1107"/>
                      </a:lnTo>
                      <a:lnTo>
                        <a:pt x="3934" y="1115"/>
                      </a:lnTo>
                      <a:lnTo>
                        <a:pt x="3873" y="1123"/>
                      </a:lnTo>
                      <a:lnTo>
                        <a:pt x="3812" y="1128"/>
                      </a:lnTo>
                      <a:lnTo>
                        <a:pt x="3750" y="1134"/>
                      </a:lnTo>
                      <a:lnTo>
                        <a:pt x="3687" y="1139"/>
                      </a:lnTo>
                      <a:lnTo>
                        <a:pt x="3625" y="1143"/>
                      </a:lnTo>
                      <a:lnTo>
                        <a:pt x="3563" y="1146"/>
                      </a:lnTo>
                      <a:lnTo>
                        <a:pt x="3500" y="1148"/>
                      </a:lnTo>
                      <a:lnTo>
                        <a:pt x="3437" y="1150"/>
                      </a:lnTo>
                      <a:lnTo>
                        <a:pt x="3373" y="1153"/>
                      </a:lnTo>
                      <a:lnTo>
                        <a:pt x="3245" y="1155"/>
                      </a:lnTo>
                      <a:lnTo>
                        <a:pt x="3115" y="1155"/>
                      </a:lnTo>
                      <a:lnTo>
                        <a:pt x="2983" y="1156"/>
                      </a:lnTo>
                      <a:lnTo>
                        <a:pt x="2848" y="1156"/>
                      </a:lnTo>
                      <a:lnTo>
                        <a:pt x="2790" y="1157"/>
                      </a:lnTo>
                      <a:lnTo>
                        <a:pt x="2729" y="1159"/>
                      </a:lnTo>
                      <a:lnTo>
                        <a:pt x="2663" y="1165"/>
                      </a:lnTo>
                      <a:lnTo>
                        <a:pt x="2594" y="1172"/>
                      </a:lnTo>
                      <a:lnTo>
                        <a:pt x="2521" y="1182"/>
                      </a:lnTo>
                      <a:lnTo>
                        <a:pt x="2445" y="1193"/>
                      </a:lnTo>
                      <a:lnTo>
                        <a:pt x="2366" y="1207"/>
                      </a:lnTo>
                      <a:lnTo>
                        <a:pt x="2285" y="1223"/>
                      </a:lnTo>
                      <a:lnTo>
                        <a:pt x="2200" y="1241"/>
                      </a:lnTo>
                      <a:lnTo>
                        <a:pt x="2114" y="1262"/>
                      </a:lnTo>
                      <a:lnTo>
                        <a:pt x="2024" y="1284"/>
                      </a:lnTo>
                      <a:lnTo>
                        <a:pt x="1934" y="1310"/>
                      </a:lnTo>
                      <a:lnTo>
                        <a:pt x="1841" y="1337"/>
                      </a:lnTo>
                      <a:lnTo>
                        <a:pt x="1747" y="1367"/>
                      </a:lnTo>
                      <a:lnTo>
                        <a:pt x="1652" y="1400"/>
                      </a:lnTo>
                      <a:lnTo>
                        <a:pt x="1555" y="1434"/>
                      </a:lnTo>
                      <a:lnTo>
                        <a:pt x="1457" y="1472"/>
                      </a:lnTo>
                      <a:lnTo>
                        <a:pt x="1358" y="1512"/>
                      </a:lnTo>
                      <a:lnTo>
                        <a:pt x="1259" y="1554"/>
                      </a:lnTo>
                      <a:lnTo>
                        <a:pt x="1159" y="1600"/>
                      </a:lnTo>
                      <a:lnTo>
                        <a:pt x="1058" y="1648"/>
                      </a:lnTo>
                      <a:lnTo>
                        <a:pt x="959" y="1698"/>
                      </a:lnTo>
                      <a:lnTo>
                        <a:pt x="859" y="1751"/>
                      </a:lnTo>
                      <a:lnTo>
                        <a:pt x="760" y="1807"/>
                      </a:lnTo>
                      <a:lnTo>
                        <a:pt x="661" y="1866"/>
                      </a:lnTo>
                      <a:lnTo>
                        <a:pt x="563" y="1928"/>
                      </a:lnTo>
                      <a:lnTo>
                        <a:pt x="466" y="1992"/>
                      </a:lnTo>
                      <a:lnTo>
                        <a:pt x="372" y="2060"/>
                      </a:lnTo>
                      <a:lnTo>
                        <a:pt x="277" y="2130"/>
                      </a:lnTo>
                      <a:lnTo>
                        <a:pt x="185" y="2203"/>
                      </a:lnTo>
                      <a:lnTo>
                        <a:pt x="93" y="2279"/>
                      </a:lnTo>
                      <a:lnTo>
                        <a:pt x="6" y="2358"/>
                      </a:lnTo>
                      <a:lnTo>
                        <a:pt x="2" y="2442"/>
                      </a:lnTo>
                      <a:lnTo>
                        <a:pt x="0" y="2528"/>
                      </a:lnTo>
                      <a:lnTo>
                        <a:pt x="1" y="2615"/>
                      </a:lnTo>
                      <a:lnTo>
                        <a:pt x="3" y="2702"/>
                      </a:lnTo>
                      <a:lnTo>
                        <a:pt x="8" y="2790"/>
                      </a:lnTo>
                      <a:lnTo>
                        <a:pt x="16" y="2878"/>
                      </a:lnTo>
                      <a:lnTo>
                        <a:pt x="24" y="2968"/>
                      </a:lnTo>
                      <a:lnTo>
                        <a:pt x="36" y="3057"/>
                      </a:lnTo>
                      <a:lnTo>
                        <a:pt x="102" y="3008"/>
                      </a:lnTo>
                      <a:lnTo>
                        <a:pt x="182" y="2951"/>
                      </a:lnTo>
                      <a:lnTo>
                        <a:pt x="275" y="2888"/>
                      </a:lnTo>
                      <a:lnTo>
                        <a:pt x="379" y="2820"/>
                      </a:lnTo>
                      <a:lnTo>
                        <a:pt x="495" y="2747"/>
                      </a:lnTo>
                      <a:lnTo>
                        <a:pt x="623" y="2672"/>
                      </a:lnTo>
                      <a:lnTo>
                        <a:pt x="762" y="2595"/>
                      </a:lnTo>
                      <a:lnTo>
                        <a:pt x="913" y="2516"/>
                      </a:lnTo>
                      <a:lnTo>
                        <a:pt x="1073" y="2438"/>
                      </a:lnTo>
                      <a:lnTo>
                        <a:pt x="1244" y="2360"/>
                      </a:lnTo>
                      <a:lnTo>
                        <a:pt x="1425" y="2286"/>
                      </a:lnTo>
                      <a:lnTo>
                        <a:pt x="1614" y="2213"/>
                      </a:lnTo>
                      <a:lnTo>
                        <a:pt x="1813" y="2145"/>
                      </a:lnTo>
                      <a:lnTo>
                        <a:pt x="2020" y="2083"/>
                      </a:lnTo>
                      <a:lnTo>
                        <a:pt x="2236" y="2027"/>
                      </a:lnTo>
                      <a:lnTo>
                        <a:pt x="2461" y="1978"/>
                      </a:lnTo>
                      <a:lnTo>
                        <a:pt x="2692" y="1938"/>
                      </a:lnTo>
                      <a:lnTo>
                        <a:pt x="2932" y="1907"/>
                      </a:lnTo>
                      <a:lnTo>
                        <a:pt x="3178" y="1887"/>
                      </a:lnTo>
                      <a:lnTo>
                        <a:pt x="3430" y="1878"/>
                      </a:lnTo>
                      <a:lnTo>
                        <a:pt x="3688" y="1882"/>
                      </a:lnTo>
                      <a:lnTo>
                        <a:pt x="3953" y="1898"/>
                      </a:lnTo>
                      <a:lnTo>
                        <a:pt x="4224" y="1931"/>
                      </a:lnTo>
                      <a:lnTo>
                        <a:pt x="4500" y="1978"/>
                      </a:lnTo>
                      <a:lnTo>
                        <a:pt x="4780" y="2043"/>
                      </a:lnTo>
                      <a:lnTo>
                        <a:pt x="5065" y="2125"/>
                      </a:lnTo>
                      <a:lnTo>
                        <a:pt x="5355" y="2227"/>
                      </a:lnTo>
                      <a:lnTo>
                        <a:pt x="5648" y="2348"/>
                      </a:lnTo>
                      <a:lnTo>
                        <a:pt x="5946" y="2489"/>
                      </a:lnTo>
                      <a:lnTo>
                        <a:pt x="6245" y="2654"/>
                      </a:lnTo>
                      <a:lnTo>
                        <a:pt x="6548" y="2841"/>
                      </a:lnTo>
                      <a:lnTo>
                        <a:pt x="6853" y="3051"/>
                      </a:lnTo>
                      <a:lnTo>
                        <a:pt x="6866" y="2932"/>
                      </a:lnTo>
                      <a:lnTo>
                        <a:pt x="6875" y="2813"/>
                      </a:lnTo>
                      <a:lnTo>
                        <a:pt x="6881" y="2696"/>
                      </a:lnTo>
                      <a:lnTo>
                        <a:pt x="6883" y="2582"/>
                      </a:lnTo>
                      <a:lnTo>
                        <a:pt x="6882" y="2467"/>
                      </a:lnTo>
                      <a:lnTo>
                        <a:pt x="6877" y="2355"/>
                      </a:lnTo>
                      <a:lnTo>
                        <a:pt x="6869" y="2243"/>
                      </a:lnTo>
                      <a:lnTo>
                        <a:pt x="6859" y="2133"/>
                      </a:lnTo>
                      <a:lnTo>
                        <a:pt x="6846" y="2025"/>
                      </a:lnTo>
                      <a:lnTo>
                        <a:pt x="6829" y="1918"/>
                      </a:lnTo>
                      <a:lnTo>
                        <a:pt x="6809" y="1814"/>
                      </a:lnTo>
                      <a:lnTo>
                        <a:pt x="6787" y="1709"/>
                      </a:lnTo>
                      <a:lnTo>
                        <a:pt x="6761" y="1608"/>
                      </a:lnTo>
                      <a:lnTo>
                        <a:pt x="6734" y="1508"/>
                      </a:lnTo>
                      <a:lnTo>
                        <a:pt x="6702" y="1409"/>
                      </a:lnTo>
                      <a:lnTo>
                        <a:pt x="6669" y="1312"/>
                      </a:lnTo>
                      <a:lnTo>
                        <a:pt x="6633" y="1216"/>
                      </a:lnTo>
                      <a:lnTo>
                        <a:pt x="6594" y="1123"/>
                      </a:lnTo>
                      <a:lnTo>
                        <a:pt x="6554" y="1030"/>
                      </a:lnTo>
                      <a:lnTo>
                        <a:pt x="6511" y="940"/>
                      </a:lnTo>
                      <a:lnTo>
                        <a:pt x="6465" y="851"/>
                      </a:lnTo>
                      <a:lnTo>
                        <a:pt x="6418" y="765"/>
                      </a:lnTo>
                      <a:lnTo>
                        <a:pt x="6367" y="680"/>
                      </a:lnTo>
                      <a:lnTo>
                        <a:pt x="6315" y="596"/>
                      </a:lnTo>
                      <a:lnTo>
                        <a:pt x="6261" y="515"/>
                      </a:lnTo>
                      <a:lnTo>
                        <a:pt x="6205" y="436"/>
                      </a:lnTo>
                      <a:lnTo>
                        <a:pt x="6146" y="358"/>
                      </a:lnTo>
                      <a:lnTo>
                        <a:pt x="6086" y="282"/>
                      </a:lnTo>
                      <a:lnTo>
                        <a:pt x="6025" y="209"/>
                      </a:lnTo>
                      <a:lnTo>
                        <a:pt x="5961" y="138"/>
                      </a:lnTo>
                      <a:lnTo>
                        <a:pt x="5896" y="68"/>
                      </a:lnTo>
                      <a:lnTo>
                        <a:pt x="5829" y="0"/>
                      </a:lnTo>
                      <a:close/>
                    </a:path>
                  </a:pathLst>
                </a:custGeom>
                <a:solidFill>
                  <a:srgbClr val="1B233E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321" name="Freeform 216"/>
                <p:cNvSpPr>
                  <a:spLocks/>
                </p:cNvSpPr>
                <p:nvPr/>
              </p:nvSpPr>
              <p:spPr bwMode="auto">
                <a:xfrm>
                  <a:off x="3077" y="2487"/>
                  <a:ext cx="441" cy="208"/>
                </a:xfrm>
                <a:custGeom>
                  <a:avLst/>
                  <a:gdLst>
                    <a:gd name="T0" fmla="*/ 0 w 3086"/>
                    <a:gd name="T1" fmla="*/ 0 h 1483"/>
                    <a:gd name="T2" fmla="*/ 0 w 3086"/>
                    <a:gd name="T3" fmla="*/ 0 h 1483"/>
                    <a:gd name="T4" fmla="*/ 0 w 3086"/>
                    <a:gd name="T5" fmla="*/ 0 h 1483"/>
                    <a:gd name="T6" fmla="*/ 0 w 3086"/>
                    <a:gd name="T7" fmla="*/ 0 h 1483"/>
                    <a:gd name="T8" fmla="*/ 0 w 3086"/>
                    <a:gd name="T9" fmla="*/ 0 h 1483"/>
                    <a:gd name="T10" fmla="*/ 0 w 3086"/>
                    <a:gd name="T11" fmla="*/ 0 h 1483"/>
                    <a:gd name="T12" fmla="*/ 0 w 3086"/>
                    <a:gd name="T13" fmla="*/ 0 h 1483"/>
                    <a:gd name="T14" fmla="*/ 0 w 3086"/>
                    <a:gd name="T15" fmla="*/ 0 h 1483"/>
                    <a:gd name="T16" fmla="*/ 0 w 3086"/>
                    <a:gd name="T17" fmla="*/ 0 h 1483"/>
                    <a:gd name="T18" fmla="*/ 0 w 3086"/>
                    <a:gd name="T19" fmla="*/ 0 h 1483"/>
                    <a:gd name="T20" fmla="*/ 0 w 3086"/>
                    <a:gd name="T21" fmla="*/ 0 h 1483"/>
                    <a:gd name="T22" fmla="*/ 0 w 3086"/>
                    <a:gd name="T23" fmla="*/ 0 h 1483"/>
                    <a:gd name="T24" fmla="*/ 0 w 3086"/>
                    <a:gd name="T25" fmla="*/ 0 h 1483"/>
                    <a:gd name="T26" fmla="*/ 0 w 3086"/>
                    <a:gd name="T27" fmla="*/ 0 h 1483"/>
                    <a:gd name="T28" fmla="*/ 0 w 3086"/>
                    <a:gd name="T29" fmla="*/ 0 h 1483"/>
                    <a:gd name="T30" fmla="*/ 0 w 3086"/>
                    <a:gd name="T31" fmla="*/ 0 h 1483"/>
                    <a:gd name="T32" fmla="*/ 0 w 3086"/>
                    <a:gd name="T33" fmla="*/ 0 h 1483"/>
                    <a:gd name="T34" fmla="*/ 0 w 3086"/>
                    <a:gd name="T35" fmla="*/ 0 h 1483"/>
                    <a:gd name="T36" fmla="*/ 0 w 3086"/>
                    <a:gd name="T37" fmla="*/ 0 h 1483"/>
                    <a:gd name="T38" fmla="*/ 0 w 3086"/>
                    <a:gd name="T39" fmla="*/ 0 h 1483"/>
                    <a:gd name="T40" fmla="*/ 0 w 3086"/>
                    <a:gd name="T41" fmla="*/ 0 h 1483"/>
                    <a:gd name="T42" fmla="*/ 0 w 3086"/>
                    <a:gd name="T43" fmla="*/ 0 h 1483"/>
                    <a:gd name="T44" fmla="*/ 0 w 3086"/>
                    <a:gd name="T45" fmla="*/ 0 h 1483"/>
                    <a:gd name="T46" fmla="*/ 0 w 3086"/>
                    <a:gd name="T47" fmla="*/ 0 h 1483"/>
                    <a:gd name="T48" fmla="*/ 0 w 3086"/>
                    <a:gd name="T49" fmla="*/ 0 h 1483"/>
                    <a:gd name="T50" fmla="*/ 0 w 3086"/>
                    <a:gd name="T51" fmla="*/ 0 h 1483"/>
                    <a:gd name="T52" fmla="*/ 0 w 3086"/>
                    <a:gd name="T53" fmla="*/ 0 h 1483"/>
                    <a:gd name="T54" fmla="*/ 0 w 3086"/>
                    <a:gd name="T55" fmla="*/ 0 h 1483"/>
                    <a:gd name="T56" fmla="*/ 0 w 3086"/>
                    <a:gd name="T57" fmla="*/ 0 h 1483"/>
                    <a:gd name="T58" fmla="*/ 0 w 3086"/>
                    <a:gd name="T59" fmla="*/ 0 h 1483"/>
                    <a:gd name="T60" fmla="*/ 0 w 3086"/>
                    <a:gd name="T61" fmla="*/ 0 h 1483"/>
                    <a:gd name="T62" fmla="*/ 0 w 3086"/>
                    <a:gd name="T63" fmla="*/ 0 h 1483"/>
                    <a:gd name="T64" fmla="*/ 0 w 3086"/>
                    <a:gd name="T65" fmla="*/ 0 h 1483"/>
                    <a:gd name="T66" fmla="*/ 0 w 3086"/>
                    <a:gd name="T67" fmla="*/ 0 h 1483"/>
                    <a:gd name="T68" fmla="*/ 0 w 3086"/>
                    <a:gd name="T69" fmla="*/ 0 h 1483"/>
                    <a:gd name="T70" fmla="*/ 0 w 3086"/>
                    <a:gd name="T71" fmla="*/ 0 h 1483"/>
                    <a:gd name="T72" fmla="*/ 0 w 3086"/>
                    <a:gd name="T73" fmla="*/ 0 h 1483"/>
                    <a:gd name="T74" fmla="*/ 0 w 3086"/>
                    <a:gd name="T75" fmla="*/ 0 h 1483"/>
                    <a:gd name="T76" fmla="*/ 0 w 3086"/>
                    <a:gd name="T77" fmla="*/ 0 h 1483"/>
                    <a:gd name="T78" fmla="*/ 0 w 3086"/>
                    <a:gd name="T79" fmla="*/ 0 h 1483"/>
                    <a:gd name="T80" fmla="*/ 0 w 3086"/>
                    <a:gd name="T81" fmla="*/ 0 h 1483"/>
                    <a:gd name="T82" fmla="*/ 0 w 3086"/>
                    <a:gd name="T83" fmla="*/ 0 h 1483"/>
                    <a:gd name="T84" fmla="*/ 0 w 3086"/>
                    <a:gd name="T85" fmla="*/ 0 h 1483"/>
                    <a:gd name="T86" fmla="*/ 0 w 3086"/>
                    <a:gd name="T87" fmla="*/ 0 h 1483"/>
                    <a:gd name="T88" fmla="*/ 0 w 3086"/>
                    <a:gd name="T89" fmla="*/ 0 h 1483"/>
                    <a:gd name="T90" fmla="*/ 0 w 3086"/>
                    <a:gd name="T91" fmla="*/ 0 h 1483"/>
                    <a:gd name="T92" fmla="*/ 0 w 3086"/>
                    <a:gd name="T93" fmla="*/ 0 h 1483"/>
                    <a:gd name="T94" fmla="*/ 0 w 3086"/>
                    <a:gd name="T95" fmla="*/ 0 h 1483"/>
                    <a:gd name="T96" fmla="*/ 0 w 3086"/>
                    <a:gd name="T97" fmla="*/ 0 h 1483"/>
                    <a:gd name="T98" fmla="*/ 0 w 3086"/>
                    <a:gd name="T99" fmla="*/ 0 h 1483"/>
                    <a:gd name="T100" fmla="*/ 0 w 3086"/>
                    <a:gd name="T101" fmla="*/ 0 h 1483"/>
                    <a:gd name="T102" fmla="*/ 0 w 3086"/>
                    <a:gd name="T103" fmla="*/ 0 h 1483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3086"/>
                    <a:gd name="T157" fmla="*/ 0 h 1483"/>
                    <a:gd name="T158" fmla="*/ 3086 w 3086"/>
                    <a:gd name="T159" fmla="*/ 1483 h 1483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3086" h="1483">
                      <a:moveTo>
                        <a:pt x="1769" y="1302"/>
                      </a:moveTo>
                      <a:lnTo>
                        <a:pt x="1826" y="1278"/>
                      </a:lnTo>
                      <a:lnTo>
                        <a:pt x="1881" y="1252"/>
                      </a:lnTo>
                      <a:lnTo>
                        <a:pt x="1937" y="1224"/>
                      </a:lnTo>
                      <a:lnTo>
                        <a:pt x="1990" y="1196"/>
                      </a:lnTo>
                      <a:lnTo>
                        <a:pt x="2043" y="1167"/>
                      </a:lnTo>
                      <a:lnTo>
                        <a:pt x="2094" y="1138"/>
                      </a:lnTo>
                      <a:lnTo>
                        <a:pt x="2145" y="1107"/>
                      </a:lnTo>
                      <a:lnTo>
                        <a:pt x="2194" y="1075"/>
                      </a:lnTo>
                      <a:lnTo>
                        <a:pt x="2242" y="1043"/>
                      </a:lnTo>
                      <a:lnTo>
                        <a:pt x="2289" y="1008"/>
                      </a:lnTo>
                      <a:lnTo>
                        <a:pt x="2335" y="974"/>
                      </a:lnTo>
                      <a:lnTo>
                        <a:pt x="2380" y="938"/>
                      </a:lnTo>
                      <a:lnTo>
                        <a:pt x="2424" y="901"/>
                      </a:lnTo>
                      <a:lnTo>
                        <a:pt x="2467" y="864"/>
                      </a:lnTo>
                      <a:lnTo>
                        <a:pt x="2509" y="825"/>
                      </a:lnTo>
                      <a:lnTo>
                        <a:pt x="2550" y="786"/>
                      </a:lnTo>
                      <a:lnTo>
                        <a:pt x="2590" y="744"/>
                      </a:lnTo>
                      <a:lnTo>
                        <a:pt x="2629" y="703"/>
                      </a:lnTo>
                      <a:lnTo>
                        <a:pt x="2667" y="661"/>
                      </a:lnTo>
                      <a:lnTo>
                        <a:pt x="2704" y="617"/>
                      </a:lnTo>
                      <a:lnTo>
                        <a:pt x="2741" y="573"/>
                      </a:lnTo>
                      <a:lnTo>
                        <a:pt x="2776" y="527"/>
                      </a:lnTo>
                      <a:lnTo>
                        <a:pt x="2811" y="481"/>
                      </a:lnTo>
                      <a:lnTo>
                        <a:pt x="2844" y="433"/>
                      </a:lnTo>
                      <a:lnTo>
                        <a:pt x="2877" y="385"/>
                      </a:lnTo>
                      <a:lnTo>
                        <a:pt x="2910" y="336"/>
                      </a:lnTo>
                      <a:lnTo>
                        <a:pt x="2941" y="286"/>
                      </a:lnTo>
                      <a:lnTo>
                        <a:pt x="2971" y="235"/>
                      </a:lnTo>
                      <a:lnTo>
                        <a:pt x="3001" y="182"/>
                      </a:lnTo>
                      <a:lnTo>
                        <a:pt x="3030" y="129"/>
                      </a:lnTo>
                      <a:lnTo>
                        <a:pt x="3058" y="76"/>
                      </a:lnTo>
                      <a:lnTo>
                        <a:pt x="3086" y="20"/>
                      </a:lnTo>
                      <a:lnTo>
                        <a:pt x="3042" y="16"/>
                      </a:lnTo>
                      <a:lnTo>
                        <a:pt x="2999" y="11"/>
                      </a:lnTo>
                      <a:lnTo>
                        <a:pt x="2955" y="8"/>
                      </a:lnTo>
                      <a:lnTo>
                        <a:pt x="2913" y="6"/>
                      </a:lnTo>
                      <a:lnTo>
                        <a:pt x="2870" y="3"/>
                      </a:lnTo>
                      <a:lnTo>
                        <a:pt x="2826" y="1"/>
                      </a:lnTo>
                      <a:lnTo>
                        <a:pt x="2783" y="0"/>
                      </a:lnTo>
                      <a:lnTo>
                        <a:pt x="2739" y="0"/>
                      </a:lnTo>
                      <a:lnTo>
                        <a:pt x="2646" y="1"/>
                      </a:lnTo>
                      <a:lnTo>
                        <a:pt x="2552" y="7"/>
                      </a:lnTo>
                      <a:lnTo>
                        <a:pt x="2458" y="14"/>
                      </a:lnTo>
                      <a:lnTo>
                        <a:pt x="2363" y="24"/>
                      </a:lnTo>
                      <a:lnTo>
                        <a:pt x="2270" y="39"/>
                      </a:lnTo>
                      <a:lnTo>
                        <a:pt x="2175" y="56"/>
                      </a:lnTo>
                      <a:lnTo>
                        <a:pt x="2081" y="76"/>
                      </a:lnTo>
                      <a:lnTo>
                        <a:pt x="1987" y="98"/>
                      </a:lnTo>
                      <a:lnTo>
                        <a:pt x="1892" y="124"/>
                      </a:lnTo>
                      <a:lnTo>
                        <a:pt x="1800" y="152"/>
                      </a:lnTo>
                      <a:lnTo>
                        <a:pt x="1707" y="184"/>
                      </a:lnTo>
                      <a:lnTo>
                        <a:pt x="1614" y="218"/>
                      </a:lnTo>
                      <a:lnTo>
                        <a:pt x="1522" y="255"/>
                      </a:lnTo>
                      <a:lnTo>
                        <a:pt x="1432" y="294"/>
                      </a:lnTo>
                      <a:lnTo>
                        <a:pt x="1340" y="336"/>
                      </a:lnTo>
                      <a:lnTo>
                        <a:pt x="1251" y="381"/>
                      </a:lnTo>
                      <a:lnTo>
                        <a:pt x="1162" y="428"/>
                      </a:lnTo>
                      <a:lnTo>
                        <a:pt x="1076" y="479"/>
                      </a:lnTo>
                      <a:lnTo>
                        <a:pt x="989" y="532"/>
                      </a:lnTo>
                      <a:lnTo>
                        <a:pt x="903" y="586"/>
                      </a:lnTo>
                      <a:lnTo>
                        <a:pt x="820" y="644"/>
                      </a:lnTo>
                      <a:lnTo>
                        <a:pt x="736" y="704"/>
                      </a:lnTo>
                      <a:lnTo>
                        <a:pt x="655" y="767"/>
                      </a:lnTo>
                      <a:lnTo>
                        <a:pt x="576" y="831"/>
                      </a:lnTo>
                      <a:lnTo>
                        <a:pt x="497" y="898"/>
                      </a:lnTo>
                      <a:lnTo>
                        <a:pt x="421" y="968"/>
                      </a:lnTo>
                      <a:lnTo>
                        <a:pt x="345" y="1039"/>
                      </a:lnTo>
                      <a:lnTo>
                        <a:pt x="273" y="1114"/>
                      </a:lnTo>
                      <a:lnTo>
                        <a:pt x="202" y="1190"/>
                      </a:lnTo>
                      <a:lnTo>
                        <a:pt x="133" y="1269"/>
                      </a:lnTo>
                      <a:lnTo>
                        <a:pt x="66" y="1349"/>
                      </a:lnTo>
                      <a:lnTo>
                        <a:pt x="0" y="1431"/>
                      </a:lnTo>
                      <a:lnTo>
                        <a:pt x="58" y="1440"/>
                      </a:lnTo>
                      <a:lnTo>
                        <a:pt x="116" y="1449"/>
                      </a:lnTo>
                      <a:lnTo>
                        <a:pt x="175" y="1457"/>
                      </a:lnTo>
                      <a:lnTo>
                        <a:pt x="234" y="1462"/>
                      </a:lnTo>
                      <a:lnTo>
                        <a:pt x="294" y="1468"/>
                      </a:lnTo>
                      <a:lnTo>
                        <a:pt x="353" y="1473"/>
                      </a:lnTo>
                      <a:lnTo>
                        <a:pt x="413" y="1477"/>
                      </a:lnTo>
                      <a:lnTo>
                        <a:pt x="474" y="1480"/>
                      </a:lnTo>
                      <a:lnTo>
                        <a:pt x="535" y="1482"/>
                      </a:lnTo>
                      <a:lnTo>
                        <a:pt x="595" y="1483"/>
                      </a:lnTo>
                      <a:lnTo>
                        <a:pt x="655" y="1483"/>
                      </a:lnTo>
                      <a:lnTo>
                        <a:pt x="715" y="1483"/>
                      </a:lnTo>
                      <a:lnTo>
                        <a:pt x="775" y="1481"/>
                      </a:lnTo>
                      <a:lnTo>
                        <a:pt x="835" y="1480"/>
                      </a:lnTo>
                      <a:lnTo>
                        <a:pt x="894" y="1477"/>
                      </a:lnTo>
                      <a:lnTo>
                        <a:pt x="953" y="1472"/>
                      </a:lnTo>
                      <a:lnTo>
                        <a:pt x="1012" y="1468"/>
                      </a:lnTo>
                      <a:lnTo>
                        <a:pt x="1069" y="1462"/>
                      </a:lnTo>
                      <a:lnTo>
                        <a:pt x="1127" y="1457"/>
                      </a:lnTo>
                      <a:lnTo>
                        <a:pt x="1182" y="1449"/>
                      </a:lnTo>
                      <a:lnTo>
                        <a:pt x="1238" y="1441"/>
                      </a:lnTo>
                      <a:lnTo>
                        <a:pt x="1293" y="1432"/>
                      </a:lnTo>
                      <a:lnTo>
                        <a:pt x="1346" y="1423"/>
                      </a:lnTo>
                      <a:lnTo>
                        <a:pt x="1398" y="1413"/>
                      </a:lnTo>
                      <a:lnTo>
                        <a:pt x="1449" y="1402"/>
                      </a:lnTo>
                      <a:lnTo>
                        <a:pt x="1500" y="1390"/>
                      </a:lnTo>
                      <a:lnTo>
                        <a:pt x="1547" y="1378"/>
                      </a:lnTo>
                      <a:lnTo>
                        <a:pt x="1595" y="1363"/>
                      </a:lnTo>
                      <a:lnTo>
                        <a:pt x="1641" y="1350"/>
                      </a:lnTo>
                      <a:lnTo>
                        <a:pt x="1685" y="1334"/>
                      </a:lnTo>
                      <a:lnTo>
                        <a:pt x="1728" y="1319"/>
                      </a:lnTo>
                      <a:lnTo>
                        <a:pt x="1769" y="1302"/>
                      </a:lnTo>
                      <a:close/>
                    </a:path>
                  </a:pathLst>
                </a:custGeom>
                <a:solidFill>
                  <a:srgbClr val="243D6A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</p:grpSp>
          <p:grpSp>
            <p:nvGrpSpPr>
              <p:cNvPr id="413" name="Group 166"/>
              <p:cNvGrpSpPr>
                <a:grpSpLocks/>
              </p:cNvGrpSpPr>
              <p:nvPr/>
            </p:nvGrpSpPr>
            <p:grpSpPr bwMode="auto">
              <a:xfrm>
                <a:off x="6833280" y="2701838"/>
                <a:ext cx="378941" cy="624383"/>
                <a:chOff x="192" y="480"/>
                <a:chExt cx="1038" cy="1824"/>
              </a:xfrm>
            </p:grpSpPr>
            <p:pic>
              <p:nvPicPr>
                <p:cNvPr id="426" name="Picture 167" descr="j0417464"/>
                <p:cNvPicPr>
                  <a:picLocks noChangeAspect="1" noChangeArrowheads="1"/>
                </p:cNvPicPr>
                <p:nvPr/>
              </p:nvPicPr>
              <p:blipFill>
                <a:blip r:embed="rId4" cstate="print"/>
                <a:srcRect/>
                <a:stretch>
                  <a:fillRect/>
                </a:stretch>
              </p:blipFill>
              <p:spPr bwMode="auto">
                <a:xfrm>
                  <a:off x="192" y="480"/>
                  <a:ext cx="1038" cy="168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grpSp>
              <p:nvGrpSpPr>
                <p:cNvPr id="427" name="Group 168"/>
                <p:cNvGrpSpPr>
                  <a:grpSpLocks/>
                </p:cNvGrpSpPr>
                <p:nvPr/>
              </p:nvGrpSpPr>
              <p:grpSpPr bwMode="auto">
                <a:xfrm>
                  <a:off x="279" y="1545"/>
                  <a:ext cx="885" cy="759"/>
                  <a:chOff x="3160" y="3505"/>
                  <a:chExt cx="602" cy="660"/>
                </a:xfrm>
              </p:grpSpPr>
              <p:sp>
                <p:nvSpPr>
                  <p:cNvPr id="428" name="Freeform 169"/>
                  <p:cNvSpPr>
                    <a:spLocks/>
                  </p:cNvSpPr>
                  <p:nvPr/>
                </p:nvSpPr>
                <p:spPr bwMode="auto">
                  <a:xfrm>
                    <a:off x="3292" y="3975"/>
                    <a:ext cx="136" cy="177"/>
                  </a:xfrm>
                  <a:custGeom>
                    <a:avLst/>
                    <a:gdLst>
                      <a:gd name="T0" fmla="*/ 0 w 955"/>
                      <a:gd name="T1" fmla="*/ 0 h 1249"/>
                      <a:gd name="T2" fmla="*/ 0 w 955"/>
                      <a:gd name="T3" fmla="*/ 0 h 1249"/>
                      <a:gd name="T4" fmla="*/ 0 w 955"/>
                      <a:gd name="T5" fmla="*/ 0 h 1249"/>
                      <a:gd name="T6" fmla="*/ 0 w 955"/>
                      <a:gd name="T7" fmla="*/ 0 h 1249"/>
                      <a:gd name="T8" fmla="*/ 0 w 955"/>
                      <a:gd name="T9" fmla="*/ 0 h 1249"/>
                      <a:gd name="T10" fmla="*/ 0 w 955"/>
                      <a:gd name="T11" fmla="*/ 0 h 1249"/>
                      <a:gd name="T12" fmla="*/ 0 w 955"/>
                      <a:gd name="T13" fmla="*/ 0 h 1249"/>
                      <a:gd name="T14" fmla="*/ 0 w 955"/>
                      <a:gd name="T15" fmla="*/ 0 h 1249"/>
                      <a:gd name="T16" fmla="*/ 0 w 955"/>
                      <a:gd name="T17" fmla="*/ 0 h 1249"/>
                      <a:gd name="T18" fmla="*/ 0 w 955"/>
                      <a:gd name="T19" fmla="*/ 0 h 1249"/>
                      <a:gd name="T20" fmla="*/ 0 w 955"/>
                      <a:gd name="T21" fmla="*/ 0 h 1249"/>
                      <a:gd name="T22" fmla="*/ 0 w 955"/>
                      <a:gd name="T23" fmla="*/ 0 h 1249"/>
                      <a:gd name="T24" fmla="*/ 0 w 955"/>
                      <a:gd name="T25" fmla="*/ 0 h 1249"/>
                      <a:gd name="T26" fmla="*/ 0 w 955"/>
                      <a:gd name="T27" fmla="*/ 0 h 1249"/>
                      <a:gd name="T28" fmla="*/ 0 w 955"/>
                      <a:gd name="T29" fmla="*/ 0 h 1249"/>
                      <a:gd name="T30" fmla="*/ 0 w 955"/>
                      <a:gd name="T31" fmla="*/ 0 h 1249"/>
                      <a:gd name="T32" fmla="*/ 0 w 955"/>
                      <a:gd name="T33" fmla="*/ 0 h 1249"/>
                      <a:gd name="T34" fmla="*/ 0 w 955"/>
                      <a:gd name="T35" fmla="*/ 0 h 1249"/>
                      <a:gd name="T36" fmla="*/ 0 w 955"/>
                      <a:gd name="T37" fmla="*/ 0 h 1249"/>
                      <a:gd name="T38" fmla="*/ 0 w 955"/>
                      <a:gd name="T39" fmla="*/ 0 h 1249"/>
                      <a:gd name="T40" fmla="*/ 0 w 955"/>
                      <a:gd name="T41" fmla="*/ 0 h 1249"/>
                      <a:gd name="T42" fmla="*/ 0 w 955"/>
                      <a:gd name="T43" fmla="*/ 0 h 1249"/>
                      <a:gd name="T44" fmla="*/ 0 w 955"/>
                      <a:gd name="T45" fmla="*/ 0 h 1249"/>
                      <a:gd name="T46" fmla="*/ 0 w 955"/>
                      <a:gd name="T47" fmla="*/ 0 h 1249"/>
                      <a:gd name="T48" fmla="*/ 0 w 955"/>
                      <a:gd name="T49" fmla="*/ 0 h 1249"/>
                      <a:gd name="T50" fmla="*/ 0 w 955"/>
                      <a:gd name="T51" fmla="*/ 0 h 1249"/>
                      <a:gd name="T52" fmla="*/ 0 w 955"/>
                      <a:gd name="T53" fmla="*/ 0 h 1249"/>
                      <a:gd name="T54" fmla="*/ 0 w 955"/>
                      <a:gd name="T55" fmla="*/ 0 h 1249"/>
                      <a:gd name="T56" fmla="*/ 0 w 955"/>
                      <a:gd name="T57" fmla="*/ 0 h 1249"/>
                      <a:gd name="T58" fmla="*/ 0 w 955"/>
                      <a:gd name="T59" fmla="*/ 0 h 1249"/>
                      <a:gd name="T60" fmla="*/ 0 w 955"/>
                      <a:gd name="T61" fmla="*/ 0 h 1249"/>
                      <a:gd name="T62" fmla="*/ 0 w 955"/>
                      <a:gd name="T63" fmla="*/ 0 h 1249"/>
                      <a:gd name="T64" fmla="*/ 0 w 955"/>
                      <a:gd name="T65" fmla="*/ 0 h 1249"/>
                      <a:gd name="T66" fmla="*/ 0 w 955"/>
                      <a:gd name="T67" fmla="*/ 0 h 1249"/>
                      <a:gd name="T68" fmla="*/ 0 w 955"/>
                      <a:gd name="T69" fmla="*/ 0 h 1249"/>
                      <a:gd name="T70" fmla="*/ 0 w 955"/>
                      <a:gd name="T71" fmla="*/ 0 h 1249"/>
                      <a:gd name="T72" fmla="*/ 0 w 955"/>
                      <a:gd name="T73" fmla="*/ 0 h 1249"/>
                      <a:gd name="T74" fmla="*/ 0 w 955"/>
                      <a:gd name="T75" fmla="*/ 0 h 1249"/>
                      <a:gd name="T76" fmla="*/ 0 w 955"/>
                      <a:gd name="T77" fmla="*/ 0 h 1249"/>
                      <a:gd name="T78" fmla="*/ 0 w 955"/>
                      <a:gd name="T79" fmla="*/ 0 h 1249"/>
                      <a:gd name="T80" fmla="*/ 0 w 955"/>
                      <a:gd name="T81" fmla="*/ 0 h 1249"/>
                      <a:gd name="T82" fmla="*/ 0 w 955"/>
                      <a:gd name="T83" fmla="*/ 0 h 1249"/>
                      <a:gd name="T84" fmla="*/ 0 w 955"/>
                      <a:gd name="T85" fmla="*/ 0 h 1249"/>
                      <a:gd name="T86" fmla="*/ 0 w 955"/>
                      <a:gd name="T87" fmla="*/ 0 h 1249"/>
                      <a:gd name="T88" fmla="*/ 0 w 955"/>
                      <a:gd name="T89" fmla="*/ 0 h 1249"/>
                      <a:gd name="T90" fmla="*/ 0 w 955"/>
                      <a:gd name="T91" fmla="*/ 0 h 1249"/>
                      <a:gd name="T92" fmla="*/ 0 w 955"/>
                      <a:gd name="T93" fmla="*/ 0 h 1249"/>
                      <a:gd name="T94" fmla="*/ 0 w 955"/>
                      <a:gd name="T95" fmla="*/ 0 h 1249"/>
                      <a:gd name="T96" fmla="*/ 0 w 955"/>
                      <a:gd name="T97" fmla="*/ 0 h 1249"/>
                      <a:gd name="T98" fmla="*/ 0 w 955"/>
                      <a:gd name="T99" fmla="*/ 0 h 1249"/>
                      <a:gd name="T100" fmla="*/ 0 w 955"/>
                      <a:gd name="T101" fmla="*/ 0 h 1249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w 955"/>
                      <a:gd name="T154" fmla="*/ 0 h 1249"/>
                      <a:gd name="T155" fmla="*/ 955 w 955"/>
                      <a:gd name="T156" fmla="*/ 1249 h 1249"/>
                    </a:gdLst>
                    <a:ahLst/>
                    <a:cxnLst>
                      <a:cxn ang="T102">
                        <a:pos x="T0" y="T1"/>
                      </a:cxn>
                      <a:cxn ang="T103">
                        <a:pos x="T2" y="T3"/>
                      </a:cxn>
                      <a:cxn ang="T104">
                        <a:pos x="T4" y="T5"/>
                      </a:cxn>
                      <a:cxn ang="T105">
                        <a:pos x="T6" y="T7"/>
                      </a:cxn>
                      <a:cxn ang="T106">
                        <a:pos x="T8" y="T9"/>
                      </a:cxn>
                      <a:cxn ang="T107">
                        <a:pos x="T10" y="T11"/>
                      </a:cxn>
                      <a:cxn ang="T108">
                        <a:pos x="T12" y="T13"/>
                      </a:cxn>
                      <a:cxn ang="T109">
                        <a:pos x="T14" y="T15"/>
                      </a:cxn>
                      <a:cxn ang="T110">
                        <a:pos x="T16" y="T17"/>
                      </a:cxn>
                      <a:cxn ang="T111">
                        <a:pos x="T18" y="T19"/>
                      </a:cxn>
                      <a:cxn ang="T112">
                        <a:pos x="T20" y="T21"/>
                      </a:cxn>
                      <a:cxn ang="T113">
                        <a:pos x="T22" y="T23"/>
                      </a:cxn>
                      <a:cxn ang="T114">
                        <a:pos x="T24" y="T25"/>
                      </a:cxn>
                      <a:cxn ang="T115">
                        <a:pos x="T26" y="T27"/>
                      </a:cxn>
                      <a:cxn ang="T116">
                        <a:pos x="T28" y="T29"/>
                      </a:cxn>
                      <a:cxn ang="T117">
                        <a:pos x="T30" y="T31"/>
                      </a:cxn>
                      <a:cxn ang="T118">
                        <a:pos x="T32" y="T33"/>
                      </a:cxn>
                      <a:cxn ang="T119">
                        <a:pos x="T34" y="T35"/>
                      </a:cxn>
                      <a:cxn ang="T120">
                        <a:pos x="T36" y="T37"/>
                      </a:cxn>
                      <a:cxn ang="T121">
                        <a:pos x="T38" y="T39"/>
                      </a:cxn>
                      <a:cxn ang="T122">
                        <a:pos x="T40" y="T41"/>
                      </a:cxn>
                      <a:cxn ang="T123">
                        <a:pos x="T42" y="T43"/>
                      </a:cxn>
                      <a:cxn ang="T124">
                        <a:pos x="T44" y="T45"/>
                      </a:cxn>
                      <a:cxn ang="T125">
                        <a:pos x="T46" y="T47"/>
                      </a:cxn>
                      <a:cxn ang="T126">
                        <a:pos x="T48" y="T49"/>
                      </a:cxn>
                      <a:cxn ang="T127">
                        <a:pos x="T50" y="T51"/>
                      </a:cxn>
                      <a:cxn ang="T128">
                        <a:pos x="T52" y="T53"/>
                      </a:cxn>
                      <a:cxn ang="T129">
                        <a:pos x="T54" y="T55"/>
                      </a:cxn>
                      <a:cxn ang="T130">
                        <a:pos x="T56" y="T57"/>
                      </a:cxn>
                      <a:cxn ang="T131">
                        <a:pos x="T58" y="T59"/>
                      </a:cxn>
                      <a:cxn ang="T132">
                        <a:pos x="T60" y="T61"/>
                      </a:cxn>
                      <a:cxn ang="T133">
                        <a:pos x="T62" y="T63"/>
                      </a:cxn>
                      <a:cxn ang="T134">
                        <a:pos x="T64" y="T65"/>
                      </a:cxn>
                      <a:cxn ang="T135">
                        <a:pos x="T66" y="T67"/>
                      </a:cxn>
                      <a:cxn ang="T136">
                        <a:pos x="T68" y="T69"/>
                      </a:cxn>
                      <a:cxn ang="T137">
                        <a:pos x="T70" y="T71"/>
                      </a:cxn>
                      <a:cxn ang="T138">
                        <a:pos x="T72" y="T73"/>
                      </a:cxn>
                      <a:cxn ang="T139">
                        <a:pos x="T74" y="T75"/>
                      </a:cxn>
                      <a:cxn ang="T140">
                        <a:pos x="T76" y="T77"/>
                      </a:cxn>
                      <a:cxn ang="T141">
                        <a:pos x="T78" y="T79"/>
                      </a:cxn>
                      <a:cxn ang="T142">
                        <a:pos x="T80" y="T81"/>
                      </a:cxn>
                      <a:cxn ang="T143">
                        <a:pos x="T82" y="T83"/>
                      </a:cxn>
                      <a:cxn ang="T144">
                        <a:pos x="T84" y="T85"/>
                      </a:cxn>
                      <a:cxn ang="T145">
                        <a:pos x="T86" y="T87"/>
                      </a:cxn>
                      <a:cxn ang="T146">
                        <a:pos x="T88" y="T89"/>
                      </a:cxn>
                      <a:cxn ang="T147">
                        <a:pos x="T90" y="T91"/>
                      </a:cxn>
                      <a:cxn ang="T148">
                        <a:pos x="T92" y="T93"/>
                      </a:cxn>
                      <a:cxn ang="T149">
                        <a:pos x="T94" y="T95"/>
                      </a:cxn>
                      <a:cxn ang="T150">
                        <a:pos x="T96" y="T97"/>
                      </a:cxn>
                      <a:cxn ang="T151">
                        <a:pos x="T98" y="T99"/>
                      </a:cxn>
                      <a:cxn ang="T152">
                        <a:pos x="T100" y="T101"/>
                      </a:cxn>
                    </a:cxnLst>
                    <a:rect l="T153" t="T154" r="T155" b="T156"/>
                    <a:pathLst>
                      <a:path w="955" h="1249">
                        <a:moveTo>
                          <a:pt x="953" y="531"/>
                        </a:moveTo>
                        <a:lnTo>
                          <a:pt x="955" y="463"/>
                        </a:lnTo>
                        <a:lnTo>
                          <a:pt x="951" y="401"/>
                        </a:lnTo>
                        <a:lnTo>
                          <a:pt x="942" y="344"/>
                        </a:lnTo>
                        <a:lnTo>
                          <a:pt x="929" y="292"/>
                        </a:lnTo>
                        <a:lnTo>
                          <a:pt x="911" y="245"/>
                        </a:lnTo>
                        <a:lnTo>
                          <a:pt x="889" y="202"/>
                        </a:lnTo>
                        <a:lnTo>
                          <a:pt x="863" y="164"/>
                        </a:lnTo>
                        <a:lnTo>
                          <a:pt x="834" y="130"/>
                        </a:lnTo>
                        <a:lnTo>
                          <a:pt x="802" y="100"/>
                        </a:lnTo>
                        <a:lnTo>
                          <a:pt x="768" y="75"/>
                        </a:lnTo>
                        <a:lnTo>
                          <a:pt x="731" y="54"/>
                        </a:lnTo>
                        <a:lnTo>
                          <a:pt x="692" y="36"/>
                        </a:lnTo>
                        <a:lnTo>
                          <a:pt x="652" y="23"/>
                        </a:lnTo>
                        <a:lnTo>
                          <a:pt x="611" y="11"/>
                        </a:lnTo>
                        <a:lnTo>
                          <a:pt x="567" y="5"/>
                        </a:lnTo>
                        <a:lnTo>
                          <a:pt x="524" y="0"/>
                        </a:lnTo>
                        <a:lnTo>
                          <a:pt x="480" y="0"/>
                        </a:lnTo>
                        <a:lnTo>
                          <a:pt x="437" y="2"/>
                        </a:lnTo>
                        <a:lnTo>
                          <a:pt x="395" y="7"/>
                        </a:lnTo>
                        <a:lnTo>
                          <a:pt x="352" y="15"/>
                        </a:lnTo>
                        <a:lnTo>
                          <a:pt x="311" y="25"/>
                        </a:lnTo>
                        <a:lnTo>
                          <a:pt x="272" y="37"/>
                        </a:lnTo>
                        <a:lnTo>
                          <a:pt x="234" y="53"/>
                        </a:lnTo>
                        <a:lnTo>
                          <a:pt x="199" y="69"/>
                        </a:lnTo>
                        <a:lnTo>
                          <a:pt x="165" y="88"/>
                        </a:lnTo>
                        <a:lnTo>
                          <a:pt x="135" y="109"/>
                        </a:lnTo>
                        <a:lnTo>
                          <a:pt x="109" y="132"/>
                        </a:lnTo>
                        <a:lnTo>
                          <a:pt x="85" y="155"/>
                        </a:lnTo>
                        <a:lnTo>
                          <a:pt x="66" y="181"/>
                        </a:lnTo>
                        <a:lnTo>
                          <a:pt x="51" y="207"/>
                        </a:lnTo>
                        <a:lnTo>
                          <a:pt x="41" y="235"/>
                        </a:lnTo>
                        <a:lnTo>
                          <a:pt x="35" y="264"/>
                        </a:lnTo>
                        <a:lnTo>
                          <a:pt x="25" y="352"/>
                        </a:lnTo>
                        <a:lnTo>
                          <a:pt x="14" y="448"/>
                        </a:lnTo>
                        <a:lnTo>
                          <a:pt x="10" y="497"/>
                        </a:lnTo>
                        <a:lnTo>
                          <a:pt x="5" y="547"/>
                        </a:lnTo>
                        <a:lnTo>
                          <a:pt x="2" y="596"/>
                        </a:lnTo>
                        <a:lnTo>
                          <a:pt x="1" y="645"/>
                        </a:lnTo>
                        <a:lnTo>
                          <a:pt x="0" y="692"/>
                        </a:lnTo>
                        <a:lnTo>
                          <a:pt x="2" y="738"/>
                        </a:lnTo>
                        <a:lnTo>
                          <a:pt x="3" y="760"/>
                        </a:lnTo>
                        <a:lnTo>
                          <a:pt x="5" y="781"/>
                        </a:lnTo>
                        <a:lnTo>
                          <a:pt x="8" y="803"/>
                        </a:lnTo>
                        <a:lnTo>
                          <a:pt x="12" y="823"/>
                        </a:lnTo>
                        <a:lnTo>
                          <a:pt x="15" y="843"/>
                        </a:lnTo>
                        <a:lnTo>
                          <a:pt x="21" y="860"/>
                        </a:lnTo>
                        <a:lnTo>
                          <a:pt x="26" y="878"/>
                        </a:lnTo>
                        <a:lnTo>
                          <a:pt x="33" y="895"/>
                        </a:lnTo>
                        <a:lnTo>
                          <a:pt x="40" y="911"/>
                        </a:lnTo>
                        <a:lnTo>
                          <a:pt x="47" y="926"/>
                        </a:lnTo>
                        <a:lnTo>
                          <a:pt x="57" y="939"/>
                        </a:lnTo>
                        <a:lnTo>
                          <a:pt x="67" y="952"/>
                        </a:lnTo>
                        <a:lnTo>
                          <a:pt x="79" y="963"/>
                        </a:lnTo>
                        <a:lnTo>
                          <a:pt x="91" y="975"/>
                        </a:lnTo>
                        <a:lnTo>
                          <a:pt x="104" y="987"/>
                        </a:lnTo>
                        <a:lnTo>
                          <a:pt x="120" y="1001"/>
                        </a:lnTo>
                        <a:lnTo>
                          <a:pt x="153" y="1026"/>
                        </a:lnTo>
                        <a:lnTo>
                          <a:pt x="190" y="1052"/>
                        </a:lnTo>
                        <a:lnTo>
                          <a:pt x="231" y="1079"/>
                        </a:lnTo>
                        <a:lnTo>
                          <a:pt x="274" y="1104"/>
                        </a:lnTo>
                        <a:lnTo>
                          <a:pt x="320" y="1129"/>
                        </a:lnTo>
                        <a:lnTo>
                          <a:pt x="368" y="1152"/>
                        </a:lnTo>
                        <a:lnTo>
                          <a:pt x="416" y="1174"/>
                        </a:lnTo>
                        <a:lnTo>
                          <a:pt x="465" y="1194"/>
                        </a:lnTo>
                        <a:lnTo>
                          <a:pt x="489" y="1203"/>
                        </a:lnTo>
                        <a:lnTo>
                          <a:pt x="514" y="1212"/>
                        </a:lnTo>
                        <a:lnTo>
                          <a:pt x="538" y="1220"/>
                        </a:lnTo>
                        <a:lnTo>
                          <a:pt x="563" y="1227"/>
                        </a:lnTo>
                        <a:lnTo>
                          <a:pt x="586" y="1232"/>
                        </a:lnTo>
                        <a:lnTo>
                          <a:pt x="609" y="1238"/>
                        </a:lnTo>
                        <a:lnTo>
                          <a:pt x="633" y="1242"/>
                        </a:lnTo>
                        <a:lnTo>
                          <a:pt x="655" y="1246"/>
                        </a:lnTo>
                        <a:lnTo>
                          <a:pt x="676" y="1248"/>
                        </a:lnTo>
                        <a:lnTo>
                          <a:pt x="697" y="1249"/>
                        </a:lnTo>
                        <a:lnTo>
                          <a:pt x="719" y="1249"/>
                        </a:lnTo>
                        <a:lnTo>
                          <a:pt x="737" y="1248"/>
                        </a:lnTo>
                        <a:lnTo>
                          <a:pt x="762" y="1244"/>
                        </a:lnTo>
                        <a:lnTo>
                          <a:pt x="784" y="1239"/>
                        </a:lnTo>
                        <a:lnTo>
                          <a:pt x="805" y="1231"/>
                        </a:lnTo>
                        <a:lnTo>
                          <a:pt x="824" y="1221"/>
                        </a:lnTo>
                        <a:lnTo>
                          <a:pt x="841" y="1210"/>
                        </a:lnTo>
                        <a:lnTo>
                          <a:pt x="858" y="1197"/>
                        </a:lnTo>
                        <a:lnTo>
                          <a:pt x="871" y="1181"/>
                        </a:lnTo>
                        <a:lnTo>
                          <a:pt x="883" y="1164"/>
                        </a:lnTo>
                        <a:lnTo>
                          <a:pt x="894" y="1146"/>
                        </a:lnTo>
                        <a:lnTo>
                          <a:pt x="904" y="1126"/>
                        </a:lnTo>
                        <a:lnTo>
                          <a:pt x="913" y="1105"/>
                        </a:lnTo>
                        <a:lnTo>
                          <a:pt x="921" y="1083"/>
                        </a:lnTo>
                        <a:lnTo>
                          <a:pt x="928" y="1060"/>
                        </a:lnTo>
                        <a:lnTo>
                          <a:pt x="932" y="1035"/>
                        </a:lnTo>
                        <a:lnTo>
                          <a:pt x="937" y="1010"/>
                        </a:lnTo>
                        <a:lnTo>
                          <a:pt x="941" y="984"/>
                        </a:lnTo>
                        <a:lnTo>
                          <a:pt x="943" y="957"/>
                        </a:lnTo>
                        <a:lnTo>
                          <a:pt x="946" y="929"/>
                        </a:lnTo>
                        <a:lnTo>
                          <a:pt x="948" y="902"/>
                        </a:lnTo>
                        <a:lnTo>
                          <a:pt x="949" y="873"/>
                        </a:lnTo>
                        <a:lnTo>
                          <a:pt x="950" y="815"/>
                        </a:lnTo>
                        <a:lnTo>
                          <a:pt x="950" y="756"/>
                        </a:lnTo>
                        <a:lnTo>
                          <a:pt x="950" y="698"/>
                        </a:lnTo>
                        <a:lnTo>
                          <a:pt x="950" y="640"/>
                        </a:lnTo>
                        <a:lnTo>
                          <a:pt x="951" y="584"/>
                        </a:lnTo>
                        <a:lnTo>
                          <a:pt x="953" y="531"/>
                        </a:lnTo>
                        <a:close/>
                      </a:path>
                    </a:pathLst>
                  </a:custGeom>
                  <a:solidFill>
                    <a:srgbClr val="273669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29" name="Freeform 170"/>
                  <p:cNvSpPr>
                    <a:spLocks/>
                  </p:cNvSpPr>
                  <p:nvPr/>
                </p:nvSpPr>
                <p:spPr bwMode="auto">
                  <a:xfrm>
                    <a:off x="3357" y="3975"/>
                    <a:ext cx="71" cy="138"/>
                  </a:xfrm>
                  <a:custGeom>
                    <a:avLst/>
                    <a:gdLst>
                      <a:gd name="T0" fmla="*/ 0 w 502"/>
                      <a:gd name="T1" fmla="*/ 0 h 967"/>
                      <a:gd name="T2" fmla="*/ 0 w 502"/>
                      <a:gd name="T3" fmla="*/ 0 h 967"/>
                      <a:gd name="T4" fmla="*/ 0 w 502"/>
                      <a:gd name="T5" fmla="*/ 0 h 967"/>
                      <a:gd name="T6" fmla="*/ 0 w 502"/>
                      <a:gd name="T7" fmla="*/ 0 h 967"/>
                      <a:gd name="T8" fmla="*/ 0 w 502"/>
                      <a:gd name="T9" fmla="*/ 0 h 967"/>
                      <a:gd name="T10" fmla="*/ 0 w 502"/>
                      <a:gd name="T11" fmla="*/ 0 h 967"/>
                      <a:gd name="T12" fmla="*/ 0 w 502"/>
                      <a:gd name="T13" fmla="*/ 0 h 967"/>
                      <a:gd name="T14" fmla="*/ 0 w 502"/>
                      <a:gd name="T15" fmla="*/ 0 h 967"/>
                      <a:gd name="T16" fmla="*/ 0 w 502"/>
                      <a:gd name="T17" fmla="*/ 0 h 967"/>
                      <a:gd name="T18" fmla="*/ 0 w 502"/>
                      <a:gd name="T19" fmla="*/ 0 h 967"/>
                      <a:gd name="T20" fmla="*/ 0 w 502"/>
                      <a:gd name="T21" fmla="*/ 0 h 967"/>
                      <a:gd name="T22" fmla="*/ 0 w 502"/>
                      <a:gd name="T23" fmla="*/ 0 h 967"/>
                      <a:gd name="T24" fmla="*/ 0 w 502"/>
                      <a:gd name="T25" fmla="*/ 0 h 967"/>
                      <a:gd name="T26" fmla="*/ 0 w 502"/>
                      <a:gd name="T27" fmla="*/ 0 h 967"/>
                      <a:gd name="T28" fmla="*/ 0 w 502"/>
                      <a:gd name="T29" fmla="*/ 0 h 967"/>
                      <a:gd name="T30" fmla="*/ 0 w 502"/>
                      <a:gd name="T31" fmla="*/ 0 h 967"/>
                      <a:gd name="T32" fmla="*/ 0 w 502"/>
                      <a:gd name="T33" fmla="*/ 0 h 967"/>
                      <a:gd name="T34" fmla="*/ 0 w 502"/>
                      <a:gd name="T35" fmla="*/ 0 h 967"/>
                      <a:gd name="T36" fmla="*/ 0 w 502"/>
                      <a:gd name="T37" fmla="*/ 0 h 967"/>
                      <a:gd name="T38" fmla="*/ 0 w 502"/>
                      <a:gd name="T39" fmla="*/ 0 h 967"/>
                      <a:gd name="T40" fmla="*/ 0 w 502"/>
                      <a:gd name="T41" fmla="*/ 0 h 967"/>
                      <a:gd name="T42" fmla="*/ 0 w 502"/>
                      <a:gd name="T43" fmla="*/ 0 h 967"/>
                      <a:gd name="T44" fmla="*/ 0 w 502"/>
                      <a:gd name="T45" fmla="*/ 0 h 967"/>
                      <a:gd name="T46" fmla="*/ 0 w 502"/>
                      <a:gd name="T47" fmla="*/ 0 h 967"/>
                      <a:gd name="T48" fmla="*/ 0 w 502"/>
                      <a:gd name="T49" fmla="*/ 0 h 967"/>
                      <a:gd name="T50" fmla="*/ 0 w 502"/>
                      <a:gd name="T51" fmla="*/ 0 h 967"/>
                      <a:gd name="T52" fmla="*/ 0 w 502"/>
                      <a:gd name="T53" fmla="*/ 0 h 967"/>
                      <a:gd name="T54" fmla="*/ 0 w 502"/>
                      <a:gd name="T55" fmla="*/ 0 h 967"/>
                      <a:gd name="T56" fmla="*/ 0 w 502"/>
                      <a:gd name="T57" fmla="*/ 0 h 967"/>
                      <a:gd name="T58" fmla="*/ 0 w 502"/>
                      <a:gd name="T59" fmla="*/ 0 h 967"/>
                      <a:gd name="T60" fmla="*/ 0 w 502"/>
                      <a:gd name="T61" fmla="*/ 0 h 967"/>
                      <a:gd name="T62" fmla="*/ 0 w 502"/>
                      <a:gd name="T63" fmla="*/ 0 h 967"/>
                      <a:gd name="T64" fmla="*/ 0 w 502"/>
                      <a:gd name="T65" fmla="*/ 0 h 967"/>
                      <a:gd name="T66" fmla="*/ 0 w 502"/>
                      <a:gd name="T67" fmla="*/ 0 h 967"/>
                      <a:gd name="T68" fmla="*/ 0 w 502"/>
                      <a:gd name="T69" fmla="*/ 0 h 967"/>
                      <a:gd name="T70" fmla="*/ 0 w 502"/>
                      <a:gd name="T71" fmla="*/ 0 h 967"/>
                      <a:gd name="T72" fmla="*/ 0 w 502"/>
                      <a:gd name="T73" fmla="*/ 0 h 967"/>
                      <a:gd name="T74" fmla="*/ 0 w 502"/>
                      <a:gd name="T75" fmla="*/ 0 h 967"/>
                      <a:gd name="T76" fmla="*/ 0 w 502"/>
                      <a:gd name="T77" fmla="*/ 0 h 967"/>
                      <a:gd name="T78" fmla="*/ 0 w 502"/>
                      <a:gd name="T79" fmla="*/ 0 h 967"/>
                      <a:gd name="T80" fmla="*/ 0 w 502"/>
                      <a:gd name="T81" fmla="*/ 0 h 967"/>
                      <a:gd name="T82" fmla="*/ 0 w 502"/>
                      <a:gd name="T83" fmla="*/ 0 h 967"/>
                      <a:gd name="T84" fmla="*/ 0 w 502"/>
                      <a:gd name="T85" fmla="*/ 0 h 96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502"/>
                      <a:gd name="T130" fmla="*/ 0 h 967"/>
                      <a:gd name="T131" fmla="*/ 502 w 502"/>
                      <a:gd name="T132" fmla="*/ 967 h 96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502" h="967">
                        <a:moveTo>
                          <a:pt x="499" y="379"/>
                        </a:moveTo>
                        <a:lnTo>
                          <a:pt x="496" y="358"/>
                        </a:lnTo>
                        <a:lnTo>
                          <a:pt x="492" y="337"/>
                        </a:lnTo>
                        <a:lnTo>
                          <a:pt x="485" y="315"/>
                        </a:lnTo>
                        <a:lnTo>
                          <a:pt x="478" y="291"/>
                        </a:lnTo>
                        <a:lnTo>
                          <a:pt x="469" y="269"/>
                        </a:lnTo>
                        <a:lnTo>
                          <a:pt x="458" y="246"/>
                        </a:lnTo>
                        <a:lnTo>
                          <a:pt x="447" y="224"/>
                        </a:lnTo>
                        <a:lnTo>
                          <a:pt x="434" y="200"/>
                        </a:lnTo>
                        <a:lnTo>
                          <a:pt x="420" y="179"/>
                        </a:lnTo>
                        <a:lnTo>
                          <a:pt x="405" y="157"/>
                        </a:lnTo>
                        <a:lnTo>
                          <a:pt x="389" y="137"/>
                        </a:lnTo>
                        <a:lnTo>
                          <a:pt x="373" y="118"/>
                        </a:lnTo>
                        <a:lnTo>
                          <a:pt x="355" y="100"/>
                        </a:lnTo>
                        <a:lnTo>
                          <a:pt x="337" y="83"/>
                        </a:lnTo>
                        <a:lnTo>
                          <a:pt x="318" y="69"/>
                        </a:lnTo>
                        <a:lnTo>
                          <a:pt x="298" y="55"/>
                        </a:lnTo>
                        <a:lnTo>
                          <a:pt x="288" y="50"/>
                        </a:lnTo>
                        <a:lnTo>
                          <a:pt x="272" y="43"/>
                        </a:lnTo>
                        <a:lnTo>
                          <a:pt x="255" y="37"/>
                        </a:lnTo>
                        <a:lnTo>
                          <a:pt x="233" y="30"/>
                        </a:lnTo>
                        <a:lnTo>
                          <a:pt x="210" y="22"/>
                        </a:lnTo>
                        <a:lnTo>
                          <a:pt x="186" y="15"/>
                        </a:lnTo>
                        <a:lnTo>
                          <a:pt x="160" y="10"/>
                        </a:lnTo>
                        <a:lnTo>
                          <a:pt x="134" y="5"/>
                        </a:lnTo>
                        <a:lnTo>
                          <a:pt x="110" y="2"/>
                        </a:lnTo>
                        <a:lnTo>
                          <a:pt x="86" y="0"/>
                        </a:lnTo>
                        <a:lnTo>
                          <a:pt x="75" y="0"/>
                        </a:lnTo>
                        <a:lnTo>
                          <a:pt x="65" y="1"/>
                        </a:lnTo>
                        <a:lnTo>
                          <a:pt x="55" y="2"/>
                        </a:lnTo>
                        <a:lnTo>
                          <a:pt x="46" y="3"/>
                        </a:lnTo>
                        <a:lnTo>
                          <a:pt x="39" y="5"/>
                        </a:lnTo>
                        <a:lnTo>
                          <a:pt x="32" y="9"/>
                        </a:lnTo>
                        <a:lnTo>
                          <a:pt x="25" y="13"/>
                        </a:lnTo>
                        <a:lnTo>
                          <a:pt x="21" y="18"/>
                        </a:lnTo>
                        <a:lnTo>
                          <a:pt x="17" y="23"/>
                        </a:lnTo>
                        <a:lnTo>
                          <a:pt x="15" y="30"/>
                        </a:lnTo>
                        <a:lnTo>
                          <a:pt x="14" y="38"/>
                        </a:lnTo>
                        <a:lnTo>
                          <a:pt x="14" y="45"/>
                        </a:lnTo>
                        <a:lnTo>
                          <a:pt x="14" y="62"/>
                        </a:lnTo>
                        <a:lnTo>
                          <a:pt x="13" y="107"/>
                        </a:lnTo>
                        <a:lnTo>
                          <a:pt x="12" y="172"/>
                        </a:lnTo>
                        <a:lnTo>
                          <a:pt x="10" y="252"/>
                        </a:lnTo>
                        <a:lnTo>
                          <a:pt x="7" y="341"/>
                        </a:lnTo>
                        <a:lnTo>
                          <a:pt x="6" y="433"/>
                        </a:lnTo>
                        <a:lnTo>
                          <a:pt x="5" y="520"/>
                        </a:lnTo>
                        <a:lnTo>
                          <a:pt x="5" y="596"/>
                        </a:lnTo>
                        <a:lnTo>
                          <a:pt x="4" y="630"/>
                        </a:lnTo>
                        <a:lnTo>
                          <a:pt x="2" y="664"/>
                        </a:lnTo>
                        <a:lnTo>
                          <a:pt x="0" y="700"/>
                        </a:lnTo>
                        <a:lnTo>
                          <a:pt x="0" y="737"/>
                        </a:lnTo>
                        <a:lnTo>
                          <a:pt x="1" y="754"/>
                        </a:lnTo>
                        <a:lnTo>
                          <a:pt x="3" y="771"/>
                        </a:lnTo>
                        <a:lnTo>
                          <a:pt x="6" y="788"/>
                        </a:lnTo>
                        <a:lnTo>
                          <a:pt x="12" y="803"/>
                        </a:lnTo>
                        <a:lnTo>
                          <a:pt x="17" y="819"/>
                        </a:lnTo>
                        <a:lnTo>
                          <a:pt x="25" y="833"/>
                        </a:lnTo>
                        <a:lnTo>
                          <a:pt x="30" y="840"/>
                        </a:lnTo>
                        <a:lnTo>
                          <a:pt x="35" y="847"/>
                        </a:lnTo>
                        <a:lnTo>
                          <a:pt x="41" y="853"/>
                        </a:lnTo>
                        <a:lnTo>
                          <a:pt x="48" y="859"/>
                        </a:lnTo>
                        <a:lnTo>
                          <a:pt x="56" y="867"/>
                        </a:lnTo>
                        <a:lnTo>
                          <a:pt x="68" y="875"/>
                        </a:lnTo>
                        <a:lnTo>
                          <a:pt x="78" y="882"/>
                        </a:lnTo>
                        <a:lnTo>
                          <a:pt x="90" y="888"/>
                        </a:lnTo>
                        <a:lnTo>
                          <a:pt x="113" y="900"/>
                        </a:lnTo>
                        <a:lnTo>
                          <a:pt x="140" y="910"/>
                        </a:lnTo>
                        <a:lnTo>
                          <a:pt x="167" y="919"/>
                        </a:lnTo>
                        <a:lnTo>
                          <a:pt x="196" y="927"/>
                        </a:lnTo>
                        <a:lnTo>
                          <a:pt x="224" y="933"/>
                        </a:lnTo>
                        <a:lnTo>
                          <a:pt x="255" y="939"/>
                        </a:lnTo>
                        <a:lnTo>
                          <a:pt x="316" y="947"/>
                        </a:lnTo>
                        <a:lnTo>
                          <a:pt x="376" y="954"/>
                        </a:lnTo>
                        <a:lnTo>
                          <a:pt x="433" y="960"/>
                        </a:lnTo>
                        <a:lnTo>
                          <a:pt x="485" y="967"/>
                        </a:lnTo>
                        <a:lnTo>
                          <a:pt x="483" y="946"/>
                        </a:lnTo>
                        <a:lnTo>
                          <a:pt x="482" y="918"/>
                        </a:lnTo>
                        <a:lnTo>
                          <a:pt x="482" y="886"/>
                        </a:lnTo>
                        <a:lnTo>
                          <a:pt x="483" y="850"/>
                        </a:lnTo>
                        <a:lnTo>
                          <a:pt x="486" y="768"/>
                        </a:lnTo>
                        <a:lnTo>
                          <a:pt x="492" y="679"/>
                        </a:lnTo>
                        <a:lnTo>
                          <a:pt x="496" y="589"/>
                        </a:lnTo>
                        <a:lnTo>
                          <a:pt x="501" y="505"/>
                        </a:lnTo>
                        <a:lnTo>
                          <a:pt x="501" y="467"/>
                        </a:lnTo>
                        <a:lnTo>
                          <a:pt x="502" y="433"/>
                        </a:lnTo>
                        <a:lnTo>
                          <a:pt x="501" y="404"/>
                        </a:lnTo>
                        <a:lnTo>
                          <a:pt x="499" y="379"/>
                        </a:lnTo>
                        <a:close/>
                      </a:path>
                    </a:pathLst>
                  </a:custGeom>
                  <a:solidFill>
                    <a:srgbClr val="242B53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30" name="Freeform 171"/>
                  <p:cNvSpPr>
                    <a:spLocks/>
                  </p:cNvSpPr>
                  <p:nvPr/>
                </p:nvSpPr>
                <p:spPr bwMode="auto">
                  <a:xfrm>
                    <a:off x="3254" y="4059"/>
                    <a:ext cx="170" cy="105"/>
                  </a:xfrm>
                  <a:custGeom>
                    <a:avLst/>
                    <a:gdLst>
                      <a:gd name="T0" fmla="*/ 0 w 1192"/>
                      <a:gd name="T1" fmla="*/ 0 h 736"/>
                      <a:gd name="T2" fmla="*/ 0 w 1192"/>
                      <a:gd name="T3" fmla="*/ 0 h 736"/>
                      <a:gd name="T4" fmla="*/ 0 w 1192"/>
                      <a:gd name="T5" fmla="*/ 0 h 736"/>
                      <a:gd name="T6" fmla="*/ 0 w 1192"/>
                      <a:gd name="T7" fmla="*/ 0 h 736"/>
                      <a:gd name="T8" fmla="*/ 0 w 1192"/>
                      <a:gd name="T9" fmla="*/ 0 h 736"/>
                      <a:gd name="T10" fmla="*/ 0 w 1192"/>
                      <a:gd name="T11" fmla="*/ 0 h 736"/>
                      <a:gd name="T12" fmla="*/ 0 w 1192"/>
                      <a:gd name="T13" fmla="*/ 0 h 736"/>
                      <a:gd name="T14" fmla="*/ 0 w 1192"/>
                      <a:gd name="T15" fmla="*/ 0 h 736"/>
                      <a:gd name="T16" fmla="*/ 0 w 1192"/>
                      <a:gd name="T17" fmla="*/ 0 h 736"/>
                      <a:gd name="T18" fmla="*/ 0 w 1192"/>
                      <a:gd name="T19" fmla="*/ 0 h 736"/>
                      <a:gd name="T20" fmla="*/ 0 w 1192"/>
                      <a:gd name="T21" fmla="*/ 0 h 736"/>
                      <a:gd name="T22" fmla="*/ 0 w 1192"/>
                      <a:gd name="T23" fmla="*/ 0 h 736"/>
                      <a:gd name="T24" fmla="*/ 0 w 1192"/>
                      <a:gd name="T25" fmla="*/ 0 h 736"/>
                      <a:gd name="T26" fmla="*/ 0 w 1192"/>
                      <a:gd name="T27" fmla="*/ 0 h 736"/>
                      <a:gd name="T28" fmla="*/ 0 w 1192"/>
                      <a:gd name="T29" fmla="*/ 0 h 736"/>
                      <a:gd name="T30" fmla="*/ 0 w 1192"/>
                      <a:gd name="T31" fmla="*/ 0 h 736"/>
                      <a:gd name="T32" fmla="*/ 0 w 1192"/>
                      <a:gd name="T33" fmla="*/ 0 h 736"/>
                      <a:gd name="T34" fmla="*/ 0 w 1192"/>
                      <a:gd name="T35" fmla="*/ 0 h 736"/>
                      <a:gd name="T36" fmla="*/ 0 w 1192"/>
                      <a:gd name="T37" fmla="*/ 0 h 736"/>
                      <a:gd name="T38" fmla="*/ 0 w 1192"/>
                      <a:gd name="T39" fmla="*/ 0 h 736"/>
                      <a:gd name="T40" fmla="*/ 0 w 1192"/>
                      <a:gd name="T41" fmla="*/ 0 h 736"/>
                      <a:gd name="T42" fmla="*/ 0 w 1192"/>
                      <a:gd name="T43" fmla="*/ 0 h 736"/>
                      <a:gd name="T44" fmla="*/ 0 w 1192"/>
                      <a:gd name="T45" fmla="*/ 0 h 736"/>
                      <a:gd name="T46" fmla="*/ 0 w 1192"/>
                      <a:gd name="T47" fmla="*/ 0 h 736"/>
                      <a:gd name="T48" fmla="*/ 0 w 1192"/>
                      <a:gd name="T49" fmla="*/ 0 h 736"/>
                      <a:gd name="T50" fmla="*/ 0 w 1192"/>
                      <a:gd name="T51" fmla="*/ 0 h 736"/>
                      <a:gd name="T52" fmla="*/ 0 w 1192"/>
                      <a:gd name="T53" fmla="*/ 0 h 736"/>
                      <a:gd name="T54" fmla="*/ 0 w 1192"/>
                      <a:gd name="T55" fmla="*/ 0 h 736"/>
                      <a:gd name="T56" fmla="*/ 0 w 1192"/>
                      <a:gd name="T57" fmla="*/ 0 h 736"/>
                      <a:gd name="T58" fmla="*/ 0 w 1192"/>
                      <a:gd name="T59" fmla="*/ 0 h 736"/>
                      <a:gd name="T60" fmla="*/ 0 w 1192"/>
                      <a:gd name="T61" fmla="*/ 0 h 736"/>
                      <a:gd name="T62" fmla="*/ 0 w 1192"/>
                      <a:gd name="T63" fmla="*/ 0 h 736"/>
                      <a:gd name="T64" fmla="*/ 0 w 1192"/>
                      <a:gd name="T65" fmla="*/ 0 h 736"/>
                      <a:gd name="T66" fmla="*/ 0 w 1192"/>
                      <a:gd name="T67" fmla="*/ 0 h 736"/>
                      <a:gd name="T68" fmla="*/ 0 w 1192"/>
                      <a:gd name="T69" fmla="*/ 0 h 736"/>
                      <a:gd name="T70" fmla="*/ 0 w 1192"/>
                      <a:gd name="T71" fmla="*/ 0 h 736"/>
                      <a:gd name="T72" fmla="*/ 0 w 1192"/>
                      <a:gd name="T73" fmla="*/ 0 h 736"/>
                      <a:gd name="T74" fmla="*/ 0 w 1192"/>
                      <a:gd name="T75" fmla="*/ 0 h 736"/>
                      <a:gd name="T76" fmla="*/ 0 w 1192"/>
                      <a:gd name="T77" fmla="*/ 0 h 736"/>
                      <a:gd name="T78" fmla="*/ 0 w 1192"/>
                      <a:gd name="T79" fmla="*/ 0 h 736"/>
                      <a:gd name="T80" fmla="*/ 0 w 1192"/>
                      <a:gd name="T81" fmla="*/ 0 h 736"/>
                      <a:gd name="T82" fmla="*/ 0 w 1192"/>
                      <a:gd name="T83" fmla="*/ 0 h 736"/>
                      <a:gd name="T84" fmla="*/ 0 w 1192"/>
                      <a:gd name="T85" fmla="*/ 0 h 736"/>
                      <a:gd name="T86" fmla="*/ 0 w 1192"/>
                      <a:gd name="T87" fmla="*/ 0 h 736"/>
                      <a:gd name="T88" fmla="*/ 0 w 1192"/>
                      <a:gd name="T89" fmla="*/ 0 h 736"/>
                      <a:gd name="T90" fmla="*/ 0 w 1192"/>
                      <a:gd name="T91" fmla="*/ 0 h 736"/>
                      <a:gd name="T92" fmla="*/ 0 w 1192"/>
                      <a:gd name="T93" fmla="*/ 0 h 736"/>
                      <a:gd name="T94" fmla="*/ 0 w 1192"/>
                      <a:gd name="T95" fmla="*/ 0 h 736"/>
                      <a:gd name="T96" fmla="*/ 0 w 1192"/>
                      <a:gd name="T97" fmla="*/ 0 h 736"/>
                      <a:gd name="T98" fmla="*/ 0 w 1192"/>
                      <a:gd name="T99" fmla="*/ 0 h 736"/>
                      <a:gd name="T100" fmla="*/ 0 w 1192"/>
                      <a:gd name="T101" fmla="*/ 0 h 736"/>
                      <a:gd name="T102" fmla="*/ 0 w 1192"/>
                      <a:gd name="T103" fmla="*/ 0 h 736"/>
                      <a:gd name="T104" fmla="*/ 0 w 1192"/>
                      <a:gd name="T105" fmla="*/ 0 h 736"/>
                      <a:gd name="T106" fmla="*/ 0 w 1192"/>
                      <a:gd name="T107" fmla="*/ 0 h 736"/>
                      <a:gd name="T108" fmla="*/ 0 w 1192"/>
                      <a:gd name="T109" fmla="*/ 0 h 736"/>
                      <a:gd name="T110" fmla="*/ 0 w 1192"/>
                      <a:gd name="T111" fmla="*/ 0 h 736"/>
                      <a:gd name="T112" fmla="*/ 0 w 1192"/>
                      <a:gd name="T113" fmla="*/ 0 h 736"/>
                      <a:gd name="T114" fmla="*/ 0 w 1192"/>
                      <a:gd name="T115" fmla="*/ 0 h 736"/>
                      <a:gd name="T116" fmla="*/ 0 w 1192"/>
                      <a:gd name="T117" fmla="*/ 0 h 736"/>
                      <a:gd name="T118" fmla="*/ 0 w 1192"/>
                      <a:gd name="T119" fmla="*/ 0 h 736"/>
                      <a:gd name="T120" fmla="*/ 0 w 1192"/>
                      <a:gd name="T121" fmla="*/ 0 h 736"/>
                      <a:gd name="T122" fmla="*/ 0 w 1192"/>
                      <a:gd name="T123" fmla="*/ 0 h 736"/>
                      <a:gd name="T124" fmla="*/ 0 w 1192"/>
                      <a:gd name="T125" fmla="*/ 0 h 7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60000 65536"/>
                      <a:gd name="T184" fmla="*/ 0 60000 65536"/>
                      <a:gd name="T185" fmla="*/ 0 60000 65536"/>
                      <a:gd name="T186" fmla="*/ 0 60000 65536"/>
                      <a:gd name="T187" fmla="*/ 0 60000 65536"/>
                      <a:gd name="T188" fmla="*/ 0 60000 65536"/>
                      <a:gd name="T189" fmla="*/ 0 w 1192"/>
                      <a:gd name="T190" fmla="*/ 0 h 736"/>
                      <a:gd name="T191" fmla="*/ 1192 w 1192"/>
                      <a:gd name="T192" fmla="*/ 736 h 736"/>
                    </a:gdLst>
                    <a:ahLst/>
                    <a:cxnLst>
                      <a:cxn ang="T126">
                        <a:pos x="T0" y="T1"/>
                      </a:cxn>
                      <a:cxn ang="T127">
                        <a:pos x="T2" y="T3"/>
                      </a:cxn>
                      <a:cxn ang="T128">
                        <a:pos x="T4" y="T5"/>
                      </a:cxn>
                      <a:cxn ang="T129">
                        <a:pos x="T6" y="T7"/>
                      </a:cxn>
                      <a:cxn ang="T130">
                        <a:pos x="T8" y="T9"/>
                      </a:cxn>
                      <a:cxn ang="T131">
                        <a:pos x="T10" y="T11"/>
                      </a:cxn>
                      <a:cxn ang="T132">
                        <a:pos x="T12" y="T13"/>
                      </a:cxn>
                      <a:cxn ang="T133">
                        <a:pos x="T14" y="T15"/>
                      </a:cxn>
                      <a:cxn ang="T134">
                        <a:pos x="T16" y="T17"/>
                      </a:cxn>
                      <a:cxn ang="T135">
                        <a:pos x="T18" y="T19"/>
                      </a:cxn>
                      <a:cxn ang="T136">
                        <a:pos x="T20" y="T21"/>
                      </a:cxn>
                      <a:cxn ang="T137">
                        <a:pos x="T22" y="T23"/>
                      </a:cxn>
                      <a:cxn ang="T138">
                        <a:pos x="T24" y="T25"/>
                      </a:cxn>
                      <a:cxn ang="T139">
                        <a:pos x="T26" y="T27"/>
                      </a:cxn>
                      <a:cxn ang="T140">
                        <a:pos x="T28" y="T29"/>
                      </a:cxn>
                      <a:cxn ang="T141">
                        <a:pos x="T30" y="T31"/>
                      </a:cxn>
                      <a:cxn ang="T142">
                        <a:pos x="T32" y="T33"/>
                      </a:cxn>
                      <a:cxn ang="T143">
                        <a:pos x="T34" y="T35"/>
                      </a:cxn>
                      <a:cxn ang="T144">
                        <a:pos x="T36" y="T37"/>
                      </a:cxn>
                      <a:cxn ang="T145">
                        <a:pos x="T38" y="T39"/>
                      </a:cxn>
                      <a:cxn ang="T146">
                        <a:pos x="T40" y="T41"/>
                      </a:cxn>
                      <a:cxn ang="T147">
                        <a:pos x="T42" y="T43"/>
                      </a:cxn>
                      <a:cxn ang="T148">
                        <a:pos x="T44" y="T45"/>
                      </a:cxn>
                      <a:cxn ang="T149">
                        <a:pos x="T46" y="T47"/>
                      </a:cxn>
                      <a:cxn ang="T150">
                        <a:pos x="T48" y="T49"/>
                      </a:cxn>
                      <a:cxn ang="T151">
                        <a:pos x="T50" y="T51"/>
                      </a:cxn>
                      <a:cxn ang="T152">
                        <a:pos x="T52" y="T53"/>
                      </a:cxn>
                      <a:cxn ang="T153">
                        <a:pos x="T54" y="T55"/>
                      </a:cxn>
                      <a:cxn ang="T154">
                        <a:pos x="T56" y="T57"/>
                      </a:cxn>
                      <a:cxn ang="T155">
                        <a:pos x="T58" y="T59"/>
                      </a:cxn>
                      <a:cxn ang="T156">
                        <a:pos x="T60" y="T61"/>
                      </a:cxn>
                      <a:cxn ang="T157">
                        <a:pos x="T62" y="T63"/>
                      </a:cxn>
                      <a:cxn ang="T158">
                        <a:pos x="T64" y="T65"/>
                      </a:cxn>
                      <a:cxn ang="T159">
                        <a:pos x="T66" y="T67"/>
                      </a:cxn>
                      <a:cxn ang="T160">
                        <a:pos x="T68" y="T69"/>
                      </a:cxn>
                      <a:cxn ang="T161">
                        <a:pos x="T70" y="T71"/>
                      </a:cxn>
                      <a:cxn ang="T162">
                        <a:pos x="T72" y="T73"/>
                      </a:cxn>
                      <a:cxn ang="T163">
                        <a:pos x="T74" y="T75"/>
                      </a:cxn>
                      <a:cxn ang="T164">
                        <a:pos x="T76" y="T77"/>
                      </a:cxn>
                      <a:cxn ang="T165">
                        <a:pos x="T78" y="T79"/>
                      </a:cxn>
                      <a:cxn ang="T166">
                        <a:pos x="T80" y="T81"/>
                      </a:cxn>
                      <a:cxn ang="T167">
                        <a:pos x="T82" y="T83"/>
                      </a:cxn>
                      <a:cxn ang="T168">
                        <a:pos x="T84" y="T85"/>
                      </a:cxn>
                      <a:cxn ang="T169">
                        <a:pos x="T86" y="T87"/>
                      </a:cxn>
                      <a:cxn ang="T170">
                        <a:pos x="T88" y="T89"/>
                      </a:cxn>
                      <a:cxn ang="T171">
                        <a:pos x="T90" y="T91"/>
                      </a:cxn>
                      <a:cxn ang="T172">
                        <a:pos x="T92" y="T93"/>
                      </a:cxn>
                      <a:cxn ang="T173">
                        <a:pos x="T94" y="T95"/>
                      </a:cxn>
                      <a:cxn ang="T174">
                        <a:pos x="T96" y="T97"/>
                      </a:cxn>
                      <a:cxn ang="T175">
                        <a:pos x="T98" y="T99"/>
                      </a:cxn>
                      <a:cxn ang="T176">
                        <a:pos x="T100" y="T101"/>
                      </a:cxn>
                      <a:cxn ang="T177">
                        <a:pos x="T102" y="T103"/>
                      </a:cxn>
                      <a:cxn ang="T178">
                        <a:pos x="T104" y="T105"/>
                      </a:cxn>
                      <a:cxn ang="T179">
                        <a:pos x="T106" y="T107"/>
                      </a:cxn>
                      <a:cxn ang="T180">
                        <a:pos x="T108" y="T109"/>
                      </a:cxn>
                      <a:cxn ang="T181">
                        <a:pos x="T110" y="T111"/>
                      </a:cxn>
                      <a:cxn ang="T182">
                        <a:pos x="T112" y="T113"/>
                      </a:cxn>
                      <a:cxn ang="T183">
                        <a:pos x="T114" y="T115"/>
                      </a:cxn>
                      <a:cxn ang="T184">
                        <a:pos x="T116" y="T117"/>
                      </a:cxn>
                      <a:cxn ang="T185">
                        <a:pos x="T118" y="T119"/>
                      </a:cxn>
                      <a:cxn ang="T186">
                        <a:pos x="T120" y="T121"/>
                      </a:cxn>
                      <a:cxn ang="T187">
                        <a:pos x="T122" y="T123"/>
                      </a:cxn>
                      <a:cxn ang="T188">
                        <a:pos x="T124" y="T125"/>
                      </a:cxn>
                    </a:cxnLst>
                    <a:rect l="T189" t="T190" r="T191" b="T192"/>
                    <a:pathLst>
                      <a:path w="1192" h="736">
                        <a:moveTo>
                          <a:pt x="1192" y="368"/>
                        </a:moveTo>
                        <a:lnTo>
                          <a:pt x="1192" y="387"/>
                        </a:lnTo>
                        <a:lnTo>
                          <a:pt x="1191" y="405"/>
                        </a:lnTo>
                        <a:lnTo>
                          <a:pt x="1190" y="424"/>
                        </a:lnTo>
                        <a:lnTo>
                          <a:pt x="1187" y="442"/>
                        </a:lnTo>
                        <a:lnTo>
                          <a:pt x="1184" y="460"/>
                        </a:lnTo>
                        <a:lnTo>
                          <a:pt x="1181" y="478"/>
                        </a:lnTo>
                        <a:lnTo>
                          <a:pt x="1176" y="495"/>
                        </a:lnTo>
                        <a:lnTo>
                          <a:pt x="1171" y="511"/>
                        </a:lnTo>
                        <a:lnTo>
                          <a:pt x="1164" y="528"/>
                        </a:lnTo>
                        <a:lnTo>
                          <a:pt x="1156" y="543"/>
                        </a:lnTo>
                        <a:lnTo>
                          <a:pt x="1147" y="559"/>
                        </a:lnTo>
                        <a:lnTo>
                          <a:pt x="1137" y="574"/>
                        </a:lnTo>
                        <a:lnTo>
                          <a:pt x="1126" y="588"/>
                        </a:lnTo>
                        <a:lnTo>
                          <a:pt x="1114" y="602"/>
                        </a:lnTo>
                        <a:lnTo>
                          <a:pt x="1101" y="616"/>
                        </a:lnTo>
                        <a:lnTo>
                          <a:pt x="1085" y="628"/>
                        </a:lnTo>
                        <a:lnTo>
                          <a:pt x="1068" y="640"/>
                        </a:lnTo>
                        <a:lnTo>
                          <a:pt x="1051" y="653"/>
                        </a:lnTo>
                        <a:lnTo>
                          <a:pt x="1031" y="664"/>
                        </a:lnTo>
                        <a:lnTo>
                          <a:pt x="1008" y="674"/>
                        </a:lnTo>
                        <a:lnTo>
                          <a:pt x="985" y="683"/>
                        </a:lnTo>
                        <a:lnTo>
                          <a:pt x="960" y="691"/>
                        </a:lnTo>
                        <a:lnTo>
                          <a:pt x="934" y="700"/>
                        </a:lnTo>
                        <a:lnTo>
                          <a:pt x="905" y="707"/>
                        </a:lnTo>
                        <a:lnTo>
                          <a:pt x="874" y="714"/>
                        </a:lnTo>
                        <a:lnTo>
                          <a:pt x="840" y="719"/>
                        </a:lnTo>
                        <a:lnTo>
                          <a:pt x="806" y="725"/>
                        </a:lnTo>
                        <a:lnTo>
                          <a:pt x="768" y="728"/>
                        </a:lnTo>
                        <a:lnTo>
                          <a:pt x="729" y="732"/>
                        </a:lnTo>
                        <a:lnTo>
                          <a:pt x="687" y="734"/>
                        </a:lnTo>
                        <a:lnTo>
                          <a:pt x="642" y="736"/>
                        </a:lnTo>
                        <a:lnTo>
                          <a:pt x="595" y="736"/>
                        </a:lnTo>
                        <a:lnTo>
                          <a:pt x="544" y="736"/>
                        </a:lnTo>
                        <a:lnTo>
                          <a:pt x="495" y="734"/>
                        </a:lnTo>
                        <a:lnTo>
                          <a:pt x="450" y="732"/>
                        </a:lnTo>
                        <a:lnTo>
                          <a:pt x="407" y="728"/>
                        </a:lnTo>
                        <a:lnTo>
                          <a:pt x="367" y="725"/>
                        </a:lnTo>
                        <a:lnTo>
                          <a:pt x="329" y="719"/>
                        </a:lnTo>
                        <a:lnTo>
                          <a:pt x="295" y="714"/>
                        </a:lnTo>
                        <a:lnTo>
                          <a:pt x="263" y="707"/>
                        </a:lnTo>
                        <a:lnTo>
                          <a:pt x="234" y="700"/>
                        </a:lnTo>
                        <a:lnTo>
                          <a:pt x="206" y="691"/>
                        </a:lnTo>
                        <a:lnTo>
                          <a:pt x="180" y="683"/>
                        </a:lnTo>
                        <a:lnTo>
                          <a:pt x="158" y="674"/>
                        </a:lnTo>
                        <a:lnTo>
                          <a:pt x="137" y="664"/>
                        </a:lnTo>
                        <a:lnTo>
                          <a:pt x="118" y="653"/>
                        </a:lnTo>
                        <a:lnTo>
                          <a:pt x="100" y="640"/>
                        </a:lnTo>
                        <a:lnTo>
                          <a:pt x="84" y="628"/>
                        </a:lnTo>
                        <a:lnTo>
                          <a:pt x="71" y="616"/>
                        </a:lnTo>
                        <a:lnTo>
                          <a:pt x="59" y="602"/>
                        </a:lnTo>
                        <a:lnTo>
                          <a:pt x="48" y="588"/>
                        </a:lnTo>
                        <a:lnTo>
                          <a:pt x="39" y="574"/>
                        </a:lnTo>
                        <a:lnTo>
                          <a:pt x="30" y="559"/>
                        </a:lnTo>
                        <a:lnTo>
                          <a:pt x="23" y="543"/>
                        </a:lnTo>
                        <a:lnTo>
                          <a:pt x="18" y="528"/>
                        </a:lnTo>
                        <a:lnTo>
                          <a:pt x="13" y="511"/>
                        </a:lnTo>
                        <a:lnTo>
                          <a:pt x="9" y="495"/>
                        </a:lnTo>
                        <a:lnTo>
                          <a:pt x="5" y="478"/>
                        </a:lnTo>
                        <a:lnTo>
                          <a:pt x="3" y="460"/>
                        </a:lnTo>
                        <a:lnTo>
                          <a:pt x="2" y="442"/>
                        </a:lnTo>
                        <a:lnTo>
                          <a:pt x="0" y="405"/>
                        </a:lnTo>
                        <a:lnTo>
                          <a:pt x="0" y="368"/>
                        </a:lnTo>
                        <a:lnTo>
                          <a:pt x="0" y="349"/>
                        </a:lnTo>
                        <a:lnTo>
                          <a:pt x="2" y="331"/>
                        </a:lnTo>
                        <a:lnTo>
                          <a:pt x="7" y="312"/>
                        </a:lnTo>
                        <a:lnTo>
                          <a:pt x="12" y="294"/>
                        </a:lnTo>
                        <a:lnTo>
                          <a:pt x="19" y="276"/>
                        </a:lnTo>
                        <a:lnTo>
                          <a:pt x="27" y="259"/>
                        </a:lnTo>
                        <a:lnTo>
                          <a:pt x="36" y="242"/>
                        </a:lnTo>
                        <a:lnTo>
                          <a:pt x="47" y="225"/>
                        </a:lnTo>
                        <a:lnTo>
                          <a:pt x="59" y="209"/>
                        </a:lnTo>
                        <a:lnTo>
                          <a:pt x="71" y="193"/>
                        </a:lnTo>
                        <a:lnTo>
                          <a:pt x="86" y="177"/>
                        </a:lnTo>
                        <a:lnTo>
                          <a:pt x="101" y="163"/>
                        </a:lnTo>
                        <a:lnTo>
                          <a:pt x="118" y="148"/>
                        </a:lnTo>
                        <a:lnTo>
                          <a:pt x="136" y="134"/>
                        </a:lnTo>
                        <a:lnTo>
                          <a:pt x="155" y="121"/>
                        </a:lnTo>
                        <a:lnTo>
                          <a:pt x="175" y="108"/>
                        </a:lnTo>
                        <a:lnTo>
                          <a:pt x="195" y="96"/>
                        </a:lnTo>
                        <a:lnTo>
                          <a:pt x="217" y="84"/>
                        </a:lnTo>
                        <a:lnTo>
                          <a:pt x="239" y="73"/>
                        </a:lnTo>
                        <a:lnTo>
                          <a:pt x="263" y="63"/>
                        </a:lnTo>
                        <a:lnTo>
                          <a:pt x="287" y="54"/>
                        </a:lnTo>
                        <a:lnTo>
                          <a:pt x="312" y="45"/>
                        </a:lnTo>
                        <a:lnTo>
                          <a:pt x="337" y="36"/>
                        </a:lnTo>
                        <a:lnTo>
                          <a:pt x="364" y="29"/>
                        </a:lnTo>
                        <a:lnTo>
                          <a:pt x="391" y="23"/>
                        </a:lnTo>
                        <a:lnTo>
                          <a:pt x="418" y="17"/>
                        </a:lnTo>
                        <a:lnTo>
                          <a:pt x="446" y="12"/>
                        </a:lnTo>
                        <a:lnTo>
                          <a:pt x="475" y="7"/>
                        </a:lnTo>
                        <a:lnTo>
                          <a:pt x="505" y="5"/>
                        </a:lnTo>
                        <a:lnTo>
                          <a:pt x="535" y="2"/>
                        </a:lnTo>
                        <a:lnTo>
                          <a:pt x="565" y="0"/>
                        </a:lnTo>
                        <a:lnTo>
                          <a:pt x="595" y="0"/>
                        </a:lnTo>
                        <a:lnTo>
                          <a:pt x="627" y="0"/>
                        </a:lnTo>
                        <a:lnTo>
                          <a:pt x="657" y="2"/>
                        </a:lnTo>
                        <a:lnTo>
                          <a:pt x="687" y="5"/>
                        </a:lnTo>
                        <a:lnTo>
                          <a:pt x="716" y="7"/>
                        </a:lnTo>
                        <a:lnTo>
                          <a:pt x="744" y="12"/>
                        </a:lnTo>
                        <a:lnTo>
                          <a:pt x="773" y="17"/>
                        </a:lnTo>
                        <a:lnTo>
                          <a:pt x="800" y="23"/>
                        </a:lnTo>
                        <a:lnTo>
                          <a:pt x="828" y="29"/>
                        </a:lnTo>
                        <a:lnTo>
                          <a:pt x="855" y="36"/>
                        </a:lnTo>
                        <a:lnTo>
                          <a:pt x="880" y="45"/>
                        </a:lnTo>
                        <a:lnTo>
                          <a:pt x="905" y="54"/>
                        </a:lnTo>
                        <a:lnTo>
                          <a:pt x="929" y="63"/>
                        </a:lnTo>
                        <a:lnTo>
                          <a:pt x="953" y="73"/>
                        </a:lnTo>
                        <a:lnTo>
                          <a:pt x="975" y="84"/>
                        </a:lnTo>
                        <a:lnTo>
                          <a:pt x="996" y="96"/>
                        </a:lnTo>
                        <a:lnTo>
                          <a:pt x="1017" y="108"/>
                        </a:lnTo>
                        <a:lnTo>
                          <a:pt x="1037" y="121"/>
                        </a:lnTo>
                        <a:lnTo>
                          <a:pt x="1056" y="134"/>
                        </a:lnTo>
                        <a:lnTo>
                          <a:pt x="1073" y="148"/>
                        </a:lnTo>
                        <a:lnTo>
                          <a:pt x="1090" y="163"/>
                        </a:lnTo>
                        <a:lnTo>
                          <a:pt x="1105" y="177"/>
                        </a:lnTo>
                        <a:lnTo>
                          <a:pt x="1120" y="193"/>
                        </a:lnTo>
                        <a:lnTo>
                          <a:pt x="1133" y="209"/>
                        </a:lnTo>
                        <a:lnTo>
                          <a:pt x="1145" y="225"/>
                        </a:lnTo>
                        <a:lnTo>
                          <a:pt x="1155" y="242"/>
                        </a:lnTo>
                        <a:lnTo>
                          <a:pt x="1165" y="259"/>
                        </a:lnTo>
                        <a:lnTo>
                          <a:pt x="1173" y="276"/>
                        </a:lnTo>
                        <a:lnTo>
                          <a:pt x="1180" y="294"/>
                        </a:lnTo>
                        <a:lnTo>
                          <a:pt x="1185" y="312"/>
                        </a:lnTo>
                        <a:lnTo>
                          <a:pt x="1189" y="331"/>
                        </a:lnTo>
                        <a:lnTo>
                          <a:pt x="1191" y="349"/>
                        </a:lnTo>
                        <a:lnTo>
                          <a:pt x="1192" y="368"/>
                        </a:lnTo>
                        <a:close/>
                      </a:path>
                    </a:pathLst>
                  </a:custGeom>
                  <a:solidFill>
                    <a:srgbClr val="273669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31" name="Freeform 172"/>
                  <p:cNvSpPr>
                    <a:spLocks/>
                  </p:cNvSpPr>
                  <p:nvPr/>
                </p:nvSpPr>
                <p:spPr bwMode="auto">
                  <a:xfrm>
                    <a:off x="3295" y="4059"/>
                    <a:ext cx="85" cy="29"/>
                  </a:xfrm>
                  <a:custGeom>
                    <a:avLst/>
                    <a:gdLst>
                      <a:gd name="T0" fmla="*/ 0 w 593"/>
                      <a:gd name="T1" fmla="*/ 0 h 194"/>
                      <a:gd name="T2" fmla="*/ 0 w 593"/>
                      <a:gd name="T3" fmla="*/ 0 h 194"/>
                      <a:gd name="T4" fmla="*/ 0 w 593"/>
                      <a:gd name="T5" fmla="*/ 0 h 194"/>
                      <a:gd name="T6" fmla="*/ 0 w 593"/>
                      <a:gd name="T7" fmla="*/ 0 h 194"/>
                      <a:gd name="T8" fmla="*/ 0 w 593"/>
                      <a:gd name="T9" fmla="*/ 0 h 194"/>
                      <a:gd name="T10" fmla="*/ 0 w 593"/>
                      <a:gd name="T11" fmla="*/ 0 h 194"/>
                      <a:gd name="T12" fmla="*/ 0 w 593"/>
                      <a:gd name="T13" fmla="*/ 0 h 194"/>
                      <a:gd name="T14" fmla="*/ 0 w 593"/>
                      <a:gd name="T15" fmla="*/ 0 h 194"/>
                      <a:gd name="T16" fmla="*/ 0 w 593"/>
                      <a:gd name="T17" fmla="*/ 0 h 194"/>
                      <a:gd name="T18" fmla="*/ 0 w 593"/>
                      <a:gd name="T19" fmla="*/ 0 h 194"/>
                      <a:gd name="T20" fmla="*/ 0 w 593"/>
                      <a:gd name="T21" fmla="*/ 0 h 194"/>
                      <a:gd name="T22" fmla="*/ 0 w 593"/>
                      <a:gd name="T23" fmla="*/ 0 h 194"/>
                      <a:gd name="T24" fmla="*/ 0 w 593"/>
                      <a:gd name="T25" fmla="*/ 0 h 194"/>
                      <a:gd name="T26" fmla="*/ 0 w 593"/>
                      <a:gd name="T27" fmla="*/ 0 h 194"/>
                      <a:gd name="T28" fmla="*/ 0 w 593"/>
                      <a:gd name="T29" fmla="*/ 0 h 194"/>
                      <a:gd name="T30" fmla="*/ 0 w 593"/>
                      <a:gd name="T31" fmla="*/ 0 h 194"/>
                      <a:gd name="T32" fmla="*/ 0 w 593"/>
                      <a:gd name="T33" fmla="*/ 0 h 194"/>
                      <a:gd name="T34" fmla="*/ 0 w 593"/>
                      <a:gd name="T35" fmla="*/ 0 h 194"/>
                      <a:gd name="T36" fmla="*/ 0 w 593"/>
                      <a:gd name="T37" fmla="*/ 0 h 194"/>
                      <a:gd name="T38" fmla="*/ 0 w 593"/>
                      <a:gd name="T39" fmla="*/ 0 h 194"/>
                      <a:gd name="T40" fmla="*/ 0 w 593"/>
                      <a:gd name="T41" fmla="*/ 0 h 194"/>
                      <a:gd name="T42" fmla="*/ 0 w 593"/>
                      <a:gd name="T43" fmla="*/ 0 h 194"/>
                      <a:gd name="T44" fmla="*/ 0 w 593"/>
                      <a:gd name="T45" fmla="*/ 0 h 194"/>
                      <a:gd name="T46" fmla="*/ 0 w 593"/>
                      <a:gd name="T47" fmla="*/ 0 h 194"/>
                      <a:gd name="T48" fmla="*/ 0 w 593"/>
                      <a:gd name="T49" fmla="*/ 0 h 194"/>
                      <a:gd name="T50" fmla="*/ 0 w 593"/>
                      <a:gd name="T51" fmla="*/ 0 h 194"/>
                      <a:gd name="T52" fmla="*/ 0 w 593"/>
                      <a:gd name="T53" fmla="*/ 0 h 194"/>
                      <a:gd name="T54" fmla="*/ 0 w 593"/>
                      <a:gd name="T55" fmla="*/ 0 h 194"/>
                      <a:gd name="T56" fmla="*/ 0 w 593"/>
                      <a:gd name="T57" fmla="*/ 0 h 194"/>
                      <a:gd name="T58" fmla="*/ 0 w 593"/>
                      <a:gd name="T59" fmla="*/ 0 h 194"/>
                      <a:gd name="T60" fmla="*/ 0 w 593"/>
                      <a:gd name="T61" fmla="*/ 0 h 194"/>
                      <a:gd name="T62" fmla="*/ 0 w 593"/>
                      <a:gd name="T63" fmla="*/ 0 h 194"/>
                      <a:gd name="T64" fmla="*/ 0 w 593"/>
                      <a:gd name="T65" fmla="*/ 0 h 194"/>
                      <a:gd name="T66" fmla="*/ 0 w 593"/>
                      <a:gd name="T67" fmla="*/ 0 h 194"/>
                      <a:gd name="T68" fmla="*/ 0 w 593"/>
                      <a:gd name="T69" fmla="*/ 0 h 194"/>
                      <a:gd name="T70" fmla="*/ 0 w 593"/>
                      <a:gd name="T71" fmla="*/ 0 h 194"/>
                      <a:gd name="T72" fmla="*/ 0 w 593"/>
                      <a:gd name="T73" fmla="*/ 0 h 194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w 593"/>
                      <a:gd name="T112" fmla="*/ 0 h 194"/>
                      <a:gd name="T113" fmla="*/ 593 w 593"/>
                      <a:gd name="T114" fmla="*/ 194 h 194"/>
                    </a:gdLst>
                    <a:ahLst/>
                    <a:cxnLst>
                      <a:cxn ang="T74">
                        <a:pos x="T0" y="T1"/>
                      </a:cxn>
                      <a:cxn ang="T75">
                        <a:pos x="T2" y="T3"/>
                      </a:cxn>
                      <a:cxn ang="T76">
                        <a:pos x="T4" y="T5"/>
                      </a:cxn>
                      <a:cxn ang="T77">
                        <a:pos x="T6" y="T7"/>
                      </a:cxn>
                      <a:cxn ang="T78">
                        <a:pos x="T8" y="T9"/>
                      </a:cxn>
                      <a:cxn ang="T79">
                        <a:pos x="T10" y="T11"/>
                      </a:cxn>
                      <a:cxn ang="T80">
                        <a:pos x="T12" y="T13"/>
                      </a:cxn>
                      <a:cxn ang="T81">
                        <a:pos x="T14" y="T15"/>
                      </a:cxn>
                      <a:cxn ang="T82">
                        <a:pos x="T16" y="T17"/>
                      </a:cxn>
                      <a:cxn ang="T83">
                        <a:pos x="T18" y="T19"/>
                      </a:cxn>
                      <a:cxn ang="T84">
                        <a:pos x="T20" y="T21"/>
                      </a:cxn>
                      <a:cxn ang="T85">
                        <a:pos x="T22" y="T23"/>
                      </a:cxn>
                      <a:cxn ang="T86">
                        <a:pos x="T24" y="T25"/>
                      </a:cxn>
                      <a:cxn ang="T87">
                        <a:pos x="T26" y="T27"/>
                      </a:cxn>
                      <a:cxn ang="T88">
                        <a:pos x="T28" y="T29"/>
                      </a:cxn>
                      <a:cxn ang="T89">
                        <a:pos x="T30" y="T31"/>
                      </a:cxn>
                      <a:cxn ang="T90">
                        <a:pos x="T32" y="T33"/>
                      </a:cxn>
                      <a:cxn ang="T91">
                        <a:pos x="T34" y="T35"/>
                      </a:cxn>
                      <a:cxn ang="T92">
                        <a:pos x="T36" y="T37"/>
                      </a:cxn>
                      <a:cxn ang="T93">
                        <a:pos x="T38" y="T39"/>
                      </a:cxn>
                      <a:cxn ang="T94">
                        <a:pos x="T40" y="T41"/>
                      </a:cxn>
                      <a:cxn ang="T95">
                        <a:pos x="T42" y="T43"/>
                      </a:cxn>
                      <a:cxn ang="T96">
                        <a:pos x="T44" y="T45"/>
                      </a:cxn>
                      <a:cxn ang="T97">
                        <a:pos x="T46" y="T47"/>
                      </a:cxn>
                      <a:cxn ang="T98">
                        <a:pos x="T48" y="T49"/>
                      </a:cxn>
                      <a:cxn ang="T99">
                        <a:pos x="T50" y="T51"/>
                      </a:cxn>
                      <a:cxn ang="T100">
                        <a:pos x="T52" y="T53"/>
                      </a:cxn>
                      <a:cxn ang="T101">
                        <a:pos x="T54" y="T55"/>
                      </a:cxn>
                      <a:cxn ang="T102">
                        <a:pos x="T56" y="T57"/>
                      </a:cxn>
                      <a:cxn ang="T103">
                        <a:pos x="T58" y="T59"/>
                      </a:cxn>
                      <a:cxn ang="T104">
                        <a:pos x="T60" y="T61"/>
                      </a:cxn>
                      <a:cxn ang="T105">
                        <a:pos x="T62" y="T63"/>
                      </a:cxn>
                      <a:cxn ang="T106">
                        <a:pos x="T64" y="T65"/>
                      </a:cxn>
                      <a:cxn ang="T107">
                        <a:pos x="T66" y="T67"/>
                      </a:cxn>
                      <a:cxn ang="T108">
                        <a:pos x="T68" y="T69"/>
                      </a:cxn>
                      <a:cxn ang="T109">
                        <a:pos x="T70" y="T71"/>
                      </a:cxn>
                      <a:cxn ang="T110">
                        <a:pos x="T72" y="T73"/>
                      </a:cxn>
                    </a:cxnLst>
                    <a:rect l="T111" t="T112" r="T113" b="T114"/>
                    <a:pathLst>
                      <a:path w="593" h="194">
                        <a:moveTo>
                          <a:pt x="593" y="98"/>
                        </a:moveTo>
                        <a:lnTo>
                          <a:pt x="593" y="102"/>
                        </a:lnTo>
                        <a:lnTo>
                          <a:pt x="592" y="108"/>
                        </a:lnTo>
                        <a:lnTo>
                          <a:pt x="590" y="112"/>
                        </a:lnTo>
                        <a:lnTo>
                          <a:pt x="588" y="117"/>
                        </a:lnTo>
                        <a:lnTo>
                          <a:pt x="580" y="127"/>
                        </a:lnTo>
                        <a:lnTo>
                          <a:pt x="570" y="136"/>
                        </a:lnTo>
                        <a:lnTo>
                          <a:pt x="558" y="143"/>
                        </a:lnTo>
                        <a:lnTo>
                          <a:pt x="543" y="152"/>
                        </a:lnTo>
                        <a:lnTo>
                          <a:pt x="525" y="159"/>
                        </a:lnTo>
                        <a:lnTo>
                          <a:pt x="506" y="167"/>
                        </a:lnTo>
                        <a:lnTo>
                          <a:pt x="485" y="172"/>
                        </a:lnTo>
                        <a:lnTo>
                          <a:pt x="463" y="178"/>
                        </a:lnTo>
                        <a:lnTo>
                          <a:pt x="438" y="183"/>
                        </a:lnTo>
                        <a:lnTo>
                          <a:pt x="412" y="187"/>
                        </a:lnTo>
                        <a:lnTo>
                          <a:pt x="385" y="190"/>
                        </a:lnTo>
                        <a:lnTo>
                          <a:pt x="356" y="192"/>
                        </a:lnTo>
                        <a:lnTo>
                          <a:pt x="327" y="194"/>
                        </a:lnTo>
                        <a:lnTo>
                          <a:pt x="297" y="194"/>
                        </a:lnTo>
                        <a:lnTo>
                          <a:pt x="266" y="194"/>
                        </a:lnTo>
                        <a:lnTo>
                          <a:pt x="237" y="192"/>
                        </a:lnTo>
                        <a:lnTo>
                          <a:pt x="208" y="190"/>
                        </a:lnTo>
                        <a:lnTo>
                          <a:pt x="181" y="187"/>
                        </a:lnTo>
                        <a:lnTo>
                          <a:pt x="156" y="183"/>
                        </a:lnTo>
                        <a:lnTo>
                          <a:pt x="131" y="178"/>
                        </a:lnTo>
                        <a:lnTo>
                          <a:pt x="108" y="172"/>
                        </a:lnTo>
                        <a:lnTo>
                          <a:pt x="87" y="167"/>
                        </a:lnTo>
                        <a:lnTo>
                          <a:pt x="68" y="159"/>
                        </a:lnTo>
                        <a:lnTo>
                          <a:pt x="51" y="152"/>
                        </a:lnTo>
                        <a:lnTo>
                          <a:pt x="36" y="143"/>
                        </a:lnTo>
                        <a:lnTo>
                          <a:pt x="23" y="136"/>
                        </a:lnTo>
                        <a:lnTo>
                          <a:pt x="18" y="131"/>
                        </a:lnTo>
                        <a:lnTo>
                          <a:pt x="13" y="127"/>
                        </a:lnTo>
                        <a:lnTo>
                          <a:pt x="9" y="122"/>
                        </a:lnTo>
                        <a:lnTo>
                          <a:pt x="5" y="117"/>
                        </a:lnTo>
                        <a:lnTo>
                          <a:pt x="3" y="112"/>
                        </a:lnTo>
                        <a:lnTo>
                          <a:pt x="1" y="108"/>
                        </a:lnTo>
                        <a:lnTo>
                          <a:pt x="0" y="102"/>
                        </a:lnTo>
                        <a:lnTo>
                          <a:pt x="0" y="98"/>
                        </a:lnTo>
                        <a:lnTo>
                          <a:pt x="0" y="92"/>
                        </a:lnTo>
                        <a:lnTo>
                          <a:pt x="1" y="88"/>
                        </a:lnTo>
                        <a:lnTo>
                          <a:pt x="3" y="82"/>
                        </a:lnTo>
                        <a:lnTo>
                          <a:pt x="5" y="78"/>
                        </a:lnTo>
                        <a:lnTo>
                          <a:pt x="13" y="69"/>
                        </a:lnTo>
                        <a:lnTo>
                          <a:pt x="23" y="60"/>
                        </a:lnTo>
                        <a:lnTo>
                          <a:pt x="36" y="51"/>
                        </a:lnTo>
                        <a:lnTo>
                          <a:pt x="51" y="43"/>
                        </a:lnTo>
                        <a:lnTo>
                          <a:pt x="68" y="35"/>
                        </a:lnTo>
                        <a:lnTo>
                          <a:pt x="87" y="29"/>
                        </a:lnTo>
                        <a:lnTo>
                          <a:pt x="108" y="22"/>
                        </a:lnTo>
                        <a:lnTo>
                          <a:pt x="131" y="16"/>
                        </a:lnTo>
                        <a:lnTo>
                          <a:pt x="156" y="12"/>
                        </a:lnTo>
                        <a:lnTo>
                          <a:pt x="181" y="8"/>
                        </a:lnTo>
                        <a:lnTo>
                          <a:pt x="208" y="4"/>
                        </a:lnTo>
                        <a:lnTo>
                          <a:pt x="237" y="2"/>
                        </a:lnTo>
                        <a:lnTo>
                          <a:pt x="266" y="1"/>
                        </a:lnTo>
                        <a:lnTo>
                          <a:pt x="297" y="0"/>
                        </a:lnTo>
                        <a:lnTo>
                          <a:pt x="327" y="1"/>
                        </a:lnTo>
                        <a:lnTo>
                          <a:pt x="356" y="2"/>
                        </a:lnTo>
                        <a:lnTo>
                          <a:pt x="385" y="4"/>
                        </a:lnTo>
                        <a:lnTo>
                          <a:pt x="412" y="8"/>
                        </a:lnTo>
                        <a:lnTo>
                          <a:pt x="438" y="12"/>
                        </a:lnTo>
                        <a:lnTo>
                          <a:pt x="463" y="16"/>
                        </a:lnTo>
                        <a:lnTo>
                          <a:pt x="485" y="22"/>
                        </a:lnTo>
                        <a:lnTo>
                          <a:pt x="506" y="29"/>
                        </a:lnTo>
                        <a:lnTo>
                          <a:pt x="525" y="35"/>
                        </a:lnTo>
                        <a:lnTo>
                          <a:pt x="543" y="43"/>
                        </a:lnTo>
                        <a:lnTo>
                          <a:pt x="558" y="51"/>
                        </a:lnTo>
                        <a:lnTo>
                          <a:pt x="570" y="60"/>
                        </a:lnTo>
                        <a:lnTo>
                          <a:pt x="580" y="69"/>
                        </a:lnTo>
                        <a:lnTo>
                          <a:pt x="588" y="78"/>
                        </a:lnTo>
                        <a:lnTo>
                          <a:pt x="590" y="82"/>
                        </a:lnTo>
                        <a:lnTo>
                          <a:pt x="592" y="88"/>
                        </a:lnTo>
                        <a:lnTo>
                          <a:pt x="593" y="92"/>
                        </a:lnTo>
                        <a:lnTo>
                          <a:pt x="593" y="98"/>
                        </a:lnTo>
                        <a:close/>
                      </a:path>
                    </a:pathLst>
                  </a:custGeom>
                  <a:solidFill>
                    <a:srgbClr val="2E5592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32" name="Freeform 173"/>
                  <p:cNvSpPr>
                    <a:spLocks/>
                  </p:cNvSpPr>
                  <p:nvPr/>
                </p:nvSpPr>
                <p:spPr bwMode="auto">
                  <a:xfrm>
                    <a:off x="3255" y="4078"/>
                    <a:ext cx="169" cy="86"/>
                  </a:xfrm>
                  <a:custGeom>
                    <a:avLst/>
                    <a:gdLst>
                      <a:gd name="T0" fmla="*/ 0 w 1184"/>
                      <a:gd name="T1" fmla="*/ 0 h 605"/>
                      <a:gd name="T2" fmla="*/ 0 w 1184"/>
                      <a:gd name="T3" fmla="*/ 0 h 605"/>
                      <a:gd name="T4" fmla="*/ 0 w 1184"/>
                      <a:gd name="T5" fmla="*/ 0 h 605"/>
                      <a:gd name="T6" fmla="*/ 0 w 1184"/>
                      <a:gd name="T7" fmla="*/ 0 h 605"/>
                      <a:gd name="T8" fmla="*/ 0 w 1184"/>
                      <a:gd name="T9" fmla="*/ 0 h 605"/>
                      <a:gd name="T10" fmla="*/ 0 w 1184"/>
                      <a:gd name="T11" fmla="*/ 0 h 605"/>
                      <a:gd name="T12" fmla="*/ 0 w 1184"/>
                      <a:gd name="T13" fmla="*/ 0 h 605"/>
                      <a:gd name="T14" fmla="*/ 0 w 1184"/>
                      <a:gd name="T15" fmla="*/ 0 h 605"/>
                      <a:gd name="T16" fmla="*/ 0 w 1184"/>
                      <a:gd name="T17" fmla="*/ 0 h 605"/>
                      <a:gd name="T18" fmla="*/ 0 w 1184"/>
                      <a:gd name="T19" fmla="*/ 0 h 605"/>
                      <a:gd name="T20" fmla="*/ 0 w 1184"/>
                      <a:gd name="T21" fmla="*/ 0 h 605"/>
                      <a:gd name="T22" fmla="*/ 0 w 1184"/>
                      <a:gd name="T23" fmla="*/ 0 h 605"/>
                      <a:gd name="T24" fmla="*/ 0 w 1184"/>
                      <a:gd name="T25" fmla="*/ 0 h 605"/>
                      <a:gd name="T26" fmla="*/ 0 w 1184"/>
                      <a:gd name="T27" fmla="*/ 0 h 605"/>
                      <a:gd name="T28" fmla="*/ 0 w 1184"/>
                      <a:gd name="T29" fmla="*/ 0 h 605"/>
                      <a:gd name="T30" fmla="*/ 0 w 1184"/>
                      <a:gd name="T31" fmla="*/ 0 h 605"/>
                      <a:gd name="T32" fmla="*/ 0 w 1184"/>
                      <a:gd name="T33" fmla="*/ 0 h 605"/>
                      <a:gd name="T34" fmla="*/ 0 w 1184"/>
                      <a:gd name="T35" fmla="*/ 0 h 605"/>
                      <a:gd name="T36" fmla="*/ 0 w 1184"/>
                      <a:gd name="T37" fmla="*/ 0 h 605"/>
                      <a:gd name="T38" fmla="*/ 0 w 1184"/>
                      <a:gd name="T39" fmla="*/ 0 h 605"/>
                      <a:gd name="T40" fmla="*/ 0 w 1184"/>
                      <a:gd name="T41" fmla="*/ 0 h 605"/>
                      <a:gd name="T42" fmla="*/ 0 w 1184"/>
                      <a:gd name="T43" fmla="*/ 0 h 605"/>
                      <a:gd name="T44" fmla="*/ 0 w 1184"/>
                      <a:gd name="T45" fmla="*/ 0 h 605"/>
                      <a:gd name="T46" fmla="*/ 0 w 1184"/>
                      <a:gd name="T47" fmla="*/ 0 h 605"/>
                      <a:gd name="T48" fmla="*/ 0 w 1184"/>
                      <a:gd name="T49" fmla="*/ 0 h 605"/>
                      <a:gd name="T50" fmla="*/ 0 w 1184"/>
                      <a:gd name="T51" fmla="*/ 0 h 605"/>
                      <a:gd name="T52" fmla="*/ 0 w 1184"/>
                      <a:gd name="T53" fmla="*/ 0 h 605"/>
                      <a:gd name="T54" fmla="*/ 0 w 1184"/>
                      <a:gd name="T55" fmla="*/ 0 h 605"/>
                      <a:gd name="T56" fmla="*/ 0 w 1184"/>
                      <a:gd name="T57" fmla="*/ 0 h 605"/>
                      <a:gd name="T58" fmla="*/ 0 w 1184"/>
                      <a:gd name="T59" fmla="*/ 0 h 605"/>
                      <a:gd name="T60" fmla="*/ 0 w 1184"/>
                      <a:gd name="T61" fmla="*/ 0 h 605"/>
                      <a:gd name="T62" fmla="*/ 0 w 1184"/>
                      <a:gd name="T63" fmla="*/ 0 h 605"/>
                      <a:gd name="T64" fmla="*/ 0 w 1184"/>
                      <a:gd name="T65" fmla="*/ 0 h 605"/>
                      <a:gd name="T66" fmla="*/ 0 w 1184"/>
                      <a:gd name="T67" fmla="*/ 0 h 605"/>
                      <a:gd name="T68" fmla="*/ 0 w 1184"/>
                      <a:gd name="T69" fmla="*/ 0 h 605"/>
                      <a:gd name="T70" fmla="*/ 0 w 1184"/>
                      <a:gd name="T71" fmla="*/ 0 h 605"/>
                      <a:gd name="T72" fmla="*/ 0 w 1184"/>
                      <a:gd name="T73" fmla="*/ 0 h 605"/>
                      <a:gd name="T74" fmla="*/ 0 w 1184"/>
                      <a:gd name="T75" fmla="*/ 0 h 605"/>
                      <a:gd name="T76" fmla="*/ 0 w 1184"/>
                      <a:gd name="T77" fmla="*/ 0 h 605"/>
                      <a:gd name="T78" fmla="*/ 0 w 1184"/>
                      <a:gd name="T79" fmla="*/ 0 h 605"/>
                      <a:gd name="T80" fmla="*/ 0 w 1184"/>
                      <a:gd name="T81" fmla="*/ 0 h 605"/>
                      <a:gd name="T82" fmla="*/ 0 w 1184"/>
                      <a:gd name="T83" fmla="*/ 0 h 605"/>
                      <a:gd name="T84" fmla="*/ 0 w 1184"/>
                      <a:gd name="T85" fmla="*/ 0 h 605"/>
                      <a:gd name="T86" fmla="*/ 0 w 1184"/>
                      <a:gd name="T87" fmla="*/ 0 h 605"/>
                      <a:gd name="T88" fmla="*/ 0 w 1184"/>
                      <a:gd name="T89" fmla="*/ 0 h 605"/>
                      <a:gd name="T90" fmla="*/ 0 w 1184"/>
                      <a:gd name="T91" fmla="*/ 0 h 605"/>
                      <a:gd name="T92" fmla="*/ 0 w 1184"/>
                      <a:gd name="T93" fmla="*/ 0 h 605"/>
                      <a:gd name="T94" fmla="*/ 0 w 1184"/>
                      <a:gd name="T95" fmla="*/ 0 h 605"/>
                      <a:gd name="T96" fmla="*/ 0 w 1184"/>
                      <a:gd name="T97" fmla="*/ 0 h 605"/>
                      <a:gd name="T98" fmla="*/ 0 w 1184"/>
                      <a:gd name="T99" fmla="*/ 0 h 605"/>
                      <a:gd name="T100" fmla="*/ 0 w 1184"/>
                      <a:gd name="T101" fmla="*/ 0 h 605"/>
                      <a:gd name="T102" fmla="*/ 0 w 1184"/>
                      <a:gd name="T103" fmla="*/ 0 h 605"/>
                      <a:gd name="T104" fmla="*/ 0 w 1184"/>
                      <a:gd name="T105" fmla="*/ 0 h 605"/>
                      <a:gd name="T106" fmla="*/ 0 w 1184"/>
                      <a:gd name="T107" fmla="*/ 0 h 605"/>
                      <a:gd name="T108" fmla="*/ 0 w 1184"/>
                      <a:gd name="T109" fmla="*/ 0 h 605"/>
                      <a:gd name="T110" fmla="*/ 0 w 1184"/>
                      <a:gd name="T111" fmla="*/ 0 h 605"/>
                      <a:gd name="T112" fmla="*/ 0 w 1184"/>
                      <a:gd name="T113" fmla="*/ 0 h 605"/>
                      <a:gd name="T114" fmla="*/ 0 w 1184"/>
                      <a:gd name="T115" fmla="*/ 0 h 605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w 1184"/>
                      <a:gd name="T175" fmla="*/ 0 h 605"/>
                      <a:gd name="T176" fmla="*/ 1184 w 1184"/>
                      <a:gd name="T177" fmla="*/ 605 h 605"/>
                    </a:gdLst>
                    <a:ahLst/>
                    <a:cxnLst>
                      <a:cxn ang="T116">
                        <a:pos x="T0" y="T1"/>
                      </a:cxn>
                      <a:cxn ang="T117">
                        <a:pos x="T2" y="T3"/>
                      </a:cxn>
                      <a:cxn ang="T118">
                        <a:pos x="T4" y="T5"/>
                      </a:cxn>
                      <a:cxn ang="T119">
                        <a:pos x="T6" y="T7"/>
                      </a:cxn>
                      <a:cxn ang="T120">
                        <a:pos x="T8" y="T9"/>
                      </a:cxn>
                      <a:cxn ang="T121">
                        <a:pos x="T10" y="T11"/>
                      </a:cxn>
                      <a:cxn ang="T122">
                        <a:pos x="T12" y="T13"/>
                      </a:cxn>
                      <a:cxn ang="T123">
                        <a:pos x="T14" y="T15"/>
                      </a:cxn>
                      <a:cxn ang="T124">
                        <a:pos x="T16" y="T17"/>
                      </a:cxn>
                      <a:cxn ang="T125">
                        <a:pos x="T18" y="T19"/>
                      </a:cxn>
                      <a:cxn ang="T126">
                        <a:pos x="T20" y="T21"/>
                      </a:cxn>
                      <a:cxn ang="T127">
                        <a:pos x="T22" y="T23"/>
                      </a:cxn>
                      <a:cxn ang="T128">
                        <a:pos x="T24" y="T25"/>
                      </a:cxn>
                      <a:cxn ang="T129">
                        <a:pos x="T26" y="T27"/>
                      </a:cxn>
                      <a:cxn ang="T130">
                        <a:pos x="T28" y="T29"/>
                      </a:cxn>
                      <a:cxn ang="T131">
                        <a:pos x="T30" y="T31"/>
                      </a:cxn>
                      <a:cxn ang="T132">
                        <a:pos x="T32" y="T33"/>
                      </a:cxn>
                      <a:cxn ang="T133">
                        <a:pos x="T34" y="T35"/>
                      </a:cxn>
                      <a:cxn ang="T134">
                        <a:pos x="T36" y="T37"/>
                      </a:cxn>
                      <a:cxn ang="T135">
                        <a:pos x="T38" y="T39"/>
                      </a:cxn>
                      <a:cxn ang="T136">
                        <a:pos x="T40" y="T41"/>
                      </a:cxn>
                      <a:cxn ang="T137">
                        <a:pos x="T42" y="T43"/>
                      </a:cxn>
                      <a:cxn ang="T138">
                        <a:pos x="T44" y="T45"/>
                      </a:cxn>
                      <a:cxn ang="T139">
                        <a:pos x="T46" y="T47"/>
                      </a:cxn>
                      <a:cxn ang="T140">
                        <a:pos x="T48" y="T49"/>
                      </a:cxn>
                      <a:cxn ang="T141">
                        <a:pos x="T50" y="T51"/>
                      </a:cxn>
                      <a:cxn ang="T142">
                        <a:pos x="T52" y="T53"/>
                      </a:cxn>
                      <a:cxn ang="T143">
                        <a:pos x="T54" y="T55"/>
                      </a:cxn>
                      <a:cxn ang="T144">
                        <a:pos x="T56" y="T57"/>
                      </a:cxn>
                      <a:cxn ang="T145">
                        <a:pos x="T58" y="T59"/>
                      </a:cxn>
                      <a:cxn ang="T146">
                        <a:pos x="T60" y="T61"/>
                      </a:cxn>
                      <a:cxn ang="T147">
                        <a:pos x="T62" y="T63"/>
                      </a:cxn>
                      <a:cxn ang="T148">
                        <a:pos x="T64" y="T65"/>
                      </a:cxn>
                      <a:cxn ang="T149">
                        <a:pos x="T66" y="T67"/>
                      </a:cxn>
                      <a:cxn ang="T150">
                        <a:pos x="T68" y="T69"/>
                      </a:cxn>
                      <a:cxn ang="T151">
                        <a:pos x="T70" y="T71"/>
                      </a:cxn>
                      <a:cxn ang="T152">
                        <a:pos x="T72" y="T73"/>
                      </a:cxn>
                      <a:cxn ang="T153">
                        <a:pos x="T74" y="T75"/>
                      </a:cxn>
                      <a:cxn ang="T154">
                        <a:pos x="T76" y="T77"/>
                      </a:cxn>
                      <a:cxn ang="T155">
                        <a:pos x="T78" y="T79"/>
                      </a:cxn>
                      <a:cxn ang="T156">
                        <a:pos x="T80" y="T81"/>
                      </a:cxn>
                      <a:cxn ang="T157">
                        <a:pos x="T82" y="T83"/>
                      </a:cxn>
                      <a:cxn ang="T158">
                        <a:pos x="T84" y="T85"/>
                      </a:cxn>
                      <a:cxn ang="T159">
                        <a:pos x="T86" y="T87"/>
                      </a:cxn>
                      <a:cxn ang="T160">
                        <a:pos x="T88" y="T89"/>
                      </a:cxn>
                      <a:cxn ang="T161">
                        <a:pos x="T90" y="T91"/>
                      </a:cxn>
                      <a:cxn ang="T162">
                        <a:pos x="T92" y="T93"/>
                      </a:cxn>
                      <a:cxn ang="T163">
                        <a:pos x="T94" y="T95"/>
                      </a:cxn>
                      <a:cxn ang="T164">
                        <a:pos x="T96" y="T97"/>
                      </a:cxn>
                      <a:cxn ang="T165">
                        <a:pos x="T98" y="T99"/>
                      </a:cxn>
                      <a:cxn ang="T166">
                        <a:pos x="T100" y="T101"/>
                      </a:cxn>
                      <a:cxn ang="T167">
                        <a:pos x="T102" y="T103"/>
                      </a:cxn>
                      <a:cxn ang="T168">
                        <a:pos x="T104" y="T105"/>
                      </a:cxn>
                      <a:cxn ang="T169">
                        <a:pos x="T106" y="T107"/>
                      </a:cxn>
                      <a:cxn ang="T170">
                        <a:pos x="T108" y="T109"/>
                      </a:cxn>
                      <a:cxn ang="T171">
                        <a:pos x="T110" y="T111"/>
                      </a:cxn>
                      <a:cxn ang="T172">
                        <a:pos x="T112" y="T113"/>
                      </a:cxn>
                      <a:cxn ang="T173">
                        <a:pos x="T114" y="T115"/>
                      </a:cxn>
                    </a:cxnLst>
                    <a:rect l="T174" t="T175" r="T176" b="T177"/>
                    <a:pathLst>
                      <a:path w="1184" h="605">
                        <a:moveTo>
                          <a:pt x="1079" y="0"/>
                        </a:moveTo>
                        <a:lnTo>
                          <a:pt x="1086" y="20"/>
                        </a:lnTo>
                        <a:lnTo>
                          <a:pt x="1092" y="40"/>
                        </a:lnTo>
                        <a:lnTo>
                          <a:pt x="1096" y="57"/>
                        </a:lnTo>
                        <a:lnTo>
                          <a:pt x="1098" y="75"/>
                        </a:lnTo>
                        <a:lnTo>
                          <a:pt x="1099" y="92"/>
                        </a:lnTo>
                        <a:lnTo>
                          <a:pt x="1099" y="106"/>
                        </a:lnTo>
                        <a:lnTo>
                          <a:pt x="1097" y="121"/>
                        </a:lnTo>
                        <a:lnTo>
                          <a:pt x="1095" y="134"/>
                        </a:lnTo>
                        <a:lnTo>
                          <a:pt x="1090" y="148"/>
                        </a:lnTo>
                        <a:lnTo>
                          <a:pt x="1085" y="159"/>
                        </a:lnTo>
                        <a:lnTo>
                          <a:pt x="1078" y="170"/>
                        </a:lnTo>
                        <a:lnTo>
                          <a:pt x="1071" y="181"/>
                        </a:lnTo>
                        <a:lnTo>
                          <a:pt x="1063" y="191"/>
                        </a:lnTo>
                        <a:lnTo>
                          <a:pt x="1054" y="200"/>
                        </a:lnTo>
                        <a:lnTo>
                          <a:pt x="1044" y="209"/>
                        </a:lnTo>
                        <a:lnTo>
                          <a:pt x="1033" y="217"/>
                        </a:lnTo>
                        <a:lnTo>
                          <a:pt x="1020" y="224"/>
                        </a:lnTo>
                        <a:lnTo>
                          <a:pt x="1008" y="231"/>
                        </a:lnTo>
                        <a:lnTo>
                          <a:pt x="995" y="239"/>
                        </a:lnTo>
                        <a:lnTo>
                          <a:pt x="981" y="246"/>
                        </a:lnTo>
                        <a:lnTo>
                          <a:pt x="952" y="258"/>
                        </a:lnTo>
                        <a:lnTo>
                          <a:pt x="921" y="269"/>
                        </a:lnTo>
                        <a:lnTo>
                          <a:pt x="857" y="292"/>
                        </a:lnTo>
                        <a:lnTo>
                          <a:pt x="790" y="316"/>
                        </a:lnTo>
                        <a:lnTo>
                          <a:pt x="770" y="323"/>
                        </a:lnTo>
                        <a:lnTo>
                          <a:pt x="749" y="330"/>
                        </a:lnTo>
                        <a:lnTo>
                          <a:pt x="728" y="337"/>
                        </a:lnTo>
                        <a:lnTo>
                          <a:pt x="705" y="342"/>
                        </a:lnTo>
                        <a:lnTo>
                          <a:pt x="659" y="353"/>
                        </a:lnTo>
                        <a:lnTo>
                          <a:pt x="608" y="362"/>
                        </a:lnTo>
                        <a:lnTo>
                          <a:pt x="557" y="369"/>
                        </a:lnTo>
                        <a:lnTo>
                          <a:pt x="505" y="375"/>
                        </a:lnTo>
                        <a:lnTo>
                          <a:pt x="450" y="379"/>
                        </a:lnTo>
                        <a:lnTo>
                          <a:pt x="397" y="381"/>
                        </a:lnTo>
                        <a:lnTo>
                          <a:pt x="342" y="382"/>
                        </a:lnTo>
                        <a:lnTo>
                          <a:pt x="288" y="382"/>
                        </a:lnTo>
                        <a:lnTo>
                          <a:pt x="236" y="381"/>
                        </a:lnTo>
                        <a:lnTo>
                          <a:pt x="183" y="379"/>
                        </a:lnTo>
                        <a:lnTo>
                          <a:pt x="133" y="376"/>
                        </a:lnTo>
                        <a:lnTo>
                          <a:pt x="86" y="370"/>
                        </a:lnTo>
                        <a:lnTo>
                          <a:pt x="42" y="366"/>
                        </a:lnTo>
                        <a:lnTo>
                          <a:pt x="0" y="359"/>
                        </a:lnTo>
                        <a:lnTo>
                          <a:pt x="3" y="372"/>
                        </a:lnTo>
                        <a:lnTo>
                          <a:pt x="6" y="386"/>
                        </a:lnTo>
                        <a:lnTo>
                          <a:pt x="10" y="398"/>
                        </a:lnTo>
                        <a:lnTo>
                          <a:pt x="15" y="410"/>
                        </a:lnTo>
                        <a:lnTo>
                          <a:pt x="20" y="422"/>
                        </a:lnTo>
                        <a:lnTo>
                          <a:pt x="26" y="435"/>
                        </a:lnTo>
                        <a:lnTo>
                          <a:pt x="33" y="447"/>
                        </a:lnTo>
                        <a:lnTo>
                          <a:pt x="41" y="458"/>
                        </a:lnTo>
                        <a:lnTo>
                          <a:pt x="49" y="469"/>
                        </a:lnTo>
                        <a:lnTo>
                          <a:pt x="58" y="479"/>
                        </a:lnTo>
                        <a:lnTo>
                          <a:pt x="69" y="490"/>
                        </a:lnTo>
                        <a:lnTo>
                          <a:pt x="80" y="500"/>
                        </a:lnTo>
                        <a:lnTo>
                          <a:pt x="92" y="509"/>
                        </a:lnTo>
                        <a:lnTo>
                          <a:pt x="105" y="518"/>
                        </a:lnTo>
                        <a:lnTo>
                          <a:pt x="120" y="527"/>
                        </a:lnTo>
                        <a:lnTo>
                          <a:pt x="135" y="536"/>
                        </a:lnTo>
                        <a:lnTo>
                          <a:pt x="153" y="544"/>
                        </a:lnTo>
                        <a:lnTo>
                          <a:pt x="171" y="552"/>
                        </a:lnTo>
                        <a:lnTo>
                          <a:pt x="191" y="558"/>
                        </a:lnTo>
                        <a:lnTo>
                          <a:pt x="212" y="565"/>
                        </a:lnTo>
                        <a:lnTo>
                          <a:pt x="235" y="572"/>
                        </a:lnTo>
                        <a:lnTo>
                          <a:pt x="258" y="577"/>
                        </a:lnTo>
                        <a:lnTo>
                          <a:pt x="283" y="583"/>
                        </a:lnTo>
                        <a:lnTo>
                          <a:pt x="310" y="587"/>
                        </a:lnTo>
                        <a:lnTo>
                          <a:pt x="339" y="592"/>
                        </a:lnTo>
                        <a:lnTo>
                          <a:pt x="369" y="595"/>
                        </a:lnTo>
                        <a:lnTo>
                          <a:pt x="401" y="598"/>
                        </a:lnTo>
                        <a:lnTo>
                          <a:pt x="435" y="601"/>
                        </a:lnTo>
                        <a:lnTo>
                          <a:pt x="470" y="603"/>
                        </a:lnTo>
                        <a:lnTo>
                          <a:pt x="507" y="604"/>
                        </a:lnTo>
                        <a:lnTo>
                          <a:pt x="546" y="605"/>
                        </a:lnTo>
                        <a:lnTo>
                          <a:pt x="587" y="605"/>
                        </a:lnTo>
                        <a:lnTo>
                          <a:pt x="634" y="605"/>
                        </a:lnTo>
                        <a:lnTo>
                          <a:pt x="679" y="603"/>
                        </a:lnTo>
                        <a:lnTo>
                          <a:pt x="721" y="601"/>
                        </a:lnTo>
                        <a:lnTo>
                          <a:pt x="760" y="597"/>
                        </a:lnTo>
                        <a:lnTo>
                          <a:pt x="798" y="594"/>
                        </a:lnTo>
                        <a:lnTo>
                          <a:pt x="832" y="588"/>
                        </a:lnTo>
                        <a:lnTo>
                          <a:pt x="866" y="583"/>
                        </a:lnTo>
                        <a:lnTo>
                          <a:pt x="897" y="576"/>
                        </a:lnTo>
                        <a:lnTo>
                          <a:pt x="926" y="569"/>
                        </a:lnTo>
                        <a:lnTo>
                          <a:pt x="952" y="560"/>
                        </a:lnTo>
                        <a:lnTo>
                          <a:pt x="977" y="552"/>
                        </a:lnTo>
                        <a:lnTo>
                          <a:pt x="1000" y="543"/>
                        </a:lnTo>
                        <a:lnTo>
                          <a:pt x="1023" y="533"/>
                        </a:lnTo>
                        <a:lnTo>
                          <a:pt x="1043" y="522"/>
                        </a:lnTo>
                        <a:lnTo>
                          <a:pt x="1060" y="509"/>
                        </a:lnTo>
                        <a:lnTo>
                          <a:pt x="1077" y="497"/>
                        </a:lnTo>
                        <a:lnTo>
                          <a:pt x="1093" y="485"/>
                        </a:lnTo>
                        <a:lnTo>
                          <a:pt x="1106" y="471"/>
                        </a:lnTo>
                        <a:lnTo>
                          <a:pt x="1118" y="457"/>
                        </a:lnTo>
                        <a:lnTo>
                          <a:pt x="1129" y="443"/>
                        </a:lnTo>
                        <a:lnTo>
                          <a:pt x="1139" y="428"/>
                        </a:lnTo>
                        <a:lnTo>
                          <a:pt x="1148" y="412"/>
                        </a:lnTo>
                        <a:lnTo>
                          <a:pt x="1156" y="397"/>
                        </a:lnTo>
                        <a:lnTo>
                          <a:pt x="1163" y="380"/>
                        </a:lnTo>
                        <a:lnTo>
                          <a:pt x="1168" y="364"/>
                        </a:lnTo>
                        <a:lnTo>
                          <a:pt x="1173" y="347"/>
                        </a:lnTo>
                        <a:lnTo>
                          <a:pt x="1176" y="329"/>
                        </a:lnTo>
                        <a:lnTo>
                          <a:pt x="1179" y="311"/>
                        </a:lnTo>
                        <a:lnTo>
                          <a:pt x="1182" y="293"/>
                        </a:lnTo>
                        <a:lnTo>
                          <a:pt x="1183" y="274"/>
                        </a:lnTo>
                        <a:lnTo>
                          <a:pt x="1184" y="256"/>
                        </a:lnTo>
                        <a:lnTo>
                          <a:pt x="1184" y="237"/>
                        </a:lnTo>
                        <a:lnTo>
                          <a:pt x="1183" y="226"/>
                        </a:lnTo>
                        <a:lnTo>
                          <a:pt x="1181" y="212"/>
                        </a:lnTo>
                        <a:lnTo>
                          <a:pt x="1177" y="198"/>
                        </a:lnTo>
                        <a:lnTo>
                          <a:pt x="1173" y="182"/>
                        </a:lnTo>
                        <a:lnTo>
                          <a:pt x="1161" y="150"/>
                        </a:lnTo>
                        <a:lnTo>
                          <a:pt x="1146" y="115"/>
                        </a:lnTo>
                        <a:lnTo>
                          <a:pt x="1129" y="81"/>
                        </a:lnTo>
                        <a:lnTo>
                          <a:pt x="1112" y="49"/>
                        </a:lnTo>
                        <a:lnTo>
                          <a:pt x="1095" y="21"/>
                        </a:lnTo>
                        <a:lnTo>
                          <a:pt x="1079" y="0"/>
                        </a:lnTo>
                        <a:close/>
                      </a:path>
                    </a:pathLst>
                  </a:custGeom>
                  <a:solidFill>
                    <a:srgbClr val="242B53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33" name="Freeform 174"/>
                  <p:cNvSpPr>
                    <a:spLocks/>
                  </p:cNvSpPr>
                  <p:nvPr/>
                </p:nvSpPr>
                <p:spPr bwMode="auto">
                  <a:xfrm>
                    <a:off x="3255" y="4127"/>
                    <a:ext cx="168" cy="38"/>
                  </a:xfrm>
                  <a:custGeom>
                    <a:avLst/>
                    <a:gdLst>
                      <a:gd name="T0" fmla="*/ 0 w 1173"/>
                      <a:gd name="T1" fmla="*/ 0 h 264"/>
                      <a:gd name="T2" fmla="*/ 0 w 1173"/>
                      <a:gd name="T3" fmla="*/ 0 h 264"/>
                      <a:gd name="T4" fmla="*/ 0 w 1173"/>
                      <a:gd name="T5" fmla="*/ 0 h 264"/>
                      <a:gd name="T6" fmla="*/ 0 w 1173"/>
                      <a:gd name="T7" fmla="*/ 0 h 264"/>
                      <a:gd name="T8" fmla="*/ 0 w 1173"/>
                      <a:gd name="T9" fmla="*/ 0 h 264"/>
                      <a:gd name="T10" fmla="*/ 0 w 1173"/>
                      <a:gd name="T11" fmla="*/ 0 h 264"/>
                      <a:gd name="T12" fmla="*/ 0 w 1173"/>
                      <a:gd name="T13" fmla="*/ 0 h 264"/>
                      <a:gd name="T14" fmla="*/ 0 w 1173"/>
                      <a:gd name="T15" fmla="*/ 0 h 264"/>
                      <a:gd name="T16" fmla="*/ 0 w 1173"/>
                      <a:gd name="T17" fmla="*/ 0 h 264"/>
                      <a:gd name="T18" fmla="*/ 0 w 1173"/>
                      <a:gd name="T19" fmla="*/ 0 h 264"/>
                      <a:gd name="T20" fmla="*/ 0 w 1173"/>
                      <a:gd name="T21" fmla="*/ 0 h 264"/>
                      <a:gd name="T22" fmla="*/ 0 w 1173"/>
                      <a:gd name="T23" fmla="*/ 0 h 264"/>
                      <a:gd name="T24" fmla="*/ 0 w 1173"/>
                      <a:gd name="T25" fmla="*/ 0 h 264"/>
                      <a:gd name="T26" fmla="*/ 0 w 1173"/>
                      <a:gd name="T27" fmla="*/ 0 h 264"/>
                      <a:gd name="T28" fmla="*/ 0 w 1173"/>
                      <a:gd name="T29" fmla="*/ 0 h 264"/>
                      <a:gd name="T30" fmla="*/ 0 w 1173"/>
                      <a:gd name="T31" fmla="*/ 0 h 264"/>
                      <a:gd name="T32" fmla="*/ 0 w 1173"/>
                      <a:gd name="T33" fmla="*/ 0 h 264"/>
                      <a:gd name="T34" fmla="*/ 0 w 1173"/>
                      <a:gd name="T35" fmla="*/ 0 h 264"/>
                      <a:gd name="T36" fmla="*/ 0 w 1173"/>
                      <a:gd name="T37" fmla="*/ 0 h 264"/>
                      <a:gd name="T38" fmla="*/ 0 w 1173"/>
                      <a:gd name="T39" fmla="*/ 0 h 264"/>
                      <a:gd name="T40" fmla="*/ 0 w 1173"/>
                      <a:gd name="T41" fmla="*/ 0 h 264"/>
                      <a:gd name="T42" fmla="*/ 0 w 1173"/>
                      <a:gd name="T43" fmla="*/ 0 h 264"/>
                      <a:gd name="T44" fmla="*/ 0 w 1173"/>
                      <a:gd name="T45" fmla="*/ 0 h 264"/>
                      <a:gd name="T46" fmla="*/ 0 w 1173"/>
                      <a:gd name="T47" fmla="*/ 0 h 264"/>
                      <a:gd name="T48" fmla="*/ 0 w 1173"/>
                      <a:gd name="T49" fmla="*/ 0 h 264"/>
                      <a:gd name="T50" fmla="*/ 0 w 1173"/>
                      <a:gd name="T51" fmla="*/ 0 h 264"/>
                      <a:gd name="T52" fmla="*/ 0 w 1173"/>
                      <a:gd name="T53" fmla="*/ 0 h 264"/>
                      <a:gd name="T54" fmla="*/ 0 w 1173"/>
                      <a:gd name="T55" fmla="*/ 0 h 264"/>
                      <a:gd name="T56" fmla="*/ 0 w 1173"/>
                      <a:gd name="T57" fmla="*/ 0 h 264"/>
                      <a:gd name="T58" fmla="*/ 0 w 1173"/>
                      <a:gd name="T59" fmla="*/ 0 h 264"/>
                      <a:gd name="T60" fmla="*/ 0 w 1173"/>
                      <a:gd name="T61" fmla="*/ 0 h 264"/>
                      <a:gd name="T62" fmla="*/ 0 w 1173"/>
                      <a:gd name="T63" fmla="*/ 0 h 264"/>
                      <a:gd name="T64" fmla="*/ 0 w 1173"/>
                      <a:gd name="T65" fmla="*/ 0 h 264"/>
                      <a:gd name="T66" fmla="*/ 0 w 1173"/>
                      <a:gd name="T67" fmla="*/ 0 h 264"/>
                      <a:gd name="T68" fmla="*/ 0 w 1173"/>
                      <a:gd name="T69" fmla="*/ 0 h 264"/>
                      <a:gd name="T70" fmla="*/ 0 w 1173"/>
                      <a:gd name="T71" fmla="*/ 0 h 264"/>
                      <a:gd name="T72" fmla="*/ 0 w 1173"/>
                      <a:gd name="T73" fmla="*/ 0 h 264"/>
                      <a:gd name="T74" fmla="*/ 0 w 1173"/>
                      <a:gd name="T75" fmla="*/ 0 h 264"/>
                      <a:gd name="T76" fmla="*/ 0 w 1173"/>
                      <a:gd name="T77" fmla="*/ 0 h 264"/>
                      <a:gd name="T78" fmla="*/ 0 w 1173"/>
                      <a:gd name="T79" fmla="*/ 0 h 264"/>
                      <a:gd name="T80" fmla="*/ 0 w 1173"/>
                      <a:gd name="T81" fmla="*/ 0 h 264"/>
                      <a:gd name="T82" fmla="*/ 0 w 1173"/>
                      <a:gd name="T83" fmla="*/ 0 h 264"/>
                      <a:gd name="T84" fmla="*/ 0 w 1173"/>
                      <a:gd name="T85" fmla="*/ 0 h 264"/>
                      <a:gd name="T86" fmla="*/ 0 w 1173"/>
                      <a:gd name="T87" fmla="*/ 0 h 264"/>
                      <a:gd name="T88" fmla="*/ 0 w 1173"/>
                      <a:gd name="T89" fmla="*/ 0 h 264"/>
                      <a:gd name="T90" fmla="*/ 0 w 1173"/>
                      <a:gd name="T91" fmla="*/ 0 h 264"/>
                      <a:gd name="T92" fmla="*/ 0 w 1173"/>
                      <a:gd name="T93" fmla="*/ 0 h 264"/>
                      <a:gd name="T94" fmla="*/ 0 w 1173"/>
                      <a:gd name="T95" fmla="*/ 0 h 264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w 1173"/>
                      <a:gd name="T145" fmla="*/ 0 h 264"/>
                      <a:gd name="T146" fmla="*/ 1173 w 1173"/>
                      <a:gd name="T147" fmla="*/ 264 h 264"/>
                    </a:gdLst>
                    <a:ahLst/>
                    <a:cxnLst>
                      <a:cxn ang="T96">
                        <a:pos x="T0" y="T1"/>
                      </a:cxn>
                      <a:cxn ang="T97">
                        <a:pos x="T2" y="T3"/>
                      </a:cxn>
                      <a:cxn ang="T98">
                        <a:pos x="T4" y="T5"/>
                      </a:cxn>
                      <a:cxn ang="T99">
                        <a:pos x="T6" y="T7"/>
                      </a:cxn>
                      <a:cxn ang="T100">
                        <a:pos x="T8" y="T9"/>
                      </a:cxn>
                      <a:cxn ang="T101">
                        <a:pos x="T10" y="T11"/>
                      </a:cxn>
                      <a:cxn ang="T102">
                        <a:pos x="T12" y="T13"/>
                      </a:cxn>
                      <a:cxn ang="T103">
                        <a:pos x="T14" y="T15"/>
                      </a:cxn>
                      <a:cxn ang="T104">
                        <a:pos x="T16" y="T17"/>
                      </a:cxn>
                      <a:cxn ang="T105">
                        <a:pos x="T18" y="T19"/>
                      </a:cxn>
                      <a:cxn ang="T106">
                        <a:pos x="T20" y="T21"/>
                      </a:cxn>
                      <a:cxn ang="T107">
                        <a:pos x="T22" y="T23"/>
                      </a:cxn>
                      <a:cxn ang="T108">
                        <a:pos x="T24" y="T25"/>
                      </a:cxn>
                      <a:cxn ang="T109">
                        <a:pos x="T26" y="T27"/>
                      </a:cxn>
                      <a:cxn ang="T110">
                        <a:pos x="T28" y="T29"/>
                      </a:cxn>
                      <a:cxn ang="T111">
                        <a:pos x="T30" y="T31"/>
                      </a:cxn>
                      <a:cxn ang="T112">
                        <a:pos x="T32" y="T33"/>
                      </a:cxn>
                      <a:cxn ang="T113">
                        <a:pos x="T34" y="T35"/>
                      </a:cxn>
                      <a:cxn ang="T114">
                        <a:pos x="T36" y="T37"/>
                      </a:cxn>
                      <a:cxn ang="T115">
                        <a:pos x="T38" y="T39"/>
                      </a:cxn>
                      <a:cxn ang="T116">
                        <a:pos x="T40" y="T41"/>
                      </a:cxn>
                      <a:cxn ang="T117">
                        <a:pos x="T42" y="T43"/>
                      </a:cxn>
                      <a:cxn ang="T118">
                        <a:pos x="T44" y="T45"/>
                      </a:cxn>
                      <a:cxn ang="T119">
                        <a:pos x="T46" y="T47"/>
                      </a:cxn>
                      <a:cxn ang="T120">
                        <a:pos x="T48" y="T49"/>
                      </a:cxn>
                      <a:cxn ang="T121">
                        <a:pos x="T50" y="T51"/>
                      </a:cxn>
                      <a:cxn ang="T122">
                        <a:pos x="T52" y="T53"/>
                      </a:cxn>
                      <a:cxn ang="T123">
                        <a:pos x="T54" y="T55"/>
                      </a:cxn>
                      <a:cxn ang="T124">
                        <a:pos x="T56" y="T57"/>
                      </a:cxn>
                      <a:cxn ang="T125">
                        <a:pos x="T58" y="T59"/>
                      </a:cxn>
                      <a:cxn ang="T126">
                        <a:pos x="T60" y="T61"/>
                      </a:cxn>
                      <a:cxn ang="T127">
                        <a:pos x="T62" y="T63"/>
                      </a:cxn>
                      <a:cxn ang="T128">
                        <a:pos x="T64" y="T65"/>
                      </a:cxn>
                      <a:cxn ang="T129">
                        <a:pos x="T66" y="T67"/>
                      </a:cxn>
                      <a:cxn ang="T130">
                        <a:pos x="T68" y="T69"/>
                      </a:cxn>
                      <a:cxn ang="T131">
                        <a:pos x="T70" y="T71"/>
                      </a:cxn>
                      <a:cxn ang="T132">
                        <a:pos x="T72" y="T73"/>
                      </a:cxn>
                      <a:cxn ang="T133">
                        <a:pos x="T74" y="T75"/>
                      </a:cxn>
                      <a:cxn ang="T134">
                        <a:pos x="T76" y="T77"/>
                      </a:cxn>
                      <a:cxn ang="T135">
                        <a:pos x="T78" y="T79"/>
                      </a:cxn>
                      <a:cxn ang="T136">
                        <a:pos x="T80" y="T81"/>
                      </a:cxn>
                      <a:cxn ang="T137">
                        <a:pos x="T82" y="T83"/>
                      </a:cxn>
                      <a:cxn ang="T138">
                        <a:pos x="T84" y="T85"/>
                      </a:cxn>
                      <a:cxn ang="T139">
                        <a:pos x="T86" y="T87"/>
                      </a:cxn>
                      <a:cxn ang="T140">
                        <a:pos x="T88" y="T89"/>
                      </a:cxn>
                      <a:cxn ang="T141">
                        <a:pos x="T90" y="T91"/>
                      </a:cxn>
                      <a:cxn ang="T142">
                        <a:pos x="T92" y="T93"/>
                      </a:cxn>
                      <a:cxn ang="T143">
                        <a:pos x="T94" y="T95"/>
                      </a:cxn>
                    </a:cxnLst>
                    <a:rect l="T144" t="T145" r="T146" b="T147"/>
                    <a:pathLst>
                      <a:path w="1173" h="264">
                        <a:moveTo>
                          <a:pt x="586" y="142"/>
                        </a:moveTo>
                        <a:lnTo>
                          <a:pt x="525" y="142"/>
                        </a:lnTo>
                        <a:lnTo>
                          <a:pt x="467" y="139"/>
                        </a:lnTo>
                        <a:lnTo>
                          <a:pt x="414" y="137"/>
                        </a:lnTo>
                        <a:lnTo>
                          <a:pt x="364" y="133"/>
                        </a:lnTo>
                        <a:lnTo>
                          <a:pt x="316" y="128"/>
                        </a:lnTo>
                        <a:lnTo>
                          <a:pt x="274" y="123"/>
                        </a:lnTo>
                        <a:lnTo>
                          <a:pt x="234" y="116"/>
                        </a:lnTo>
                        <a:lnTo>
                          <a:pt x="197" y="108"/>
                        </a:lnTo>
                        <a:lnTo>
                          <a:pt x="162" y="100"/>
                        </a:lnTo>
                        <a:lnTo>
                          <a:pt x="131" y="90"/>
                        </a:lnTo>
                        <a:lnTo>
                          <a:pt x="103" y="80"/>
                        </a:lnTo>
                        <a:lnTo>
                          <a:pt x="78" y="70"/>
                        </a:lnTo>
                        <a:lnTo>
                          <a:pt x="54" y="58"/>
                        </a:lnTo>
                        <a:lnTo>
                          <a:pt x="34" y="46"/>
                        </a:lnTo>
                        <a:lnTo>
                          <a:pt x="15" y="33"/>
                        </a:lnTo>
                        <a:lnTo>
                          <a:pt x="0" y="19"/>
                        </a:lnTo>
                        <a:lnTo>
                          <a:pt x="2" y="33"/>
                        </a:lnTo>
                        <a:lnTo>
                          <a:pt x="5" y="46"/>
                        </a:lnTo>
                        <a:lnTo>
                          <a:pt x="10" y="58"/>
                        </a:lnTo>
                        <a:lnTo>
                          <a:pt x="14" y="70"/>
                        </a:lnTo>
                        <a:lnTo>
                          <a:pt x="20" y="83"/>
                        </a:lnTo>
                        <a:lnTo>
                          <a:pt x="25" y="95"/>
                        </a:lnTo>
                        <a:lnTo>
                          <a:pt x="32" y="106"/>
                        </a:lnTo>
                        <a:lnTo>
                          <a:pt x="40" y="117"/>
                        </a:lnTo>
                        <a:lnTo>
                          <a:pt x="48" y="128"/>
                        </a:lnTo>
                        <a:lnTo>
                          <a:pt x="58" y="139"/>
                        </a:lnTo>
                        <a:lnTo>
                          <a:pt x="68" y="149"/>
                        </a:lnTo>
                        <a:lnTo>
                          <a:pt x="79" y="159"/>
                        </a:lnTo>
                        <a:lnTo>
                          <a:pt x="91" y="169"/>
                        </a:lnTo>
                        <a:lnTo>
                          <a:pt x="106" y="178"/>
                        </a:lnTo>
                        <a:lnTo>
                          <a:pt x="120" y="187"/>
                        </a:lnTo>
                        <a:lnTo>
                          <a:pt x="136" y="195"/>
                        </a:lnTo>
                        <a:lnTo>
                          <a:pt x="152" y="203"/>
                        </a:lnTo>
                        <a:lnTo>
                          <a:pt x="171" y="211"/>
                        </a:lnTo>
                        <a:lnTo>
                          <a:pt x="190" y="218"/>
                        </a:lnTo>
                        <a:lnTo>
                          <a:pt x="211" y="224"/>
                        </a:lnTo>
                        <a:lnTo>
                          <a:pt x="234" y="231"/>
                        </a:lnTo>
                        <a:lnTo>
                          <a:pt x="258" y="236"/>
                        </a:lnTo>
                        <a:lnTo>
                          <a:pt x="284" y="242"/>
                        </a:lnTo>
                        <a:lnTo>
                          <a:pt x="310" y="246"/>
                        </a:lnTo>
                        <a:lnTo>
                          <a:pt x="338" y="251"/>
                        </a:lnTo>
                        <a:lnTo>
                          <a:pt x="368" y="254"/>
                        </a:lnTo>
                        <a:lnTo>
                          <a:pt x="400" y="257"/>
                        </a:lnTo>
                        <a:lnTo>
                          <a:pt x="434" y="260"/>
                        </a:lnTo>
                        <a:lnTo>
                          <a:pt x="469" y="262"/>
                        </a:lnTo>
                        <a:lnTo>
                          <a:pt x="506" y="263"/>
                        </a:lnTo>
                        <a:lnTo>
                          <a:pt x="545" y="264"/>
                        </a:lnTo>
                        <a:lnTo>
                          <a:pt x="586" y="264"/>
                        </a:lnTo>
                        <a:lnTo>
                          <a:pt x="625" y="264"/>
                        </a:lnTo>
                        <a:lnTo>
                          <a:pt x="662" y="263"/>
                        </a:lnTo>
                        <a:lnTo>
                          <a:pt x="698" y="262"/>
                        </a:lnTo>
                        <a:lnTo>
                          <a:pt x="731" y="260"/>
                        </a:lnTo>
                        <a:lnTo>
                          <a:pt x="763" y="256"/>
                        </a:lnTo>
                        <a:lnTo>
                          <a:pt x="793" y="253"/>
                        </a:lnTo>
                        <a:lnTo>
                          <a:pt x="823" y="250"/>
                        </a:lnTo>
                        <a:lnTo>
                          <a:pt x="851" y="245"/>
                        </a:lnTo>
                        <a:lnTo>
                          <a:pt x="877" y="240"/>
                        </a:lnTo>
                        <a:lnTo>
                          <a:pt x="902" y="234"/>
                        </a:lnTo>
                        <a:lnTo>
                          <a:pt x="926" y="227"/>
                        </a:lnTo>
                        <a:lnTo>
                          <a:pt x="948" y="221"/>
                        </a:lnTo>
                        <a:lnTo>
                          <a:pt x="969" y="214"/>
                        </a:lnTo>
                        <a:lnTo>
                          <a:pt x="988" y="206"/>
                        </a:lnTo>
                        <a:lnTo>
                          <a:pt x="1007" y="198"/>
                        </a:lnTo>
                        <a:lnTo>
                          <a:pt x="1025" y="189"/>
                        </a:lnTo>
                        <a:lnTo>
                          <a:pt x="1040" y="181"/>
                        </a:lnTo>
                        <a:lnTo>
                          <a:pt x="1056" y="172"/>
                        </a:lnTo>
                        <a:lnTo>
                          <a:pt x="1070" y="162"/>
                        </a:lnTo>
                        <a:lnTo>
                          <a:pt x="1083" y="150"/>
                        </a:lnTo>
                        <a:lnTo>
                          <a:pt x="1095" y="140"/>
                        </a:lnTo>
                        <a:lnTo>
                          <a:pt x="1106" y="129"/>
                        </a:lnTo>
                        <a:lnTo>
                          <a:pt x="1116" y="118"/>
                        </a:lnTo>
                        <a:lnTo>
                          <a:pt x="1126" y="106"/>
                        </a:lnTo>
                        <a:lnTo>
                          <a:pt x="1134" y="94"/>
                        </a:lnTo>
                        <a:lnTo>
                          <a:pt x="1142" y="81"/>
                        </a:lnTo>
                        <a:lnTo>
                          <a:pt x="1148" y="68"/>
                        </a:lnTo>
                        <a:lnTo>
                          <a:pt x="1155" y="56"/>
                        </a:lnTo>
                        <a:lnTo>
                          <a:pt x="1161" y="43"/>
                        </a:lnTo>
                        <a:lnTo>
                          <a:pt x="1165" y="28"/>
                        </a:lnTo>
                        <a:lnTo>
                          <a:pt x="1170" y="15"/>
                        </a:lnTo>
                        <a:lnTo>
                          <a:pt x="1173" y="0"/>
                        </a:lnTo>
                        <a:lnTo>
                          <a:pt x="1156" y="16"/>
                        </a:lnTo>
                        <a:lnTo>
                          <a:pt x="1136" y="31"/>
                        </a:lnTo>
                        <a:lnTo>
                          <a:pt x="1115" y="45"/>
                        </a:lnTo>
                        <a:lnTo>
                          <a:pt x="1092" y="58"/>
                        </a:lnTo>
                        <a:lnTo>
                          <a:pt x="1066" y="71"/>
                        </a:lnTo>
                        <a:lnTo>
                          <a:pt x="1037" y="83"/>
                        </a:lnTo>
                        <a:lnTo>
                          <a:pt x="1006" y="94"/>
                        </a:lnTo>
                        <a:lnTo>
                          <a:pt x="971" y="103"/>
                        </a:lnTo>
                        <a:lnTo>
                          <a:pt x="935" y="112"/>
                        </a:lnTo>
                        <a:lnTo>
                          <a:pt x="895" y="119"/>
                        </a:lnTo>
                        <a:lnTo>
                          <a:pt x="851" y="126"/>
                        </a:lnTo>
                        <a:lnTo>
                          <a:pt x="806" y="132"/>
                        </a:lnTo>
                        <a:lnTo>
                          <a:pt x="757" y="136"/>
                        </a:lnTo>
                        <a:lnTo>
                          <a:pt x="703" y="139"/>
                        </a:lnTo>
                        <a:lnTo>
                          <a:pt x="646" y="140"/>
                        </a:lnTo>
                        <a:lnTo>
                          <a:pt x="586" y="142"/>
                        </a:lnTo>
                        <a:close/>
                      </a:path>
                    </a:pathLst>
                  </a:custGeom>
                  <a:solidFill>
                    <a:srgbClr val="1F1A17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34" name="Freeform 175"/>
                  <p:cNvSpPr>
                    <a:spLocks/>
                  </p:cNvSpPr>
                  <p:nvPr/>
                </p:nvSpPr>
                <p:spPr bwMode="auto">
                  <a:xfrm>
                    <a:off x="3437" y="3975"/>
                    <a:ext cx="138" cy="177"/>
                  </a:xfrm>
                  <a:custGeom>
                    <a:avLst/>
                    <a:gdLst>
                      <a:gd name="T0" fmla="*/ 0 w 955"/>
                      <a:gd name="T1" fmla="*/ 0 h 1249"/>
                      <a:gd name="T2" fmla="*/ 0 w 955"/>
                      <a:gd name="T3" fmla="*/ 0 h 1249"/>
                      <a:gd name="T4" fmla="*/ 0 w 955"/>
                      <a:gd name="T5" fmla="*/ 0 h 1249"/>
                      <a:gd name="T6" fmla="*/ 0 w 955"/>
                      <a:gd name="T7" fmla="*/ 0 h 1249"/>
                      <a:gd name="T8" fmla="*/ 0 w 955"/>
                      <a:gd name="T9" fmla="*/ 0 h 1249"/>
                      <a:gd name="T10" fmla="*/ 0 w 955"/>
                      <a:gd name="T11" fmla="*/ 0 h 1249"/>
                      <a:gd name="T12" fmla="*/ 0 w 955"/>
                      <a:gd name="T13" fmla="*/ 0 h 1249"/>
                      <a:gd name="T14" fmla="*/ 0 w 955"/>
                      <a:gd name="T15" fmla="*/ 0 h 1249"/>
                      <a:gd name="T16" fmla="*/ 0 w 955"/>
                      <a:gd name="T17" fmla="*/ 0 h 1249"/>
                      <a:gd name="T18" fmla="*/ 0 w 955"/>
                      <a:gd name="T19" fmla="*/ 0 h 1249"/>
                      <a:gd name="T20" fmla="*/ 0 w 955"/>
                      <a:gd name="T21" fmla="*/ 0 h 1249"/>
                      <a:gd name="T22" fmla="*/ 0 w 955"/>
                      <a:gd name="T23" fmla="*/ 0 h 1249"/>
                      <a:gd name="T24" fmla="*/ 0 w 955"/>
                      <a:gd name="T25" fmla="*/ 0 h 1249"/>
                      <a:gd name="T26" fmla="*/ 0 w 955"/>
                      <a:gd name="T27" fmla="*/ 0 h 1249"/>
                      <a:gd name="T28" fmla="*/ 0 w 955"/>
                      <a:gd name="T29" fmla="*/ 0 h 1249"/>
                      <a:gd name="T30" fmla="*/ 0 w 955"/>
                      <a:gd name="T31" fmla="*/ 0 h 1249"/>
                      <a:gd name="T32" fmla="*/ 0 w 955"/>
                      <a:gd name="T33" fmla="*/ 0 h 1249"/>
                      <a:gd name="T34" fmla="*/ 0 w 955"/>
                      <a:gd name="T35" fmla="*/ 0 h 1249"/>
                      <a:gd name="T36" fmla="*/ 0 w 955"/>
                      <a:gd name="T37" fmla="*/ 0 h 1249"/>
                      <a:gd name="T38" fmla="*/ 0 w 955"/>
                      <a:gd name="T39" fmla="*/ 0 h 1249"/>
                      <a:gd name="T40" fmla="*/ 0 w 955"/>
                      <a:gd name="T41" fmla="*/ 0 h 1249"/>
                      <a:gd name="T42" fmla="*/ 0 w 955"/>
                      <a:gd name="T43" fmla="*/ 0 h 1249"/>
                      <a:gd name="T44" fmla="*/ 0 w 955"/>
                      <a:gd name="T45" fmla="*/ 0 h 1249"/>
                      <a:gd name="T46" fmla="*/ 0 w 955"/>
                      <a:gd name="T47" fmla="*/ 0 h 1249"/>
                      <a:gd name="T48" fmla="*/ 0 w 955"/>
                      <a:gd name="T49" fmla="*/ 0 h 1249"/>
                      <a:gd name="T50" fmla="*/ 0 w 955"/>
                      <a:gd name="T51" fmla="*/ 0 h 1249"/>
                      <a:gd name="T52" fmla="*/ 0 w 955"/>
                      <a:gd name="T53" fmla="*/ 0 h 1249"/>
                      <a:gd name="T54" fmla="*/ 0 w 955"/>
                      <a:gd name="T55" fmla="*/ 0 h 1249"/>
                      <a:gd name="T56" fmla="*/ 0 w 955"/>
                      <a:gd name="T57" fmla="*/ 0 h 1249"/>
                      <a:gd name="T58" fmla="*/ 0 w 955"/>
                      <a:gd name="T59" fmla="*/ 0 h 1249"/>
                      <a:gd name="T60" fmla="*/ 0 w 955"/>
                      <a:gd name="T61" fmla="*/ 0 h 1249"/>
                      <a:gd name="T62" fmla="*/ 0 w 955"/>
                      <a:gd name="T63" fmla="*/ 0 h 1249"/>
                      <a:gd name="T64" fmla="*/ 0 w 955"/>
                      <a:gd name="T65" fmla="*/ 0 h 1249"/>
                      <a:gd name="T66" fmla="*/ 0 w 955"/>
                      <a:gd name="T67" fmla="*/ 0 h 1249"/>
                      <a:gd name="T68" fmla="*/ 0 w 955"/>
                      <a:gd name="T69" fmla="*/ 0 h 1249"/>
                      <a:gd name="T70" fmla="*/ 0 w 955"/>
                      <a:gd name="T71" fmla="*/ 0 h 1249"/>
                      <a:gd name="T72" fmla="*/ 0 w 955"/>
                      <a:gd name="T73" fmla="*/ 0 h 1249"/>
                      <a:gd name="T74" fmla="*/ 0 w 955"/>
                      <a:gd name="T75" fmla="*/ 0 h 1249"/>
                      <a:gd name="T76" fmla="*/ 0 w 955"/>
                      <a:gd name="T77" fmla="*/ 0 h 1249"/>
                      <a:gd name="T78" fmla="*/ 0 w 955"/>
                      <a:gd name="T79" fmla="*/ 0 h 1249"/>
                      <a:gd name="T80" fmla="*/ 0 w 955"/>
                      <a:gd name="T81" fmla="*/ 0 h 1249"/>
                      <a:gd name="T82" fmla="*/ 0 w 955"/>
                      <a:gd name="T83" fmla="*/ 0 h 1249"/>
                      <a:gd name="T84" fmla="*/ 0 w 955"/>
                      <a:gd name="T85" fmla="*/ 0 h 1249"/>
                      <a:gd name="T86" fmla="*/ 0 w 955"/>
                      <a:gd name="T87" fmla="*/ 0 h 1249"/>
                      <a:gd name="T88" fmla="*/ 0 w 955"/>
                      <a:gd name="T89" fmla="*/ 0 h 1249"/>
                      <a:gd name="T90" fmla="*/ 0 w 955"/>
                      <a:gd name="T91" fmla="*/ 0 h 1249"/>
                      <a:gd name="T92" fmla="*/ 0 w 955"/>
                      <a:gd name="T93" fmla="*/ 0 h 1249"/>
                      <a:gd name="T94" fmla="*/ 0 w 955"/>
                      <a:gd name="T95" fmla="*/ 0 h 1249"/>
                      <a:gd name="T96" fmla="*/ 0 w 955"/>
                      <a:gd name="T97" fmla="*/ 0 h 1249"/>
                      <a:gd name="T98" fmla="*/ 0 w 955"/>
                      <a:gd name="T99" fmla="*/ 0 h 1249"/>
                      <a:gd name="T100" fmla="*/ 0 w 955"/>
                      <a:gd name="T101" fmla="*/ 0 h 1249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w 955"/>
                      <a:gd name="T154" fmla="*/ 0 h 1249"/>
                      <a:gd name="T155" fmla="*/ 955 w 955"/>
                      <a:gd name="T156" fmla="*/ 1249 h 1249"/>
                    </a:gdLst>
                    <a:ahLst/>
                    <a:cxnLst>
                      <a:cxn ang="T102">
                        <a:pos x="T0" y="T1"/>
                      </a:cxn>
                      <a:cxn ang="T103">
                        <a:pos x="T2" y="T3"/>
                      </a:cxn>
                      <a:cxn ang="T104">
                        <a:pos x="T4" y="T5"/>
                      </a:cxn>
                      <a:cxn ang="T105">
                        <a:pos x="T6" y="T7"/>
                      </a:cxn>
                      <a:cxn ang="T106">
                        <a:pos x="T8" y="T9"/>
                      </a:cxn>
                      <a:cxn ang="T107">
                        <a:pos x="T10" y="T11"/>
                      </a:cxn>
                      <a:cxn ang="T108">
                        <a:pos x="T12" y="T13"/>
                      </a:cxn>
                      <a:cxn ang="T109">
                        <a:pos x="T14" y="T15"/>
                      </a:cxn>
                      <a:cxn ang="T110">
                        <a:pos x="T16" y="T17"/>
                      </a:cxn>
                      <a:cxn ang="T111">
                        <a:pos x="T18" y="T19"/>
                      </a:cxn>
                      <a:cxn ang="T112">
                        <a:pos x="T20" y="T21"/>
                      </a:cxn>
                      <a:cxn ang="T113">
                        <a:pos x="T22" y="T23"/>
                      </a:cxn>
                      <a:cxn ang="T114">
                        <a:pos x="T24" y="T25"/>
                      </a:cxn>
                      <a:cxn ang="T115">
                        <a:pos x="T26" y="T27"/>
                      </a:cxn>
                      <a:cxn ang="T116">
                        <a:pos x="T28" y="T29"/>
                      </a:cxn>
                      <a:cxn ang="T117">
                        <a:pos x="T30" y="T31"/>
                      </a:cxn>
                      <a:cxn ang="T118">
                        <a:pos x="T32" y="T33"/>
                      </a:cxn>
                      <a:cxn ang="T119">
                        <a:pos x="T34" y="T35"/>
                      </a:cxn>
                      <a:cxn ang="T120">
                        <a:pos x="T36" y="T37"/>
                      </a:cxn>
                      <a:cxn ang="T121">
                        <a:pos x="T38" y="T39"/>
                      </a:cxn>
                      <a:cxn ang="T122">
                        <a:pos x="T40" y="T41"/>
                      </a:cxn>
                      <a:cxn ang="T123">
                        <a:pos x="T42" y="T43"/>
                      </a:cxn>
                      <a:cxn ang="T124">
                        <a:pos x="T44" y="T45"/>
                      </a:cxn>
                      <a:cxn ang="T125">
                        <a:pos x="T46" y="T47"/>
                      </a:cxn>
                      <a:cxn ang="T126">
                        <a:pos x="T48" y="T49"/>
                      </a:cxn>
                      <a:cxn ang="T127">
                        <a:pos x="T50" y="T51"/>
                      </a:cxn>
                      <a:cxn ang="T128">
                        <a:pos x="T52" y="T53"/>
                      </a:cxn>
                      <a:cxn ang="T129">
                        <a:pos x="T54" y="T55"/>
                      </a:cxn>
                      <a:cxn ang="T130">
                        <a:pos x="T56" y="T57"/>
                      </a:cxn>
                      <a:cxn ang="T131">
                        <a:pos x="T58" y="T59"/>
                      </a:cxn>
                      <a:cxn ang="T132">
                        <a:pos x="T60" y="T61"/>
                      </a:cxn>
                      <a:cxn ang="T133">
                        <a:pos x="T62" y="T63"/>
                      </a:cxn>
                      <a:cxn ang="T134">
                        <a:pos x="T64" y="T65"/>
                      </a:cxn>
                      <a:cxn ang="T135">
                        <a:pos x="T66" y="T67"/>
                      </a:cxn>
                      <a:cxn ang="T136">
                        <a:pos x="T68" y="T69"/>
                      </a:cxn>
                      <a:cxn ang="T137">
                        <a:pos x="T70" y="T71"/>
                      </a:cxn>
                      <a:cxn ang="T138">
                        <a:pos x="T72" y="T73"/>
                      </a:cxn>
                      <a:cxn ang="T139">
                        <a:pos x="T74" y="T75"/>
                      </a:cxn>
                      <a:cxn ang="T140">
                        <a:pos x="T76" y="T77"/>
                      </a:cxn>
                      <a:cxn ang="T141">
                        <a:pos x="T78" y="T79"/>
                      </a:cxn>
                      <a:cxn ang="T142">
                        <a:pos x="T80" y="T81"/>
                      </a:cxn>
                      <a:cxn ang="T143">
                        <a:pos x="T82" y="T83"/>
                      </a:cxn>
                      <a:cxn ang="T144">
                        <a:pos x="T84" y="T85"/>
                      </a:cxn>
                      <a:cxn ang="T145">
                        <a:pos x="T86" y="T87"/>
                      </a:cxn>
                      <a:cxn ang="T146">
                        <a:pos x="T88" y="T89"/>
                      </a:cxn>
                      <a:cxn ang="T147">
                        <a:pos x="T90" y="T91"/>
                      </a:cxn>
                      <a:cxn ang="T148">
                        <a:pos x="T92" y="T93"/>
                      </a:cxn>
                      <a:cxn ang="T149">
                        <a:pos x="T94" y="T95"/>
                      </a:cxn>
                      <a:cxn ang="T150">
                        <a:pos x="T96" y="T97"/>
                      </a:cxn>
                      <a:cxn ang="T151">
                        <a:pos x="T98" y="T99"/>
                      </a:cxn>
                      <a:cxn ang="T152">
                        <a:pos x="T100" y="T101"/>
                      </a:cxn>
                    </a:cxnLst>
                    <a:rect l="T153" t="T154" r="T155" b="T156"/>
                    <a:pathLst>
                      <a:path w="955" h="1249">
                        <a:moveTo>
                          <a:pt x="1" y="531"/>
                        </a:moveTo>
                        <a:lnTo>
                          <a:pt x="0" y="463"/>
                        </a:lnTo>
                        <a:lnTo>
                          <a:pt x="3" y="401"/>
                        </a:lnTo>
                        <a:lnTo>
                          <a:pt x="12" y="344"/>
                        </a:lnTo>
                        <a:lnTo>
                          <a:pt x="25" y="292"/>
                        </a:lnTo>
                        <a:lnTo>
                          <a:pt x="43" y="245"/>
                        </a:lnTo>
                        <a:lnTo>
                          <a:pt x="66" y="202"/>
                        </a:lnTo>
                        <a:lnTo>
                          <a:pt x="91" y="164"/>
                        </a:lnTo>
                        <a:lnTo>
                          <a:pt x="120" y="130"/>
                        </a:lnTo>
                        <a:lnTo>
                          <a:pt x="152" y="100"/>
                        </a:lnTo>
                        <a:lnTo>
                          <a:pt x="187" y="75"/>
                        </a:lnTo>
                        <a:lnTo>
                          <a:pt x="224" y="54"/>
                        </a:lnTo>
                        <a:lnTo>
                          <a:pt x="263" y="36"/>
                        </a:lnTo>
                        <a:lnTo>
                          <a:pt x="303" y="23"/>
                        </a:lnTo>
                        <a:lnTo>
                          <a:pt x="345" y="11"/>
                        </a:lnTo>
                        <a:lnTo>
                          <a:pt x="387" y="5"/>
                        </a:lnTo>
                        <a:lnTo>
                          <a:pt x="431" y="0"/>
                        </a:lnTo>
                        <a:lnTo>
                          <a:pt x="474" y="0"/>
                        </a:lnTo>
                        <a:lnTo>
                          <a:pt x="517" y="2"/>
                        </a:lnTo>
                        <a:lnTo>
                          <a:pt x="560" y="7"/>
                        </a:lnTo>
                        <a:lnTo>
                          <a:pt x="602" y="15"/>
                        </a:lnTo>
                        <a:lnTo>
                          <a:pt x="643" y="25"/>
                        </a:lnTo>
                        <a:lnTo>
                          <a:pt x="683" y="37"/>
                        </a:lnTo>
                        <a:lnTo>
                          <a:pt x="720" y="53"/>
                        </a:lnTo>
                        <a:lnTo>
                          <a:pt x="756" y="69"/>
                        </a:lnTo>
                        <a:lnTo>
                          <a:pt x="789" y="88"/>
                        </a:lnTo>
                        <a:lnTo>
                          <a:pt x="819" y="109"/>
                        </a:lnTo>
                        <a:lnTo>
                          <a:pt x="846" y="132"/>
                        </a:lnTo>
                        <a:lnTo>
                          <a:pt x="869" y="155"/>
                        </a:lnTo>
                        <a:lnTo>
                          <a:pt x="888" y="181"/>
                        </a:lnTo>
                        <a:lnTo>
                          <a:pt x="904" y="207"/>
                        </a:lnTo>
                        <a:lnTo>
                          <a:pt x="914" y="235"/>
                        </a:lnTo>
                        <a:lnTo>
                          <a:pt x="919" y="264"/>
                        </a:lnTo>
                        <a:lnTo>
                          <a:pt x="929" y="352"/>
                        </a:lnTo>
                        <a:lnTo>
                          <a:pt x="940" y="448"/>
                        </a:lnTo>
                        <a:lnTo>
                          <a:pt x="945" y="497"/>
                        </a:lnTo>
                        <a:lnTo>
                          <a:pt x="949" y="547"/>
                        </a:lnTo>
                        <a:lnTo>
                          <a:pt x="953" y="596"/>
                        </a:lnTo>
                        <a:lnTo>
                          <a:pt x="954" y="645"/>
                        </a:lnTo>
                        <a:lnTo>
                          <a:pt x="955" y="692"/>
                        </a:lnTo>
                        <a:lnTo>
                          <a:pt x="953" y="738"/>
                        </a:lnTo>
                        <a:lnTo>
                          <a:pt x="951" y="760"/>
                        </a:lnTo>
                        <a:lnTo>
                          <a:pt x="949" y="781"/>
                        </a:lnTo>
                        <a:lnTo>
                          <a:pt x="946" y="803"/>
                        </a:lnTo>
                        <a:lnTo>
                          <a:pt x="943" y="823"/>
                        </a:lnTo>
                        <a:lnTo>
                          <a:pt x="939" y="843"/>
                        </a:lnTo>
                        <a:lnTo>
                          <a:pt x="934" y="860"/>
                        </a:lnTo>
                        <a:lnTo>
                          <a:pt x="928" y="878"/>
                        </a:lnTo>
                        <a:lnTo>
                          <a:pt x="923" y="895"/>
                        </a:lnTo>
                        <a:lnTo>
                          <a:pt x="915" y="911"/>
                        </a:lnTo>
                        <a:lnTo>
                          <a:pt x="907" y="926"/>
                        </a:lnTo>
                        <a:lnTo>
                          <a:pt x="898" y="939"/>
                        </a:lnTo>
                        <a:lnTo>
                          <a:pt x="888" y="952"/>
                        </a:lnTo>
                        <a:lnTo>
                          <a:pt x="877" y="963"/>
                        </a:lnTo>
                        <a:lnTo>
                          <a:pt x="864" y="975"/>
                        </a:lnTo>
                        <a:lnTo>
                          <a:pt x="850" y="987"/>
                        </a:lnTo>
                        <a:lnTo>
                          <a:pt x="835" y="1001"/>
                        </a:lnTo>
                        <a:lnTo>
                          <a:pt x="801" y="1026"/>
                        </a:lnTo>
                        <a:lnTo>
                          <a:pt x="764" y="1052"/>
                        </a:lnTo>
                        <a:lnTo>
                          <a:pt x="723" y="1079"/>
                        </a:lnTo>
                        <a:lnTo>
                          <a:pt x="680" y="1104"/>
                        </a:lnTo>
                        <a:lnTo>
                          <a:pt x="634" y="1129"/>
                        </a:lnTo>
                        <a:lnTo>
                          <a:pt x="586" y="1152"/>
                        </a:lnTo>
                        <a:lnTo>
                          <a:pt x="539" y="1174"/>
                        </a:lnTo>
                        <a:lnTo>
                          <a:pt x="490" y="1194"/>
                        </a:lnTo>
                        <a:lnTo>
                          <a:pt x="464" y="1203"/>
                        </a:lnTo>
                        <a:lnTo>
                          <a:pt x="441" y="1212"/>
                        </a:lnTo>
                        <a:lnTo>
                          <a:pt x="416" y="1220"/>
                        </a:lnTo>
                        <a:lnTo>
                          <a:pt x="392" y="1227"/>
                        </a:lnTo>
                        <a:lnTo>
                          <a:pt x="368" y="1232"/>
                        </a:lnTo>
                        <a:lnTo>
                          <a:pt x="345" y="1238"/>
                        </a:lnTo>
                        <a:lnTo>
                          <a:pt x="322" y="1242"/>
                        </a:lnTo>
                        <a:lnTo>
                          <a:pt x="299" y="1246"/>
                        </a:lnTo>
                        <a:lnTo>
                          <a:pt x="278" y="1248"/>
                        </a:lnTo>
                        <a:lnTo>
                          <a:pt x="257" y="1249"/>
                        </a:lnTo>
                        <a:lnTo>
                          <a:pt x="237" y="1249"/>
                        </a:lnTo>
                        <a:lnTo>
                          <a:pt x="217" y="1248"/>
                        </a:lnTo>
                        <a:lnTo>
                          <a:pt x="192" y="1244"/>
                        </a:lnTo>
                        <a:lnTo>
                          <a:pt x="170" y="1239"/>
                        </a:lnTo>
                        <a:lnTo>
                          <a:pt x="149" y="1231"/>
                        </a:lnTo>
                        <a:lnTo>
                          <a:pt x="130" y="1221"/>
                        </a:lnTo>
                        <a:lnTo>
                          <a:pt x="112" y="1210"/>
                        </a:lnTo>
                        <a:lnTo>
                          <a:pt x="97" y="1197"/>
                        </a:lnTo>
                        <a:lnTo>
                          <a:pt x="83" y="1181"/>
                        </a:lnTo>
                        <a:lnTo>
                          <a:pt x="71" y="1164"/>
                        </a:lnTo>
                        <a:lnTo>
                          <a:pt x="60" y="1146"/>
                        </a:lnTo>
                        <a:lnTo>
                          <a:pt x="50" y="1126"/>
                        </a:lnTo>
                        <a:lnTo>
                          <a:pt x="41" y="1105"/>
                        </a:lnTo>
                        <a:lnTo>
                          <a:pt x="33" y="1083"/>
                        </a:lnTo>
                        <a:lnTo>
                          <a:pt x="27" y="1060"/>
                        </a:lnTo>
                        <a:lnTo>
                          <a:pt x="22" y="1035"/>
                        </a:lnTo>
                        <a:lnTo>
                          <a:pt x="17" y="1010"/>
                        </a:lnTo>
                        <a:lnTo>
                          <a:pt x="13" y="984"/>
                        </a:lnTo>
                        <a:lnTo>
                          <a:pt x="11" y="957"/>
                        </a:lnTo>
                        <a:lnTo>
                          <a:pt x="8" y="929"/>
                        </a:lnTo>
                        <a:lnTo>
                          <a:pt x="7" y="902"/>
                        </a:lnTo>
                        <a:lnTo>
                          <a:pt x="5" y="873"/>
                        </a:lnTo>
                        <a:lnTo>
                          <a:pt x="4" y="815"/>
                        </a:lnTo>
                        <a:lnTo>
                          <a:pt x="4" y="756"/>
                        </a:lnTo>
                        <a:lnTo>
                          <a:pt x="4" y="698"/>
                        </a:lnTo>
                        <a:lnTo>
                          <a:pt x="4" y="640"/>
                        </a:lnTo>
                        <a:lnTo>
                          <a:pt x="3" y="584"/>
                        </a:lnTo>
                        <a:lnTo>
                          <a:pt x="1" y="531"/>
                        </a:lnTo>
                        <a:close/>
                      </a:path>
                    </a:pathLst>
                  </a:custGeom>
                  <a:solidFill>
                    <a:srgbClr val="273669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35" name="Freeform 176"/>
                  <p:cNvSpPr>
                    <a:spLocks/>
                  </p:cNvSpPr>
                  <p:nvPr/>
                </p:nvSpPr>
                <p:spPr bwMode="auto">
                  <a:xfrm>
                    <a:off x="3437" y="3975"/>
                    <a:ext cx="74" cy="138"/>
                  </a:xfrm>
                  <a:custGeom>
                    <a:avLst/>
                    <a:gdLst>
                      <a:gd name="T0" fmla="*/ 0 w 502"/>
                      <a:gd name="T1" fmla="*/ 0 h 967"/>
                      <a:gd name="T2" fmla="*/ 0 w 502"/>
                      <a:gd name="T3" fmla="*/ 0 h 967"/>
                      <a:gd name="T4" fmla="*/ 0 w 502"/>
                      <a:gd name="T5" fmla="*/ 0 h 967"/>
                      <a:gd name="T6" fmla="*/ 0 w 502"/>
                      <a:gd name="T7" fmla="*/ 0 h 967"/>
                      <a:gd name="T8" fmla="*/ 0 w 502"/>
                      <a:gd name="T9" fmla="*/ 0 h 967"/>
                      <a:gd name="T10" fmla="*/ 0 w 502"/>
                      <a:gd name="T11" fmla="*/ 0 h 967"/>
                      <a:gd name="T12" fmla="*/ 0 w 502"/>
                      <a:gd name="T13" fmla="*/ 0 h 967"/>
                      <a:gd name="T14" fmla="*/ 0 w 502"/>
                      <a:gd name="T15" fmla="*/ 0 h 967"/>
                      <a:gd name="T16" fmla="*/ 0 w 502"/>
                      <a:gd name="T17" fmla="*/ 0 h 967"/>
                      <a:gd name="T18" fmla="*/ 0 w 502"/>
                      <a:gd name="T19" fmla="*/ 0 h 967"/>
                      <a:gd name="T20" fmla="*/ 0 w 502"/>
                      <a:gd name="T21" fmla="*/ 0 h 967"/>
                      <a:gd name="T22" fmla="*/ 0 w 502"/>
                      <a:gd name="T23" fmla="*/ 0 h 967"/>
                      <a:gd name="T24" fmla="*/ 0 w 502"/>
                      <a:gd name="T25" fmla="*/ 0 h 967"/>
                      <a:gd name="T26" fmla="*/ 0 w 502"/>
                      <a:gd name="T27" fmla="*/ 0 h 967"/>
                      <a:gd name="T28" fmla="*/ 0 w 502"/>
                      <a:gd name="T29" fmla="*/ 0 h 967"/>
                      <a:gd name="T30" fmla="*/ 0 w 502"/>
                      <a:gd name="T31" fmla="*/ 0 h 967"/>
                      <a:gd name="T32" fmla="*/ 0 w 502"/>
                      <a:gd name="T33" fmla="*/ 0 h 967"/>
                      <a:gd name="T34" fmla="*/ 0 w 502"/>
                      <a:gd name="T35" fmla="*/ 0 h 967"/>
                      <a:gd name="T36" fmla="*/ 0 w 502"/>
                      <a:gd name="T37" fmla="*/ 0 h 967"/>
                      <a:gd name="T38" fmla="*/ 0 w 502"/>
                      <a:gd name="T39" fmla="*/ 0 h 967"/>
                      <a:gd name="T40" fmla="*/ 0 w 502"/>
                      <a:gd name="T41" fmla="*/ 0 h 967"/>
                      <a:gd name="T42" fmla="*/ 0 w 502"/>
                      <a:gd name="T43" fmla="*/ 0 h 967"/>
                      <a:gd name="T44" fmla="*/ 0 w 502"/>
                      <a:gd name="T45" fmla="*/ 0 h 967"/>
                      <a:gd name="T46" fmla="*/ 0 w 502"/>
                      <a:gd name="T47" fmla="*/ 0 h 967"/>
                      <a:gd name="T48" fmla="*/ 0 w 502"/>
                      <a:gd name="T49" fmla="*/ 0 h 967"/>
                      <a:gd name="T50" fmla="*/ 0 w 502"/>
                      <a:gd name="T51" fmla="*/ 0 h 967"/>
                      <a:gd name="T52" fmla="*/ 0 w 502"/>
                      <a:gd name="T53" fmla="*/ 0 h 967"/>
                      <a:gd name="T54" fmla="*/ 0 w 502"/>
                      <a:gd name="T55" fmla="*/ 0 h 967"/>
                      <a:gd name="T56" fmla="*/ 0 w 502"/>
                      <a:gd name="T57" fmla="*/ 0 h 967"/>
                      <a:gd name="T58" fmla="*/ 0 w 502"/>
                      <a:gd name="T59" fmla="*/ 0 h 967"/>
                      <a:gd name="T60" fmla="*/ 0 w 502"/>
                      <a:gd name="T61" fmla="*/ 0 h 967"/>
                      <a:gd name="T62" fmla="*/ 0 w 502"/>
                      <a:gd name="T63" fmla="*/ 0 h 967"/>
                      <a:gd name="T64" fmla="*/ 0 w 502"/>
                      <a:gd name="T65" fmla="*/ 0 h 967"/>
                      <a:gd name="T66" fmla="*/ 0 w 502"/>
                      <a:gd name="T67" fmla="*/ 0 h 967"/>
                      <a:gd name="T68" fmla="*/ 0 w 502"/>
                      <a:gd name="T69" fmla="*/ 0 h 967"/>
                      <a:gd name="T70" fmla="*/ 0 w 502"/>
                      <a:gd name="T71" fmla="*/ 0 h 967"/>
                      <a:gd name="T72" fmla="*/ 0 w 502"/>
                      <a:gd name="T73" fmla="*/ 0 h 967"/>
                      <a:gd name="T74" fmla="*/ 0 w 502"/>
                      <a:gd name="T75" fmla="*/ 0 h 967"/>
                      <a:gd name="T76" fmla="*/ 0 w 502"/>
                      <a:gd name="T77" fmla="*/ 0 h 967"/>
                      <a:gd name="T78" fmla="*/ 0 w 502"/>
                      <a:gd name="T79" fmla="*/ 0 h 967"/>
                      <a:gd name="T80" fmla="*/ 0 w 502"/>
                      <a:gd name="T81" fmla="*/ 0 h 967"/>
                      <a:gd name="T82" fmla="*/ 0 w 502"/>
                      <a:gd name="T83" fmla="*/ 0 h 967"/>
                      <a:gd name="T84" fmla="*/ 0 w 502"/>
                      <a:gd name="T85" fmla="*/ 0 h 96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502"/>
                      <a:gd name="T130" fmla="*/ 0 h 967"/>
                      <a:gd name="T131" fmla="*/ 502 w 502"/>
                      <a:gd name="T132" fmla="*/ 967 h 96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502" h="967">
                        <a:moveTo>
                          <a:pt x="2" y="379"/>
                        </a:moveTo>
                        <a:lnTo>
                          <a:pt x="5" y="358"/>
                        </a:lnTo>
                        <a:lnTo>
                          <a:pt x="10" y="337"/>
                        </a:lnTo>
                        <a:lnTo>
                          <a:pt x="16" y="315"/>
                        </a:lnTo>
                        <a:lnTo>
                          <a:pt x="23" y="291"/>
                        </a:lnTo>
                        <a:lnTo>
                          <a:pt x="32" y="269"/>
                        </a:lnTo>
                        <a:lnTo>
                          <a:pt x="43" y="246"/>
                        </a:lnTo>
                        <a:lnTo>
                          <a:pt x="54" y="224"/>
                        </a:lnTo>
                        <a:lnTo>
                          <a:pt x="68" y="200"/>
                        </a:lnTo>
                        <a:lnTo>
                          <a:pt x="81" y="179"/>
                        </a:lnTo>
                        <a:lnTo>
                          <a:pt x="97" y="157"/>
                        </a:lnTo>
                        <a:lnTo>
                          <a:pt x="112" y="137"/>
                        </a:lnTo>
                        <a:lnTo>
                          <a:pt x="129" y="118"/>
                        </a:lnTo>
                        <a:lnTo>
                          <a:pt x="147" y="100"/>
                        </a:lnTo>
                        <a:lnTo>
                          <a:pt x="164" y="83"/>
                        </a:lnTo>
                        <a:lnTo>
                          <a:pt x="183" y="69"/>
                        </a:lnTo>
                        <a:lnTo>
                          <a:pt x="203" y="55"/>
                        </a:lnTo>
                        <a:lnTo>
                          <a:pt x="213" y="50"/>
                        </a:lnTo>
                        <a:lnTo>
                          <a:pt x="229" y="43"/>
                        </a:lnTo>
                        <a:lnTo>
                          <a:pt x="247" y="37"/>
                        </a:lnTo>
                        <a:lnTo>
                          <a:pt x="268" y="30"/>
                        </a:lnTo>
                        <a:lnTo>
                          <a:pt x="291" y="22"/>
                        </a:lnTo>
                        <a:lnTo>
                          <a:pt x="316" y="15"/>
                        </a:lnTo>
                        <a:lnTo>
                          <a:pt x="341" y="10"/>
                        </a:lnTo>
                        <a:lnTo>
                          <a:pt x="367" y="5"/>
                        </a:lnTo>
                        <a:lnTo>
                          <a:pt x="392" y="2"/>
                        </a:lnTo>
                        <a:lnTo>
                          <a:pt x="415" y="0"/>
                        </a:lnTo>
                        <a:lnTo>
                          <a:pt x="426" y="0"/>
                        </a:lnTo>
                        <a:lnTo>
                          <a:pt x="436" y="1"/>
                        </a:lnTo>
                        <a:lnTo>
                          <a:pt x="446" y="2"/>
                        </a:lnTo>
                        <a:lnTo>
                          <a:pt x="455" y="3"/>
                        </a:lnTo>
                        <a:lnTo>
                          <a:pt x="463" y="5"/>
                        </a:lnTo>
                        <a:lnTo>
                          <a:pt x="471" y="9"/>
                        </a:lnTo>
                        <a:lnTo>
                          <a:pt x="476" y="13"/>
                        </a:lnTo>
                        <a:lnTo>
                          <a:pt x="481" y="18"/>
                        </a:lnTo>
                        <a:lnTo>
                          <a:pt x="484" y="23"/>
                        </a:lnTo>
                        <a:lnTo>
                          <a:pt x="487" y="30"/>
                        </a:lnTo>
                        <a:lnTo>
                          <a:pt x="487" y="38"/>
                        </a:lnTo>
                        <a:lnTo>
                          <a:pt x="487" y="45"/>
                        </a:lnTo>
                        <a:lnTo>
                          <a:pt x="487" y="62"/>
                        </a:lnTo>
                        <a:lnTo>
                          <a:pt x="488" y="107"/>
                        </a:lnTo>
                        <a:lnTo>
                          <a:pt x="491" y="172"/>
                        </a:lnTo>
                        <a:lnTo>
                          <a:pt x="492" y="252"/>
                        </a:lnTo>
                        <a:lnTo>
                          <a:pt x="494" y="341"/>
                        </a:lnTo>
                        <a:lnTo>
                          <a:pt x="495" y="433"/>
                        </a:lnTo>
                        <a:lnTo>
                          <a:pt x="496" y="520"/>
                        </a:lnTo>
                        <a:lnTo>
                          <a:pt x="496" y="596"/>
                        </a:lnTo>
                        <a:lnTo>
                          <a:pt x="497" y="630"/>
                        </a:lnTo>
                        <a:lnTo>
                          <a:pt x="499" y="664"/>
                        </a:lnTo>
                        <a:lnTo>
                          <a:pt x="502" y="700"/>
                        </a:lnTo>
                        <a:lnTo>
                          <a:pt x="502" y="737"/>
                        </a:lnTo>
                        <a:lnTo>
                          <a:pt x="501" y="754"/>
                        </a:lnTo>
                        <a:lnTo>
                          <a:pt x="498" y="771"/>
                        </a:lnTo>
                        <a:lnTo>
                          <a:pt x="495" y="788"/>
                        </a:lnTo>
                        <a:lnTo>
                          <a:pt x="491" y="803"/>
                        </a:lnTo>
                        <a:lnTo>
                          <a:pt x="484" y="819"/>
                        </a:lnTo>
                        <a:lnTo>
                          <a:pt x="476" y="833"/>
                        </a:lnTo>
                        <a:lnTo>
                          <a:pt x="472" y="840"/>
                        </a:lnTo>
                        <a:lnTo>
                          <a:pt x="466" y="847"/>
                        </a:lnTo>
                        <a:lnTo>
                          <a:pt x="461" y="853"/>
                        </a:lnTo>
                        <a:lnTo>
                          <a:pt x="454" y="859"/>
                        </a:lnTo>
                        <a:lnTo>
                          <a:pt x="445" y="867"/>
                        </a:lnTo>
                        <a:lnTo>
                          <a:pt x="434" y="875"/>
                        </a:lnTo>
                        <a:lnTo>
                          <a:pt x="424" y="882"/>
                        </a:lnTo>
                        <a:lnTo>
                          <a:pt x="412" y="888"/>
                        </a:lnTo>
                        <a:lnTo>
                          <a:pt x="388" y="900"/>
                        </a:lnTo>
                        <a:lnTo>
                          <a:pt x="361" y="910"/>
                        </a:lnTo>
                        <a:lnTo>
                          <a:pt x="335" y="919"/>
                        </a:lnTo>
                        <a:lnTo>
                          <a:pt x="306" y="927"/>
                        </a:lnTo>
                        <a:lnTo>
                          <a:pt x="277" y="933"/>
                        </a:lnTo>
                        <a:lnTo>
                          <a:pt x="247" y="939"/>
                        </a:lnTo>
                        <a:lnTo>
                          <a:pt x="186" y="947"/>
                        </a:lnTo>
                        <a:lnTo>
                          <a:pt x="126" y="954"/>
                        </a:lnTo>
                        <a:lnTo>
                          <a:pt x="69" y="960"/>
                        </a:lnTo>
                        <a:lnTo>
                          <a:pt x="16" y="967"/>
                        </a:lnTo>
                        <a:lnTo>
                          <a:pt x="19" y="946"/>
                        </a:lnTo>
                        <a:lnTo>
                          <a:pt x="20" y="918"/>
                        </a:lnTo>
                        <a:lnTo>
                          <a:pt x="20" y="886"/>
                        </a:lnTo>
                        <a:lnTo>
                          <a:pt x="19" y="850"/>
                        </a:lnTo>
                        <a:lnTo>
                          <a:pt x="15" y="768"/>
                        </a:lnTo>
                        <a:lnTo>
                          <a:pt x="10" y="679"/>
                        </a:lnTo>
                        <a:lnTo>
                          <a:pt x="5" y="589"/>
                        </a:lnTo>
                        <a:lnTo>
                          <a:pt x="2" y="505"/>
                        </a:lnTo>
                        <a:lnTo>
                          <a:pt x="1" y="467"/>
                        </a:lnTo>
                        <a:lnTo>
                          <a:pt x="0" y="433"/>
                        </a:lnTo>
                        <a:lnTo>
                          <a:pt x="1" y="404"/>
                        </a:lnTo>
                        <a:lnTo>
                          <a:pt x="2" y="379"/>
                        </a:lnTo>
                        <a:close/>
                      </a:path>
                    </a:pathLst>
                  </a:custGeom>
                  <a:solidFill>
                    <a:srgbClr val="242B53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36" name="Freeform 177"/>
                  <p:cNvSpPr>
                    <a:spLocks/>
                  </p:cNvSpPr>
                  <p:nvPr/>
                </p:nvSpPr>
                <p:spPr bwMode="auto">
                  <a:xfrm>
                    <a:off x="3442" y="4059"/>
                    <a:ext cx="170" cy="105"/>
                  </a:xfrm>
                  <a:custGeom>
                    <a:avLst/>
                    <a:gdLst>
                      <a:gd name="T0" fmla="*/ 0 w 1192"/>
                      <a:gd name="T1" fmla="*/ 0 h 736"/>
                      <a:gd name="T2" fmla="*/ 0 w 1192"/>
                      <a:gd name="T3" fmla="*/ 0 h 736"/>
                      <a:gd name="T4" fmla="*/ 0 w 1192"/>
                      <a:gd name="T5" fmla="*/ 0 h 736"/>
                      <a:gd name="T6" fmla="*/ 0 w 1192"/>
                      <a:gd name="T7" fmla="*/ 0 h 736"/>
                      <a:gd name="T8" fmla="*/ 0 w 1192"/>
                      <a:gd name="T9" fmla="*/ 0 h 736"/>
                      <a:gd name="T10" fmla="*/ 0 w 1192"/>
                      <a:gd name="T11" fmla="*/ 0 h 736"/>
                      <a:gd name="T12" fmla="*/ 0 w 1192"/>
                      <a:gd name="T13" fmla="*/ 0 h 736"/>
                      <a:gd name="T14" fmla="*/ 0 w 1192"/>
                      <a:gd name="T15" fmla="*/ 0 h 736"/>
                      <a:gd name="T16" fmla="*/ 0 w 1192"/>
                      <a:gd name="T17" fmla="*/ 0 h 736"/>
                      <a:gd name="T18" fmla="*/ 0 w 1192"/>
                      <a:gd name="T19" fmla="*/ 0 h 736"/>
                      <a:gd name="T20" fmla="*/ 0 w 1192"/>
                      <a:gd name="T21" fmla="*/ 0 h 736"/>
                      <a:gd name="T22" fmla="*/ 0 w 1192"/>
                      <a:gd name="T23" fmla="*/ 0 h 736"/>
                      <a:gd name="T24" fmla="*/ 0 w 1192"/>
                      <a:gd name="T25" fmla="*/ 0 h 736"/>
                      <a:gd name="T26" fmla="*/ 0 w 1192"/>
                      <a:gd name="T27" fmla="*/ 0 h 736"/>
                      <a:gd name="T28" fmla="*/ 0 w 1192"/>
                      <a:gd name="T29" fmla="*/ 0 h 736"/>
                      <a:gd name="T30" fmla="*/ 0 w 1192"/>
                      <a:gd name="T31" fmla="*/ 0 h 736"/>
                      <a:gd name="T32" fmla="*/ 0 w 1192"/>
                      <a:gd name="T33" fmla="*/ 0 h 736"/>
                      <a:gd name="T34" fmla="*/ 0 w 1192"/>
                      <a:gd name="T35" fmla="*/ 0 h 736"/>
                      <a:gd name="T36" fmla="*/ 0 w 1192"/>
                      <a:gd name="T37" fmla="*/ 0 h 736"/>
                      <a:gd name="T38" fmla="*/ 0 w 1192"/>
                      <a:gd name="T39" fmla="*/ 0 h 736"/>
                      <a:gd name="T40" fmla="*/ 0 w 1192"/>
                      <a:gd name="T41" fmla="*/ 0 h 736"/>
                      <a:gd name="T42" fmla="*/ 0 w 1192"/>
                      <a:gd name="T43" fmla="*/ 0 h 736"/>
                      <a:gd name="T44" fmla="*/ 0 w 1192"/>
                      <a:gd name="T45" fmla="*/ 0 h 736"/>
                      <a:gd name="T46" fmla="*/ 0 w 1192"/>
                      <a:gd name="T47" fmla="*/ 0 h 736"/>
                      <a:gd name="T48" fmla="*/ 0 w 1192"/>
                      <a:gd name="T49" fmla="*/ 0 h 736"/>
                      <a:gd name="T50" fmla="*/ 0 w 1192"/>
                      <a:gd name="T51" fmla="*/ 0 h 736"/>
                      <a:gd name="T52" fmla="*/ 0 w 1192"/>
                      <a:gd name="T53" fmla="*/ 0 h 736"/>
                      <a:gd name="T54" fmla="*/ 0 w 1192"/>
                      <a:gd name="T55" fmla="*/ 0 h 736"/>
                      <a:gd name="T56" fmla="*/ 0 w 1192"/>
                      <a:gd name="T57" fmla="*/ 0 h 736"/>
                      <a:gd name="T58" fmla="*/ 0 w 1192"/>
                      <a:gd name="T59" fmla="*/ 0 h 736"/>
                      <a:gd name="T60" fmla="*/ 0 w 1192"/>
                      <a:gd name="T61" fmla="*/ 0 h 736"/>
                      <a:gd name="T62" fmla="*/ 0 w 1192"/>
                      <a:gd name="T63" fmla="*/ 0 h 736"/>
                      <a:gd name="T64" fmla="*/ 0 w 1192"/>
                      <a:gd name="T65" fmla="*/ 0 h 736"/>
                      <a:gd name="T66" fmla="*/ 0 w 1192"/>
                      <a:gd name="T67" fmla="*/ 0 h 736"/>
                      <a:gd name="T68" fmla="*/ 0 w 1192"/>
                      <a:gd name="T69" fmla="*/ 0 h 736"/>
                      <a:gd name="T70" fmla="*/ 0 w 1192"/>
                      <a:gd name="T71" fmla="*/ 0 h 736"/>
                      <a:gd name="T72" fmla="*/ 0 w 1192"/>
                      <a:gd name="T73" fmla="*/ 0 h 736"/>
                      <a:gd name="T74" fmla="*/ 0 w 1192"/>
                      <a:gd name="T75" fmla="*/ 0 h 736"/>
                      <a:gd name="T76" fmla="*/ 0 w 1192"/>
                      <a:gd name="T77" fmla="*/ 0 h 736"/>
                      <a:gd name="T78" fmla="*/ 0 w 1192"/>
                      <a:gd name="T79" fmla="*/ 0 h 736"/>
                      <a:gd name="T80" fmla="*/ 0 w 1192"/>
                      <a:gd name="T81" fmla="*/ 0 h 736"/>
                      <a:gd name="T82" fmla="*/ 0 w 1192"/>
                      <a:gd name="T83" fmla="*/ 0 h 736"/>
                      <a:gd name="T84" fmla="*/ 0 w 1192"/>
                      <a:gd name="T85" fmla="*/ 0 h 736"/>
                      <a:gd name="T86" fmla="*/ 0 w 1192"/>
                      <a:gd name="T87" fmla="*/ 0 h 736"/>
                      <a:gd name="T88" fmla="*/ 0 w 1192"/>
                      <a:gd name="T89" fmla="*/ 0 h 736"/>
                      <a:gd name="T90" fmla="*/ 0 w 1192"/>
                      <a:gd name="T91" fmla="*/ 0 h 736"/>
                      <a:gd name="T92" fmla="*/ 0 w 1192"/>
                      <a:gd name="T93" fmla="*/ 0 h 736"/>
                      <a:gd name="T94" fmla="*/ 0 w 1192"/>
                      <a:gd name="T95" fmla="*/ 0 h 736"/>
                      <a:gd name="T96" fmla="*/ 0 w 1192"/>
                      <a:gd name="T97" fmla="*/ 0 h 736"/>
                      <a:gd name="T98" fmla="*/ 0 w 1192"/>
                      <a:gd name="T99" fmla="*/ 0 h 736"/>
                      <a:gd name="T100" fmla="*/ 0 w 1192"/>
                      <a:gd name="T101" fmla="*/ 0 h 736"/>
                      <a:gd name="T102" fmla="*/ 0 w 1192"/>
                      <a:gd name="T103" fmla="*/ 0 h 736"/>
                      <a:gd name="T104" fmla="*/ 0 w 1192"/>
                      <a:gd name="T105" fmla="*/ 0 h 736"/>
                      <a:gd name="T106" fmla="*/ 0 w 1192"/>
                      <a:gd name="T107" fmla="*/ 0 h 736"/>
                      <a:gd name="T108" fmla="*/ 0 w 1192"/>
                      <a:gd name="T109" fmla="*/ 0 h 736"/>
                      <a:gd name="T110" fmla="*/ 0 w 1192"/>
                      <a:gd name="T111" fmla="*/ 0 h 736"/>
                      <a:gd name="T112" fmla="*/ 0 w 1192"/>
                      <a:gd name="T113" fmla="*/ 0 h 736"/>
                      <a:gd name="T114" fmla="*/ 0 w 1192"/>
                      <a:gd name="T115" fmla="*/ 0 h 736"/>
                      <a:gd name="T116" fmla="*/ 0 w 1192"/>
                      <a:gd name="T117" fmla="*/ 0 h 736"/>
                      <a:gd name="T118" fmla="*/ 0 w 1192"/>
                      <a:gd name="T119" fmla="*/ 0 h 736"/>
                      <a:gd name="T120" fmla="*/ 0 w 1192"/>
                      <a:gd name="T121" fmla="*/ 0 h 736"/>
                      <a:gd name="T122" fmla="*/ 0 w 1192"/>
                      <a:gd name="T123" fmla="*/ 0 h 736"/>
                      <a:gd name="T124" fmla="*/ 0 w 1192"/>
                      <a:gd name="T125" fmla="*/ 0 h 7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60000 65536"/>
                      <a:gd name="T184" fmla="*/ 0 60000 65536"/>
                      <a:gd name="T185" fmla="*/ 0 60000 65536"/>
                      <a:gd name="T186" fmla="*/ 0 60000 65536"/>
                      <a:gd name="T187" fmla="*/ 0 60000 65536"/>
                      <a:gd name="T188" fmla="*/ 0 60000 65536"/>
                      <a:gd name="T189" fmla="*/ 0 w 1192"/>
                      <a:gd name="T190" fmla="*/ 0 h 736"/>
                      <a:gd name="T191" fmla="*/ 1192 w 1192"/>
                      <a:gd name="T192" fmla="*/ 736 h 736"/>
                    </a:gdLst>
                    <a:ahLst/>
                    <a:cxnLst>
                      <a:cxn ang="T126">
                        <a:pos x="T0" y="T1"/>
                      </a:cxn>
                      <a:cxn ang="T127">
                        <a:pos x="T2" y="T3"/>
                      </a:cxn>
                      <a:cxn ang="T128">
                        <a:pos x="T4" y="T5"/>
                      </a:cxn>
                      <a:cxn ang="T129">
                        <a:pos x="T6" y="T7"/>
                      </a:cxn>
                      <a:cxn ang="T130">
                        <a:pos x="T8" y="T9"/>
                      </a:cxn>
                      <a:cxn ang="T131">
                        <a:pos x="T10" y="T11"/>
                      </a:cxn>
                      <a:cxn ang="T132">
                        <a:pos x="T12" y="T13"/>
                      </a:cxn>
                      <a:cxn ang="T133">
                        <a:pos x="T14" y="T15"/>
                      </a:cxn>
                      <a:cxn ang="T134">
                        <a:pos x="T16" y="T17"/>
                      </a:cxn>
                      <a:cxn ang="T135">
                        <a:pos x="T18" y="T19"/>
                      </a:cxn>
                      <a:cxn ang="T136">
                        <a:pos x="T20" y="T21"/>
                      </a:cxn>
                      <a:cxn ang="T137">
                        <a:pos x="T22" y="T23"/>
                      </a:cxn>
                      <a:cxn ang="T138">
                        <a:pos x="T24" y="T25"/>
                      </a:cxn>
                      <a:cxn ang="T139">
                        <a:pos x="T26" y="T27"/>
                      </a:cxn>
                      <a:cxn ang="T140">
                        <a:pos x="T28" y="T29"/>
                      </a:cxn>
                      <a:cxn ang="T141">
                        <a:pos x="T30" y="T31"/>
                      </a:cxn>
                      <a:cxn ang="T142">
                        <a:pos x="T32" y="T33"/>
                      </a:cxn>
                      <a:cxn ang="T143">
                        <a:pos x="T34" y="T35"/>
                      </a:cxn>
                      <a:cxn ang="T144">
                        <a:pos x="T36" y="T37"/>
                      </a:cxn>
                      <a:cxn ang="T145">
                        <a:pos x="T38" y="T39"/>
                      </a:cxn>
                      <a:cxn ang="T146">
                        <a:pos x="T40" y="T41"/>
                      </a:cxn>
                      <a:cxn ang="T147">
                        <a:pos x="T42" y="T43"/>
                      </a:cxn>
                      <a:cxn ang="T148">
                        <a:pos x="T44" y="T45"/>
                      </a:cxn>
                      <a:cxn ang="T149">
                        <a:pos x="T46" y="T47"/>
                      </a:cxn>
                      <a:cxn ang="T150">
                        <a:pos x="T48" y="T49"/>
                      </a:cxn>
                      <a:cxn ang="T151">
                        <a:pos x="T50" y="T51"/>
                      </a:cxn>
                      <a:cxn ang="T152">
                        <a:pos x="T52" y="T53"/>
                      </a:cxn>
                      <a:cxn ang="T153">
                        <a:pos x="T54" y="T55"/>
                      </a:cxn>
                      <a:cxn ang="T154">
                        <a:pos x="T56" y="T57"/>
                      </a:cxn>
                      <a:cxn ang="T155">
                        <a:pos x="T58" y="T59"/>
                      </a:cxn>
                      <a:cxn ang="T156">
                        <a:pos x="T60" y="T61"/>
                      </a:cxn>
                      <a:cxn ang="T157">
                        <a:pos x="T62" y="T63"/>
                      </a:cxn>
                      <a:cxn ang="T158">
                        <a:pos x="T64" y="T65"/>
                      </a:cxn>
                      <a:cxn ang="T159">
                        <a:pos x="T66" y="T67"/>
                      </a:cxn>
                      <a:cxn ang="T160">
                        <a:pos x="T68" y="T69"/>
                      </a:cxn>
                      <a:cxn ang="T161">
                        <a:pos x="T70" y="T71"/>
                      </a:cxn>
                      <a:cxn ang="T162">
                        <a:pos x="T72" y="T73"/>
                      </a:cxn>
                      <a:cxn ang="T163">
                        <a:pos x="T74" y="T75"/>
                      </a:cxn>
                      <a:cxn ang="T164">
                        <a:pos x="T76" y="T77"/>
                      </a:cxn>
                      <a:cxn ang="T165">
                        <a:pos x="T78" y="T79"/>
                      </a:cxn>
                      <a:cxn ang="T166">
                        <a:pos x="T80" y="T81"/>
                      </a:cxn>
                      <a:cxn ang="T167">
                        <a:pos x="T82" y="T83"/>
                      </a:cxn>
                      <a:cxn ang="T168">
                        <a:pos x="T84" y="T85"/>
                      </a:cxn>
                      <a:cxn ang="T169">
                        <a:pos x="T86" y="T87"/>
                      </a:cxn>
                      <a:cxn ang="T170">
                        <a:pos x="T88" y="T89"/>
                      </a:cxn>
                      <a:cxn ang="T171">
                        <a:pos x="T90" y="T91"/>
                      </a:cxn>
                      <a:cxn ang="T172">
                        <a:pos x="T92" y="T93"/>
                      </a:cxn>
                      <a:cxn ang="T173">
                        <a:pos x="T94" y="T95"/>
                      </a:cxn>
                      <a:cxn ang="T174">
                        <a:pos x="T96" y="T97"/>
                      </a:cxn>
                      <a:cxn ang="T175">
                        <a:pos x="T98" y="T99"/>
                      </a:cxn>
                      <a:cxn ang="T176">
                        <a:pos x="T100" y="T101"/>
                      </a:cxn>
                      <a:cxn ang="T177">
                        <a:pos x="T102" y="T103"/>
                      </a:cxn>
                      <a:cxn ang="T178">
                        <a:pos x="T104" y="T105"/>
                      </a:cxn>
                      <a:cxn ang="T179">
                        <a:pos x="T106" y="T107"/>
                      </a:cxn>
                      <a:cxn ang="T180">
                        <a:pos x="T108" y="T109"/>
                      </a:cxn>
                      <a:cxn ang="T181">
                        <a:pos x="T110" y="T111"/>
                      </a:cxn>
                      <a:cxn ang="T182">
                        <a:pos x="T112" y="T113"/>
                      </a:cxn>
                      <a:cxn ang="T183">
                        <a:pos x="T114" y="T115"/>
                      </a:cxn>
                      <a:cxn ang="T184">
                        <a:pos x="T116" y="T117"/>
                      </a:cxn>
                      <a:cxn ang="T185">
                        <a:pos x="T118" y="T119"/>
                      </a:cxn>
                      <a:cxn ang="T186">
                        <a:pos x="T120" y="T121"/>
                      </a:cxn>
                      <a:cxn ang="T187">
                        <a:pos x="T122" y="T123"/>
                      </a:cxn>
                      <a:cxn ang="T188">
                        <a:pos x="T124" y="T125"/>
                      </a:cxn>
                    </a:cxnLst>
                    <a:rect l="T189" t="T190" r="T191" b="T192"/>
                    <a:pathLst>
                      <a:path w="1192" h="736">
                        <a:moveTo>
                          <a:pt x="0" y="368"/>
                        </a:moveTo>
                        <a:lnTo>
                          <a:pt x="0" y="387"/>
                        </a:lnTo>
                        <a:lnTo>
                          <a:pt x="2" y="405"/>
                        </a:lnTo>
                        <a:lnTo>
                          <a:pt x="3" y="424"/>
                        </a:lnTo>
                        <a:lnTo>
                          <a:pt x="5" y="442"/>
                        </a:lnTo>
                        <a:lnTo>
                          <a:pt x="8" y="460"/>
                        </a:lnTo>
                        <a:lnTo>
                          <a:pt x="12" y="478"/>
                        </a:lnTo>
                        <a:lnTo>
                          <a:pt x="16" y="495"/>
                        </a:lnTo>
                        <a:lnTo>
                          <a:pt x="22" y="511"/>
                        </a:lnTo>
                        <a:lnTo>
                          <a:pt x="28" y="528"/>
                        </a:lnTo>
                        <a:lnTo>
                          <a:pt x="36" y="543"/>
                        </a:lnTo>
                        <a:lnTo>
                          <a:pt x="45" y="559"/>
                        </a:lnTo>
                        <a:lnTo>
                          <a:pt x="55" y="574"/>
                        </a:lnTo>
                        <a:lnTo>
                          <a:pt x="66" y="588"/>
                        </a:lnTo>
                        <a:lnTo>
                          <a:pt x="78" y="602"/>
                        </a:lnTo>
                        <a:lnTo>
                          <a:pt x="92" y="616"/>
                        </a:lnTo>
                        <a:lnTo>
                          <a:pt x="107" y="628"/>
                        </a:lnTo>
                        <a:lnTo>
                          <a:pt x="124" y="640"/>
                        </a:lnTo>
                        <a:lnTo>
                          <a:pt x="142" y="653"/>
                        </a:lnTo>
                        <a:lnTo>
                          <a:pt x="162" y="664"/>
                        </a:lnTo>
                        <a:lnTo>
                          <a:pt x="184" y="674"/>
                        </a:lnTo>
                        <a:lnTo>
                          <a:pt x="206" y="683"/>
                        </a:lnTo>
                        <a:lnTo>
                          <a:pt x="232" y="691"/>
                        </a:lnTo>
                        <a:lnTo>
                          <a:pt x="259" y="700"/>
                        </a:lnTo>
                        <a:lnTo>
                          <a:pt x="288" y="707"/>
                        </a:lnTo>
                        <a:lnTo>
                          <a:pt x="319" y="714"/>
                        </a:lnTo>
                        <a:lnTo>
                          <a:pt x="352" y="719"/>
                        </a:lnTo>
                        <a:lnTo>
                          <a:pt x="387" y="725"/>
                        </a:lnTo>
                        <a:lnTo>
                          <a:pt x="425" y="728"/>
                        </a:lnTo>
                        <a:lnTo>
                          <a:pt x="463" y="732"/>
                        </a:lnTo>
                        <a:lnTo>
                          <a:pt x="506" y="734"/>
                        </a:lnTo>
                        <a:lnTo>
                          <a:pt x="550" y="736"/>
                        </a:lnTo>
                        <a:lnTo>
                          <a:pt x="597" y="736"/>
                        </a:lnTo>
                        <a:lnTo>
                          <a:pt x="648" y="736"/>
                        </a:lnTo>
                        <a:lnTo>
                          <a:pt x="697" y="734"/>
                        </a:lnTo>
                        <a:lnTo>
                          <a:pt x="743" y="732"/>
                        </a:lnTo>
                        <a:lnTo>
                          <a:pt x="785" y="728"/>
                        </a:lnTo>
                        <a:lnTo>
                          <a:pt x="825" y="725"/>
                        </a:lnTo>
                        <a:lnTo>
                          <a:pt x="863" y="719"/>
                        </a:lnTo>
                        <a:lnTo>
                          <a:pt x="898" y="714"/>
                        </a:lnTo>
                        <a:lnTo>
                          <a:pt x="930" y="707"/>
                        </a:lnTo>
                        <a:lnTo>
                          <a:pt x="959" y="700"/>
                        </a:lnTo>
                        <a:lnTo>
                          <a:pt x="987" y="691"/>
                        </a:lnTo>
                        <a:lnTo>
                          <a:pt x="1012" y="683"/>
                        </a:lnTo>
                        <a:lnTo>
                          <a:pt x="1034" y="674"/>
                        </a:lnTo>
                        <a:lnTo>
                          <a:pt x="1056" y="664"/>
                        </a:lnTo>
                        <a:lnTo>
                          <a:pt x="1075" y="653"/>
                        </a:lnTo>
                        <a:lnTo>
                          <a:pt x="1092" y="640"/>
                        </a:lnTo>
                        <a:lnTo>
                          <a:pt x="1108" y="628"/>
                        </a:lnTo>
                        <a:lnTo>
                          <a:pt x="1121" y="616"/>
                        </a:lnTo>
                        <a:lnTo>
                          <a:pt x="1133" y="602"/>
                        </a:lnTo>
                        <a:lnTo>
                          <a:pt x="1145" y="588"/>
                        </a:lnTo>
                        <a:lnTo>
                          <a:pt x="1154" y="574"/>
                        </a:lnTo>
                        <a:lnTo>
                          <a:pt x="1162" y="559"/>
                        </a:lnTo>
                        <a:lnTo>
                          <a:pt x="1169" y="543"/>
                        </a:lnTo>
                        <a:lnTo>
                          <a:pt x="1175" y="528"/>
                        </a:lnTo>
                        <a:lnTo>
                          <a:pt x="1179" y="511"/>
                        </a:lnTo>
                        <a:lnTo>
                          <a:pt x="1184" y="495"/>
                        </a:lnTo>
                        <a:lnTo>
                          <a:pt x="1187" y="478"/>
                        </a:lnTo>
                        <a:lnTo>
                          <a:pt x="1189" y="460"/>
                        </a:lnTo>
                        <a:lnTo>
                          <a:pt x="1190" y="442"/>
                        </a:lnTo>
                        <a:lnTo>
                          <a:pt x="1192" y="405"/>
                        </a:lnTo>
                        <a:lnTo>
                          <a:pt x="1192" y="368"/>
                        </a:lnTo>
                        <a:lnTo>
                          <a:pt x="1192" y="349"/>
                        </a:lnTo>
                        <a:lnTo>
                          <a:pt x="1190" y="331"/>
                        </a:lnTo>
                        <a:lnTo>
                          <a:pt x="1186" y="312"/>
                        </a:lnTo>
                        <a:lnTo>
                          <a:pt x="1180" y="294"/>
                        </a:lnTo>
                        <a:lnTo>
                          <a:pt x="1174" y="276"/>
                        </a:lnTo>
                        <a:lnTo>
                          <a:pt x="1166" y="259"/>
                        </a:lnTo>
                        <a:lnTo>
                          <a:pt x="1157" y="242"/>
                        </a:lnTo>
                        <a:lnTo>
                          <a:pt x="1146" y="225"/>
                        </a:lnTo>
                        <a:lnTo>
                          <a:pt x="1133" y="209"/>
                        </a:lnTo>
                        <a:lnTo>
                          <a:pt x="1121" y="193"/>
                        </a:lnTo>
                        <a:lnTo>
                          <a:pt x="1107" y="177"/>
                        </a:lnTo>
                        <a:lnTo>
                          <a:pt x="1091" y="163"/>
                        </a:lnTo>
                        <a:lnTo>
                          <a:pt x="1075" y="148"/>
                        </a:lnTo>
                        <a:lnTo>
                          <a:pt x="1057" y="134"/>
                        </a:lnTo>
                        <a:lnTo>
                          <a:pt x="1038" y="121"/>
                        </a:lnTo>
                        <a:lnTo>
                          <a:pt x="1018" y="108"/>
                        </a:lnTo>
                        <a:lnTo>
                          <a:pt x="998" y="96"/>
                        </a:lnTo>
                        <a:lnTo>
                          <a:pt x="975" y="84"/>
                        </a:lnTo>
                        <a:lnTo>
                          <a:pt x="953" y="73"/>
                        </a:lnTo>
                        <a:lnTo>
                          <a:pt x="930" y="63"/>
                        </a:lnTo>
                        <a:lnTo>
                          <a:pt x="905" y="54"/>
                        </a:lnTo>
                        <a:lnTo>
                          <a:pt x="881" y="45"/>
                        </a:lnTo>
                        <a:lnTo>
                          <a:pt x="855" y="36"/>
                        </a:lnTo>
                        <a:lnTo>
                          <a:pt x="829" y="29"/>
                        </a:lnTo>
                        <a:lnTo>
                          <a:pt x="802" y="23"/>
                        </a:lnTo>
                        <a:lnTo>
                          <a:pt x="774" y="17"/>
                        </a:lnTo>
                        <a:lnTo>
                          <a:pt x="746" y="12"/>
                        </a:lnTo>
                        <a:lnTo>
                          <a:pt x="717" y="7"/>
                        </a:lnTo>
                        <a:lnTo>
                          <a:pt x="687" y="5"/>
                        </a:lnTo>
                        <a:lnTo>
                          <a:pt x="658" y="2"/>
                        </a:lnTo>
                        <a:lnTo>
                          <a:pt x="627" y="0"/>
                        </a:lnTo>
                        <a:lnTo>
                          <a:pt x="597" y="0"/>
                        </a:lnTo>
                        <a:lnTo>
                          <a:pt x="566" y="0"/>
                        </a:lnTo>
                        <a:lnTo>
                          <a:pt x="536" y="2"/>
                        </a:lnTo>
                        <a:lnTo>
                          <a:pt x="506" y="5"/>
                        </a:lnTo>
                        <a:lnTo>
                          <a:pt x="477" y="7"/>
                        </a:lnTo>
                        <a:lnTo>
                          <a:pt x="448" y="12"/>
                        </a:lnTo>
                        <a:lnTo>
                          <a:pt x="419" y="17"/>
                        </a:lnTo>
                        <a:lnTo>
                          <a:pt x="392" y="23"/>
                        </a:lnTo>
                        <a:lnTo>
                          <a:pt x="364" y="29"/>
                        </a:lnTo>
                        <a:lnTo>
                          <a:pt x="339" y="36"/>
                        </a:lnTo>
                        <a:lnTo>
                          <a:pt x="312" y="45"/>
                        </a:lnTo>
                        <a:lnTo>
                          <a:pt x="288" y="54"/>
                        </a:lnTo>
                        <a:lnTo>
                          <a:pt x="263" y="63"/>
                        </a:lnTo>
                        <a:lnTo>
                          <a:pt x="240" y="73"/>
                        </a:lnTo>
                        <a:lnTo>
                          <a:pt x="217" y="84"/>
                        </a:lnTo>
                        <a:lnTo>
                          <a:pt x="196" y="96"/>
                        </a:lnTo>
                        <a:lnTo>
                          <a:pt x="175" y="108"/>
                        </a:lnTo>
                        <a:lnTo>
                          <a:pt x="155" y="121"/>
                        </a:lnTo>
                        <a:lnTo>
                          <a:pt x="136" y="134"/>
                        </a:lnTo>
                        <a:lnTo>
                          <a:pt x="120" y="148"/>
                        </a:lnTo>
                        <a:lnTo>
                          <a:pt x="103" y="163"/>
                        </a:lnTo>
                        <a:lnTo>
                          <a:pt x="87" y="177"/>
                        </a:lnTo>
                        <a:lnTo>
                          <a:pt x="73" y="193"/>
                        </a:lnTo>
                        <a:lnTo>
                          <a:pt x="59" y="209"/>
                        </a:lnTo>
                        <a:lnTo>
                          <a:pt x="47" y="225"/>
                        </a:lnTo>
                        <a:lnTo>
                          <a:pt x="37" y="242"/>
                        </a:lnTo>
                        <a:lnTo>
                          <a:pt x="27" y="259"/>
                        </a:lnTo>
                        <a:lnTo>
                          <a:pt x="19" y="276"/>
                        </a:lnTo>
                        <a:lnTo>
                          <a:pt x="13" y="294"/>
                        </a:lnTo>
                        <a:lnTo>
                          <a:pt x="7" y="312"/>
                        </a:lnTo>
                        <a:lnTo>
                          <a:pt x="4" y="331"/>
                        </a:lnTo>
                        <a:lnTo>
                          <a:pt x="2" y="349"/>
                        </a:lnTo>
                        <a:lnTo>
                          <a:pt x="0" y="368"/>
                        </a:lnTo>
                        <a:close/>
                      </a:path>
                    </a:pathLst>
                  </a:custGeom>
                  <a:solidFill>
                    <a:srgbClr val="273669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37" name="Freeform 178"/>
                  <p:cNvSpPr>
                    <a:spLocks/>
                  </p:cNvSpPr>
                  <p:nvPr/>
                </p:nvSpPr>
                <p:spPr bwMode="auto">
                  <a:xfrm>
                    <a:off x="3487" y="4059"/>
                    <a:ext cx="84" cy="29"/>
                  </a:xfrm>
                  <a:custGeom>
                    <a:avLst/>
                    <a:gdLst>
                      <a:gd name="T0" fmla="*/ 0 w 593"/>
                      <a:gd name="T1" fmla="*/ 0 h 194"/>
                      <a:gd name="T2" fmla="*/ 0 w 593"/>
                      <a:gd name="T3" fmla="*/ 0 h 194"/>
                      <a:gd name="T4" fmla="*/ 0 w 593"/>
                      <a:gd name="T5" fmla="*/ 0 h 194"/>
                      <a:gd name="T6" fmla="*/ 0 w 593"/>
                      <a:gd name="T7" fmla="*/ 0 h 194"/>
                      <a:gd name="T8" fmla="*/ 0 w 593"/>
                      <a:gd name="T9" fmla="*/ 0 h 194"/>
                      <a:gd name="T10" fmla="*/ 0 w 593"/>
                      <a:gd name="T11" fmla="*/ 0 h 194"/>
                      <a:gd name="T12" fmla="*/ 0 w 593"/>
                      <a:gd name="T13" fmla="*/ 0 h 194"/>
                      <a:gd name="T14" fmla="*/ 0 w 593"/>
                      <a:gd name="T15" fmla="*/ 0 h 194"/>
                      <a:gd name="T16" fmla="*/ 0 w 593"/>
                      <a:gd name="T17" fmla="*/ 0 h 194"/>
                      <a:gd name="T18" fmla="*/ 0 w 593"/>
                      <a:gd name="T19" fmla="*/ 0 h 194"/>
                      <a:gd name="T20" fmla="*/ 0 w 593"/>
                      <a:gd name="T21" fmla="*/ 0 h 194"/>
                      <a:gd name="T22" fmla="*/ 0 w 593"/>
                      <a:gd name="T23" fmla="*/ 0 h 194"/>
                      <a:gd name="T24" fmla="*/ 0 w 593"/>
                      <a:gd name="T25" fmla="*/ 0 h 194"/>
                      <a:gd name="T26" fmla="*/ 0 w 593"/>
                      <a:gd name="T27" fmla="*/ 0 h 194"/>
                      <a:gd name="T28" fmla="*/ 0 w 593"/>
                      <a:gd name="T29" fmla="*/ 0 h 194"/>
                      <a:gd name="T30" fmla="*/ 0 w 593"/>
                      <a:gd name="T31" fmla="*/ 0 h 194"/>
                      <a:gd name="T32" fmla="*/ 0 w 593"/>
                      <a:gd name="T33" fmla="*/ 0 h 194"/>
                      <a:gd name="T34" fmla="*/ 0 w 593"/>
                      <a:gd name="T35" fmla="*/ 0 h 194"/>
                      <a:gd name="T36" fmla="*/ 0 w 593"/>
                      <a:gd name="T37" fmla="*/ 0 h 194"/>
                      <a:gd name="T38" fmla="*/ 0 w 593"/>
                      <a:gd name="T39" fmla="*/ 0 h 194"/>
                      <a:gd name="T40" fmla="*/ 0 w 593"/>
                      <a:gd name="T41" fmla="*/ 0 h 194"/>
                      <a:gd name="T42" fmla="*/ 0 w 593"/>
                      <a:gd name="T43" fmla="*/ 0 h 194"/>
                      <a:gd name="T44" fmla="*/ 0 w 593"/>
                      <a:gd name="T45" fmla="*/ 0 h 194"/>
                      <a:gd name="T46" fmla="*/ 0 w 593"/>
                      <a:gd name="T47" fmla="*/ 0 h 194"/>
                      <a:gd name="T48" fmla="*/ 0 w 593"/>
                      <a:gd name="T49" fmla="*/ 0 h 194"/>
                      <a:gd name="T50" fmla="*/ 0 w 593"/>
                      <a:gd name="T51" fmla="*/ 0 h 194"/>
                      <a:gd name="T52" fmla="*/ 0 w 593"/>
                      <a:gd name="T53" fmla="*/ 0 h 194"/>
                      <a:gd name="T54" fmla="*/ 0 w 593"/>
                      <a:gd name="T55" fmla="*/ 0 h 194"/>
                      <a:gd name="T56" fmla="*/ 0 w 593"/>
                      <a:gd name="T57" fmla="*/ 0 h 194"/>
                      <a:gd name="T58" fmla="*/ 0 w 593"/>
                      <a:gd name="T59" fmla="*/ 0 h 194"/>
                      <a:gd name="T60" fmla="*/ 0 w 593"/>
                      <a:gd name="T61" fmla="*/ 0 h 194"/>
                      <a:gd name="T62" fmla="*/ 0 w 593"/>
                      <a:gd name="T63" fmla="*/ 0 h 194"/>
                      <a:gd name="T64" fmla="*/ 0 w 593"/>
                      <a:gd name="T65" fmla="*/ 0 h 194"/>
                      <a:gd name="T66" fmla="*/ 0 w 593"/>
                      <a:gd name="T67" fmla="*/ 0 h 194"/>
                      <a:gd name="T68" fmla="*/ 0 w 593"/>
                      <a:gd name="T69" fmla="*/ 0 h 194"/>
                      <a:gd name="T70" fmla="*/ 0 w 593"/>
                      <a:gd name="T71" fmla="*/ 0 h 194"/>
                      <a:gd name="T72" fmla="*/ 0 w 593"/>
                      <a:gd name="T73" fmla="*/ 0 h 194"/>
                      <a:gd name="T74" fmla="*/ 0 w 593"/>
                      <a:gd name="T75" fmla="*/ 0 h 194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w 593"/>
                      <a:gd name="T115" fmla="*/ 0 h 194"/>
                      <a:gd name="T116" fmla="*/ 593 w 593"/>
                      <a:gd name="T117" fmla="*/ 194 h 194"/>
                    </a:gdLst>
                    <a:ahLst/>
                    <a:cxnLst>
                      <a:cxn ang="T76">
                        <a:pos x="T0" y="T1"/>
                      </a:cxn>
                      <a:cxn ang="T77">
                        <a:pos x="T2" y="T3"/>
                      </a:cxn>
                      <a:cxn ang="T78">
                        <a:pos x="T4" y="T5"/>
                      </a:cxn>
                      <a:cxn ang="T79">
                        <a:pos x="T6" y="T7"/>
                      </a:cxn>
                      <a:cxn ang="T80">
                        <a:pos x="T8" y="T9"/>
                      </a:cxn>
                      <a:cxn ang="T81">
                        <a:pos x="T10" y="T11"/>
                      </a:cxn>
                      <a:cxn ang="T82">
                        <a:pos x="T12" y="T13"/>
                      </a:cxn>
                      <a:cxn ang="T83">
                        <a:pos x="T14" y="T15"/>
                      </a:cxn>
                      <a:cxn ang="T84">
                        <a:pos x="T16" y="T17"/>
                      </a:cxn>
                      <a:cxn ang="T85">
                        <a:pos x="T18" y="T19"/>
                      </a:cxn>
                      <a:cxn ang="T86">
                        <a:pos x="T20" y="T21"/>
                      </a:cxn>
                      <a:cxn ang="T87">
                        <a:pos x="T22" y="T23"/>
                      </a:cxn>
                      <a:cxn ang="T88">
                        <a:pos x="T24" y="T25"/>
                      </a:cxn>
                      <a:cxn ang="T89">
                        <a:pos x="T26" y="T27"/>
                      </a:cxn>
                      <a:cxn ang="T90">
                        <a:pos x="T28" y="T29"/>
                      </a:cxn>
                      <a:cxn ang="T91">
                        <a:pos x="T30" y="T31"/>
                      </a:cxn>
                      <a:cxn ang="T92">
                        <a:pos x="T32" y="T33"/>
                      </a:cxn>
                      <a:cxn ang="T93">
                        <a:pos x="T34" y="T35"/>
                      </a:cxn>
                      <a:cxn ang="T94">
                        <a:pos x="T36" y="T37"/>
                      </a:cxn>
                      <a:cxn ang="T95">
                        <a:pos x="T38" y="T39"/>
                      </a:cxn>
                      <a:cxn ang="T96">
                        <a:pos x="T40" y="T41"/>
                      </a:cxn>
                      <a:cxn ang="T97">
                        <a:pos x="T42" y="T43"/>
                      </a:cxn>
                      <a:cxn ang="T98">
                        <a:pos x="T44" y="T45"/>
                      </a:cxn>
                      <a:cxn ang="T99">
                        <a:pos x="T46" y="T47"/>
                      </a:cxn>
                      <a:cxn ang="T100">
                        <a:pos x="T48" y="T49"/>
                      </a:cxn>
                      <a:cxn ang="T101">
                        <a:pos x="T50" y="T51"/>
                      </a:cxn>
                      <a:cxn ang="T102">
                        <a:pos x="T52" y="T53"/>
                      </a:cxn>
                      <a:cxn ang="T103">
                        <a:pos x="T54" y="T55"/>
                      </a:cxn>
                      <a:cxn ang="T104">
                        <a:pos x="T56" y="T57"/>
                      </a:cxn>
                      <a:cxn ang="T105">
                        <a:pos x="T58" y="T59"/>
                      </a:cxn>
                      <a:cxn ang="T106">
                        <a:pos x="T60" y="T61"/>
                      </a:cxn>
                      <a:cxn ang="T107">
                        <a:pos x="T62" y="T63"/>
                      </a:cxn>
                      <a:cxn ang="T108">
                        <a:pos x="T64" y="T65"/>
                      </a:cxn>
                      <a:cxn ang="T109">
                        <a:pos x="T66" y="T67"/>
                      </a:cxn>
                      <a:cxn ang="T110">
                        <a:pos x="T68" y="T69"/>
                      </a:cxn>
                      <a:cxn ang="T111">
                        <a:pos x="T70" y="T71"/>
                      </a:cxn>
                      <a:cxn ang="T112">
                        <a:pos x="T72" y="T73"/>
                      </a:cxn>
                      <a:cxn ang="T113">
                        <a:pos x="T74" y="T75"/>
                      </a:cxn>
                    </a:cxnLst>
                    <a:rect l="T114" t="T115" r="T116" b="T117"/>
                    <a:pathLst>
                      <a:path w="593" h="194">
                        <a:moveTo>
                          <a:pt x="0" y="98"/>
                        </a:moveTo>
                        <a:lnTo>
                          <a:pt x="0" y="102"/>
                        </a:lnTo>
                        <a:lnTo>
                          <a:pt x="1" y="108"/>
                        </a:lnTo>
                        <a:lnTo>
                          <a:pt x="4" y="112"/>
                        </a:lnTo>
                        <a:lnTo>
                          <a:pt x="6" y="117"/>
                        </a:lnTo>
                        <a:lnTo>
                          <a:pt x="9" y="122"/>
                        </a:lnTo>
                        <a:lnTo>
                          <a:pt x="14" y="127"/>
                        </a:lnTo>
                        <a:lnTo>
                          <a:pt x="18" y="131"/>
                        </a:lnTo>
                        <a:lnTo>
                          <a:pt x="24" y="136"/>
                        </a:lnTo>
                        <a:lnTo>
                          <a:pt x="36" y="143"/>
                        </a:lnTo>
                        <a:lnTo>
                          <a:pt x="50" y="152"/>
                        </a:lnTo>
                        <a:lnTo>
                          <a:pt x="68" y="159"/>
                        </a:lnTo>
                        <a:lnTo>
                          <a:pt x="87" y="167"/>
                        </a:lnTo>
                        <a:lnTo>
                          <a:pt x="108" y="172"/>
                        </a:lnTo>
                        <a:lnTo>
                          <a:pt x="130" y="178"/>
                        </a:lnTo>
                        <a:lnTo>
                          <a:pt x="155" y="183"/>
                        </a:lnTo>
                        <a:lnTo>
                          <a:pt x="182" y="187"/>
                        </a:lnTo>
                        <a:lnTo>
                          <a:pt x="208" y="190"/>
                        </a:lnTo>
                        <a:lnTo>
                          <a:pt x="237" y="192"/>
                        </a:lnTo>
                        <a:lnTo>
                          <a:pt x="266" y="194"/>
                        </a:lnTo>
                        <a:lnTo>
                          <a:pt x="296" y="194"/>
                        </a:lnTo>
                        <a:lnTo>
                          <a:pt x="327" y="194"/>
                        </a:lnTo>
                        <a:lnTo>
                          <a:pt x="356" y="192"/>
                        </a:lnTo>
                        <a:lnTo>
                          <a:pt x="385" y="190"/>
                        </a:lnTo>
                        <a:lnTo>
                          <a:pt x="412" y="187"/>
                        </a:lnTo>
                        <a:lnTo>
                          <a:pt x="438" y="183"/>
                        </a:lnTo>
                        <a:lnTo>
                          <a:pt x="462" y="178"/>
                        </a:lnTo>
                        <a:lnTo>
                          <a:pt x="485" y="172"/>
                        </a:lnTo>
                        <a:lnTo>
                          <a:pt x="507" y="167"/>
                        </a:lnTo>
                        <a:lnTo>
                          <a:pt x="526" y="159"/>
                        </a:lnTo>
                        <a:lnTo>
                          <a:pt x="542" y="152"/>
                        </a:lnTo>
                        <a:lnTo>
                          <a:pt x="558" y="143"/>
                        </a:lnTo>
                        <a:lnTo>
                          <a:pt x="570" y="136"/>
                        </a:lnTo>
                        <a:lnTo>
                          <a:pt x="576" y="131"/>
                        </a:lnTo>
                        <a:lnTo>
                          <a:pt x="580" y="127"/>
                        </a:lnTo>
                        <a:lnTo>
                          <a:pt x="585" y="122"/>
                        </a:lnTo>
                        <a:lnTo>
                          <a:pt x="588" y="117"/>
                        </a:lnTo>
                        <a:lnTo>
                          <a:pt x="590" y="112"/>
                        </a:lnTo>
                        <a:lnTo>
                          <a:pt x="592" y="108"/>
                        </a:lnTo>
                        <a:lnTo>
                          <a:pt x="593" y="102"/>
                        </a:lnTo>
                        <a:lnTo>
                          <a:pt x="593" y="98"/>
                        </a:lnTo>
                        <a:lnTo>
                          <a:pt x="593" y="92"/>
                        </a:lnTo>
                        <a:lnTo>
                          <a:pt x="592" y="88"/>
                        </a:lnTo>
                        <a:lnTo>
                          <a:pt x="590" y="82"/>
                        </a:lnTo>
                        <a:lnTo>
                          <a:pt x="588" y="78"/>
                        </a:lnTo>
                        <a:lnTo>
                          <a:pt x="580" y="69"/>
                        </a:lnTo>
                        <a:lnTo>
                          <a:pt x="570" y="60"/>
                        </a:lnTo>
                        <a:lnTo>
                          <a:pt x="558" y="51"/>
                        </a:lnTo>
                        <a:lnTo>
                          <a:pt x="542" y="43"/>
                        </a:lnTo>
                        <a:lnTo>
                          <a:pt x="526" y="35"/>
                        </a:lnTo>
                        <a:lnTo>
                          <a:pt x="507" y="29"/>
                        </a:lnTo>
                        <a:lnTo>
                          <a:pt x="485" y="22"/>
                        </a:lnTo>
                        <a:lnTo>
                          <a:pt x="462" y="16"/>
                        </a:lnTo>
                        <a:lnTo>
                          <a:pt x="438" y="12"/>
                        </a:lnTo>
                        <a:lnTo>
                          <a:pt x="412" y="8"/>
                        </a:lnTo>
                        <a:lnTo>
                          <a:pt x="385" y="4"/>
                        </a:lnTo>
                        <a:lnTo>
                          <a:pt x="356" y="2"/>
                        </a:lnTo>
                        <a:lnTo>
                          <a:pt x="327" y="1"/>
                        </a:lnTo>
                        <a:lnTo>
                          <a:pt x="296" y="0"/>
                        </a:lnTo>
                        <a:lnTo>
                          <a:pt x="266" y="1"/>
                        </a:lnTo>
                        <a:lnTo>
                          <a:pt x="237" y="2"/>
                        </a:lnTo>
                        <a:lnTo>
                          <a:pt x="208" y="4"/>
                        </a:lnTo>
                        <a:lnTo>
                          <a:pt x="182" y="8"/>
                        </a:lnTo>
                        <a:lnTo>
                          <a:pt x="155" y="12"/>
                        </a:lnTo>
                        <a:lnTo>
                          <a:pt x="130" y="16"/>
                        </a:lnTo>
                        <a:lnTo>
                          <a:pt x="108" y="22"/>
                        </a:lnTo>
                        <a:lnTo>
                          <a:pt x="87" y="29"/>
                        </a:lnTo>
                        <a:lnTo>
                          <a:pt x="68" y="35"/>
                        </a:lnTo>
                        <a:lnTo>
                          <a:pt x="50" y="43"/>
                        </a:lnTo>
                        <a:lnTo>
                          <a:pt x="36" y="51"/>
                        </a:lnTo>
                        <a:lnTo>
                          <a:pt x="24" y="60"/>
                        </a:lnTo>
                        <a:lnTo>
                          <a:pt x="14" y="69"/>
                        </a:lnTo>
                        <a:lnTo>
                          <a:pt x="6" y="78"/>
                        </a:lnTo>
                        <a:lnTo>
                          <a:pt x="4" y="82"/>
                        </a:lnTo>
                        <a:lnTo>
                          <a:pt x="1" y="88"/>
                        </a:lnTo>
                        <a:lnTo>
                          <a:pt x="0" y="92"/>
                        </a:lnTo>
                        <a:lnTo>
                          <a:pt x="0" y="98"/>
                        </a:lnTo>
                        <a:close/>
                      </a:path>
                    </a:pathLst>
                  </a:custGeom>
                  <a:solidFill>
                    <a:srgbClr val="2E5592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38" name="Freeform 179"/>
                  <p:cNvSpPr>
                    <a:spLocks/>
                  </p:cNvSpPr>
                  <p:nvPr/>
                </p:nvSpPr>
                <p:spPr bwMode="auto">
                  <a:xfrm>
                    <a:off x="3442" y="4078"/>
                    <a:ext cx="169" cy="86"/>
                  </a:xfrm>
                  <a:custGeom>
                    <a:avLst/>
                    <a:gdLst>
                      <a:gd name="T0" fmla="*/ 0 w 1185"/>
                      <a:gd name="T1" fmla="*/ 0 h 605"/>
                      <a:gd name="T2" fmla="*/ 0 w 1185"/>
                      <a:gd name="T3" fmla="*/ 0 h 605"/>
                      <a:gd name="T4" fmla="*/ 0 w 1185"/>
                      <a:gd name="T5" fmla="*/ 0 h 605"/>
                      <a:gd name="T6" fmla="*/ 0 w 1185"/>
                      <a:gd name="T7" fmla="*/ 0 h 605"/>
                      <a:gd name="T8" fmla="*/ 0 w 1185"/>
                      <a:gd name="T9" fmla="*/ 0 h 605"/>
                      <a:gd name="T10" fmla="*/ 0 w 1185"/>
                      <a:gd name="T11" fmla="*/ 0 h 605"/>
                      <a:gd name="T12" fmla="*/ 0 w 1185"/>
                      <a:gd name="T13" fmla="*/ 0 h 605"/>
                      <a:gd name="T14" fmla="*/ 0 w 1185"/>
                      <a:gd name="T15" fmla="*/ 0 h 605"/>
                      <a:gd name="T16" fmla="*/ 0 w 1185"/>
                      <a:gd name="T17" fmla="*/ 0 h 605"/>
                      <a:gd name="T18" fmla="*/ 0 w 1185"/>
                      <a:gd name="T19" fmla="*/ 0 h 605"/>
                      <a:gd name="T20" fmla="*/ 0 w 1185"/>
                      <a:gd name="T21" fmla="*/ 0 h 605"/>
                      <a:gd name="T22" fmla="*/ 0 w 1185"/>
                      <a:gd name="T23" fmla="*/ 0 h 605"/>
                      <a:gd name="T24" fmla="*/ 0 w 1185"/>
                      <a:gd name="T25" fmla="*/ 0 h 605"/>
                      <a:gd name="T26" fmla="*/ 0 w 1185"/>
                      <a:gd name="T27" fmla="*/ 0 h 605"/>
                      <a:gd name="T28" fmla="*/ 0 w 1185"/>
                      <a:gd name="T29" fmla="*/ 0 h 605"/>
                      <a:gd name="T30" fmla="*/ 0 w 1185"/>
                      <a:gd name="T31" fmla="*/ 0 h 605"/>
                      <a:gd name="T32" fmla="*/ 0 w 1185"/>
                      <a:gd name="T33" fmla="*/ 0 h 605"/>
                      <a:gd name="T34" fmla="*/ 0 w 1185"/>
                      <a:gd name="T35" fmla="*/ 0 h 605"/>
                      <a:gd name="T36" fmla="*/ 0 w 1185"/>
                      <a:gd name="T37" fmla="*/ 0 h 605"/>
                      <a:gd name="T38" fmla="*/ 0 w 1185"/>
                      <a:gd name="T39" fmla="*/ 0 h 605"/>
                      <a:gd name="T40" fmla="*/ 0 w 1185"/>
                      <a:gd name="T41" fmla="*/ 0 h 605"/>
                      <a:gd name="T42" fmla="*/ 0 w 1185"/>
                      <a:gd name="T43" fmla="*/ 0 h 605"/>
                      <a:gd name="T44" fmla="*/ 0 w 1185"/>
                      <a:gd name="T45" fmla="*/ 0 h 605"/>
                      <a:gd name="T46" fmla="*/ 0 w 1185"/>
                      <a:gd name="T47" fmla="*/ 0 h 605"/>
                      <a:gd name="T48" fmla="*/ 0 w 1185"/>
                      <a:gd name="T49" fmla="*/ 0 h 605"/>
                      <a:gd name="T50" fmla="*/ 0 w 1185"/>
                      <a:gd name="T51" fmla="*/ 0 h 605"/>
                      <a:gd name="T52" fmla="*/ 0 w 1185"/>
                      <a:gd name="T53" fmla="*/ 0 h 605"/>
                      <a:gd name="T54" fmla="*/ 0 w 1185"/>
                      <a:gd name="T55" fmla="*/ 0 h 605"/>
                      <a:gd name="T56" fmla="*/ 0 w 1185"/>
                      <a:gd name="T57" fmla="*/ 0 h 605"/>
                      <a:gd name="T58" fmla="*/ 0 w 1185"/>
                      <a:gd name="T59" fmla="*/ 0 h 605"/>
                      <a:gd name="T60" fmla="*/ 0 w 1185"/>
                      <a:gd name="T61" fmla="*/ 0 h 605"/>
                      <a:gd name="T62" fmla="*/ 0 w 1185"/>
                      <a:gd name="T63" fmla="*/ 0 h 605"/>
                      <a:gd name="T64" fmla="*/ 0 w 1185"/>
                      <a:gd name="T65" fmla="*/ 0 h 605"/>
                      <a:gd name="T66" fmla="*/ 0 w 1185"/>
                      <a:gd name="T67" fmla="*/ 0 h 605"/>
                      <a:gd name="T68" fmla="*/ 0 w 1185"/>
                      <a:gd name="T69" fmla="*/ 0 h 605"/>
                      <a:gd name="T70" fmla="*/ 0 w 1185"/>
                      <a:gd name="T71" fmla="*/ 0 h 605"/>
                      <a:gd name="T72" fmla="*/ 0 w 1185"/>
                      <a:gd name="T73" fmla="*/ 0 h 605"/>
                      <a:gd name="T74" fmla="*/ 0 w 1185"/>
                      <a:gd name="T75" fmla="*/ 0 h 605"/>
                      <a:gd name="T76" fmla="*/ 0 w 1185"/>
                      <a:gd name="T77" fmla="*/ 0 h 605"/>
                      <a:gd name="T78" fmla="*/ 0 w 1185"/>
                      <a:gd name="T79" fmla="*/ 0 h 605"/>
                      <a:gd name="T80" fmla="*/ 0 w 1185"/>
                      <a:gd name="T81" fmla="*/ 0 h 605"/>
                      <a:gd name="T82" fmla="*/ 0 w 1185"/>
                      <a:gd name="T83" fmla="*/ 0 h 605"/>
                      <a:gd name="T84" fmla="*/ 0 w 1185"/>
                      <a:gd name="T85" fmla="*/ 0 h 605"/>
                      <a:gd name="T86" fmla="*/ 0 w 1185"/>
                      <a:gd name="T87" fmla="*/ 0 h 605"/>
                      <a:gd name="T88" fmla="*/ 0 w 1185"/>
                      <a:gd name="T89" fmla="*/ 0 h 605"/>
                      <a:gd name="T90" fmla="*/ 0 w 1185"/>
                      <a:gd name="T91" fmla="*/ 0 h 605"/>
                      <a:gd name="T92" fmla="*/ 0 w 1185"/>
                      <a:gd name="T93" fmla="*/ 0 h 605"/>
                      <a:gd name="T94" fmla="*/ 0 w 1185"/>
                      <a:gd name="T95" fmla="*/ 0 h 605"/>
                      <a:gd name="T96" fmla="*/ 0 w 1185"/>
                      <a:gd name="T97" fmla="*/ 0 h 605"/>
                      <a:gd name="T98" fmla="*/ 0 w 1185"/>
                      <a:gd name="T99" fmla="*/ 0 h 605"/>
                      <a:gd name="T100" fmla="*/ 0 w 1185"/>
                      <a:gd name="T101" fmla="*/ 0 h 605"/>
                      <a:gd name="T102" fmla="*/ 0 w 1185"/>
                      <a:gd name="T103" fmla="*/ 0 h 605"/>
                      <a:gd name="T104" fmla="*/ 0 w 1185"/>
                      <a:gd name="T105" fmla="*/ 0 h 605"/>
                      <a:gd name="T106" fmla="*/ 0 w 1185"/>
                      <a:gd name="T107" fmla="*/ 0 h 605"/>
                      <a:gd name="T108" fmla="*/ 0 w 1185"/>
                      <a:gd name="T109" fmla="*/ 0 h 605"/>
                      <a:gd name="T110" fmla="*/ 0 w 1185"/>
                      <a:gd name="T111" fmla="*/ 0 h 605"/>
                      <a:gd name="T112" fmla="*/ 0 w 1185"/>
                      <a:gd name="T113" fmla="*/ 0 h 605"/>
                      <a:gd name="T114" fmla="*/ 0 w 1185"/>
                      <a:gd name="T115" fmla="*/ 0 h 605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w 1185"/>
                      <a:gd name="T175" fmla="*/ 0 h 605"/>
                      <a:gd name="T176" fmla="*/ 1185 w 1185"/>
                      <a:gd name="T177" fmla="*/ 605 h 605"/>
                    </a:gdLst>
                    <a:ahLst/>
                    <a:cxnLst>
                      <a:cxn ang="T116">
                        <a:pos x="T0" y="T1"/>
                      </a:cxn>
                      <a:cxn ang="T117">
                        <a:pos x="T2" y="T3"/>
                      </a:cxn>
                      <a:cxn ang="T118">
                        <a:pos x="T4" y="T5"/>
                      </a:cxn>
                      <a:cxn ang="T119">
                        <a:pos x="T6" y="T7"/>
                      </a:cxn>
                      <a:cxn ang="T120">
                        <a:pos x="T8" y="T9"/>
                      </a:cxn>
                      <a:cxn ang="T121">
                        <a:pos x="T10" y="T11"/>
                      </a:cxn>
                      <a:cxn ang="T122">
                        <a:pos x="T12" y="T13"/>
                      </a:cxn>
                      <a:cxn ang="T123">
                        <a:pos x="T14" y="T15"/>
                      </a:cxn>
                      <a:cxn ang="T124">
                        <a:pos x="T16" y="T17"/>
                      </a:cxn>
                      <a:cxn ang="T125">
                        <a:pos x="T18" y="T19"/>
                      </a:cxn>
                      <a:cxn ang="T126">
                        <a:pos x="T20" y="T21"/>
                      </a:cxn>
                      <a:cxn ang="T127">
                        <a:pos x="T22" y="T23"/>
                      </a:cxn>
                      <a:cxn ang="T128">
                        <a:pos x="T24" y="T25"/>
                      </a:cxn>
                      <a:cxn ang="T129">
                        <a:pos x="T26" y="T27"/>
                      </a:cxn>
                      <a:cxn ang="T130">
                        <a:pos x="T28" y="T29"/>
                      </a:cxn>
                      <a:cxn ang="T131">
                        <a:pos x="T30" y="T31"/>
                      </a:cxn>
                      <a:cxn ang="T132">
                        <a:pos x="T32" y="T33"/>
                      </a:cxn>
                      <a:cxn ang="T133">
                        <a:pos x="T34" y="T35"/>
                      </a:cxn>
                      <a:cxn ang="T134">
                        <a:pos x="T36" y="T37"/>
                      </a:cxn>
                      <a:cxn ang="T135">
                        <a:pos x="T38" y="T39"/>
                      </a:cxn>
                      <a:cxn ang="T136">
                        <a:pos x="T40" y="T41"/>
                      </a:cxn>
                      <a:cxn ang="T137">
                        <a:pos x="T42" y="T43"/>
                      </a:cxn>
                      <a:cxn ang="T138">
                        <a:pos x="T44" y="T45"/>
                      </a:cxn>
                      <a:cxn ang="T139">
                        <a:pos x="T46" y="T47"/>
                      </a:cxn>
                      <a:cxn ang="T140">
                        <a:pos x="T48" y="T49"/>
                      </a:cxn>
                      <a:cxn ang="T141">
                        <a:pos x="T50" y="T51"/>
                      </a:cxn>
                      <a:cxn ang="T142">
                        <a:pos x="T52" y="T53"/>
                      </a:cxn>
                      <a:cxn ang="T143">
                        <a:pos x="T54" y="T55"/>
                      </a:cxn>
                      <a:cxn ang="T144">
                        <a:pos x="T56" y="T57"/>
                      </a:cxn>
                      <a:cxn ang="T145">
                        <a:pos x="T58" y="T59"/>
                      </a:cxn>
                      <a:cxn ang="T146">
                        <a:pos x="T60" y="T61"/>
                      </a:cxn>
                      <a:cxn ang="T147">
                        <a:pos x="T62" y="T63"/>
                      </a:cxn>
                      <a:cxn ang="T148">
                        <a:pos x="T64" y="T65"/>
                      </a:cxn>
                      <a:cxn ang="T149">
                        <a:pos x="T66" y="T67"/>
                      </a:cxn>
                      <a:cxn ang="T150">
                        <a:pos x="T68" y="T69"/>
                      </a:cxn>
                      <a:cxn ang="T151">
                        <a:pos x="T70" y="T71"/>
                      </a:cxn>
                      <a:cxn ang="T152">
                        <a:pos x="T72" y="T73"/>
                      </a:cxn>
                      <a:cxn ang="T153">
                        <a:pos x="T74" y="T75"/>
                      </a:cxn>
                      <a:cxn ang="T154">
                        <a:pos x="T76" y="T77"/>
                      </a:cxn>
                      <a:cxn ang="T155">
                        <a:pos x="T78" y="T79"/>
                      </a:cxn>
                      <a:cxn ang="T156">
                        <a:pos x="T80" y="T81"/>
                      </a:cxn>
                      <a:cxn ang="T157">
                        <a:pos x="T82" y="T83"/>
                      </a:cxn>
                      <a:cxn ang="T158">
                        <a:pos x="T84" y="T85"/>
                      </a:cxn>
                      <a:cxn ang="T159">
                        <a:pos x="T86" y="T87"/>
                      </a:cxn>
                      <a:cxn ang="T160">
                        <a:pos x="T88" y="T89"/>
                      </a:cxn>
                      <a:cxn ang="T161">
                        <a:pos x="T90" y="T91"/>
                      </a:cxn>
                      <a:cxn ang="T162">
                        <a:pos x="T92" y="T93"/>
                      </a:cxn>
                      <a:cxn ang="T163">
                        <a:pos x="T94" y="T95"/>
                      </a:cxn>
                      <a:cxn ang="T164">
                        <a:pos x="T96" y="T97"/>
                      </a:cxn>
                      <a:cxn ang="T165">
                        <a:pos x="T98" y="T99"/>
                      </a:cxn>
                      <a:cxn ang="T166">
                        <a:pos x="T100" y="T101"/>
                      </a:cxn>
                      <a:cxn ang="T167">
                        <a:pos x="T102" y="T103"/>
                      </a:cxn>
                      <a:cxn ang="T168">
                        <a:pos x="T104" y="T105"/>
                      </a:cxn>
                      <a:cxn ang="T169">
                        <a:pos x="T106" y="T107"/>
                      </a:cxn>
                      <a:cxn ang="T170">
                        <a:pos x="T108" y="T109"/>
                      </a:cxn>
                      <a:cxn ang="T171">
                        <a:pos x="T110" y="T111"/>
                      </a:cxn>
                      <a:cxn ang="T172">
                        <a:pos x="T112" y="T113"/>
                      </a:cxn>
                      <a:cxn ang="T173">
                        <a:pos x="T114" y="T115"/>
                      </a:cxn>
                    </a:cxnLst>
                    <a:rect l="T174" t="T175" r="T176" b="T177"/>
                    <a:pathLst>
                      <a:path w="1185" h="605">
                        <a:moveTo>
                          <a:pt x="105" y="0"/>
                        </a:moveTo>
                        <a:lnTo>
                          <a:pt x="98" y="20"/>
                        </a:lnTo>
                        <a:lnTo>
                          <a:pt x="93" y="40"/>
                        </a:lnTo>
                        <a:lnTo>
                          <a:pt x="88" y="57"/>
                        </a:lnTo>
                        <a:lnTo>
                          <a:pt x="86" y="75"/>
                        </a:lnTo>
                        <a:lnTo>
                          <a:pt x="85" y="92"/>
                        </a:lnTo>
                        <a:lnTo>
                          <a:pt x="85" y="106"/>
                        </a:lnTo>
                        <a:lnTo>
                          <a:pt x="87" y="121"/>
                        </a:lnTo>
                        <a:lnTo>
                          <a:pt x="89" y="134"/>
                        </a:lnTo>
                        <a:lnTo>
                          <a:pt x="94" y="148"/>
                        </a:lnTo>
                        <a:lnTo>
                          <a:pt x="100" y="159"/>
                        </a:lnTo>
                        <a:lnTo>
                          <a:pt x="106" y="170"/>
                        </a:lnTo>
                        <a:lnTo>
                          <a:pt x="113" y="181"/>
                        </a:lnTo>
                        <a:lnTo>
                          <a:pt x="122" y="191"/>
                        </a:lnTo>
                        <a:lnTo>
                          <a:pt x="131" y="200"/>
                        </a:lnTo>
                        <a:lnTo>
                          <a:pt x="141" y="209"/>
                        </a:lnTo>
                        <a:lnTo>
                          <a:pt x="152" y="217"/>
                        </a:lnTo>
                        <a:lnTo>
                          <a:pt x="164" y="224"/>
                        </a:lnTo>
                        <a:lnTo>
                          <a:pt x="176" y="231"/>
                        </a:lnTo>
                        <a:lnTo>
                          <a:pt x="190" y="239"/>
                        </a:lnTo>
                        <a:lnTo>
                          <a:pt x="203" y="246"/>
                        </a:lnTo>
                        <a:lnTo>
                          <a:pt x="232" y="258"/>
                        </a:lnTo>
                        <a:lnTo>
                          <a:pt x="263" y="269"/>
                        </a:lnTo>
                        <a:lnTo>
                          <a:pt x="328" y="292"/>
                        </a:lnTo>
                        <a:lnTo>
                          <a:pt x="394" y="316"/>
                        </a:lnTo>
                        <a:lnTo>
                          <a:pt x="414" y="323"/>
                        </a:lnTo>
                        <a:lnTo>
                          <a:pt x="436" y="330"/>
                        </a:lnTo>
                        <a:lnTo>
                          <a:pt x="457" y="337"/>
                        </a:lnTo>
                        <a:lnTo>
                          <a:pt x="479" y="342"/>
                        </a:lnTo>
                        <a:lnTo>
                          <a:pt x="526" y="353"/>
                        </a:lnTo>
                        <a:lnTo>
                          <a:pt x="576" y="362"/>
                        </a:lnTo>
                        <a:lnTo>
                          <a:pt x="627" y="369"/>
                        </a:lnTo>
                        <a:lnTo>
                          <a:pt x="679" y="375"/>
                        </a:lnTo>
                        <a:lnTo>
                          <a:pt x="734" y="379"/>
                        </a:lnTo>
                        <a:lnTo>
                          <a:pt x="787" y="381"/>
                        </a:lnTo>
                        <a:lnTo>
                          <a:pt x="842" y="382"/>
                        </a:lnTo>
                        <a:lnTo>
                          <a:pt x="896" y="382"/>
                        </a:lnTo>
                        <a:lnTo>
                          <a:pt x="949" y="381"/>
                        </a:lnTo>
                        <a:lnTo>
                          <a:pt x="1001" y="379"/>
                        </a:lnTo>
                        <a:lnTo>
                          <a:pt x="1051" y="376"/>
                        </a:lnTo>
                        <a:lnTo>
                          <a:pt x="1098" y="370"/>
                        </a:lnTo>
                        <a:lnTo>
                          <a:pt x="1142" y="366"/>
                        </a:lnTo>
                        <a:lnTo>
                          <a:pt x="1185" y="359"/>
                        </a:lnTo>
                        <a:lnTo>
                          <a:pt x="1181" y="372"/>
                        </a:lnTo>
                        <a:lnTo>
                          <a:pt x="1178" y="386"/>
                        </a:lnTo>
                        <a:lnTo>
                          <a:pt x="1175" y="398"/>
                        </a:lnTo>
                        <a:lnTo>
                          <a:pt x="1169" y="410"/>
                        </a:lnTo>
                        <a:lnTo>
                          <a:pt x="1165" y="422"/>
                        </a:lnTo>
                        <a:lnTo>
                          <a:pt x="1158" y="435"/>
                        </a:lnTo>
                        <a:lnTo>
                          <a:pt x="1151" y="447"/>
                        </a:lnTo>
                        <a:lnTo>
                          <a:pt x="1145" y="458"/>
                        </a:lnTo>
                        <a:lnTo>
                          <a:pt x="1136" y="469"/>
                        </a:lnTo>
                        <a:lnTo>
                          <a:pt x="1127" y="479"/>
                        </a:lnTo>
                        <a:lnTo>
                          <a:pt x="1116" y="490"/>
                        </a:lnTo>
                        <a:lnTo>
                          <a:pt x="1105" y="500"/>
                        </a:lnTo>
                        <a:lnTo>
                          <a:pt x="1092" y="509"/>
                        </a:lnTo>
                        <a:lnTo>
                          <a:pt x="1079" y="518"/>
                        </a:lnTo>
                        <a:lnTo>
                          <a:pt x="1064" y="527"/>
                        </a:lnTo>
                        <a:lnTo>
                          <a:pt x="1049" y="536"/>
                        </a:lnTo>
                        <a:lnTo>
                          <a:pt x="1031" y="544"/>
                        </a:lnTo>
                        <a:lnTo>
                          <a:pt x="1013" y="552"/>
                        </a:lnTo>
                        <a:lnTo>
                          <a:pt x="993" y="558"/>
                        </a:lnTo>
                        <a:lnTo>
                          <a:pt x="972" y="565"/>
                        </a:lnTo>
                        <a:lnTo>
                          <a:pt x="950" y="572"/>
                        </a:lnTo>
                        <a:lnTo>
                          <a:pt x="926" y="577"/>
                        </a:lnTo>
                        <a:lnTo>
                          <a:pt x="901" y="583"/>
                        </a:lnTo>
                        <a:lnTo>
                          <a:pt x="874" y="587"/>
                        </a:lnTo>
                        <a:lnTo>
                          <a:pt x="845" y="592"/>
                        </a:lnTo>
                        <a:lnTo>
                          <a:pt x="815" y="595"/>
                        </a:lnTo>
                        <a:lnTo>
                          <a:pt x="783" y="598"/>
                        </a:lnTo>
                        <a:lnTo>
                          <a:pt x="750" y="601"/>
                        </a:lnTo>
                        <a:lnTo>
                          <a:pt x="714" y="603"/>
                        </a:lnTo>
                        <a:lnTo>
                          <a:pt x="677" y="604"/>
                        </a:lnTo>
                        <a:lnTo>
                          <a:pt x="638" y="605"/>
                        </a:lnTo>
                        <a:lnTo>
                          <a:pt x="597" y="605"/>
                        </a:lnTo>
                        <a:lnTo>
                          <a:pt x="550" y="605"/>
                        </a:lnTo>
                        <a:lnTo>
                          <a:pt x="506" y="603"/>
                        </a:lnTo>
                        <a:lnTo>
                          <a:pt x="463" y="601"/>
                        </a:lnTo>
                        <a:lnTo>
                          <a:pt x="425" y="597"/>
                        </a:lnTo>
                        <a:lnTo>
                          <a:pt x="387" y="594"/>
                        </a:lnTo>
                        <a:lnTo>
                          <a:pt x="352" y="588"/>
                        </a:lnTo>
                        <a:lnTo>
                          <a:pt x="319" y="583"/>
                        </a:lnTo>
                        <a:lnTo>
                          <a:pt x="288" y="576"/>
                        </a:lnTo>
                        <a:lnTo>
                          <a:pt x="259" y="569"/>
                        </a:lnTo>
                        <a:lnTo>
                          <a:pt x="232" y="560"/>
                        </a:lnTo>
                        <a:lnTo>
                          <a:pt x="206" y="552"/>
                        </a:lnTo>
                        <a:lnTo>
                          <a:pt x="184" y="543"/>
                        </a:lnTo>
                        <a:lnTo>
                          <a:pt x="162" y="533"/>
                        </a:lnTo>
                        <a:lnTo>
                          <a:pt x="142" y="522"/>
                        </a:lnTo>
                        <a:lnTo>
                          <a:pt x="124" y="509"/>
                        </a:lnTo>
                        <a:lnTo>
                          <a:pt x="107" y="497"/>
                        </a:lnTo>
                        <a:lnTo>
                          <a:pt x="92" y="485"/>
                        </a:lnTo>
                        <a:lnTo>
                          <a:pt x="78" y="471"/>
                        </a:lnTo>
                        <a:lnTo>
                          <a:pt x="66" y="457"/>
                        </a:lnTo>
                        <a:lnTo>
                          <a:pt x="55" y="443"/>
                        </a:lnTo>
                        <a:lnTo>
                          <a:pt x="45" y="428"/>
                        </a:lnTo>
                        <a:lnTo>
                          <a:pt x="36" y="412"/>
                        </a:lnTo>
                        <a:lnTo>
                          <a:pt x="28" y="397"/>
                        </a:lnTo>
                        <a:lnTo>
                          <a:pt x="22" y="380"/>
                        </a:lnTo>
                        <a:lnTo>
                          <a:pt x="16" y="364"/>
                        </a:lnTo>
                        <a:lnTo>
                          <a:pt x="12" y="347"/>
                        </a:lnTo>
                        <a:lnTo>
                          <a:pt x="8" y="329"/>
                        </a:lnTo>
                        <a:lnTo>
                          <a:pt x="5" y="311"/>
                        </a:lnTo>
                        <a:lnTo>
                          <a:pt x="3" y="293"/>
                        </a:lnTo>
                        <a:lnTo>
                          <a:pt x="2" y="274"/>
                        </a:lnTo>
                        <a:lnTo>
                          <a:pt x="0" y="256"/>
                        </a:lnTo>
                        <a:lnTo>
                          <a:pt x="0" y="237"/>
                        </a:lnTo>
                        <a:lnTo>
                          <a:pt x="2" y="226"/>
                        </a:lnTo>
                        <a:lnTo>
                          <a:pt x="4" y="212"/>
                        </a:lnTo>
                        <a:lnTo>
                          <a:pt x="7" y="198"/>
                        </a:lnTo>
                        <a:lnTo>
                          <a:pt x="12" y="182"/>
                        </a:lnTo>
                        <a:lnTo>
                          <a:pt x="24" y="150"/>
                        </a:lnTo>
                        <a:lnTo>
                          <a:pt x="38" y="115"/>
                        </a:lnTo>
                        <a:lnTo>
                          <a:pt x="55" y="81"/>
                        </a:lnTo>
                        <a:lnTo>
                          <a:pt x="73" y="49"/>
                        </a:lnTo>
                        <a:lnTo>
                          <a:pt x="89" y="21"/>
                        </a:lnTo>
                        <a:lnTo>
                          <a:pt x="105" y="0"/>
                        </a:lnTo>
                        <a:close/>
                      </a:path>
                    </a:pathLst>
                  </a:custGeom>
                  <a:solidFill>
                    <a:srgbClr val="242B53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39" name="Freeform 180"/>
                  <p:cNvSpPr>
                    <a:spLocks/>
                  </p:cNvSpPr>
                  <p:nvPr/>
                </p:nvSpPr>
                <p:spPr bwMode="auto">
                  <a:xfrm>
                    <a:off x="3443" y="4127"/>
                    <a:ext cx="168" cy="38"/>
                  </a:xfrm>
                  <a:custGeom>
                    <a:avLst/>
                    <a:gdLst>
                      <a:gd name="T0" fmla="*/ 0 w 1174"/>
                      <a:gd name="T1" fmla="*/ 0 h 264"/>
                      <a:gd name="T2" fmla="*/ 0 w 1174"/>
                      <a:gd name="T3" fmla="*/ 0 h 264"/>
                      <a:gd name="T4" fmla="*/ 0 w 1174"/>
                      <a:gd name="T5" fmla="*/ 0 h 264"/>
                      <a:gd name="T6" fmla="*/ 0 w 1174"/>
                      <a:gd name="T7" fmla="*/ 0 h 264"/>
                      <a:gd name="T8" fmla="*/ 0 w 1174"/>
                      <a:gd name="T9" fmla="*/ 0 h 264"/>
                      <a:gd name="T10" fmla="*/ 0 w 1174"/>
                      <a:gd name="T11" fmla="*/ 0 h 264"/>
                      <a:gd name="T12" fmla="*/ 0 w 1174"/>
                      <a:gd name="T13" fmla="*/ 0 h 264"/>
                      <a:gd name="T14" fmla="*/ 0 w 1174"/>
                      <a:gd name="T15" fmla="*/ 0 h 264"/>
                      <a:gd name="T16" fmla="*/ 0 w 1174"/>
                      <a:gd name="T17" fmla="*/ 0 h 264"/>
                      <a:gd name="T18" fmla="*/ 0 w 1174"/>
                      <a:gd name="T19" fmla="*/ 0 h 264"/>
                      <a:gd name="T20" fmla="*/ 0 w 1174"/>
                      <a:gd name="T21" fmla="*/ 0 h 264"/>
                      <a:gd name="T22" fmla="*/ 0 w 1174"/>
                      <a:gd name="T23" fmla="*/ 0 h 264"/>
                      <a:gd name="T24" fmla="*/ 0 w 1174"/>
                      <a:gd name="T25" fmla="*/ 0 h 264"/>
                      <a:gd name="T26" fmla="*/ 0 w 1174"/>
                      <a:gd name="T27" fmla="*/ 0 h 264"/>
                      <a:gd name="T28" fmla="*/ 0 w 1174"/>
                      <a:gd name="T29" fmla="*/ 0 h 264"/>
                      <a:gd name="T30" fmla="*/ 0 w 1174"/>
                      <a:gd name="T31" fmla="*/ 0 h 264"/>
                      <a:gd name="T32" fmla="*/ 0 w 1174"/>
                      <a:gd name="T33" fmla="*/ 0 h 264"/>
                      <a:gd name="T34" fmla="*/ 0 w 1174"/>
                      <a:gd name="T35" fmla="*/ 0 h 264"/>
                      <a:gd name="T36" fmla="*/ 0 w 1174"/>
                      <a:gd name="T37" fmla="*/ 0 h 264"/>
                      <a:gd name="T38" fmla="*/ 0 w 1174"/>
                      <a:gd name="T39" fmla="*/ 0 h 264"/>
                      <a:gd name="T40" fmla="*/ 0 w 1174"/>
                      <a:gd name="T41" fmla="*/ 0 h 264"/>
                      <a:gd name="T42" fmla="*/ 0 w 1174"/>
                      <a:gd name="T43" fmla="*/ 0 h 264"/>
                      <a:gd name="T44" fmla="*/ 0 w 1174"/>
                      <a:gd name="T45" fmla="*/ 0 h 264"/>
                      <a:gd name="T46" fmla="*/ 0 w 1174"/>
                      <a:gd name="T47" fmla="*/ 0 h 264"/>
                      <a:gd name="T48" fmla="*/ 0 w 1174"/>
                      <a:gd name="T49" fmla="*/ 0 h 264"/>
                      <a:gd name="T50" fmla="*/ 0 w 1174"/>
                      <a:gd name="T51" fmla="*/ 0 h 264"/>
                      <a:gd name="T52" fmla="*/ 0 w 1174"/>
                      <a:gd name="T53" fmla="*/ 0 h 264"/>
                      <a:gd name="T54" fmla="*/ 0 w 1174"/>
                      <a:gd name="T55" fmla="*/ 0 h 264"/>
                      <a:gd name="T56" fmla="*/ 0 w 1174"/>
                      <a:gd name="T57" fmla="*/ 0 h 264"/>
                      <a:gd name="T58" fmla="*/ 0 w 1174"/>
                      <a:gd name="T59" fmla="*/ 0 h 264"/>
                      <a:gd name="T60" fmla="*/ 0 w 1174"/>
                      <a:gd name="T61" fmla="*/ 0 h 264"/>
                      <a:gd name="T62" fmla="*/ 0 w 1174"/>
                      <a:gd name="T63" fmla="*/ 0 h 264"/>
                      <a:gd name="T64" fmla="*/ 0 w 1174"/>
                      <a:gd name="T65" fmla="*/ 0 h 264"/>
                      <a:gd name="T66" fmla="*/ 0 w 1174"/>
                      <a:gd name="T67" fmla="*/ 0 h 264"/>
                      <a:gd name="T68" fmla="*/ 0 w 1174"/>
                      <a:gd name="T69" fmla="*/ 0 h 264"/>
                      <a:gd name="T70" fmla="*/ 0 w 1174"/>
                      <a:gd name="T71" fmla="*/ 0 h 264"/>
                      <a:gd name="T72" fmla="*/ 0 w 1174"/>
                      <a:gd name="T73" fmla="*/ 0 h 264"/>
                      <a:gd name="T74" fmla="*/ 0 w 1174"/>
                      <a:gd name="T75" fmla="*/ 0 h 264"/>
                      <a:gd name="T76" fmla="*/ 0 w 1174"/>
                      <a:gd name="T77" fmla="*/ 0 h 264"/>
                      <a:gd name="T78" fmla="*/ 0 w 1174"/>
                      <a:gd name="T79" fmla="*/ 0 h 264"/>
                      <a:gd name="T80" fmla="*/ 0 w 1174"/>
                      <a:gd name="T81" fmla="*/ 0 h 264"/>
                      <a:gd name="T82" fmla="*/ 0 w 1174"/>
                      <a:gd name="T83" fmla="*/ 0 h 264"/>
                      <a:gd name="T84" fmla="*/ 0 w 1174"/>
                      <a:gd name="T85" fmla="*/ 0 h 264"/>
                      <a:gd name="T86" fmla="*/ 0 w 1174"/>
                      <a:gd name="T87" fmla="*/ 0 h 264"/>
                      <a:gd name="T88" fmla="*/ 0 w 1174"/>
                      <a:gd name="T89" fmla="*/ 0 h 264"/>
                      <a:gd name="T90" fmla="*/ 0 w 1174"/>
                      <a:gd name="T91" fmla="*/ 0 h 264"/>
                      <a:gd name="T92" fmla="*/ 0 w 1174"/>
                      <a:gd name="T93" fmla="*/ 0 h 264"/>
                      <a:gd name="T94" fmla="*/ 0 w 1174"/>
                      <a:gd name="T95" fmla="*/ 0 h 264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w 1174"/>
                      <a:gd name="T145" fmla="*/ 0 h 264"/>
                      <a:gd name="T146" fmla="*/ 1174 w 1174"/>
                      <a:gd name="T147" fmla="*/ 264 h 264"/>
                    </a:gdLst>
                    <a:ahLst/>
                    <a:cxnLst>
                      <a:cxn ang="T96">
                        <a:pos x="T0" y="T1"/>
                      </a:cxn>
                      <a:cxn ang="T97">
                        <a:pos x="T2" y="T3"/>
                      </a:cxn>
                      <a:cxn ang="T98">
                        <a:pos x="T4" y="T5"/>
                      </a:cxn>
                      <a:cxn ang="T99">
                        <a:pos x="T6" y="T7"/>
                      </a:cxn>
                      <a:cxn ang="T100">
                        <a:pos x="T8" y="T9"/>
                      </a:cxn>
                      <a:cxn ang="T101">
                        <a:pos x="T10" y="T11"/>
                      </a:cxn>
                      <a:cxn ang="T102">
                        <a:pos x="T12" y="T13"/>
                      </a:cxn>
                      <a:cxn ang="T103">
                        <a:pos x="T14" y="T15"/>
                      </a:cxn>
                      <a:cxn ang="T104">
                        <a:pos x="T16" y="T17"/>
                      </a:cxn>
                      <a:cxn ang="T105">
                        <a:pos x="T18" y="T19"/>
                      </a:cxn>
                      <a:cxn ang="T106">
                        <a:pos x="T20" y="T21"/>
                      </a:cxn>
                      <a:cxn ang="T107">
                        <a:pos x="T22" y="T23"/>
                      </a:cxn>
                      <a:cxn ang="T108">
                        <a:pos x="T24" y="T25"/>
                      </a:cxn>
                      <a:cxn ang="T109">
                        <a:pos x="T26" y="T27"/>
                      </a:cxn>
                      <a:cxn ang="T110">
                        <a:pos x="T28" y="T29"/>
                      </a:cxn>
                      <a:cxn ang="T111">
                        <a:pos x="T30" y="T31"/>
                      </a:cxn>
                      <a:cxn ang="T112">
                        <a:pos x="T32" y="T33"/>
                      </a:cxn>
                      <a:cxn ang="T113">
                        <a:pos x="T34" y="T35"/>
                      </a:cxn>
                      <a:cxn ang="T114">
                        <a:pos x="T36" y="T37"/>
                      </a:cxn>
                      <a:cxn ang="T115">
                        <a:pos x="T38" y="T39"/>
                      </a:cxn>
                      <a:cxn ang="T116">
                        <a:pos x="T40" y="T41"/>
                      </a:cxn>
                      <a:cxn ang="T117">
                        <a:pos x="T42" y="T43"/>
                      </a:cxn>
                      <a:cxn ang="T118">
                        <a:pos x="T44" y="T45"/>
                      </a:cxn>
                      <a:cxn ang="T119">
                        <a:pos x="T46" y="T47"/>
                      </a:cxn>
                      <a:cxn ang="T120">
                        <a:pos x="T48" y="T49"/>
                      </a:cxn>
                      <a:cxn ang="T121">
                        <a:pos x="T50" y="T51"/>
                      </a:cxn>
                      <a:cxn ang="T122">
                        <a:pos x="T52" y="T53"/>
                      </a:cxn>
                      <a:cxn ang="T123">
                        <a:pos x="T54" y="T55"/>
                      </a:cxn>
                      <a:cxn ang="T124">
                        <a:pos x="T56" y="T57"/>
                      </a:cxn>
                      <a:cxn ang="T125">
                        <a:pos x="T58" y="T59"/>
                      </a:cxn>
                      <a:cxn ang="T126">
                        <a:pos x="T60" y="T61"/>
                      </a:cxn>
                      <a:cxn ang="T127">
                        <a:pos x="T62" y="T63"/>
                      </a:cxn>
                      <a:cxn ang="T128">
                        <a:pos x="T64" y="T65"/>
                      </a:cxn>
                      <a:cxn ang="T129">
                        <a:pos x="T66" y="T67"/>
                      </a:cxn>
                      <a:cxn ang="T130">
                        <a:pos x="T68" y="T69"/>
                      </a:cxn>
                      <a:cxn ang="T131">
                        <a:pos x="T70" y="T71"/>
                      </a:cxn>
                      <a:cxn ang="T132">
                        <a:pos x="T72" y="T73"/>
                      </a:cxn>
                      <a:cxn ang="T133">
                        <a:pos x="T74" y="T75"/>
                      </a:cxn>
                      <a:cxn ang="T134">
                        <a:pos x="T76" y="T77"/>
                      </a:cxn>
                      <a:cxn ang="T135">
                        <a:pos x="T78" y="T79"/>
                      </a:cxn>
                      <a:cxn ang="T136">
                        <a:pos x="T80" y="T81"/>
                      </a:cxn>
                      <a:cxn ang="T137">
                        <a:pos x="T82" y="T83"/>
                      </a:cxn>
                      <a:cxn ang="T138">
                        <a:pos x="T84" y="T85"/>
                      </a:cxn>
                      <a:cxn ang="T139">
                        <a:pos x="T86" y="T87"/>
                      </a:cxn>
                      <a:cxn ang="T140">
                        <a:pos x="T88" y="T89"/>
                      </a:cxn>
                      <a:cxn ang="T141">
                        <a:pos x="T90" y="T91"/>
                      </a:cxn>
                      <a:cxn ang="T142">
                        <a:pos x="T92" y="T93"/>
                      </a:cxn>
                      <a:cxn ang="T143">
                        <a:pos x="T94" y="T95"/>
                      </a:cxn>
                    </a:cxnLst>
                    <a:rect l="T144" t="T145" r="T146" b="T147"/>
                    <a:pathLst>
                      <a:path w="1174" h="264">
                        <a:moveTo>
                          <a:pt x="587" y="142"/>
                        </a:moveTo>
                        <a:lnTo>
                          <a:pt x="648" y="142"/>
                        </a:lnTo>
                        <a:lnTo>
                          <a:pt x="706" y="139"/>
                        </a:lnTo>
                        <a:lnTo>
                          <a:pt x="760" y="137"/>
                        </a:lnTo>
                        <a:lnTo>
                          <a:pt x="811" y="133"/>
                        </a:lnTo>
                        <a:lnTo>
                          <a:pt x="857" y="128"/>
                        </a:lnTo>
                        <a:lnTo>
                          <a:pt x="900" y="123"/>
                        </a:lnTo>
                        <a:lnTo>
                          <a:pt x="940" y="116"/>
                        </a:lnTo>
                        <a:lnTo>
                          <a:pt x="978" y="108"/>
                        </a:lnTo>
                        <a:lnTo>
                          <a:pt x="1011" y="100"/>
                        </a:lnTo>
                        <a:lnTo>
                          <a:pt x="1042" y="90"/>
                        </a:lnTo>
                        <a:lnTo>
                          <a:pt x="1070" y="80"/>
                        </a:lnTo>
                        <a:lnTo>
                          <a:pt x="1096" y="70"/>
                        </a:lnTo>
                        <a:lnTo>
                          <a:pt x="1119" y="58"/>
                        </a:lnTo>
                        <a:lnTo>
                          <a:pt x="1139" y="46"/>
                        </a:lnTo>
                        <a:lnTo>
                          <a:pt x="1158" y="33"/>
                        </a:lnTo>
                        <a:lnTo>
                          <a:pt x="1174" y="19"/>
                        </a:lnTo>
                        <a:lnTo>
                          <a:pt x="1171" y="33"/>
                        </a:lnTo>
                        <a:lnTo>
                          <a:pt x="1168" y="46"/>
                        </a:lnTo>
                        <a:lnTo>
                          <a:pt x="1164" y="58"/>
                        </a:lnTo>
                        <a:lnTo>
                          <a:pt x="1159" y="70"/>
                        </a:lnTo>
                        <a:lnTo>
                          <a:pt x="1154" y="83"/>
                        </a:lnTo>
                        <a:lnTo>
                          <a:pt x="1148" y="95"/>
                        </a:lnTo>
                        <a:lnTo>
                          <a:pt x="1141" y="106"/>
                        </a:lnTo>
                        <a:lnTo>
                          <a:pt x="1134" y="117"/>
                        </a:lnTo>
                        <a:lnTo>
                          <a:pt x="1125" y="128"/>
                        </a:lnTo>
                        <a:lnTo>
                          <a:pt x="1116" y="139"/>
                        </a:lnTo>
                        <a:lnTo>
                          <a:pt x="1106" y="149"/>
                        </a:lnTo>
                        <a:lnTo>
                          <a:pt x="1095" y="159"/>
                        </a:lnTo>
                        <a:lnTo>
                          <a:pt x="1081" y="169"/>
                        </a:lnTo>
                        <a:lnTo>
                          <a:pt x="1068" y="178"/>
                        </a:lnTo>
                        <a:lnTo>
                          <a:pt x="1053" y="187"/>
                        </a:lnTo>
                        <a:lnTo>
                          <a:pt x="1038" y="195"/>
                        </a:lnTo>
                        <a:lnTo>
                          <a:pt x="1021" y="203"/>
                        </a:lnTo>
                        <a:lnTo>
                          <a:pt x="1002" y="211"/>
                        </a:lnTo>
                        <a:lnTo>
                          <a:pt x="983" y="218"/>
                        </a:lnTo>
                        <a:lnTo>
                          <a:pt x="962" y="224"/>
                        </a:lnTo>
                        <a:lnTo>
                          <a:pt x="940" y="231"/>
                        </a:lnTo>
                        <a:lnTo>
                          <a:pt x="915" y="236"/>
                        </a:lnTo>
                        <a:lnTo>
                          <a:pt x="890" y="242"/>
                        </a:lnTo>
                        <a:lnTo>
                          <a:pt x="863" y="246"/>
                        </a:lnTo>
                        <a:lnTo>
                          <a:pt x="835" y="251"/>
                        </a:lnTo>
                        <a:lnTo>
                          <a:pt x="805" y="254"/>
                        </a:lnTo>
                        <a:lnTo>
                          <a:pt x="773" y="257"/>
                        </a:lnTo>
                        <a:lnTo>
                          <a:pt x="740" y="260"/>
                        </a:lnTo>
                        <a:lnTo>
                          <a:pt x="704" y="262"/>
                        </a:lnTo>
                        <a:lnTo>
                          <a:pt x="667" y="263"/>
                        </a:lnTo>
                        <a:lnTo>
                          <a:pt x="628" y="264"/>
                        </a:lnTo>
                        <a:lnTo>
                          <a:pt x="587" y="264"/>
                        </a:lnTo>
                        <a:lnTo>
                          <a:pt x="548" y="264"/>
                        </a:lnTo>
                        <a:lnTo>
                          <a:pt x="511" y="263"/>
                        </a:lnTo>
                        <a:lnTo>
                          <a:pt x="476" y="262"/>
                        </a:lnTo>
                        <a:lnTo>
                          <a:pt x="442" y="260"/>
                        </a:lnTo>
                        <a:lnTo>
                          <a:pt x="410" y="256"/>
                        </a:lnTo>
                        <a:lnTo>
                          <a:pt x="380" y="253"/>
                        </a:lnTo>
                        <a:lnTo>
                          <a:pt x="350" y="250"/>
                        </a:lnTo>
                        <a:lnTo>
                          <a:pt x="323" y="245"/>
                        </a:lnTo>
                        <a:lnTo>
                          <a:pt x="297" y="240"/>
                        </a:lnTo>
                        <a:lnTo>
                          <a:pt x="271" y="234"/>
                        </a:lnTo>
                        <a:lnTo>
                          <a:pt x="248" y="227"/>
                        </a:lnTo>
                        <a:lnTo>
                          <a:pt x="225" y="221"/>
                        </a:lnTo>
                        <a:lnTo>
                          <a:pt x="204" y="214"/>
                        </a:lnTo>
                        <a:lnTo>
                          <a:pt x="185" y="206"/>
                        </a:lnTo>
                        <a:lnTo>
                          <a:pt x="166" y="198"/>
                        </a:lnTo>
                        <a:lnTo>
                          <a:pt x="149" y="189"/>
                        </a:lnTo>
                        <a:lnTo>
                          <a:pt x="133" y="181"/>
                        </a:lnTo>
                        <a:lnTo>
                          <a:pt x="117" y="172"/>
                        </a:lnTo>
                        <a:lnTo>
                          <a:pt x="103" y="162"/>
                        </a:lnTo>
                        <a:lnTo>
                          <a:pt x="91" y="150"/>
                        </a:lnTo>
                        <a:lnTo>
                          <a:pt x="78" y="140"/>
                        </a:lnTo>
                        <a:lnTo>
                          <a:pt x="67" y="129"/>
                        </a:lnTo>
                        <a:lnTo>
                          <a:pt x="57" y="118"/>
                        </a:lnTo>
                        <a:lnTo>
                          <a:pt x="47" y="106"/>
                        </a:lnTo>
                        <a:lnTo>
                          <a:pt x="39" y="94"/>
                        </a:lnTo>
                        <a:lnTo>
                          <a:pt x="32" y="81"/>
                        </a:lnTo>
                        <a:lnTo>
                          <a:pt x="25" y="68"/>
                        </a:lnTo>
                        <a:lnTo>
                          <a:pt x="18" y="56"/>
                        </a:lnTo>
                        <a:lnTo>
                          <a:pt x="13" y="43"/>
                        </a:lnTo>
                        <a:lnTo>
                          <a:pt x="8" y="28"/>
                        </a:lnTo>
                        <a:lnTo>
                          <a:pt x="4" y="15"/>
                        </a:lnTo>
                        <a:lnTo>
                          <a:pt x="0" y="0"/>
                        </a:lnTo>
                        <a:lnTo>
                          <a:pt x="18" y="16"/>
                        </a:lnTo>
                        <a:lnTo>
                          <a:pt x="37" y="31"/>
                        </a:lnTo>
                        <a:lnTo>
                          <a:pt x="58" y="45"/>
                        </a:lnTo>
                        <a:lnTo>
                          <a:pt x="82" y="58"/>
                        </a:lnTo>
                        <a:lnTo>
                          <a:pt x="107" y="71"/>
                        </a:lnTo>
                        <a:lnTo>
                          <a:pt x="136" y="83"/>
                        </a:lnTo>
                        <a:lnTo>
                          <a:pt x="167" y="94"/>
                        </a:lnTo>
                        <a:lnTo>
                          <a:pt x="202" y="103"/>
                        </a:lnTo>
                        <a:lnTo>
                          <a:pt x="239" y="112"/>
                        </a:lnTo>
                        <a:lnTo>
                          <a:pt x="279" y="119"/>
                        </a:lnTo>
                        <a:lnTo>
                          <a:pt x="322" y="126"/>
                        </a:lnTo>
                        <a:lnTo>
                          <a:pt x="368" y="132"/>
                        </a:lnTo>
                        <a:lnTo>
                          <a:pt x="418" y="136"/>
                        </a:lnTo>
                        <a:lnTo>
                          <a:pt x="470" y="139"/>
                        </a:lnTo>
                        <a:lnTo>
                          <a:pt x="527" y="140"/>
                        </a:lnTo>
                        <a:lnTo>
                          <a:pt x="587" y="142"/>
                        </a:lnTo>
                        <a:close/>
                      </a:path>
                    </a:pathLst>
                  </a:custGeom>
                  <a:solidFill>
                    <a:srgbClr val="1F1A17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40" name="Freeform 181"/>
                  <p:cNvSpPr>
                    <a:spLocks/>
                  </p:cNvSpPr>
                  <p:nvPr/>
                </p:nvSpPr>
                <p:spPr bwMode="auto">
                  <a:xfrm>
                    <a:off x="3160" y="3573"/>
                    <a:ext cx="570" cy="481"/>
                  </a:xfrm>
                  <a:custGeom>
                    <a:avLst/>
                    <a:gdLst>
                      <a:gd name="T0" fmla="*/ 0 w 3992"/>
                      <a:gd name="T1" fmla="*/ 0 h 3371"/>
                      <a:gd name="T2" fmla="*/ 0 w 3992"/>
                      <a:gd name="T3" fmla="*/ 0 h 3371"/>
                      <a:gd name="T4" fmla="*/ 0 w 3992"/>
                      <a:gd name="T5" fmla="*/ 0 h 3371"/>
                      <a:gd name="T6" fmla="*/ 0 w 3992"/>
                      <a:gd name="T7" fmla="*/ 0 h 3371"/>
                      <a:gd name="T8" fmla="*/ 0 w 3992"/>
                      <a:gd name="T9" fmla="*/ 0 h 3371"/>
                      <a:gd name="T10" fmla="*/ 0 w 3992"/>
                      <a:gd name="T11" fmla="*/ 0 h 3371"/>
                      <a:gd name="T12" fmla="*/ 0 w 3992"/>
                      <a:gd name="T13" fmla="*/ 0 h 3371"/>
                      <a:gd name="T14" fmla="*/ 0 w 3992"/>
                      <a:gd name="T15" fmla="*/ 0 h 3371"/>
                      <a:gd name="T16" fmla="*/ 0 w 3992"/>
                      <a:gd name="T17" fmla="*/ 0 h 3371"/>
                      <a:gd name="T18" fmla="*/ 0 w 3992"/>
                      <a:gd name="T19" fmla="*/ 0 h 3371"/>
                      <a:gd name="T20" fmla="*/ 0 w 3992"/>
                      <a:gd name="T21" fmla="*/ 0 h 3371"/>
                      <a:gd name="T22" fmla="*/ 0 w 3992"/>
                      <a:gd name="T23" fmla="*/ 0 h 3371"/>
                      <a:gd name="T24" fmla="*/ 0 w 3992"/>
                      <a:gd name="T25" fmla="*/ 0 h 3371"/>
                      <a:gd name="T26" fmla="*/ 0 w 3992"/>
                      <a:gd name="T27" fmla="*/ 0 h 3371"/>
                      <a:gd name="T28" fmla="*/ 0 w 3992"/>
                      <a:gd name="T29" fmla="*/ 0 h 3371"/>
                      <a:gd name="T30" fmla="*/ 0 w 3992"/>
                      <a:gd name="T31" fmla="*/ 0 h 3371"/>
                      <a:gd name="T32" fmla="*/ 0 w 3992"/>
                      <a:gd name="T33" fmla="*/ 0 h 3371"/>
                      <a:gd name="T34" fmla="*/ 0 w 3992"/>
                      <a:gd name="T35" fmla="*/ 0 h 3371"/>
                      <a:gd name="T36" fmla="*/ 0 w 3992"/>
                      <a:gd name="T37" fmla="*/ 0 h 3371"/>
                      <a:gd name="T38" fmla="*/ 0 w 3992"/>
                      <a:gd name="T39" fmla="*/ 0 h 3371"/>
                      <a:gd name="T40" fmla="*/ 0 w 3992"/>
                      <a:gd name="T41" fmla="*/ 0 h 3371"/>
                      <a:gd name="T42" fmla="*/ 0 w 3992"/>
                      <a:gd name="T43" fmla="*/ 0 h 3371"/>
                      <a:gd name="T44" fmla="*/ 0 w 3992"/>
                      <a:gd name="T45" fmla="*/ 0 h 3371"/>
                      <a:gd name="T46" fmla="*/ 0 w 3992"/>
                      <a:gd name="T47" fmla="*/ 0 h 3371"/>
                      <a:gd name="T48" fmla="*/ 0 w 3992"/>
                      <a:gd name="T49" fmla="*/ 0 h 3371"/>
                      <a:gd name="T50" fmla="*/ 0 w 3992"/>
                      <a:gd name="T51" fmla="*/ 0 h 3371"/>
                      <a:gd name="T52" fmla="*/ 0 w 3992"/>
                      <a:gd name="T53" fmla="*/ 0 h 3371"/>
                      <a:gd name="T54" fmla="*/ 0 w 3992"/>
                      <a:gd name="T55" fmla="*/ 0 h 3371"/>
                      <a:gd name="T56" fmla="*/ 0 w 3992"/>
                      <a:gd name="T57" fmla="*/ 0 h 3371"/>
                      <a:gd name="T58" fmla="*/ 0 w 3992"/>
                      <a:gd name="T59" fmla="*/ 0 h 3371"/>
                      <a:gd name="T60" fmla="*/ 0 w 3992"/>
                      <a:gd name="T61" fmla="*/ 0 h 3371"/>
                      <a:gd name="T62" fmla="*/ 0 w 3992"/>
                      <a:gd name="T63" fmla="*/ 0 h 3371"/>
                      <a:gd name="T64" fmla="*/ 0 w 3992"/>
                      <a:gd name="T65" fmla="*/ 0 h 3371"/>
                      <a:gd name="T66" fmla="*/ 0 w 3992"/>
                      <a:gd name="T67" fmla="*/ 0 h 3371"/>
                      <a:gd name="T68" fmla="*/ 0 w 3992"/>
                      <a:gd name="T69" fmla="*/ 0 h 3371"/>
                      <a:gd name="T70" fmla="*/ 0 w 3992"/>
                      <a:gd name="T71" fmla="*/ 0 h 3371"/>
                      <a:gd name="T72" fmla="*/ 0 w 3992"/>
                      <a:gd name="T73" fmla="*/ 0 h 3371"/>
                      <a:gd name="T74" fmla="*/ 0 w 3992"/>
                      <a:gd name="T75" fmla="*/ 0 h 3371"/>
                      <a:gd name="T76" fmla="*/ 0 w 3992"/>
                      <a:gd name="T77" fmla="*/ 0 h 3371"/>
                      <a:gd name="T78" fmla="*/ 0 w 3992"/>
                      <a:gd name="T79" fmla="*/ 0 h 3371"/>
                      <a:gd name="T80" fmla="*/ 0 w 3992"/>
                      <a:gd name="T81" fmla="*/ 0 h 3371"/>
                      <a:gd name="T82" fmla="*/ 0 w 3992"/>
                      <a:gd name="T83" fmla="*/ 0 h 3371"/>
                      <a:gd name="T84" fmla="*/ 0 w 3992"/>
                      <a:gd name="T85" fmla="*/ 0 h 3371"/>
                      <a:gd name="T86" fmla="*/ 0 w 3992"/>
                      <a:gd name="T87" fmla="*/ 0 h 3371"/>
                      <a:gd name="T88" fmla="*/ 0 w 3992"/>
                      <a:gd name="T89" fmla="*/ 0 h 3371"/>
                      <a:gd name="T90" fmla="*/ 0 w 3992"/>
                      <a:gd name="T91" fmla="*/ 0 h 3371"/>
                      <a:gd name="T92" fmla="*/ 0 w 3992"/>
                      <a:gd name="T93" fmla="*/ 0 h 3371"/>
                      <a:gd name="T94" fmla="*/ 0 w 3992"/>
                      <a:gd name="T95" fmla="*/ 0 h 3371"/>
                      <a:gd name="T96" fmla="*/ 0 w 3992"/>
                      <a:gd name="T97" fmla="*/ 0 h 3371"/>
                      <a:gd name="T98" fmla="*/ 0 w 3992"/>
                      <a:gd name="T99" fmla="*/ 0 h 3371"/>
                      <a:gd name="T100" fmla="*/ 0 w 3992"/>
                      <a:gd name="T101" fmla="*/ 0 h 3371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w 3992"/>
                      <a:gd name="T154" fmla="*/ 0 h 3371"/>
                      <a:gd name="T155" fmla="*/ 3992 w 3992"/>
                      <a:gd name="T156" fmla="*/ 3371 h 3371"/>
                    </a:gdLst>
                    <a:ahLst/>
                    <a:cxnLst>
                      <a:cxn ang="T102">
                        <a:pos x="T0" y="T1"/>
                      </a:cxn>
                      <a:cxn ang="T103">
                        <a:pos x="T2" y="T3"/>
                      </a:cxn>
                      <a:cxn ang="T104">
                        <a:pos x="T4" y="T5"/>
                      </a:cxn>
                      <a:cxn ang="T105">
                        <a:pos x="T6" y="T7"/>
                      </a:cxn>
                      <a:cxn ang="T106">
                        <a:pos x="T8" y="T9"/>
                      </a:cxn>
                      <a:cxn ang="T107">
                        <a:pos x="T10" y="T11"/>
                      </a:cxn>
                      <a:cxn ang="T108">
                        <a:pos x="T12" y="T13"/>
                      </a:cxn>
                      <a:cxn ang="T109">
                        <a:pos x="T14" y="T15"/>
                      </a:cxn>
                      <a:cxn ang="T110">
                        <a:pos x="T16" y="T17"/>
                      </a:cxn>
                      <a:cxn ang="T111">
                        <a:pos x="T18" y="T19"/>
                      </a:cxn>
                      <a:cxn ang="T112">
                        <a:pos x="T20" y="T21"/>
                      </a:cxn>
                      <a:cxn ang="T113">
                        <a:pos x="T22" y="T23"/>
                      </a:cxn>
                      <a:cxn ang="T114">
                        <a:pos x="T24" y="T25"/>
                      </a:cxn>
                      <a:cxn ang="T115">
                        <a:pos x="T26" y="T27"/>
                      </a:cxn>
                      <a:cxn ang="T116">
                        <a:pos x="T28" y="T29"/>
                      </a:cxn>
                      <a:cxn ang="T117">
                        <a:pos x="T30" y="T31"/>
                      </a:cxn>
                      <a:cxn ang="T118">
                        <a:pos x="T32" y="T33"/>
                      </a:cxn>
                      <a:cxn ang="T119">
                        <a:pos x="T34" y="T35"/>
                      </a:cxn>
                      <a:cxn ang="T120">
                        <a:pos x="T36" y="T37"/>
                      </a:cxn>
                      <a:cxn ang="T121">
                        <a:pos x="T38" y="T39"/>
                      </a:cxn>
                      <a:cxn ang="T122">
                        <a:pos x="T40" y="T41"/>
                      </a:cxn>
                      <a:cxn ang="T123">
                        <a:pos x="T42" y="T43"/>
                      </a:cxn>
                      <a:cxn ang="T124">
                        <a:pos x="T44" y="T45"/>
                      </a:cxn>
                      <a:cxn ang="T125">
                        <a:pos x="T46" y="T47"/>
                      </a:cxn>
                      <a:cxn ang="T126">
                        <a:pos x="T48" y="T49"/>
                      </a:cxn>
                      <a:cxn ang="T127">
                        <a:pos x="T50" y="T51"/>
                      </a:cxn>
                      <a:cxn ang="T128">
                        <a:pos x="T52" y="T53"/>
                      </a:cxn>
                      <a:cxn ang="T129">
                        <a:pos x="T54" y="T55"/>
                      </a:cxn>
                      <a:cxn ang="T130">
                        <a:pos x="T56" y="T57"/>
                      </a:cxn>
                      <a:cxn ang="T131">
                        <a:pos x="T58" y="T59"/>
                      </a:cxn>
                      <a:cxn ang="T132">
                        <a:pos x="T60" y="T61"/>
                      </a:cxn>
                      <a:cxn ang="T133">
                        <a:pos x="T62" y="T63"/>
                      </a:cxn>
                      <a:cxn ang="T134">
                        <a:pos x="T64" y="T65"/>
                      </a:cxn>
                      <a:cxn ang="T135">
                        <a:pos x="T66" y="T67"/>
                      </a:cxn>
                      <a:cxn ang="T136">
                        <a:pos x="T68" y="T69"/>
                      </a:cxn>
                      <a:cxn ang="T137">
                        <a:pos x="T70" y="T71"/>
                      </a:cxn>
                      <a:cxn ang="T138">
                        <a:pos x="T72" y="T73"/>
                      </a:cxn>
                      <a:cxn ang="T139">
                        <a:pos x="T74" y="T75"/>
                      </a:cxn>
                      <a:cxn ang="T140">
                        <a:pos x="T76" y="T77"/>
                      </a:cxn>
                      <a:cxn ang="T141">
                        <a:pos x="T78" y="T79"/>
                      </a:cxn>
                      <a:cxn ang="T142">
                        <a:pos x="T80" y="T81"/>
                      </a:cxn>
                      <a:cxn ang="T143">
                        <a:pos x="T82" y="T83"/>
                      </a:cxn>
                      <a:cxn ang="T144">
                        <a:pos x="T84" y="T85"/>
                      </a:cxn>
                      <a:cxn ang="T145">
                        <a:pos x="T86" y="T87"/>
                      </a:cxn>
                      <a:cxn ang="T146">
                        <a:pos x="T88" y="T89"/>
                      </a:cxn>
                      <a:cxn ang="T147">
                        <a:pos x="T90" y="T91"/>
                      </a:cxn>
                      <a:cxn ang="T148">
                        <a:pos x="T92" y="T93"/>
                      </a:cxn>
                      <a:cxn ang="T149">
                        <a:pos x="T94" y="T95"/>
                      </a:cxn>
                      <a:cxn ang="T150">
                        <a:pos x="T96" y="T97"/>
                      </a:cxn>
                      <a:cxn ang="T151">
                        <a:pos x="T98" y="T99"/>
                      </a:cxn>
                      <a:cxn ang="T152">
                        <a:pos x="T100" y="T101"/>
                      </a:cxn>
                    </a:cxnLst>
                    <a:rect l="T153" t="T154" r="T155" b="T156"/>
                    <a:pathLst>
                      <a:path w="3992" h="3371">
                        <a:moveTo>
                          <a:pt x="2681" y="32"/>
                        </a:moveTo>
                        <a:lnTo>
                          <a:pt x="2664" y="27"/>
                        </a:lnTo>
                        <a:lnTo>
                          <a:pt x="2647" y="21"/>
                        </a:lnTo>
                        <a:lnTo>
                          <a:pt x="2629" y="17"/>
                        </a:lnTo>
                        <a:lnTo>
                          <a:pt x="2611" y="12"/>
                        </a:lnTo>
                        <a:lnTo>
                          <a:pt x="2574" y="7"/>
                        </a:lnTo>
                        <a:lnTo>
                          <a:pt x="2539" y="3"/>
                        </a:lnTo>
                        <a:lnTo>
                          <a:pt x="2502" y="1"/>
                        </a:lnTo>
                        <a:lnTo>
                          <a:pt x="2464" y="0"/>
                        </a:lnTo>
                        <a:lnTo>
                          <a:pt x="2428" y="1"/>
                        </a:lnTo>
                        <a:lnTo>
                          <a:pt x="2390" y="3"/>
                        </a:lnTo>
                        <a:lnTo>
                          <a:pt x="2315" y="8"/>
                        </a:lnTo>
                        <a:lnTo>
                          <a:pt x="2241" y="13"/>
                        </a:lnTo>
                        <a:lnTo>
                          <a:pt x="2204" y="16"/>
                        </a:lnTo>
                        <a:lnTo>
                          <a:pt x="2166" y="17"/>
                        </a:lnTo>
                        <a:lnTo>
                          <a:pt x="2129" y="17"/>
                        </a:lnTo>
                        <a:lnTo>
                          <a:pt x="2094" y="16"/>
                        </a:lnTo>
                        <a:lnTo>
                          <a:pt x="2027" y="12"/>
                        </a:lnTo>
                        <a:lnTo>
                          <a:pt x="1961" y="9"/>
                        </a:lnTo>
                        <a:lnTo>
                          <a:pt x="1894" y="7"/>
                        </a:lnTo>
                        <a:lnTo>
                          <a:pt x="1829" y="6"/>
                        </a:lnTo>
                        <a:lnTo>
                          <a:pt x="1763" y="7"/>
                        </a:lnTo>
                        <a:lnTo>
                          <a:pt x="1696" y="9"/>
                        </a:lnTo>
                        <a:lnTo>
                          <a:pt x="1664" y="11"/>
                        </a:lnTo>
                        <a:lnTo>
                          <a:pt x="1631" y="14"/>
                        </a:lnTo>
                        <a:lnTo>
                          <a:pt x="1598" y="18"/>
                        </a:lnTo>
                        <a:lnTo>
                          <a:pt x="1566" y="22"/>
                        </a:lnTo>
                        <a:lnTo>
                          <a:pt x="1534" y="27"/>
                        </a:lnTo>
                        <a:lnTo>
                          <a:pt x="1502" y="32"/>
                        </a:lnTo>
                        <a:lnTo>
                          <a:pt x="1469" y="39"/>
                        </a:lnTo>
                        <a:lnTo>
                          <a:pt x="1437" y="46"/>
                        </a:lnTo>
                        <a:lnTo>
                          <a:pt x="1405" y="55"/>
                        </a:lnTo>
                        <a:lnTo>
                          <a:pt x="1374" y="63"/>
                        </a:lnTo>
                        <a:lnTo>
                          <a:pt x="1342" y="73"/>
                        </a:lnTo>
                        <a:lnTo>
                          <a:pt x="1311" y="85"/>
                        </a:lnTo>
                        <a:lnTo>
                          <a:pt x="1280" y="97"/>
                        </a:lnTo>
                        <a:lnTo>
                          <a:pt x="1249" y="110"/>
                        </a:lnTo>
                        <a:lnTo>
                          <a:pt x="1219" y="125"/>
                        </a:lnTo>
                        <a:lnTo>
                          <a:pt x="1189" y="140"/>
                        </a:lnTo>
                        <a:lnTo>
                          <a:pt x="1159" y="157"/>
                        </a:lnTo>
                        <a:lnTo>
                          <a:pt x="1129" y="175"/>
                        </a:lnTo>
                        <a:lnTo>
                          <a:pt x="1100" y="194"/>
                        </a:lnTo>
                        <a:lnTo>
                          <a:pt x="1071" y="215"/>
                        </a:lnTo>
                        <a:lnTo>
                          <a:pt x="990" y="278"/>
                        </a:lnTo>
                        <a:lnTo>
                          <a:pt x="913" y="348"/>
                        </a:lnTo>
                        <a:lnTo>
                          <a:pt x="839" y="422"/>
                        </a:lnTo>
                        <a:lnTo>
                          <a:pt x="769" y="501"/>
                        </a:lnTo>
                        <a:lnTo>
                          <a:pt x="702" y="583"/>
                        </a:lnTo>
                        <a:lnTo>
                          <a:pt x="640" y="669"/>
                        </a:lnTo>
                        <a:lnTo>
                          <a:pt x="580" y="758"/>
                        </a:lnTo>
                        <a:lnTo>
                          <a:pt x="524" y="849"/>
                        </a:lnTo>
                        <a:lnTo>
                          <a:pt x="471" y="943"/>
                        </a:lnTo>
                        <a:lnTo>
                          <a:pt x="422" y="1038"/>
                        </a:lnTo>
                        <a:lnTo>
                          <a:pt x="375" y="1134"/>
                        </a:lnTo>
                        <a:lnTo>
                          <a:pt x="332" y="1232"/>
                        </a:lnTo>
                        <a:lnTo>
                          <a:pt x="291" y="1329"/>
                        </a:lnTo>
                        <a:lnTo>
                          <a:pt x="254" y="1427"/>
                        </a:lnTo>
                        <a:lnTo>
                          <a:pt x="219" y="1522"/>
                        </a:lnTo>
                        <a:lnTo>
                          <a:pt x="187" y="1618"/>
                        </a:lnTo>
                        <a:lnTo>
                          <a:pt x="158" y="1713"/>
                        </a:lnTo>
                        <a:lnTo>
                          <a:pt x="131" y="1804"/>
                        </a:lnTo>
                        <a:lnTo>
                          <a:pt x="108" y="1894"/>
                        </a:lnTo>
                        <a:lnTo>
                          <a:pt x="87" y="1981"/>
                        </a:lnTo>
                        <a:lnTo>
                          <a:pt x="68" y="2063"/>
                        </a:lnTo>
                        <a:lnTo>
                          <a:pt x="51" y="2143"/>
                        </a:lnTo>
                        <a:lnTo>
                          <a:pt x="38" y="2218"/>
                        </a:lnTo>
                        <a:lnTo>
                          <a:pt x="26" y="2288"/>
                        </a:lnTo>
                        <a:lnTo>
                          <a:pt x="17" y="2354"/>
                        </a:lnTo>
                        <a:lnTo>
                          <a:pt x="9" y="2413"/>
                        </a:lnTo>
                        <a:lnTo>
                          <a:pt x="5" y="2466"/>
                        </a:lnTo>
                        <a:lnTo>
                          <a:pt x="1" y="2513"/>
                        </a:lnTo>
                        <a:lnTo>
                          <a:pt x="0" y="2553"/>
                        </a:lnTo>
                        <a:lnTo>
                          <a:pt x="0" y="2585"/>
                        </a:lnTo>
                        <a:lnTo>
                          <a:pt x="2" y="2610"/>
                        </a:lnTo>
                        <a:lnTo>
                          <a:pt x="7" y="2625"/>
                        </a:lnTo>
                        <a:lnTo>
                          <a:pt x="20" y="2652"/>
                        </a:lnTo>
                        <a:lnTo>
                          <a:pt x="32" y="2679"/>
                        </a:lnTo>
                        <a:lnTo>
                          <a:pt x="46" y="2704"/>
                        </a:lnTo>
                        <a:lnTo>
                          <a:pt x="60" y="2729"/>
                        </a:lnTo>
                        <a:lnTo>
                          <a:pt x="75" y="2752"/>
                        </a:lnTo>
                        <a:lnTo>
                          <a:pt x="89" y="2774"/>
                        </a:lnTo>
                        <a:lnTo>
                          <a:pt x="105" y="2797"/>
                        </a:lnTo>
                        <a:lnTo>
                          <a:pt x="120" y="2817"/>
                        </a:lnTo>
                        <a:lnTo>
                          <a:pt x="136" y="2837"/>
                        </a:lnTo>
                        <a:lnTo>
                          <a:pt x="153" y="2856"/>
                        </a:lnTo>
                        <a:lnTo>
                          <a:pt x="169" y="2873"/>
                        </a:lnTo>
                        <a:lnTo>
                          <a:pt x="186" y="2891"/>
                        </a:lnTo>
                        <a:lnTo>
                          <a:pt x="203" y="2908"/>
                        </a:lnTo>
                        <a:lnTo>
                          <a:pt x="219" y="2923"/>
                        </a:lnTo>
                        <a:lnTo>
                          <a:pt x="236" y="2938"/>
                        </a:lnTo>
                        <a:lnTo>
                          <a:pt x="254" y="2952"/>
                        </a:lnTo>
                        <a:lnTo>
                          <a:pt x="271" y="2966"/>
                        </a:lnTo>
                        <a:lnTo>
                          <a:pt x="288" y="2979"/>
                        </a:lnTo>
                        <a:lnTo>
                          <a:pt x="305" y="2991"/>
                        </a:lnTo>
                        <a:lnTo>
                          <a:pt x="323" y="3002"/>
                        </a:lnTo>
                        <a:lnTo>
                          <a:pt x="357" y="3022"/>
                        </a:lnTo>
                        <a:lnTo>
                          <a:pt x="391" y="3041"/>
                        </a:lnTo>
                        <a:lnTo>
                          <a:pt x="424" y="3057"/>
                        </a:lnTo>
                        <a:lnTo>
                          <a:pt x="456" y="3070"/>
                        </a:lnTo>
                        <a:lnTo>
                          <a:pt x="486" y="3081"/>
                        </a:lnTo>
                        <a:lnTo>
                          <a:pt x="517" y="3090"/>
                        </a:lnTo>
                        <a:lnTo>
                          <a:pt x="550" y="3100"/>
                        </a:lnTo>
                        <a:lnTo>
                          <a:pt x="586" y="3111"/>
                        </a:lnTo>
                        <a:lnTo>
                          <a:pt x="622" y="3125"/>
                        </a:lnTo>
                        <a:lnTo>
                          <a:pt x="660" y="3138"/>
                        </a:lnTo>
                        <a:lnTo>
                          <a:pt x="740" y="3169"/>
                        </a:lnTo>
                        <a:lnTo>
                          <a:pt x="825" y="3201"/>
                        </a:lnTo>
                        <a:lnTo>
                          <a:pt x="868" y="3216"/>
                        </a:lnTo>
                        <a:lnTo>
                          <a:pt x="913" y="3232"/>
                        </a:lnTo>
                        <a:lnTo>
                          <a:pt x="957" y="3246"/>
                        </a:lnTo>
                        <a:lnTo>
                          <a:pt x="1003" y="3260"/>
                        </a:lnTo>
                        <a:lnTo>
                          <a:pt x="1049" y="3272"/>
                        </a:lnTo>
                        <a:lnTo>
                          <a:pt x="1094" y="3282"/>
                        </a:lnTo>
                        <a:lnTo>
                          <a:pt x="1140" y="3291"/>
                        </a:lnTo>
                        <a:lnTo>
                          <a:pt x="1185" y="3296"/>
                        </a:lnTo>
                        <a:lnTo>
                          <a:pt x="1264" y="3306"/>
                        </a:lnTo>
                        <a:lnTo>
                          <a:pt x="1350" y="3316"/>
                        </a:lnTo>
                        <a:lnTo>
                          <a:pt x="1439" y="3327"/>
                        </a:lnTo>
                        <a:lnTo>
                          <a:pt x="1532" y="3339"/>
                        </a:lnTo>
                        <a:lnTo>
                          <a:pt x="1624" y="3350"/>
                        </a:lnTo>
                        <a:lnTo>
                          <a:pt x="1716" y="3359"/>
                        </a:lnTo>
                        <a:lnTo>
                          <a:pt x="1761" y="3363"/>
                        </a:lnTo>
                        <a:lnTo>
                          <a:pt x="1805" y="3366"/>
                        </a:lnTo>
                        <a:lnTo>
                          <a:pt x="1849" y="3369"/>
                        </a:lnTo>
                        <a:lnTo>
                          <a:pt x="1890" y="3371"/>
                        </a:lnTo>
                        <a:lnTo>
                          <a:pt x="1933" y="3371"/>
                        </a:lnTo>
                        <a:lnTo>
                          <a:pt x="1978" y="3370"/>
                        </a:lnTo>
                        <a:lnTo>
                          <a:pt x="2021" y="3367"/>
                        </a:lnTo>
                        <a:lnTo>
                          <a:pt x="2065" y="3364"/>
                        </a:lnTo>
                        <a:lnTo>
                          <a:pt x="2108" y="3359"/>
                        </a:lnTo>
                        <a:lnTo>
                          <a:pt x="2152" y="3353"/>
                        </a:lnTo>
                        <a:lnTo>
                          <a:pt x="2195" y="3346"/>
                        </a:lnTo>
                        <a:lnTo>
                          <a:pt x="2238" y="3340"/>
                        </a:lnTo>
                        <a:lnTo>
                          <a:pt x="2324" y="3325"/>
                        </a:lnTo>
                        <a:lnTo>
                          <a:pt x="2410" y="3313"/>
                        </a:lnTo>
                        <a:lnTo>
                          <a:pt x="2452" y="3307"/>
                        </a:lnTo>
                        <a:lnTo>
                          <a:pt x="2494" y="3302"/>
                        </a:lnTo>
                        <a:lnTo>
                          <a:pt x="2536" y="3298"/>
                        </a:lnTo>
                        <a:lnTo>
                          <a:pt x="2578" y="3296"/>
                        </a:lnTo>
                        <a:lnTo>
                          <a:pt x="2615" y="3294"/>
                        </a:lnTo>
                        <a:lnTo>
                          <a:pt x="2655" y="3291"/>
                        </a:lnTo>
                        <a:lnTo>
                          <a:pt x="2698" y="3285"/>
                        </a:lnTo>
                        <a:lnTo>
                          <a:pt x="2745" y="3278"/>
                        </a:lnTo>
                        <a:lnTo>
                          <a:pt x="2793" y="3270"/>
                        </a:lnTo>
                        <a:lnTo>
                          <a:pt x="2842" y="3261"/>
                        </a:lnTo>
                        <a:lnTo>
                          <a:pt x="2892" y="3251"/>
                        </a:lnTo>
                        <a:lnTo>
                          <a:pt x="2942" y="3239"/>
                        </a:lnTo>
                        <a:lnTo>
                          <a:pt x="3040" y="3218"/>
                        </a:lnTo>
                        <a:lnTo>
                          <a:pt x="3133" y="3196"/>
                        </a:lnTo>
                        <a:lnTo>
                          <a:pt x="3214" y="3175"/>
                        </a:lnTo>
                        <a:lnTo>
                          <a:pt x="3282" y="3158"/>
                        </a:lnTo>
                        <a:lnTo>
                          <a:pt x="3327" y="3146"/>
                        </a:lnTo>
                        <a:lnTo>
                          <a:pt x="3375" y="3132"/>
                        </a:lnTo>
                        <a:lnTo>
                          <a:pt x="3425" y="3115"/>
                        </a:lnTo>
                        <a:lnTo>
                          <a:pt x="3477" y="3096"/>
                        </a:lnTo>
                        <a:lnTo>
                          <a:pt x="3531" y="3075"/>
                        </a:lnTo>
                        <a:lnTo>
                          <a:pt x="3584" y="3053"/>
                        </a:lnTo>
                        <a:lnTo>
                          <a:pt x="3637" y="3027"/>
                        </a:lnTo>
                        <a:lnTo>
                          <a:pt x="3689" y="3000"/>
                        </a:lnTo>
                        <a:lnTo>
                          <a:pt x="3714" y="2986"/>
                        </a:lnTo>
                        <a:lnTo>
                          <a:pt x="3740" y="2971"/>
                        </a:lnTo>
                        <a:lnTo>
                          <a:pt x="3764" y="2957"/>
                        </a:lnTo>
                        <a:lnTo>
                          <a:pt x="3788" y="2941"/>
                        </a:lnTo>
                        <a:lnTo>
                          <a:pt x="3810" y="2926"/>
                        </a:lnTo>
                        <a:lnTo>
                          <a:pt x="3832" y="2909"/>
                        </a:lnTo>
                        <a:lnTo>
                          <a:pt x="3853" y="2892"/>
                        </a:lnTo>
                        <a:lnTo>
                          <a:pt x="3873" y="2874"/>
                        </a:lnTo>
                        <a:lnTo>
                          <a:pt x="3892" y="2858"/>
                        </a:lnTo>
                        <a:lnTo>
                          <a:pt x="3910" y="2840"/>
                        </a:lnTo>
                        <a:lnTo>
                          <a:pt x="3927" y="2821"/>
                        </a:lnTo>
                        <a:lnTo>
                          <a:pt x="3941" y="2802"/>
                        </a:lnTo>
                        <a:lnTo>
                          <a:pt x="3955" y="2783"/>
                        </a:lnTo>
                        <a:lnTo>
                          <a:pt x="3967" y="2764"/>
                        </a:lnTo>
                        <a:lnTo>
                          <a:pt x="3977" y="2744"/>
                        </a:lnTo>
                        <a:lnTo>
                          <a:pt x="3986" y="2724"/>
                        </a:lnTo>
                        <a:lnTo>
                          <a:pt x="3990" y="2703"/>
                        </a:lnTo>
                        <a:lnTo>
                          <a:pt x="3992" y="2671"/>
                        </a:lnTo>
                        <a:lnTo>
                          <a:pt x="3991" y="2627"/>
                        </a:lnTo>
                        <a:lnTo>
                          <a:pt x="3988" y="2575"/>
                        </a:lnTo>
                        <a:lnTo>
                          <a:pt x="3982" y="2514"/>
                        </a:lnTo>
                        <a:lnTo>
                          <a:pt x="3974" y="2445"/>
                        </a:lnTo>
                        <a:lnTo>
                          <a:pt x="3962" y="2368"/>
                        </a:lnTo>
                        <a:lnTo>
                          <a:pt x="3948" y="2284"/>
                        </a:lnTo>
                        <a:lnTo>
                          <a:pt x="3931" y="2195"/>
                        </a:lnTo>
                        <a:lnTo>
                          <a:pt x="3911" y="2099"/>
                        </a:lnTo>
                        <a:lnTo>
                          <a:pt x="3888" y="1999"/>
                        </a:lnTo>
                        <a:lnTo>
                          <a:pt x="3862" y="1894"/>
                        </a:lnTo>
                        <a:lnTo>
                          <a:pt x="3833" y="1787"/>
                        </a:lnTo>
                        <a:lnTo>
                          <a:pt x="3802" y="1677"/>
                        </a:lnTo>
                        <a:lnTo>
                          <a:pt x="3768" y="1565"/>
                        </a:lnTo>
                        <a:lnTo>
                          <a:pt x="3730" y="1451"/>
                        </a:lnTo>
                        <a:lnTo>
                          <a:pt x="3689" y="1338"/>
                        </a:lnTo>
                        <a:lnTo>
                          <a:pt x="3644" y="1223"/>
                        </a:lnTo>
                        <a:lnTo>
                          <a:pt x="3597" y="1111"/>
                        </a:lnTo>
                        <a:lnTo>
                          <a:pt x="3547" y="999"/>
                        </a:lnTo>
                        <a:lnTo>
                          <a:pt x="3494" y="889"/>
                        </a:lnTo>
                        <a:lnTo>
                          <a:pt x="3437" y="783"/>
                        </a:lnTo>
                        <a:lnTo>
                          <a:pt x="3377" y="680"/>
                        </a:lnTo>
                        <a:lnTo>
                          <a:pt x="3314" y="582"/>
                        </a:lnTo>
                        <a:lnTo>
                          <a:pt x="3247" y="489"/>
                        </a:lnTo>
                        <a:lnTo>
                          <a:pt x="3175" y="401"/>
                        </a:lnTo>
                        <a:lnTo>
                          <a:pt x="3102" y="319"/>
                        </a:lnTo>
                        <a:lnTo>
                          <a:pt x="3025" y="245"/>
                        </a:lnTo>
                        <a:lnTo>
                          <a:pt x="2945" y="178"/>
                        </a:lnTo>
                        <a:lnTo>
                          <a:pt x="2861" y="120"/>
                        </a:lnTo>
                        <a:lnTo>
                          <a:pt x="2773" y="71"/>
                        </a:lnTo>
                        <a:lnTo>
                          <a:pt x="2681" y="32"/>
                        </a:lnTo>
                        <a:close/>
                      </a:path>
                    </a:pathLst>
                  </a:custGeom>
                  <a:solidFill>
                    <a:srgbClr val="311F74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41" name="Freeform 182"/>
                  <p:cNvSpPr>
                    <a:spLocks noEditPoints="1"/>
                  </p:cNvSpPr>
                  <p:nvPr/>
                </p:nvSpPr>
                <p:spPr bwMode="auto">
                  <a:xfrm>
                    <a:off x="3333" y="3710"/>
                    <a:ext cx="230" cy="174"/>
                  </a:xfrm>
                  <a:custGeom>
                    <a:avLst/>
                    <a:gdLst>
                      <a:gd name="T0" fmla="*/ 0 w 1608"/>
                      <a:gd name="T1" fmla="*/ 0 h 1215"/>
                      <a:gd name="T2" fmla="*/ 0 w 1608"/>
                      <a:gd name="T3" fmla="*/ 0 h 1215"/>
                      <a:gd name="T4" fmla="*/ 0 w 1608"/>
                      <a:gd name="T5" fmla="*/ 0 h 1215"/>
                      <a:gd name="T6" fmla="*/ 0 w 1608"/>
                      <a:gd name="T7" fmla="*/ 0 h 1215"/>
                      <a:gd name="T8" fmla="*/ 0 w 1608"/>
                      <a:gd name="T9" fmla="*/ 0 h 1215"/>
                      <a:gd name="T10" fmla="*/ 0 w 1608"/>
                      <a:gd name="T11" fmla="*/ 0 h 1215"/>
                      <a:gd name="T12" fmla="*/ 0 w 1608"/>
                      <a:gd name="T13" fmla="*/ 0 h 1215"/>
                      <a:gd name="T14" fmla="*/ 0 w 1608"/>
                      <a:gd name="T15" fmla="*/ 0 h 1215"/>
                      <a:gd name="T16" fmla="*/ 0 w 1608"/>
                      <a:gd name="T17" fmla="*/ 0 h 1215"/>
                      <a:gd name="T18" fmla="*/ 0 w 1608"/>
                      <a:gd name="T19" fmla="*/ 0 h 1215"/>
                      <a:gd name="T20" fmla="*/ 0 w 1608"/>
                      <a:gd name="T21" fmla="*/ 0 h 1215"/>
                      <a:gd name="T22" fmla="*/ 0 w 1608"/>
                      <a:gd name="T23" fmla="*/ 0 h 1215"/>
                      <a:gd name="T24" fmla="*/ 0 w 1608"/>
                      <a:gd name="T25" fmla="*/ 0 h 1215"/>
                      <a:gd name="T26" fmla="*/ 0 w 1608"/>
                      <a:gd name="T27" fmla="*/ 0 h 1215"/>
                      <a:gd name="T28" fmla="*/ 0 w 1608"/>
                      <a:gd name="T29" fmla="*/ 0 h 1215"/>
                      <a:gd name="T30" fmla="*/ 0 w 1608"/>
                      <a:gd name="T31" fmla="*/ 0 h 1215"/>
                      <a:gd name="T32" fmla="*/ 0 w 1608"/>
                      <a:gd name="T33" fmla="*/ 0 h 1215"/>
                      <a:gd name="T34" fmla="*/ 0 w 1608"/>
                      <a:gd name="T35" fmla="*/ 0 h 1215"/>
                      <a:gd name="T36" fmla="*/ 0 w 1608"/>
                      <a:gd name="T37" fmla="*/ 0 h 1215"/>
                      <a:gd name="T38" fmla="*/ 0 w 1608"/>
                      <a:gd name="T39" fmla="*/ 0 h 1215"/>
                      <a:gd name="T40" fmla="*/ 0 w 1608"/>
                      <a:gd name="T41" fmla="*/ 0 h 1215"/>
                      <a:gd name="T42" fmla="*/ 0 w 1608"/>
                      <a:gd name="T43" fmla="*/ 0 h 1215"/>
                      <a:gd name="T44" fmla="*/ 0 w 1608"/>
                      <a:gd name="T45" fmla="*/ 0 h 1215"/>
                      <a:gd name="T46" fmla="*/ 0 w 1608"/>
                      <a:gd name="T47" fmla="*/ 0 h 1215"/>
                      <a:gd name="T48" fmla="*/ 0 w 1608"/>
                      <a:gd name="T49" fmla="*/ 0 h 1215"/>
                      <a:gd name="T50" fmla="*/ 0 w 1608"/>
                      <a:gd name="T51" fmla="*/ 0 h 1215"/>
                      <a:gd name="T52" fmla="*/ 0 w 1608"/>
                      <a:gd name="T53" fmla="*/ 0 h 1215"/>
                      <a:gd name="T54" fmla="*/ 0 w 1608"/>
                      <a:gd name="T55" fmla="*/ 0 h 1215"/>
                      <a:gd name="T56" fmla="*/ 0 w 1608"/>
                      <a:gd name="T57" fmla="*/ 0 h 1215"/>
                      <a:gd name="T58" fmla="*/ 0 w 1608"/>
                      <a:gd name="T59" fmla="*/ 0 h 1215"/>
                      <a:gd name="T60" fmla="*/ 0 w 1608"/>
                      <a:gd name="T61" fmla="*/ 0 h 1215"/>
                      <a:gd name="T62" fmla="*/ 0 w 1608"/>
                      <a:gd name="T63" fmla="*/ 0 h 1215"/>
                      <a:gd name="T64" fmla="*/ 0 w 1608"/>
                      <a:gd name="T65" fmla="*/ 0 h 1215"/>
                      <a:gd name="T66" fmla="*/ 0 w 1608"/>
                      <a:gd name="T67" fmla="*/ 0 h 1215"/>
                      <a:gd name="T68" fmla="*/ 0 w 1608"/>
                      <a:gd name="T69" fmla="*/ 0 h 1215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w 1608"/>
                      <a:gd name="T106" fmla="*/ 0 h 1215"/>
                      <a:gd name="T107" fmla="*/ 1608 w 1608"/>
                      <a:gd name="T108" fmla="*/ 1215 h 1215"/>
                    </a:gdLst>
                    <a:ahLst/>
                    <a:cxnLst>
                      <a:cxn ang="T70">
                        <a:pos x="T0" y="T1"/>
                      </a:cxn>
                      <a:cxn ang="T71">
                        <a:pos x="T2" y="T3"/>
                      </a:cxn>
                      <a:cxn ang="T72">
                        <a:pos x="T4" y="T5"/>
                      </a:cxn>
                      <a:cxn ang="T73">
                        <a:pos x="T6" y="T7"/>
                      </a:cxn>
                      <a:cxn ang="T74">
                        <a:pos x="T8" y="T9"/>
                      </a:cxn>
                      <a:cxn ang="T75">
                        <a:pos x="T10" y="T11"/>
                      </a:cxn>
                      <a:cxn ang="T76">
                        <a:pos x="T12" y="T13"/>
                      </a:cxn>
                      <a:cxn ang="T77">
                        <a:pos x="T14" y="T15"/>
                      </a:cxn>
                      <a:cxn ang="T78">
                        <a:pos x="T16" y="T17"/>
                      </a:cxn>
                      <a:cxn ang="T79">
                        <a:pos x="T18" y="T19"/>
                      </a:cxn>
                      <a:cxn ang="T80">
                        <a:pos x="T20" y="T21"/>
                      </a:cxn>
                      <a:cxn ang="T81">
                        <a:pos x="T22" y="T23"/>
                      </a:cxn>
                      <a:cxn ang="T82">
                        <a:pos x="T24" y="T25"/>
                      </a:cxn>
                      <a:cxn ang="T83">
                        <a:pos x="T26" y="T27"/>
                      </a:cxn>
                      <a:cxn ang="T84">
                        <a:pos x="T28" y="T29"/>
                      </a:cxn>
                      <a:cxn ang="T85">
                        <a:pos x="T30" y="T31"/>
                      </a:cxn>
                      <a:cxn ang="T86">
                        <a:pos x="T32" y="T33"/>
                      </a:cxn>
                      <a:cxn ang="T87">
                        <a:pos x="T34" y="T35"/>
                      </a:cxn>
                      <a:cxn ang="T88">
                        <a:pos x="T36" y="T37"/>
                      </a:cxn>
                      <a:cxn ang="T89">
                        <a:pos x="T38" y="T39"/>
                      </a:cxn>
                      <a:cxn ang="T90">
                        <a:pos x="T40" y="T41"/>
                      </a:cxn>
                      <a:cxn ang="T91">
                        <a:pos x="T42" y="T43"/>
                      </a:cxn>
                      <a:cxn ang="T92">
                        <a:pos x="T44" y="T45"/>
                      </a:cxn>
                      <a:cxn ang="T93">
                        <a:pos x="T46" y="T47"/>
                      </a:cxn>
                      <a:cxn ang="T94">
                        <a:pos x="T48" y="T49"/>
                      </a:cxn>
                      <a:cxn ang="T95">
                        <a:pos x="T50" y="T51"/>
                      </a:cxn>
                      <a:cxn ang="T96">
                        <a:pos x="T52" y="T53"/>
                      </a:cxn>
                      <a:cxn ang="T97">
                        <a:pos x="T54" y="T55"/>
                      </a:cxn>
                      <a:cxn ang="T98">
                        <a:pos x="T56" y="T57"/>
                      </a:cxn>
                      <a:cxn ang="T99">
                        <a:pos x="T58" y="T59"/>
                      </a:cxn>
                      <a:cxn ang="T100">
                        <a:pos x="T60" y="T61"/>
                      </a:cxn>
                      <a:cxn ang="T101">
                        <a:pos x="T62" y="T63"/>
                      </a:cxn>
                      <a:cxn ang="T102">
                        <a:pos x="T64" y="T65"/>
                      </a:cxn>
                      <a:cxn ang="T103">
                        <a:pos x="T66" y="T67"/>
                      </a:cxn>
                      <a:cxn ang="T104">
                        <a:pos x="T68" y="T69"/>
                      </a:cxn>
                    </a:cxnLst>
                    <a:rect l="T105" t="T106" r="T107" b="T108"/>
                    <a:pathLst>
                      <a:path w="1608" h="1215">
                        <a:moveTo>
                          <a:pt x="1573" y="0"/>
                        </a:moveTo>
                        <a:lnTo>
                          <a:pt x="0" y="0"/>
                        </a:lnTo>
                        <a:lnTo>
                          <a:pt x="1" y="1215"/>
                        </a:lnTo>
                        <a:lnTo>
                          <a:pt x="1596" y="1215"/>
                        </a:lnTo>
                        <a:lnTo>
                          <a:pt x="1608" y="0"/>
                        </a:lnTo>
                        <a:lnTo>
                          <a:pt x="1573" y="0"/>
                        </a:lnTo>
                        <a:close/>
                        <a:moveTo>
                          <a:pt x="1537" y="54"/>
                        </a:moveTo>
                        <a:lnTo>
                          <a:pt x="1537" y="75"/>
                        </a:lnTo>
                        <a:lnTo>
                          <a:pt x="1537" y="115"/>
                        </a:lnTo>
                        <a:lnTo>
                          <a:pt x="1536" y="171"/>
                        </a:lnTo>
                        <a:lnTo>
                          <a:pt x="1535" y="241"/>
                        </a:lnTo>
                        <a:lnTo>
                          <a:pt x="1535" y="324"/>
                        </a:lnTo>
                        <a:lnTo>
                          <a:pt x="1534" y="414"/>
                        </a:lnTo>
                        <a:lnTo>
                          <a:pt x="1533" y="510"/>
                        </a:lnTo>
                        <a:lnTo>
                          <a:pt x="1532" y="609"/>
                        </a:lnTo>
                        <a:lnTo>
                          <a:pt x="1530" y="708"/>
                        </a:lnTo>
                        <a:lnTo>
                          <a:pt x="1529" y="803"/>
                        </a:lnTo>
                        <a:lnTo>
                          <a:pt x="1529" y="894"/>
                        </a:lnTo>
                        <a:lnTo>
                          <a:pt x="1528" y="975"/>
                        </a:lnTo>
                        <a:lnTo>
                          <a:pt x="1527" y="1046"/>
                        </a:lnTo>
                        <a:lnTo>
                          <a:pt x="1527" y="1103"/>
                        </a:lnTo>
                        <a:lnTo>
                          <a:pt x="1526" y="1142"/>
                        </a:lnTo>
                        <a:lnTo>
                          <a:pt x="1526" y="1162"/>
                        </a:lnTo>
                        <a:lnTo>
                          <a:pt x="1500" y="1162"/>
                        </a:lnTo>
                        <a:lnTo>
                          <a:pt x="1448" y="1162"/>
                        </a:lnTo>
                        <a:lnTo>
                          <a:pt x="1373" y="1162"/>
                        </a:lnTo>
                        <a:lnTo>
                          <a:pt x="1281" y="1162"/>
                        </a:lnTo>
                        <a:lnTo>
                          <a:pt x="1173" y="1162"/>
                        </a:lnTo>
                        <a:lnTo>
                          <a:pt x="1054" y="1162"/>
                        </a:lnTo>
                        <a:lnTo>
                          <a:pt x="928" y="1162"/>
                        </a:lnTo>
                        <a:lnTo>
                          <a:pt x="799" y="1162"/>
                        </a:lnTo>
                        <a:lnTo>
                          <a:pt x="669" y="1162"/>
                        </a:lnTo>
                        <a:lnTo>
                          <a:pt x="543" y="1162"/>
                        </a:lnTo>
                        <a:lnTo>
                          <a:pt x="425" y="1162"/>
                        </a:lnTo>
                        <a:lnTo>
                          <a:pt x="317" y="1162"/>
                        </a:lnTo>
                        <a:lnTo>
                          <a:pt x="225" y="1162"/>
                        </a:lnTo>
                        <a:lnTo>
                          <a:pt x="150" y="1162"/>
                        </a:lnTo>
                        <a:lnTo>
                          <a:pt x="98" y="1162"/>
                        </a:lnTo>
                        <a:lnTo>
                          <a:pt x="71" y="1162"/>
                        </a:lnTo>
                        <a:lnTo>
                          <a:pt x="71" y="1142"/>
                        </a:lnTo>
                        <a:lnTo>
                          <a:pt x="71" y="1103"/>
                        </a:lnTo>
                        <a:lnTo>
                          <a:pt x="71" y="1046"/>
                        </a:lnTo>
                        <a:lnTo>
                          <a:pt x="71" y="975"/>
                        </a:lnTo>
                        <a:lnTo>
                          <a:pt x="71" y="894"/>
                        </a:lnTo>
                        <a:lnTo>
                          <a:pt x="71" y="803"/>
                        </a:lnTo>
                        <a:lnTo>
                          <a:pt x="71" y="708"/>
                        </a:lnTo>
                        <a:lnTo>
                          <a:pt x="71" y="609"/>
                        </a:lnTo>
                        <a:lnTo>
                          <a:pt x="71" y="510"/>
                        </a:lnTo>
                        <a:lnTo>
                          <a:pt x="71" y="414"/>
                        </a:lnTo>
                        <a:lnTo>
                          <a:pt x="71" y="324"/>
                        </a:lnTo>
                        <a:lnTo>
                          <a:pt x="71" y="241"/>
                        </a:lnTo>
                        <a:lnTo>
                          <a:pt x="71" y="171"/>
                        </a:lnTo>
                        <a:lnTo>
                          <a:pt x="71" y="115"/>
                        </a:lnTo>
                        <a:lnTo>
                          <a:pt x="71" y="75"/>
                        </a:lnTo>
                        <a:lnTo>
                          <a:pt x="71" y="54"/>
                        </a:lnTo>
                        <a:lnTo>
                          <a:pt x="98" y="54"/>
                        </a:lnTo>
                        <a:lnTo>
                          <a:pt x="150" y="54"/>
                        </a:lnTo>
                        <a:lnTo>
                          <a:pt x="225" y="54"/>
                        </a:lnTo>
                        <a:lnTo>
                          <a:pt x="318" y="54"/>
                        </a:lnTo>
                        <a:lnTo>
                          <a:pt x="427" y="54"/>
                        </a:lnTo>
                        <a:lnTo>
                          <a:pt x="547" y="54"/>
                        </a:lnTo>
                        <a:lnTo>
                          <a:pt x="673" y="54"/>
                        </a:lnTo>
                        <a:lnTo>
                          <a:pt x="804" y="54"/>
                        </a:lnTo>
                        <a:lnTo>
                          <a:pt x="935" y="54"/>
                        </a:lnTo>
                        <a:lnTo>
                          <a:pt x="1062" y="54"/>
                        </a:lnTo>
                        <a:lnTo>
                          <a:pt x="1181" y="54"/>
                        </a:lnTo>
                        <a:lnTo>
                          <a:pt x="1289" y="54"/>
                        </a:lnTo>
                        <a:lnTo>
                          <a:pt x="1382" y="54"/>
                        </a:lnTo>
                        <a:lnTo>
                          <a:pt x="1458" y="54"/>
                        </a:lnTo>
                        <a:lnTo>
                          <a:pt x="1510" y="54"/>
                        </a:lnTo>
                        <a:lnTo>
                          <a:pt x="1537" y="54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42" name="Freeform 183"/>
                  <p:cNvSpPr>
                    <a:spLocks noEditPoints="1"/>
                  </p:cNvSpPr>
                  <p:nvPr/>
                </p:nvSpPr>
                <p:spPr bwMode="auto">
                  <a:xfrm>
                    <a:off x="3359" y="3730"/>
                    <a:ext cx="178" cy="134"/>
                  </a:xfrm>
                  <a:custGeom>
                    <a:avLst/>
                    <a:gdLst>
                      <a:gd name="T0" fmla="*/ 0 w 1245"/>
                      <a:gd name="T1" fmla="*/ 0 h 941"/>
                      <a:gd name="T2" fmla="*/ 0 w 1245"/>
                      <a:gd name="T3" fmla="*/ 0 h 941"/>
                      <a:gd name="T4" fmla="*/ 0 w 1245"/>
                      <a:gd name="T5" fmla="*/ 0 h 941"/>
                      <a:gd name="T6" fmla="*/ 0 w 1245"/>
                      <a:gd name="T7" fmla="*/ 0 h 941"/>
                      <a:gd name="T8" fmla="*/ 0 w 1245"/>
                      <a:gd name="T9" fmla="*/ 0 h 941"/>
                      <a:gd name="T10" fmla="*/ 0 w 1245"/>
                      <a:gd name="T11" fmla="*/ 0 h 941"/>
                      <a:gd name="T12" fmla="*/ 0 w 1245"/>
                      <a:gd name="T13" fmla="*/ 0 h 941"/>
                      <a:gd name="T14" fmla="*/ 0 w 1245"/>
                      <a:gd name="T15" fmla="*/ 0 h 941"/>
                      <a:gd name="T16" fmla="*/ 0 w 1245"/>
                      <a:gd name="T17" fmla="*/ 0 h 941"/>
                      <a:gd name="T18" fmla="*/ 0 w 1245"/>
                      <a:gd name="T19" fmla="*/ 0 h 941"/>
                      <a:gd name="T20" fmla="*/ 0 w 1245"/>
                      <a:gd name="T21" fmla="*/ 0 h 941"/>
                      <a:gd name="T22" fmla="*/ 0 w 1245"/>
                      <a:gd name="T23" fmla="*/ 0 h 941"/>
                      <a:gd name="T24" fmla="*/ 0 w 1245"/>
                      <a:gd name="T25" fmla="*/ 0 h 941"/>
                      <a:gd name="T26" fmla="*/ 0 w 1245"/>
                      <a:gd name="T27" fmla="*/ 0 h 941"/>
                      <a:gd name="T28" fmla="*/ 0 w 1245"/>
                      <a:gd name="T29" fmla="*/ 0 h 941"/>
                      <a:gd name="T30" fmla="*/ 0 w 1245"/>
                      <a:gd name="T31" fmla="*/ 0 h 941"/>
                      <a:gd name="T32" fmla="*/ 0 w 1245"/>
                      <a:gd name="T33" fmla="*/ 0 h 941"/>
                      <a:gd name="T34" fmla="*/ 0 w 1245"/>
                      <a:gd name="T35" fmla="*/ 0 h 941"/>
                      <a:gd name="T36" fmla="*/ 0 w 1245"/>
                      <a:gd name="T37" fmla="*/ 0 h 941"/>
                      <a:gd name="T38" fmla="*/ 0 w 1245"/>
                      <a:gd name="T39" fmla="*/ 0 h 941"/>
                      <a:gd name="T40" fmla="*/ 0 w 1245"/>
                      <a:gd name="T41" fmla="*/ 0 h 941"/>
                      <a:gd name="T42" fmla="*/ 0 w 1245"/>
                      <a:gd name="T43" fmla="*/ 0 h 941"/>
                      <a:gd name="T44" fmla="*/ 0 w 1245"/>
                      <a:gd name="T45" fmla="*/ 0 h 941"/>
                      <a:gd name="T46" fmla="*/ 0 w 1245"/>
                      <a:gd name="T47" fmla="*/ 0 h 941"/>
                      <a:gd name="T48" fmla="*/ 0 w 1245"/>
                      <a:gd name="T49" fmla="*/ 0 h 941"/>
                      <a:gd name="T50" fmla="*/ 0 w 1245"/>
                      <a:gd name="T51" fmla="*/ 0 h 941"/>
                      <a:gd name="T52" fmla="*/ 0 w 1245"/>
                      <a:gd name="T53" fmla="*/ 0 h 941"/>
                      <a:gd name="T54" fmla="*/ 0 w 1245"/>
                      <a:gd name="T55" fmla="*/ 0 h 941"/>
                      <a:gd name="T56" fmla="*/ 0 w 1245"/>
                      <a:gd name="T57" fmla="*/ 0 h 941"/>
                      <a:gd name="T58" fmla="*/ 0 w 1245"/>
                      <a:gd name="T59" fmla="*/ 0 h 941"/>
                      <a:gd name="T60" fmla="*/ 0 w 1245"/>
                      <a:gd name="T61" fmla="*/ 0 h 941"/>
                      <a:gd name="T62" fmla="*/ 0 w 1245"/>
                      <a:gd name="T63" fmla="*/ 0 h 941"/>
                      <a:gd name="T64" fmla="*/ 0 w 1245"/>
                      <a:gd name="T65" fmla="*/ 0 h 941"/>
                      <a:gd name="T66" fmla="*/ 0 w 1245"/>
                      <a:gd name="T67" fmla="*/ 0 h 941"/>
                      <a:gd name="T68" fmla="*/ 0 w 1245"/>
                      <a:gd name="T69" fmla="*/ 0 h 941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w 1245"/>
                      <a:gd name="T106" fmla="*/ 0 h 941"/>
                      <a:gd name="T107" fmla="*/ 1245 w 1245"/>
                      <a:gd name="T108" fmla="*/ 941 h 941"/>
                    </a:gdLst>
                    <a:ahLst/>
                    <a:cxnLst>
                      <a:cxn ang="T70">
                        <a:pos x="T0" y="T1"/>
                      </a:cxn>
                      <a:cxn ang="T71">
                        <a:pos x="T2" y="T3"/>
                      </a:cxn>
                      <a:cxn ang="T72">
                        <a:pos x="T4" y="T5"/>
                      </a:cxn>
                      <a:cxn ang="T73">
                        <a:pos x="T6" y="T7"/>
                      </a:cxn>
                      <a:cxn ang="T74">
                        <a:pos x="T8" y="T9"/>
                      </a:cxn>
                      <a:cxn ang="T75">
                        <a:pos x="T10" y="T11"/>
                      </a:cxn>
                      <a:cxn ang="T76">
                        <a:pos x="T12" y="T13"/>
                      </a:cxn>
                      <a:cxn ang="T77">
                        <a:pos x="T14" y="T15"/>
                      </a:cxn>
                      <a:cxn ang="T78">
                        <a:pos x="T16" y="T17"/>
                      </a:cxn>
                      <a:cxn ang="T79">
                        <a:pos x="T18" y="T19"/>
                      </a:cxn>
                      <a:cxn ang="T80">
                        <a:pos x="T20" y="T21"/>
                      </a:cxn>
                      <a:cxn ang="T81">
                        <a:pos x="T22" y="T23"/>
                      </a:cxn>
                      <a:cxn ang="T82">
                        <a:pos x="T24" y="T25"/>
                      </a:cxn>
                      <a:cxn ang="T83">
                        <a:pos x="T26" y="T27"/>
                      </a:cxn>
                      <a:cxn ang="T84">
                        <a:pos x="T28" y="T29"/>
                      </a:cxn>
                      <a:cxn ang="T85">
                        <a:pos x="T30" y="T31"/>
                      </a:cxn>
                      <a:cxn ang="T86">
                        <a:pos x="T32" y="T33"/>
                      </a:cxn>
                      <a:cxn ang="T87">
                        <a:pos x="T34" y="T35"/>
                      </a:cxn>
                      <a:cxn ang="T88">
                        <a:pos x="T36" y="T37"/>
                      </a:cxn>
                      <a:cxn ang="T89">
                        <a:pos x="T38" y="T39"/>
                      </a:cxn>
                      <a:cxn ang="T90">
                        <a:pos x="T40" y="T41"/>
                      </a:cxn>
                      <a:cxn ang="T91">
                        <a:pos x="T42" y="T43"/>
                      </a:cxn>
                      <a:cxn ang="T92">
                        <a:pos x="T44" y="T45"/>
                      </a:cxn>
                      <a:cxn ang="T93">
                        <a:pos x="T46" y="T47"/>
                      </a:cxn>
                      <a:cxn ang="T94">
                        <a:pos x="T48" y="T49"/>
                      </a:cxn>
                      <a:cxn ang="T95">
                        <a:pos x="T50" y="T51"/>
                      </a:cxn>
                      <a:cxn ang="T96">
                        <a:pos x="T52" y="T53"/>
                      </a:cxn>
                      <a:cxn ang="T97">
                        <a:pos x="T54" y="T55"/>
                      </a:cxn>
                      <a:cxn ang="T98">
                        <a:pos x="T56" y="T57"/>
                      </a:cxn>
                      <a:cxn ang="T99">
                        <a:pos x="T58" y="T59"/>
                      </a:cxn>
                      <a:cxn ang="T100">
                        <a:pos x="T60" y="T61"/>
                      </a:cxn>
                      <a:cxn ang="T101">
                        <a:pos x="T62" y="T63"/>
                      </a:cxn>
                      <a:cxn ang="T102">
                        <a:pos x="T64" y="T65"/>
                      </a:cxn>
                      <a:cxn ang="T103">
                        <a:pos x="T66" y="T67"/>
                      </a:cxn>
                      <a:cxn ang="T104">
                        <a:pos x="T68" y="T69"/>
                      </a:cxn>
                    </a:cxnLst>
                    <a:rect l="T105" t="T106" r="T107" b="T108"/>
                    <a:pathLst>
                      <a:path w="1245" h="941">
                        <a:moveTo>
                          <a:pt x="1210" y="0"/>
                        </a:moveTo>
                        <a:lnTo>
                          <a:pt x="0" y="0"/>
                        </a:lnTo>
                        <a:lnTo>
                          <a:pt x="0" y="941"/>
                        </a:lnTo>
                        <a:lnTo>
                          <a:pt x="1237" y="941"/>
                        </a:lnTo>
                        <a:lnTo>
                          <a:pt x="1245" y="0"/>
                        </a:lnTo>
                        <a:lnTo>
                          <a:pt x="1210" y="0"/>
                        </a:lnTo>
                        <a:close/>
                        <a:moveTo>
                          <a:pt x="1174" y="54"/>
                        </a:moveTo>
                        <a:lnTo>
                          <a:pt x="1174" y="71"/>
                        </a:lnTo>
                        <a:lnTo>
                          <a:pt x="1174" y="102"/>
                        </a:lnTo>
                        <a:lnTo>
                          <a:pt x="1174" y="145"/>
                        </a:lnTo>
                        <a:lnTo>
                          <a:pt x="1172" y="198"/>
                        </a:lnTo>
                        <a:lnTo>
                          <a:pt x="1172" y="259"/>
                        </a:lnTo>
                        <a:lnTo>
                          <a:pt x="1171" y="327"/>
                        </a:lnTo>
                        <a:lnTo>
                          <a:pt x="1171" y="398"/>
                        </a:lnTo>
                        <a:lnTo>
                          <a:pt x="1170" y="472"/>
                        </a:lnTo>
                        <a:lnTo>
                          <a:pt x="1170" y="545"/>
                        </a:lnTo>
                        <a:lnTo>
                          <a:pt x="1169" y="616"/>
                        </a:lnTo>
                        <a:lnTo>
                          <a:pt x="1168" y="683"/>
                        </a:lnTo>
                        <a:lnTo>
                          <a:pt x="1168" y="744"/>
                        </a:lnTo>
                        <a:lnTo>
                          <a:pt x="1168" y="798"/>
                        </a:lnTo>
                        <a:lnTo>
                          <a:pt x="1167" y="840"/>
                        </a:lnTo>
                        <a:lnTo>
                          <a:pt x="1167" y="871"/>
                        </a:lnTo>
                        <a:lnTo>
                          <a:pt x="1167" y="888"/>
                        </a:lnTo>
                        <a:lnTo>
                          <a:pt x="1146" y="888"/>
                        </a:lnTo>
                        <a:lnTo>
                          <a:pt x="1106" y="888"/>
                        </a:lnTo>
                        <a:lnTo>
                          <a:pt x="1049" y="888"/>
                        </a:lnTo>
                        <a:lnTo>
                          <a:pt x="980" y="888"/>
                        </a:lnTo>
                        <a:lnTo>
                          <a:pt x="900" y="888"/>
                        </a:lnTo>
                        <a:lnTo>
                          <a:pt x="812" y="888"/>
                        </a:lnTo>
                        <a:lnTo>
                          <a:pt x="718" y="888"/>
                        </a:lnTo>
                        <a:lnTo>
                          <a:pt x="623" y="888"/>
                        </a:lnTo>
                        <a:lnTo>
                          <a:pt x="526" y="888"/>
                        </a:lnTo>
                        <a:lnTo>
                          <a:pt x="432" y="888"/>
                        </a:lnTo>
                        <a:lnTo>
                          <a:pt x="343" y="888"/>
                        </a:lnTo>
                        <a:lnTo>
                          <a:pt x="262" y="888"/>
                        </a:lnTo>
                        <a:lnTo>
                          <a:pt x="192" y="888"/>
                        </a:lnTo>
                        <a:lnTo>
                          <a:pt x="135" y="888"/>
                        </a:lnTo>
                        <a:lnTo>
                          <a:pt x="94" y="888"/>
                        </a:lnTo>
                        <a:lnTo>
                          <a:pt x="71" y="888"/>
                        </a:lnTo>
                        <a:lnTo>
                          <a:pt x="71" y="871"/>
                        </a:lnTo>
                        <a:lnTo>
                          <a:pt x="71" y="840"/>
                        </a:lnTo>
                        <a:lnTo>
                          <a:pt x="71" y="798"/>
                        </a:lnTo>
                        <a:lnTo>
                          <a:pt x="71" y="744"/>
                        </a:lnTo>
                        <a:lnTo>
                          <a:pt x="71" y="683"/>
                        </a:lnTo>
                        <a:lnTo>
                          <a:pt x="71" y="615"/>
                        </a:lnTo>
                        <a:lnTo>
                          <a:pt x="71" y="544"/>
                        </a:lnTo>
                        <a:lnTo>
                          <a:pt x="71" y="472"/>
                        </a:lnTo>
                        <a:lnTo>
                          <a:pt x="71" y="398"/>
                        </a:lnTo>
                        <a:lnTo>
                          <a:pt x="71" y="327"/>
                        </a:lnTo>
                        <a:lnTo>
                          <a:pt x="71" y="259"/>
                        </a:lnTo>
                        <a:lnTo>
                          <a:pt x="71" y="198"/>
                        </a:lnTo>
                        <a:lnTo>
                          <a:pt x="71" y="145"/>
                        </a:lnTo>
                        <a:lnTo>
                          <a:pt x="72" y="102"/>
                        </a:lnTo>
                        <a:lnTo>
                          <a:pt x="72" y="71"/>
                        </a:lnTo>
                        <a:lnTo>
                          <a:pt x="72" y="53"/>
                        </a:lnTo>
                        <a:lnTo>
                          <a:pt x="94" y="53"/>
                        </a:lnTo>
                        <a:lnTo>
                          <a:pt x="134" y="53"/>
                        </a:lnTo>
                        <a:lnTo>
                          <a:pt x="192" y="53"/>
                        </a:lnTo>
                        <a:lnTo>
                          <a:pt x="262" y="53"/>
                        </a:lnTo>
                        <a:lnTo>
                          <a:pt x="342" y="53"/>
                        </a:lnTo>
                        <a:lnTo>
                          <a:pt x="431" y="53"/>
                        </a:lnTo>
                        <a:lnTo>
                          <a:pt x="526" y="53"/>
                        </a:lnTo>
                        <a:lnTo>
                          <a:pt x="623" y="53"/>
                        </a:lnTo>
                        <a:lnTo>
                          <a:pt x="719" y="53"/>
                        </a:lnTo>
                        <a:lnTo>
                          <a:pt x="814" y="53"/>
                        </a:lnTo>
                        <a:lnTo>
                          <a:pt x="902" y="53"/>
                        </a:lnTo>
                        <a:lnTo>
                          <a:pt x="983" y="53"/>
                        </a:lnTo>
                        <a:lnTo>
                          <a:pt x="1053" y="54"/>
                        </a:lnTo>
                        <a:lnTo>
                          <a:pt x="1110" y="54"/>
                        </a:lnTo>
                        <a:lnTo>
                          <a:pt x="1151" y="54"/>
                        </a:lnTo>
                        <a:lnTo>
                          <a:pt x="1174" y="54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43" name="Freeform 184"/>
                  <p:cNvSpPr>
                    <a:spLocks noEditPoints="1"/>
                  </p:cNvSpPr>
                  <p:nvPr/>
                </p:nvSpPr>
                <p:spPr bwMode="auto">
                  <a:xfrm>
                    <a:off x="3382" y="3748"/>
                    <a:ext cx="132" cy="103"/>
                  </a:xfrm>
                  <a:custGeom>
                    <a:avLst/>
                    <a:gdLst>
                      <a:gd name="T0" fmla="*/ 0 w 926"/>
                      <a:gd name="T1" fmla="*/ 0 h 700"/>
                      <a:gd name="T2" fmla="*/ 0 w 926"/>
                      <a:gd name="T3" fmla="*/ 0 h 700"/>
                      <a:gd name="T4" fmla="*/ 0 w 926"/>
                      <a:gd name="T5" fmla="*/ 0 h 700"/>
                      <a:gd name="T6" fmla="*/ 0 w 926"/>
                      <a:gd name="T7" fmla="*/ 0 h 700"/>
                      <a:gd name="T8" fmla="*/ 0 w 926"/>
                      <a:gd name="T9" fmla="*/ 0 h 700"/>
                      <a:gd name="T10" fmla="*/ 0 w 926"/>
                      <a:gd name="T11" fmla="*/ 0 h 700"/>
                      <a:gd name="T12" fmla="*/ 0 w 926"/>
                      <a:gd name="T13" fmla="*/ 0 h 700"/>
                      <a:gd name="T14" fmla="*/ 0 w 926"/>
                      <a:gd name="T15" fmla="*/ 0 h 700"/>
                      <a:gd name="T16" fmla="*/ 0 w 926"/>
                      <a:gd name="T17" fmla="*/ 0 h 700"/>
                      <a:gd name="T18" fmla="*/ 0 w 926"/>
                      <a:gd name="T19" fmla="*/ 0 h 700"/>
                      <a:gd name="T20" fmla="*/ 0 w 926"/>
                      <a:gd name="T21" fmla="*/ 0 h 700"/>
                      <a:gd name="T22" fmla="*/ 0 w 926"/>
                      <a:gd name="T23" fmla="*/ 0 h 700"/>
                      <a:gd name="T24" fmla="*/ 0 w 926"/>
                      <a:gd name="T25" fmla="*/ 0 h 700"/>
                      <a:gd name="T26" fmla="*/ 0 w 926"/>
                      <a:gd name="T27" fmla="*/ 0 h 700"/>
                      <a:gd name="T28" fmla="*/ 0 w 926"/>
                      <a:gd name="T29" fmla="*/ 0 h 700"/>
                      <a:gd name="T30" fmla="*/ 0 w 926"/>
                      <a:gd name="T31" fmla="*/ 0 h 700"/>
                      <a:gd name="T32" fmla="*/ 0 w 926"/>
                      <a:gd name="T33" fmla="*/ 0 h 700"/>
                      <a:gd name="T34" fmla="*/ 0 w 926"/>
                      <a:gd name="T35" fmla="*/ 0 h 700"/>
                      <a:gd name="T36" fmla="*/ 0 w 926"/>
                      <a:gd name="T37" fmla="*/ 0 h 700"/>
                      <a:gd name="T38" fmla="*/ 0 w 926"/>
                      <a:gd name="T39" fmla="*/ 0 h 700"/>
                      <a:gd name="T40" fmla="*/ 0 w 926"/>
                      <a:gd name="T41" fmla="*/ 0 h 700"/>
                      <a:gd name="T42" fmla="*/ 0 w 926"/>
                      <a:gd name="T43" fmla="*/ 0 h 700"/>
                      <a:gd name="T44" fmla="*/ 0 w 926"/>
                      <a:gd name="T45" fmla="*/ 0 h 700"/>
                      <a:gd name="T46" fmla="*/ 0 w 926"/>
                      <a:gd name="T47" fmla="*/ 0 h 700"/>
                      <a:gd name="T48" fmla="*/ 0 w 926"/>
                      <a:gd name="T49" fmla="*/ 0 h 700"/>
                      <a:gd name="T50" fmla="*/ 0 w 926"/>
                      <a:gd name="T51" fmla="*/ 0 h 700"/>
                      <a:gd name="T52" fmla="*/ 0 w 926"/>
                      <a:gd name="T53" fmla="*/ 0 h 700"/>
                      <a:gd name="T54" fmla="*/ 0 w 926"/>
                      <a:gd name="T55" fmla="*/ 0 h 700"/>
                      <a:gd name="T56" fmla="*/ 0 w 926"/>
                      <a:gd name="T57" fmla="*/ 0 h 700"/>
                      <a:gd name="T58" fmla="*/ 0 w 926"/>
                      <a:gd name="T59" fmla="*/ 0 h 700"/>
                      <a:gd name="T60" fmla="*/ 0 w 926"/>
                      <a:gd name="T61" fmla="*/ 0 h 700"/>
                      <a:gd name="T62" fmla="*/ 0 w 926"/>
                      <a:gd name="T63" fmla="*/ 0 h 700"/>
                      <a:gd name="T64" fmla="*/ 0 w 926"/>
                      <a:gd name="T65" fmla="*/ 0 h 700"/>
                      <a:gd name="T66" fmla="*/ 0 w 926"/>
                      <a:gd name="T67" fmla="*/ 0 h 700"/>
                      <a:gd name="T68" fmla="*/ 0 w 926"/>
                      <a:gd name="T69" fmla="*/ 0 h 700"/>
                      <a:gd name="T70" fmla="*/ 0 w 926"/>
                      <a:gd name="T71" fmla="*/ 0 h 700"/>
                      <a:gd name="T72" fmla="*/ 0 w 926"/>
                      <a:gd name="T73" fmla="*/ 0 h 700"/>
                      <a:gd name="T74" fmla="*/ 0 w 926"/>
                      <a:gd name="T75" fmla="*/ 0 h 700"/>
                      <a:gd name="T76" fmla="*/ 0 w 926"/>
                      <a:gd name="T77" fmla="*/ 0 h 700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w 926"/>
                      <a:gd name="T118" fmla="*/ 0 h 700"/>
                      <a:gd name="T119" fmla="*/ 926 w 926"/>
                      <a:gd name="T120" fmla="*/ 700 h 700"/>
                    </a:gdLst>
                    <a:ahLst/>
                    <a:cxnLst>
                      <a:cxn ang="T78">
                        <a:pos x="T0" y="T1"/>
                      </a:cxn>
                      <a:cxn ang="T79">
                        <a:pos x="T2" y="T3"/>
                      </a:cxn>
                      <a:cxn ang="T80">
                        <a:pos x="T4" y="T5"/>
                      </a:cxn>
                      <a:cxn ang="T81">
                        <a:pos x="T6" y="T7"/>
                      </a:cxn>
                      <a:cxn ang="T82">
                        <a:pos x="T8" y="T9"/>
                      </a:cxn>
                      <a:cxn ang="T83">
                        <a:pos x="T10" y="T11"/>
                      </a:cxn>
                      <a:cxn ang="T84">
                        <a:pos x="T12" y="T13"/>
                      </a:cxn>
                      <a:cxn ang="T85">
                        <a:pos x="T14" y="T15"/>
                      </a:cxn>
                      <a:cxn ang="T86">
                        <a:pos x="T16" y="T17"/>
                      </a:cxn>
                      <a:cxn ang="T87">
                        <a:pos x="T18" y="T19"/>
                      </a:cxn>
                      <a:cxn ang="T88">
                        <a:pos x="T20" y="T21"/>
                      </a:cxn>
                      <a:cxn ang="T89">
                        <a:pos x="T22" y="T23"/>
                      </a:cxn>
                      <a:cxn ang="T90">
                        <a:pos x="T24" y="T25"/>
                      </a:cxn>
                      <a:cxn ang="T91">
                        <a:pos x="T26" y="T27"/>
                      </a:cxn>
                      <a:cxn ang="T92">
                        <a:pos x="T28" y="T29"/>
                      </a:cxn>
                      <a:cxn ang="T93">
                        <a:pos x="T30" y="T31"/>
                      </a:cxn>
                      <a:cxn ang="T94">
                        <a:pos x="T32" y="T33"/>
                      </a:cxn>
                      <a:cxn ang="T95">
                        <a:pos x="T34" y="T35"/>
                      </a:cxn>
                      <a:cxn ang="T96">
                        <a:pos x="T36" y="T37"/>
                      </a:cxn>
                      <a:cxn ang="T97">
                        <a:pos x="T38" y="T39"/>
                      </a:cxn>
                      <a:cxn ang="T98">
                        <a:pos x="T40" y="T41"/>
                      </a:cxn>
                      <a:cxn ang="T99">
                        <a:pos x="T42" y="T43"/>
                      </a:cxn>
                      <a:cxn ang="T100">
                        <a:pos x="T44" y="T45"/>
                      </a:cxn>
                      <a:cxn ang="T101">
                        <a:pos x="T46" y="T47"/>
                      </a:cxn>
                      <a:cxn ang="T102">
                        <a:pos x="T48" y="T49"/>
                      </a:cxn>
                      <a:cxn ang="T103">
                        <a:pos x="T50" y="T51"/>
                      </a:cxn>
                      <a:cxn ang="T104">
                        <a:pos x="T52" y="T53"/>
                      </a:cxn>
                      <a:cxn ang="T105">
                        <a:pos x="T54" y="T55"/>
                      </a:cxn>
                      <a:cxn ang="T106">
                        <a:pos x="T56" y="T57"/>
                      </a:cxn>
                      <a:cxn ang="T107">
                        <a:pos x="T58" y="T59"/>
                      </a:cxn>
                      <a:cxn ang="T108">
                        <a:pos x="T60" y="T61"/>
                      </a:cxn>
                      <a:cxn ang="T109">
                        <a:pos x="T62" y="T63"/>
                      </a:cxn>
                      <a:cxn ang="T110">
                        <a:pos x="T64" y="T65"/>
                      </a:cxn>
                      <a:cxn ang="T111">
                        <a:pos x="T66" y="T67"/>
                      </a:cxn>
                      <a:cxn ang="T112">
                        <a:pos x="T68" y="T69"/>
                      </a:cxn>
                      <a:cxn ang="T113">
                        <a:pos x="T70" y="T71"/>
                      </a:cxn>
                      <a:cxn ang="T114">
                        <a:pos x="T72" y="T73"/>
                      </a:cxn>
                      <a:cxn ang="T115">
                        <a:pos x="T74" y="T75"/>
                      </a:cxn>
                      <a:cxn ang="T116">
                        <a:pos x="T76" y="T77"/>
                      </a:cxn>
                    </a:cxnLst>
                    <a:rect l="T117" t="T118" r="T119" b="T120"/>
                    <a:pathLst>
                      <a:path w="926" h="700">
                        <a:moveTo>
                          <a:pt x="890" y="0"/>
                        </a:moveTo>
                        <a:lnTo>
                          <a:pt x="1" y="0"/>
                        </a:lnTo>
                        <a:lnTo>
                          <a:pt x="0" y="700"/>
                        </a:lnTo>
                        <a:lnTo>
                          <a:pt x="920" y="700"/>
                        </a:lnTo>
                        <a:lnTo>
                          <a:pt x="926" y="0"/>
                        </a:lnTo>
                        <a:lnTo>
                          <a:pt x="890" y="0"/>
                        </a:lnTo>
                        <a:close/>
                        <a:moveTo>
                          <a:pt x="854" y="54"/>
                        </a:moveTo>
                        <a:lnTo>
                          <a:pt x="854" y="91"/>
                        </a:lnTo>
                        <a:lnTo>
                          <a:pt x="853" y="160"/>
                        </a:lnTo>
                        <a:lnTo>
                          <a:pt x="853" y="251"/>
                        </a:lnTo>
                        <a:lnTo>
                          <a:pt x="852" y="351"/>
                        </a:lnTo>
                        <a:lnTo>
                          <a:pt x="852" y="451"/>
                        </a:lnTo>
                        <a:lnTo>
                          <a:pt x="851" y="541"/>
                        </a:lnTo>
                        <a:lnTo>
                          <a:pt x="851" y="610"/>
                        </a:lnTo>
                        <a:lnTo>
                          <a:pt x="850" y="647"/>
                        </a:lnTo>
                        <a:lnTo>
                          <a:pt x="801" y="647"/>
                        </a:lnTo>
                        <a:lnTo>
                          <a:pt x="711" y="647"/>
                        </a:lnTo>
                        <a:lnTo>
                          <a:pt x="593" y="647"/>
                        </a:lnTo>
                        <a:lnTo>
                          <a:pt x="460" y="647"/>
                        </a:lnTo>
                        <a:lnTo>
                          <a:pt x="328" y="647"/>
                        </a:lnTo>
                        <a:lnTo>
                          <a:pt x="210" y="647"/>
                        </a:lnTo>
                        <a:lnTo>
                          <a:pt x="119" y="647"/>
                        </a:lnTo>
                        <a:lnTo>
                          <a:pt x="71" y="647"/>
                        </a:lnTo>
                        <a:lnTo>
                          <a:pt x="71" y="610"/>
                        </a:lnTo>
                        <a:lnTo>
                          <a:pt x="71" y="541"/>
                        </a:lnTo>
                        <a:lnTo>
                          <a:pt x="71" y="451"/>
                        </a:lnTo>
                        <a:lnTo>
                          <a:pt x="71" y="351"/>
                        </a:lnTo>
                        <a:lnTo>
                          <a:pt x="71" y="251"/>
                        </a:lnTo>
                        <a:lnTo>
                          <a:pt x="71" y="160"/>
                        </a:lnTo>
                        <a:lnTo>
                          <a:pt x="72" y="91"/>
                        </a:lnTo>
                        <a:lnTo>
                          <a:pt x="72" y="54"/>
                        </a:lnTo>
                        <a:lnTo>
                          <a:pt x="121" y="54"/>
                        </a:lnTo>
                        <a:lnTo>
                          <a:pt x="211" y="54"/>
                        </a:lnTo>
                        <a:lnTo>
                          <a:pt x="330" y="54"/>
                        </a:lnTo>
                        <a:lnTo>
                          <a:pt x="463" y="54"/>
                        </a:lnTo>
                        <a:lnTo>
                          <a:pt x="596" y="54"/>
                        </a:lnTo>
                        <a:lnTo>
                          <a:pt x="714" y="54"/>
                        </a:lnTo>
                        <a:lnTo>
                          <a:pt x="805" y="54"/>
                        </a:lnTo>
                        <a:lnTo>
                          <a:pt x="854" y="54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44" name="Freeform 185"/>
                  <p:cNvSpPr>
                    <a:spLocks noEditPoints="1"/>
                  </p:cNvSpPr>
                  <p:nvPr/>
                </p:nvSpPr>
                <p:spPr bwMode="auto">
                  <a:xfrm>
                    <a:off x="3403" y="3763"/>
                    <a:ext cx="89" cy="68"/>
                  </a:xfrm>
                  <a:custGeom>
                    <a:avLst/>
                    <a:gdLst>
                      <a:gd name="T0" fmla="*/ 0 w 624"/>
                      <a:gd name="T1" fmla="*/ 0 h 472"/>
                      <a:gd name="T2" fmla="*/ 0 w 624"/>
                      <a:gd name="T3" fmla="*/ 0 h 472"/>
                      <a:gd name="T4" fmla="*/ 0 w 624"/>
                      <a:gd name="T5" fmla="*/ 0 h 472"/>
                      <a:gd name="T6" fmla="*/ 0 w 624"/>
                      <a:gd name="T7" fmla="*/ 0 h 472"/>
                      <a:gd name="T8" fmla="*/ 0 w 624"/>
                      <a:gd name="T9" fmla="*/ 0 h 472"/>
                      <a:gd name="T10" fmla="*/ 0 w 624"/>
                      <a:gd name="T11" fmla="*/ 0 h 472"/>
                      <a:gd name="T12" fmla="*/ 0 w 624"/>
                      <a:gd name="T13" fmla="*/ 0 h 472"/>
                      <a:gd name="T14" fmla="*/ 0 w 624"/>
                      <a:gd name="T15" fmla="*/ 0 h 472"/>
                      <a:gd name="T16" fmla="*/ 0 w 624"/>
                      <a:gd name="T17" fmla="*/ 0 h 472"/>
                      <a:gd name="T18" fmla="*/ 0 w 624"/>
                      <a:gd name="T19" fmla="*/ 0 h 472"/>
                      <a:gd name="T20" fmla="*/ 0 w 624"/>
                      <a:gd name="T21" fmla="*/ 0 h 472"/>
                      <a:gd name="T22" fmla="*/ 0 w 624"/>
                      <a:gd name="T23" fmla="*/ 0 h 472"/>
                      <a:gd name="T24" fmla="*/ 0 w 624"/>
                      <a:gd name="T25" fmla="*/ 0 h 472"/>
                      <a:gd name="T26" fmla="*/ 0 w 624"/>
                      <a:gd name="T27" fmla="*/ 0 h 472"/>
                      <a:gd name="T28" fmla="*/ 0 w 624"/>
                      <a:gd name="T29" fmla="*/ 0 h 472"/>
                      <a:gd name="T30" fmla="*/ 0 w 624"/>
                      <a:gd name="T31" fmla="*/ 0 h 472"/>
                      <a:gd name="T32" fmla="*/ 0 w 624"/>
                      <a:gd name="T33" fmla="*/ 0 h 472"/>
                      <a:gd name="T34" fmla="*/ 0 w 624"/>
                      <a:gd name="T35" fmla="*/ 0 h 472"/>
                      <a:gd name="T36" fmla="*/ 0 w 624"/>
                      <a:gd name="T37" fmla="*/ 0 h 472"/>
                      <a:gd name="T38" fmla="*/ 0 w 624"/>
                      <a:gd name="T39" fmla="*/ 0 h 472"/>
                      <a:gd name="T40" fmla="*/ 0 w 624"/>
                      <a:gd name="T41" fmla="*/ 0 h 472"/>
                      <a:gd name="T42" fmla="*/ 0 w 624"/>
                      <a:gd name="T43" fmla="*/ 0 h 472"/>
                      <a:gd name="T44" fmla="*/ 0 w 624"/>
                      <a:gd name="T45" fmla="*/ 0 h 472"/>
                      <a:gd name="T46" fmla="*/ 0 w 624"/>
                      <a:gd name="T47" fmla="*/ 0 h 472"/>
                      <a:gd name="T48" fmla="*/ 0 w 624"/>
                      <a:gd name="T49" fmla="*/ 0 h 472"/>
                      <a:gd name="T50" fmla="*/ 0 w 624"/>
                      <a:gd name="T51" fmla="*/ 0 h 472"/>
                      <a:gd name="T52" fmla="*/ 0 w 624"/>
                      <a:gd name="T53" fmla="*/ 0 h 472"/>
                      <a:gd name="T54" fmla="*/ 0 w 624"/>
                      <a:gd name="T55" fmla="*/ 0 h 472"/>
                      <a:gd name="T56" fmla="*/ 0 w 624"/>
                      <a:gd name="T57" fmla="*/ 0 h 472"/>
                      <a:gd name="T58" fmla="*/ 0 w 624"/>
                      <a:gd name="T59" fmla="*/ 0 h 472"/>
                      <a:gd name="T60" fmla="*/ 0 w 624"/>
                      <a:gd name="T61" fmla="*/ 0 h 472"/>
                      <a:gd name="T62" fmla="*/ 0 w 624"/>
                      <a:gd name="T63" fmla="*/ 0 h 472"/>
                      <a:gd name="T64" fmla="*/ 0 w 624"/>
                      <a:gd name="T65" fmla="*/ 0 h 472"/>
                      <a:gd name="T66" fmla="*/ 0 w 624"/>
                      <a:gd name="T67" fmla="*/ 0 h 472"/>
                      <a:gd name="T68" fmla="*/ 0 w 624"/>
                      <a:gd name="T69" fmla="*/ 0 h 472"/>
                      <a:gd name="T70" fmla="*/ 0 w 624"/>
                      <a:gd name="T71" fmla="*/ 0 h 472"/>
                      <a:gd name="T72" fmla="*/ 0 w 624"/>
                      <a:gd name="T73" fmla="*/ 0 h 472"/>
                      <a:gd name="T74" fmla="*/ 0 w 624"/>
                      <a:gd name="T75" fmla="*/ 0 h 472"/>
                      <a:gd name="T76" fmla="*/ 0 w 624"/>
                      <a:gd name="T77" fmla="*/ 0 h 472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w 624"/>
                      <a:gd name="T118" fmla="*/ 0 h 472"/>
                      <a:gd name="T119" fmla="*/ 624 w 624"/>
                      <a:gd name="T120" fmla="*/ 472 h 472"/>
                    </a:gdLst>
                    <a:ahLst/>
                    <a:cxnLst>
                      <a:cxn ang="T78">
                        <a:pos x="T0" y="T1"/>
                      </a:cxn>
                      <a:cxn ang="T79">
                        <a:pos x="T2" y="T3"/>
                      </a:cxn>
                      <a:cxn ang="T80">
                        <a:pos x="T4" y="T5"/>
                      </a:cxn>
                      <a:cxn ang="T81">
                        <a:pos x="T6" y="T7"/>
                      </a:cxn>
                      <a:cxn ang="T82">
                        <a:pos x="T8" y="T9"/>
                      </a:cxn>
                      <a:cxn ang="T83">
                        <a:pos x="T10" y="T11"/>
                      </a:cxn>
                      <a:cxn ang="T84">
                        <a:pos x="T12" y="T13"/>
                      </a:cxn>
                      <a:cxn ang="T85">
                        <a:pos x="T14" y="T15"/>
                      </a:cxn>
                      <a:cxn ang="T86">
                        <a:pos x="T16" y="T17"/>
                      </a:cxn>
                      <a:cxn ang="T87">
                        <a:pos x="T18" y="T19"/>
                      </a:cxn>
                      <a:cxn ang="T88">
                        <a:pos x="T20" y="T21"/>
                      </a:cxn>
                      <a:cxn ang="T89">
                        <a:pos x="T22" y="T23"/>
                      </a:cxn>
                      <a:cxn ang="T90">
                        <a:pos x="T24" y="T25"/>
                      </a:cxn>
                      <a:cxn ang="T91">
                        <a:pos x="T26" y="T27"/>
                      </a:cxn>
                      <a:cxn ang="T92">
                        <a:pos x="T28" y="T29"/>
                      </a:cxn>
                      <a:cxn ang="T93">
                        <a:pos x="T30" y="T31"/>
                      </a:cxn>
                      <a:cxn ang="T94">
                        <a:pos x="T32" y="T33"/>
                      </a:cxn>
                      <a:cxn ang="T95">
                        <a:pos x="T34" y="T35"/>
                      </a:cxn>
                      <a:cxn ang="T96">
                        <a:pos x="T36" y="T37"/>
                      </a:cxn>
                      <a:cxn ang="T97">
                        <a:pos x="T38" y="T39"/>
                      </a:cxn>
                      <a:cxn ang="T98">
                        <a:pos x="T40" y="T41"/>
                      </a:cxn>
                      <a:cxn ang="T99">
                        <a:pos x="T42" y="T43"/>
                      </a:cxn>
                      <a:cxn ang="T100">
                        <a:pos x="T44" y="T45"/>
                      </a:cxn>
                      <a:cxn ang="T101">
                        <a:pos x="T46" y="T47"/>
                      </a:cxn>
                      <a:cxn ang="T102">
                        <a:pos x="T48" y="T49"/>
                      </a:cxn>
                      <a:cxn ang="T103">
                        <a:pos x="T50" y="T51"/>
                      </a:cxn>
                      <a:cxn ang="T104">
                        <a:pos x="T52" y="T53"/>
                      </a:cxn>
                      <a:cxn ang="T105">
                        <a:pos x="T54" y="T55"/>
                      </a:cxn>
                      <a:cxn ang="T106">
                        <a:pos x="T56" y="T57"/>
                      </a:cxn>
                      <a:cxn ang="T107">
                        <a:pos x="T58" y="T59"/>
                      </a:cxn>
                      <a:cxn ang="T108">
                        <a:pos x="T60" y="T61"/>
                      </a:cxn>
                      <a:cxn ang="T109">
                        <a:pos x="T62" y="T63"/>
                      </a:cxn>
                      <a:cxn ang="T110">
                        <a:pos x="T64" y="T65"/>
                      </a:cxn>
                      <a:cxn ang="T111">
                        <a:pos x="T66" y="T67"/>
                      </a:cxn>
                      <a:cxn ang="T112">
                        <a:pos x="T68" y="T69"/>
                      </a:cxn>
                      <a:cxn ang="T113">
                        <a:pos x="T70" y="T71"/>
                      </a:cxn>
                      <a:cxn ang="T114">
                        <a:pos x="T72" y="T73"/>
                      </a:cxn>
                      <a:cxn ang="T115">
                        <a:pos x="T74" y="T75"/>
                      </a:cxn>
                      <a:cxn ang="T116">
                        <a:pos x="T76" y="T77"/>
                      </a:cxn>
                    </a:cxnLst>
                    <a:rect l="T117" t="T118" r="T119" b="T120"/>
                    <a:pathLst>
                      <a:path w="624" h="472">
                        <a:moveTo>
                          <a:pt x="589" y="0"/>
                        </a:moveTo>
                        <a:lnTo>
                          <a:pt x="1" y="0"/>
                        </a:lnTo>
                        <a:lnTo>
                          <a:pt x="0" y="472"/>
                        </a:lnTo>
                        <a:lnTo>
                          <a:pt x="621" y="472"/>
                        </a:lnTo>
                        <a:lnTo>
                          <a:pt x="624" y="0"/>
                        </a:lnTo>
                        <a:lnTo>
                          <a:pt x="589" y="0"/>
                        </a:lnTo>
                        <a:close/>
                        <a:moveTo>
                          <a:pt x="553" y="53"/>
                        </a:moveTo>
                        <a:lnTo>
                          <a:pt x="553" y="80"/>
                        </a:lnTo>
                        <a:lnTo>
                          <a:pt x="553" y="123"/>
                        </a:lnTo>
                        <a:lnTo>
                          <a:pt x="552" y="177"/>
                        </a:lnTo>
                        <a:lnTo>
                          <a:pt x="552" y="236"/>
                        </a:lnTo>
                        <a:lnTo>
                          <a:pt x="552" y="296"/>
                        </a:lnTo>
                        <a:lnTo>
                          <a:pt x="552" y="349"/>
                        </a:lnTo>
                        <a:lnTo>
                          <a:pt x="551" y="392"/>
                        </a:lnTo>
                        <a:lnTo>
                          <a:pt x="551" y="418"/>
                        </a:lnTo>
                        <a:lnTo>
                          <a:pt x="516" y="418"/>
                        </a:lnTo>
                        <a:lnTo>
                          <a:pt x="459" y="418"/>
                        </a:lnTo>
                        <a:lnTo>
                          <a:pt x="388" y="418"/>
                        </a:lnTo>
                        <a:lnTo>
                          <a:pt x="310" y="418"/>
                        </a:lnTo>
                        <a:lnTo>
                          <a:pt x="232" y="418"/>
                        </a:lnTo>
                        <a:lnTo>
                          <a:pt x="162" y="418"/>
                        </a:lnTo>
                        <a:lnTo>
                          <a:pt x="106" y="418"/>
                        </a:lnTo>
                        <a:lnTo>
                          <a:pt x="71" y="418"/>
                        </a:lnTo>
                        <a:lnTo>
                          <a:pt x="71" y="392"/>
                        </a:lnTo>
                        <a:lnTo>
                          <a:pt x="71" y="349"/>
                        </a:lnTo>
                        <a:lnTo>
                          <a:pt x="71" y="296"/>
                        </a:lnTo>
                        <a:lnTo>
                          <a:pt x="71" y="236"/>
                        </a:lnTo>
                        <a:lnTo>
                          <a:pt x="71" y="177"/>
                        </a:lnTo>
                        <a:lnTo>
                          <a:pt x="72" y="123"/>
                        </a:lnTo>
                        <a:lnTo>
                          <a:pt x="72" y="80"/>
                        </a:lnTo>
                        <a:lnTo>
                          <a:pt x="72" y="53"/>
                        </a:lnTo>
                        <a:lnTo>
                          <a:pt x="107" y="53"/>
                        </a:lnTo>
                        <a:lnTo>
                          <a:pt x="163" y="53"/>
                        </a:lnTo>
                        <a:lnTo>
                          <a:pt x="235" y="53"/>
                        </a:lnTo>
                        <a:lnTo>
                          <a:pt x="313" y="53"/>
                        </a:lnTo>
                        <a:lnTo>
                          <a:pt x="390" y="53"/>
                        </a:lnTo>
                        <a:lnTo>
                          <a:pt x="462" y="53"/>
                        </a:lnTo>
                        <a:lnTo>
                          <a:pt x="518" y="53"/>
                        </a:lnTo>
                        <a:lnTo>
                          <a:pt x="553" y="53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45" name="Freeform 186"/>
                  <p:cNvSpPr>
                    <a:spLocks/>
                  </p:cNvSpPr>
                  <p:nvPr/>
                </p:nvSpPr>
                <p:spPr bwMode="auto">
                  <a:xfrm>
                    <a:off x="3408" y="3768"/>
                    <a:ext cx="79" cy="62"/>
                  </a:xfrm>
                  <a:custGeom>
                    <a:avLst/>
                    <a:gdLst>
                      <a:gd name="T0" fmla="*/ 0 w 556"/>
                      <a:gd name="T1" fmla="*/ 0 h 421"/>
                      <a:gd name="T2" fmla="*/ 0 w 556"/>
                      <a:gd name="T3" fmla="*/ 0 h 421"/>
                      <a:gd name="T4" fmla="*/ 0 w 556"/>
                      <a:gd name="T5" fmla="*/ 0 h 421"/>
                      <a:gd name="T6" fmla="*/ 0 w 556"/>
                      <a:gd name="T7" fmla="*/ 0 h 421"/>
                      <a:gd name="T8" fmla="*/ 0 w 556"/>
                      <a:gd name="T9" fmla="*/ 0 h 421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556"/>
                      <a:gd name="T16" fmla="*/ 0 h 421"/>
                      <a:gd name="T17" fmla="*/ 556 w 556"/>
                      <a:gd name="T18" fmla="*/ 421 h 421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556" h="421">
                        <a:moveTo>
                          <a:pt x="0" y="421"/>
                        </a:moveTo>
                        <a:lnTo>
                          <a:pt x="1" y="0"/>
                        </a:lnTo>
                        <a:lnTo>
                          <a:pt x="556" y="0"/>
                        </a:lnTo>
                        <a:lnTo>
                          <a:pt x="553" y="421"/>
                        </a:lnTo>
                        <a:lnTo>
                          <a:pt x="0" y="421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46" name="Freeform 187"/>
                  <p:cNvSpPr>
                    <a:spLocks/>
                  </p:cNvSpPr>
                  <p:nvPr/>
                </p:nvSpPr>
                <p:spPr bwMode="auto">
                  <a:xfrm>
                    <a:off x="3189" y="3727"/>
                    <a:ext cx="508" cy="134"/>
                  </a:xfrm>
                  <a:custGeom>
                    <a:avLst/>
                    <a:gdLst>
                      <a:gd name="T0" fmla="*/ 0 w 3561"/>
                      <a:gd name="T1" fmla="*/ 0 h 941"/>
                      <a:gd name="T2" fmla="*/ 0 w 3561"/>
                      <a:gd name="T3" fmla="*/ 0 h 941"/>
                      <a:gd name="T4" fmla="*/ 0 w 3561"/>
                      <a:gd name="T5" fmla="*/ 0 h 941"/>
                      <a:gd name="T6" fmla="*/ 0 w 3561"/>
                      <a:gd name="T7" fmla="*/ 0 h 941"/>
                      <a:gd name="T8" fmla="*/ 0 w 3561"/>
                      <a:gd name="T9" fmla="*/ 0 h 941"/>
                      <a:gd name="T10" fmla="*/ 0 w 3561"/>
                      <a:gd name="T11" fmla="*/ 0 h 941"/>
                      <a:gd name="T12" fmla="*/ 0 w 3561"/>
                      <a:gd name="T13" fmla="*/ 0 h 941"/>
                      <a:gd name="T14" fmla="*/ 0 w 3561"/>
                      <a:gd name="T15" fmla="*/ 0 h 941"/>
                      <a:gd name="T16" fmla="*/ 0 w 3561"/>
                      <a:gd name="T17" fmla="*/ 0 h 941"/>
                      <a:gd name="T18" fmla="*/ 0 w 3561"/>
                      <a:gd name="T19" fmla="*/ 0 h 941"/>
                      <a:gd name="T20" fmla="*/ 0 w 3561"/>
                      <a:gd name="T21" fmla="*/ 0 h 941"/>
                      <a:gd name="T22" fmla="*/ 0 w 3561"/>
                      <a:gd name="T23" fmla="*/ 0 h 941"/>
                      <a:gd name="T24" fmla="*/ 0 w 3561"/>
                      <a:gd name="T25" fmla="*/ 0 h 941"/>
                      <a:gd name="T26" fmla="*/ 0 w 3561"/>
                      <a:gd name="T27" fmla="*/ 0 h 941"/>
                      <a:gd name="T28" fmla="*/ 0 w 3561"/>
                      <a:gd name="T29" fmla="*/ 0 h 941"/>
                      <a:gd name="T30" fmla="*/ 0 w 3561"/>
                      <a:gd name="T31" fmla="*/ 0 h 941"/>
                      <a:gd name="T32" fmla="*/ 0 w 3561"/>
                      <a:gd name="T33" fmla="*/ 0 h 941"/>
                      <a:gd name="T34" fmla="*/ 0 w 3561"/>
                      <a:gd name="T35" fmla="*/ 0 h 941"/>
                      <a:gd name="T36" fmla="*/ 0 w 3561"/>
                      <a:gd name="T37" fmla="*/ 0 h 941"/>
                      <a:gd name="T38" fmla="*/ 0 w 3561"/>
                      <a:gd name="T39" fmla="*/ 0 h 941"/>
                      <a:gd name="T40" fmla="*/ 0 w 3561"/>
                      <a:gd name="T41" fmla="*/ 0 h 941"/>
                      <a:gd name="T42" fmla="*/ 0 w 3561"/>
                      <a:gd name="T43" fmla="*/ 0 h 941"/>
                      <a:gd name="T44" fmla="*/ 0 w 3561"/>
                      <a:gd name="T45" fmla="*/ 0 h 941"/>
                      <a:gd name="T46" fmla="*/ 0 w 3561"/>
                      <a:gd name="T47" fmla="*/ 0 h 941"/>
                      <a:gd name="T48" fmla="*/ 0 w 3561"/>
                      <a:gd name="T49" fmla="*/ 0 h 941"/>
                      <a:gd name="T50" fmla="*/ 0 w 3561"/>
                      <a:gd name="T51" fmla="*/ 0 h 941"/>
                      <a:gd name="T52" fmla="*/ 0 w 3561"/>
                      <a:gd name="T53" fmla="*/ 0 h 941"/>
                      <a:gd name="T54" fmla="*/ 0 w 3561"/>
                      <a:gd name="T55" fmla="*/ 0 h 941"/>
                      <a:gd name="T56" fmla="*/ 0 w 3561"/>
                      <a:gd name="T57" fmla="*/ 0 h 941"/>
                      <a:gd name="T58" fmla="*/ 0 w 3561"/>
                      <a:gd name="T59" fmla="*/ 0 h 941"/>
                      <a:gd name="T60" fmla="*/ 0 w 3561"/>
                      <a:gd name="T61" fmla="*/ 0 h 941"/>
                      <a:gd name="T62" fmla="*/ 0 w 3561"/>
                      <a:gd name="T63" fmla="*/ 0 h 941"/>
                      <a:gd name="T64" fmla="*/ 0 w 3561"/>
                      <a:gd name="T65" fmla="*/ 0 h 941"/>
                      <a:gd name="T66" fmla="*/ 0 w 3561"/>
                      <a:gd name="T67" fmla="*/ 0 h 941"/>
                      <a:gd name="T68" fmla="*/ 0 w 3561"/>
                      <a:gd name="T69" fmla="*/ 0 h 941"/>
                      <a:gd name="T70" fmla="*/ 0 w 3561"/>
                      <a:gd name="T71" fmla="*/ 0 h 941"/>
                      <a:gd name="T72" fmla="*/ 0 w 3561"/>
                      <a:gd name="T73" fmla="*/ 0 h 941"/>
                      <a:gd name="T74" fmla="*/ 0 w 3561"/>
                      <a:gd name="T75" fmla="*/ 0 h 941"/>
                      <a:gd name="T76" fmla="*/ 0 w 3561"/>
                      <a:gd name="T77" fmla="*/ 0 h 941"/>
                      <a:gd name="T78" fmla="*/ 0 w 3561"/>
                      <a:gd name="T79" fmla="*/ 0 h 941"/>
                      <a:gd name="T80" fmla="*/ 0 w 3561"/>
                      <a:gd name="T81" fmla="*/ 0 h 941"/>
                      <a:gd name="T82" fmla="*/ 0 w 3561"/>
                      <a:gd name="T83" fmla="*/ 0 h 941"/>
                      <a:gd name="T84" fmla="*/ 0 w 3561"/>
                      <a:gd name="T85" fmla="*/ 0 h 941"/>
                      <a:gd name="T86" fmla="*/ 0 w 3561"/>
                      <a:gd name="T87" fmla="*/ 0 h 941"/>
                      <a:gd name="T88" fmla="*/ 0 w 3561"/>
                      <a:gd name="T89" fmla="*/ 0 h 941"/>
                      <a:gd name="T90" fmla="*/ 0 w 3561"/>
                      <a:gd name="T91" fmla="*/ 0 h 941"/>
                      <a:gd name="T92" fmla="*/ 0 w 3561"/>
                      <a:gd name="T93" fmla="*/ 0 h 941"/>
                      <a:gd name="T94" fmla="*/ 0 w 3561"/>
                      <a:gd name="T95" fmla="*/ 0 h 941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w 3561"/>
                      <a:gd name="T145" fmla="*/ 0 h 941"/>
                      <a:gd name="T146" fmla="*/ 3561 w 3561"/>
                      <a:gd name="T147" fmla="*/ 941 h 941"/>
                    </a:gdLst>
                    <a:ahLst/>
                    <a:cxnLst>
                      <a:cxn ang="T96">
                        <a:pos x="T0" y="T1"/>
                      </a:cxn>
                      <a:cxn ang="T97">
                        <a:pos x="T2" y="T3"/>
                      </a:cxn>
                      <a:cxn ang="T98">
                        <a:pos x="T4" y="T5"/>
                      </a:cxn>
                      <a:cxn ang="T99">
                        <a:pos x="T6" y="T7"/>
                      </a:cxn>
                      <a:cxn ang="T100">
                        <a:pos x="T8" y="T9"/>
                      </a:cxn>
                      <a:cxn ang="T101">
                        <a:pos x="T10" y="T11"/>
                      </a:cxn>
                      <a:cxn ang="T102">
                        <a:pos x="T12" y="T13"/>
                      </a:cxn>
                      <a:cxn ang="T103">
                        <a:pos x="T14" y="T15"/>
                      </a:cxn>
                      <a:cxn ang="T104">
                        <a:pos x="T16" y="T17"/>
                      </a:cxn>
                      <a:cxn ang="T105">
                        <a:pos x="T18" y="T19"/>
                      </a:cxn>
                      <a:cxn ang="T106">
                        <a:pos x="T20" y="T21"/>
                      </a:cxn>
                      <a:cxn ang="T107">
                        <a:pos x="T22" y="T23"/>
                      </a:cxn>
                      <a:cxn ang="T108">
                        <a:pos x="T24" y="T25"/>
                      </a:cxn>
                      <a:cxn ang="T109">
                        <a:pos x="T26" y="T27"/>
                      </a:cxn>
                      <a:cxn ang="T110">
                        <a:pos x="T28" y="T29"/>
                      </a:cxn>
                      <a:cxn ang="T111">
                        <a:pos x="T30" y="T31"/>
                      </a:cxn>
                      <a:cxn ang="T112">
                        <a:pos x="T32" y="T33"/>
                      </a:cxn>
                      <a:cxn ang="T113">
                        <a:pos x="T34" y="T35"/>
                      </a:cxn>
                      <a:cxn ang="T114">
                        <a:pos x="T36" y="T37"/>
                      </a:cxn>
                      <a:cxn ang="T115">
                        <a:pos x="T38" y="T39"/>
                      </a:cxn>
                      <a:cxn ang="T116">
                        <a:pos x="T40" y="T41"/>
                      </a:cxn>
                      <a:cxn ang="T117">
                        <a:pos x="T42" y="T43"/>
                      </a:cxn>
                      <a:cxn ang="T118">
                        <a:pos x="T44" y="T45"/>
                      </a:cxn>
                      <a:cxn ang="T119">
                        <a:pos x="T46" y="T47"/>
                      </a:cxn>
                      <a:cxn ang="T120">
                        <a:pos x="T48" y="T49"/>
                      </a:cxn>
                      <a:cxn ang="T121">
                        <a:pos x="T50" y="T51"/>
                      </a:cxn>
                      <a:cxn ang="T122">
                        <a:pos x="T52" y="T53"/>
                      </a:cxn>
                      <a:cxn ang="T123">
                        <a:pos x="T54" y="T55"/>
                      </a:cxn>
                      <a:cxn ang="T124">
                        <a:pos x="T56" y="T57"/>
                      </a:cxn>
                      <a:cxn ang="T125">
                        <a:pos x="T58" y="T59"/>
                      </a:cxn>
                      <a:cxn ang="T126">
                        <a:pos x="T60" y="T61"/>
                      </a:cxn>
                      <a:cxn ang="T127">
                        <a:pos x="T62" y="T63"/>
                      </a:cxn>
                      <a:cxn ang="T128">
                        <a:pos x="T64" y="T65"/>
                      </a:cxn>
                      <a:cxn ang="T129">
                        <a:pos x="T66" y="T67"/>
                      </a:cxn>
                      <a:cxn ang="T130">
                        <a:pos x="T68" y="T69"/>
                      </a:cxn>
                      <a:cxn ang="T131">
                        <a:pos x="T70" y="T71"/>
                      </a:cxn>
                      <a:cxn ang="T132">
                        <a:pos x="T72" y="T73"/>
                      </a:cxn>
                      <a:cxn ang="T133">
                        <a:pos x="T74" y="T75"/>
                      </a:cxn>
                      <a:cxn ang="T134">
                        <a:pos x="T76" y="T77"/>
                      </a:cxn>
                      <a:cxn ang="T135">
                        <a:pos x="T78" y="T79"/>
                      </a:cxn>
                      <a:cxn ang="T136">
                        <a:pos x="T80" y="T81"/>
                      </a:cxn>
                      <a:cxn ang="T137">
                        <a:pos x="T82" y="T83"/>
                      </a:cxn>
                      <a:cxn ang="T138">
                        <a:pos x="T84" y="T85"/>
                      </a:cxn>
                      <a:cxn ang="T139">
                        <a:pos x="T86" y="T87"/>
                      </a:cxn>
                      <a:cxn ang="T140">
                        <a:pos x="T88" y="T89"/>
                      </a:cxn>
                      <a:cxn ang="T141">
                        <a:pos x="T90" y="T91"/>
                      </a:cxn>
                      <a:cxn ang="T142">
                        <a:pos x="T92" y="T93"/>
                      </a:cxn>
                      <a:cxn ang="T143">
                        <a:pos x="T94" y="T95"/>
                      </a:cxn>
                    </a:cxnLst>
                    <a:rect l="T144" t="T145" r="T146" b="T147"/>
                    <a:pathLst>
                      <a:path w="3561" h="941">
                        <a:moveTo>
                          <a:pt x="3519" y="41"/>
                        </a:moveTo>
                        <a:lnTo>
                          <a:pt x="3462" y="83"/>
                        </a:lnTo>
                        <a:lnTo>
                          <a:pt x="3404" y="123"/>
                        </a:lnTo>
                        <a:lnTo>
                          <a:pt x="3347" y="160"/>
                        </a:lnTo>
                        <a:lnTo>
                          <a:pt x="3289" y="194"/>
                        </a:lnTo>
                        <a:lnTo>
                          <a:pt x="3231" y="226"/>
                        </a:lnTo>
                        <a:lnTo>
                          <a:pt x="3172" y="255"/>
                        </a:lnTo>
                        <a:lnTo>
                          <a:pt x="3115" y="283"/>
                        </a:lnTo>
                        <a:lnTo>
                          <a:pt x="3056" y="308"/>
                        </a:lnTo>
                        <a:lnTo>
                          <a:pt x="2997" y="330"/>
                        </a:lnTo>
                        <a:lnTo>
                          <a:pt x="2936" y="351"/>
                        </a:lnTo>
                        <a:lnTo>
                          <a:pt x="2876" y="370"/>
                        </a:lnTo>
                        <a:lnTo>
                          <a:pt x="2816" y="387"/>
                        </a:lnTo>
                        <a:lnTo>
                          <a:pt x="2756" y="401"/>
                        </a:lnTo>
                        <a:lnTo>
                          <a:pt x="2695" y="414"/>
                        </a:lnTo>
                        <a:lnTo>
                          <a:pt x="2635" y="427"/>
                        </a:lnTo>
                        <a:lnTo>
                          <a:pt x="2572" y="437"/>
                        </a:lnTo>
                        <a:lnTo>
                          <a:pt x="2511" y="446"/>
                        </a:lnTo>
                        <a:lnTo>
                          <a:pt x="2449" y="453"/>
                        </a:lnTo>
                        <a:lnTo>
                          <a:pt x="2387" y="460"/>
                        </a:lnTo>
                        <a:lnTo>
                          <a:pt x="2323" y="464"/>
                        </a:lnTo>
                        <a:lnTo>
                          <a:pt x="2260" y="469"/>
                        </a:lnTo>
                        <a:lnTo>
                          <a:pt x="2196" y="472"/>
                        </a:lnTo>
                        <a:lnTo>
                          <a:pt x="2132" y="475"/>
                        </a:lnTo>
                        <a:lnTo>
                          <a:pt x="2068" y="476"/>
                        </a:lnTo>
                        <a:lnTo>
                          <a:pt x="1937" y="478"/>
                        </a:lnTo>
                        <a:lnTo>
                          <a:pt x="1806" y="477"/>
                        </a:lnTo>
                        <a:lnTo>
                          <a:pt x="1672" y="475"/>
                        </a:lnTo>
                        <a:lnTo>
                          <a:pt x="1536" y="472"/>
                        </a:lnTo>
                        <a:lnTo>
                          <a:pt x="1468" y="470"/>
                        </a:lnTo>
                        <a:lnTo>
                          <a:pt x="1400" y="466"/>
                        </a:lnTo>
                        <a:lnTo>
                          <a:pt x="1334" y="458"/>
                        </a:lnTo>
                        <a:lnTo>
                          <a:pt x="1267" y="449"/>
                        </a:lnTo>
                        <a:lnTo>
                          <a:pt x="1202" y="438"/>
                        </a:lnTo>
                        <a:lnTo>
                          <a:pt x="1137" y="424"/>
                        </a:lnTo>
                        <a:lnTo>
                          <a:pt x="1073" y="410"/>
                        </a:lnTo>
                        <a:lnTo>
                          <a:pt x="1011" y="393"/>
                        </a:lnTo>
                        <a:lnTo>
                          <a:pt x="950" y="375"/>
                        </a:lnTo>
                        <a:lnTo>
                          <a:pt x="890" y="358"/>
                        </a:lnTo>
                        <a:lnTo>
                          <a:pt x="831" y="338"/>
                        </a:lnTo>
                        <a:lnTo>
                          <a:pt x="774" y="318"/>
                        </a:lnTo>
                        <a:lnTo>
                          <a:pt x="719" y="296"/>
                        </a:lnTo>
                        <a:lnTo>
                          <a:pt x="666" y="275"/>
                        </a:lnTo>
                        <a:lnTo>
                          <a:pt x="614" y="253"/>
                        </a:lnTo>
                        <a:lnTo>
                          <a:pt x="565" y="232"/>
                        </a:lnTo>
                        <a:lnTo>
                          <a:pt x="517" y="210"/>
                        </a:lnTo>
                        <a:lnTo>
                          <a:pt x="471" y="189"/>
                        </a:lnTo>
                        <a:lnTo>
                          <a:pt x="429" y="167"/>
                        </a:lnTo>
                        <a:lnTo>
                          <a:pt x="389" y="146"/>
                        </a:lnTo>
                        <a:lnTo>
                          <a:pt x="315" y="107"/>
                        </a:lnTo>
                        <a:lnTo>
                          <a:pt x="254" y="72"/>
                        </a:lnTo>
                        <a:lnTo>
                          <a:pt x="204" y="43"/>
                        </a:lnTo>
                        <a:lnTo>
                          <a:pt x="168" y="19"/>
                        </a:lnTo>
                        <a:lnTo>
                          <a:pt x="145" y="5"/>
                        </a:lnTo>
                        <a:lnTo>
                          <a:pt x="137" y="0"/>
                        </a:lnTo>
                        <a:lnTo>
                          <a:pt x="122" y="34"/>
                        </a:lnTo>
                        <a:lnTo>
                          <a:pt x="107" y="65"/>
                        </a:lnTo>
                        <a:lnTo>
                          <a:pt x="93" y="93"/>
                        </a:lnTo>
                        <a:lnTo>
                          <a:pt x="78" y="118"/>
                        </a:lnTo>
                        <a:lnTo>
                          <a:pt x="53" y="164"/>
                        </a:lnTo>
                        <a:lnTo>
                          <a:pt x="31" y="202"/>
                        </a:lnTo>
                        <a:lnTo>
                          <a:pt x="23" y="220"/>
                        </a:lnTo>
                        <a:lnTo>
                          <a:pt x="15" y="236"/>
                        </a:lnTo>
                        <a:lnTo>
                          <a:pt x="8" y="252"/>
                        </a:lnTo>
                        <a:lnTo>
                          <a:pt x="4" y="268"/>
                        </a:lnTo>
                        <a:lnTo>
                          <a:pt x="1" y="283"/>
                        </a:lnTo>
                        <a:lnTo>
                          <a:pt x="0" y="299"/>
                        </a:lnTo>
                        <a:lnTo>
                          <a:pt x="0" y="314"/>
                        </a:lnTo>
                        <a:lnTo>
                          <a:pt x="4" y="331"/>
                        </a:lnTo>
                        <a:lnTo>
                          <a:pt x="9" y="348"/>
                        </a:lnTo>
                        <a:lnTo>
                          <a:pt x="19" y="365"/>
                        </a:lnTo>
                        <a:lnTo>
                          <a:pt x="33" y="385"/>
                        </a:lnTo>
                        <a:lnTo>
                          <a:pt x="49" y="406"/>
                        </a:lnTo>
                        <a:lnTo>
                          <a:pt x="70" y="427"/>
                        </a:lnTo>
                        <a:lnTo>
                          <a:pt x="94" y="450"/>
                        </a:lnTo>
                        <a:lnTo>
                          <a:pt x="122" y="472"/>
                        </a:lnTo>
                        <a:lnTo>
                          <a:pt x="152" y="497"/>
                        </a:lnTo>
                        <a:lnTo>
                          <a:pt x="185" y="521"/>
                        </a:lnTo>
                        <a:lnTo>
                          <a:pt x="222" y="546"/>
                        </a:lnTo>
                        <a:lnTo>
                          <a:pt x="261" y="570"/>
                        </a:lnTo>
                        <a:lnTo>
                          <a:pt x="303" y="596"/>
                        </a:lnTo>
                        <a:lnTo>
                          <a:pt x="348" y="620"/>
                        </a:lnTo>
                        <a:lnTo>
                          <a:pt x="395" y="646"/>
                        </a:lnTo>
                        <a:lnTo>
                          <a:pt x="444" y="670"/>
                        </a:lnTo>
                        <a:lnTo>
                          <a:pt x="497" y="695"/>
                        </a:lnTo>
                        <a:lnTo>
                          <a:pt x="550" y="718"/>
                        </a:lnTo>
                        <a:lnTo>
                          <a:pt x="606" y="742"/>
                        </a:lnTo>
                        <a:lnTo>
                          <a:pt x="664" y="765"/>
                        </a:lnTo>
                        <a:lnTo>
                          <a:pt x="724" y="786"/>
                        </a:lnTo>
                        <a:lnTo>
                          <a:pt x="785" y="807"/>
                        </a:lnTo>
                        <a:lnTo>
                          <a:pt x="847" y="827"/>
                        </a:lnTo>
                        <a:lnTo>
                          <a:pt x="912" y="846"/>
                        </a:lnTo>
                        <a:lnTo>
                          <a:pt x="978" y="863"/>
                        </a:lnTo>
                        <a:lnTo>
                          <a:pt x="1044" y="878"/>
                        </a:lnTo>
                        <a:lnTo>
                          <a:pt x="1112" y="893"/>
                        </a:lnTo>
                        <a:lnTo>
                          <a:pt x="1181" y="906"/>
                        </a:lnTo>
                        <a:lnTo>
                          <a:pt x="1250" y="916"/>
                        </a:lnTo>
                        <a:lnTo>
                          <a:pt x="1321" y="926"/>
                        </a:lnTo>
                        <a:lnTo>
                          <a:pt x="1393" y="933"/>
                        </a:lnTo>
                        <a:lnTo>
                          <a:pt x="1464" y="937"/>
                        </a:lnTo>
                        <a:lnTo>
                          <a:pt x="1536" y="940"/>
                        </a:lnTo>
                        <a:lnTo>
                          <a:pt x="1608" y="941"/>
                        </a:lnTo>
                        <a:lnTo>
                          <a:pt x="1679" y="941"/>
                        </a:lnTo>
                        <a:lnTo>
                          <a:pt x="1749" y="941"/>
                        </a:lnTo>
                        <a:lnTo>
                          <a:pt x="1819" y="940"/>
                        </a:lnTo>
                        <a:lnTo>
                          <a:pt x="1888" y="937"/>
                        </a:lnTo>
                        <a:lnTo>
                          <a:pt x="1957" y="935"/>
                        </a:lnTo>
                        <a:lnTo>
                          <a:pt x="2025" y="932"/>
                        </a:lnTo>
                        <a:lnTo>
                          <a:pt x="2093" y="927"/>
                        </a:lnTo>
                        <a:lnTo>
                          <a:pt x="2160" y="922"/>
                        </a:lnTo>
                        <a:lnTo>
                          <a:pt x="2225" y="915"/>
                        </a:lnTo>
                        <a:lnTo>
                          <a:pt x="2291" y="909"/>
                        </a:lnTo>
                        <a:lnTo>
                          <a:pt x="2357" y="900"/>
                        </a:lnTo>
                        <a:lnTo>
                          <a:pt x="2421" y="890"/>
                        </a:lnTo>
                        <a:lnTo>
                          <a:pt x="2485" y="880"/>
                        </a:lnTo>
                        <a:lnTo>
                          <a:pt x="2549" y="867"/>
                        </a:lnTo>
                        <a:lnTo>
                          <a:pt x="2611" y="854"/>
                        </a:lnTo>
                        <a:lnTo>
                          <a:pt x="2674" y="841"/>
                        </a:lnTo>
                        <a:lnTo>
                          <a:pt x="2736" y="825"/>
                        </a:lnTo>
                        <a:lnTo>
                          <a:pt x="2797" y="808"/>
                        </a:lnTo>
                        <a:lnTo>
                          <a:pt x="2859" y="789"/>
                        </a:lnTo>
                        <a:lnTo>
                          <a:pt x="2919" y="771"/>
                        </a:lnTo>
                        <a:lnTo>
                          <a:pt x="2979" y="749"/>
                        </a:lnTo>
                        <a:lnTo>
                          <a:pt x="3039" y="727"/>
                        </a:lnTo>
                        <a:lnTo>
                          <a:pt x="3098" y="703"/>
                        </a:lnTo>
                        <a:lnTo>
                          <a:pt x="3157" y="678"/>
                        </a:lnTo>
                        <a:lnTo>
                          <a:pt x="3216" y="650"/>
                        </a:lnTo>
                        <a:lnTo>
                          <a:pt x="3274" y="623"/>
                        </a:lnTo>
                        <a:lnTo>
                          <a:pt x="3330" y="592"/>
                        </a:lnTo>
                        <a:lnTo>
                          <a:pt x="3388" y="560"/>
                        </a:lnTo>
                        <a:lnTo>
                          <a:pt x="3445" y="527"/>
                        </a:lnTo>
                        <a:lnTo>
                          <a:pt x="3502" y="491"/>
                        </a:lnTo>
                        <a:lnTo>
                          <a:pt x="3557" y="453"/>
                        </a:lnTo>
                        <a:lnTo>
                          <a:pt x="3560" y="437"/>
                        </a:lnTo>
                        <a:lnTo>
                          <a:pt x="3561" y="416"/>
                        </a:lnTo>
                        <a:lnTo>
                          <a:pt x="3561" y="391"/>
                        </a:lnTo>
                        <a:lnTo>
                          <a:pt x="3561" y="364"/>
                        </a:lnTo>
                        <a:lnTo>
                          <a:pt x="3559" y="303"/>
                        </a:lnTo>
                        <a:lnTo>
                          <a:pt x="3553" y="239"/>
                        </a:lnTo>
                        <a:lnTo>
                          <a:pt x="3545" y="174"/>
                        </a:lnTo>
                        <a:lnTo>
                          <a:pt x="3537" y="116"/>
                        </a:lnTo>
                        <a:lnTo>
                          <a:pt x="3533" y="92"/>
                        </a:lnTo>
                        <a:lnTo>
                          <a:pt x="3527" y="71"/>
                        </a:lnTo>
                        <a:lnTo>
                          <a:pt x="3523" y="53"/>
                        </a:lnTo>
                        <a:lnTo>
                          <a:pt x="3519" y="41"/>
                        </a:lnTo>
                        <a:close/>
                      </a:path>
                    </a:pathLst>
                  </a:custGeom>
                  <a:solidFill>
                    <a:srgbClr val="C93A27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47" name="Freeform 188"/>
                  <p:cNvSpPr>
                    <a:spLocks/>
                  </p:cNvSpPr>
                  <p:nvPr/>
                </p:nvSpPr>
                <p:spPr bwMode="auto">
                  <a:xfrm>
                    <a:off x="3186" y="3764"/>
                    <a:ext cx="511" cy="95"/>
                  </a:xfrm>
                  <a:custGeom>
                    <a:avLst/>
                    <a:gdLst>
                      <a:gd name="T0" fmla="*/ 0 w 3561"/>
                      <a:gd name="T1" fmla="*/ 0 h 668"/>
                      <a:gd name="T2" fmla="*/ 0 w 3561"/>
                      <a:gd name="T3" fmla="*/ 0 h 668"/>
                      <a:gd name="T4" fmla="*/ 0 w 3561"/>
                      <a:gd name="T5" fmla="*/ 0 h 668"/>
                      <a:gd name="T6" fmla="*/ 0 w 3561"/>
                      <a:gd name="T7" fmla="*/ 0 h 668"/>
                      <a:gd name="T8" fmla="*/ 0 w 3561"/>
                      <a:gd name="T9" fmla="*/ 0 h 668"/>
                      <a:gd name="T10" fmla="*/ 0 w 3561"/>
                      <a:gd name="T11" fmla="*/ 0 h 668"/>
                      <a:gd name="T12" fmla="*/ 0 w 3561"/>
                      <a:gd name="T13" fmla="*/ 0 h 668"/>
                      <a:gd name="T14" fmla="*/ 0 w 3561"/>
                      <a:gd name="T15" fmla="*/ 0 h 668"/>
                      <a:gd name="T16" fmla="*/ 0 w 3561"/>
                      <a:gd name="T17" fmla="*/ 0 h 668"/>
                      <a:gd name="T18" fmla="*/ 0 w 3561"/>
                      <a:gd name="T19" fmla="*/ 0 h 668"/>
                      <a:gd name="T20" fmla="*/ 0 w 3561"/>
                      <a:gd name="T21" fmla="*/ 0 h 668"/>
                      <a:gd name="T22" fmla="*/ 0 w 3561"/>
                      <a:gd name="T23" fmla="*/ 0 h 668"/>
                      <a:gd name="T24" fmla="*/ 0 w 3561"/>
                      <a:gd name="T25" fmla="*/ 0 h 668"/>
                      <a:gd name="T26" fmla="*/ 0 w 3561"/>
                      <a:gd name="T27" fmla="*/ 0 h 668"/>
                      <a:gd name="T28" fmla="*/ 0 w 3561"/>
                      <a:gd name="T29" fmla="*/ 0 h 668"/>
                      <a:gd name="T30" fmla="*/ 0 w 3561"/>
                      <a:gd name="T31" fmla="*/ 0 h 668"/>
                      <a:gd name="T32" fmla="*/ 0 w 3561"/>
                      <a:gd name="T33" fmla="*/ 0 h 668"/>
                      <a:gd name="T34" fmla="*/ 0 w 3561"/>
                      <a:gd name="T35" fmla="*/ 0 h 668"/>
                      <a:gd name="T36" fmla="*/ 0 w 3561"/>
                      <a:gd name="T37" fmla="*/ 0 h 668"/>
                      <a:gd name="T38" fmla="*/ 0 w 3561"/>
                      <a:gd name="T39" fmla="*/ 0 h 668"/>
                      <a:gd name="T40" fmla="*/ 0 w 3561"/>
                      <a:gd name="T41" fmla="*/ 0 h 668"/>
                      <a:gd name="T42" fmla="*/ 0 w 3561"/>
                      <a:gd name="T43" fmla="*/ 0 h 668"/>
                      <a:gd name="T44" fmla="*/ 0 w 3561"/>
                      <a:gd name="T45" fmla="*/ 0 h 668"/>
                      <a:gd name="T46" fmla="*/ 0 w 3561"/>
                      <a:gd name="T47" fmla="*/ 0 h 668"/>
                      <a:gd name="T48" fmla="*/ 0 w 3561"/>
                      <a:gd name="T49" fmla="*/ 0 h 668"/>
                      <a:gd name="T50" fmla="*/ 0 w 3561"/>
                      <a:gd name="T51" fmla="*/ 0 h 668"/>
                      <a:gd name="T52" fmla="*/ 0 w 3561"/>
                      <a:gd name="T53" fmla="*/ 0 h 668"/>
                      <a:gd name="T54" fmla="*/ 0 w 3561"/>
                      <a:gd name="T55" fmla="*/ 0 h 668"/>
                      <a:gd name="T56" fmla="*/ 0 w 3561"/>
                      <a:gd name="T57" fmla="*/ 0 h 668"/>
                      <a:gd name="T58" fmla="*/ 0 w 3561"/>
                      <a:gd name="T59" fmla="*/ 0 h 668"/>
                      <a:gd name="T60" fmla="*/ 0 w 3561"/>
                      <a:gd name="T61" fmla="*/ 0 h 668"/>
                      <a:gd name="T62" fmla="*/ 0 w 3561"/>
                      <a:gd name="T63" fmla="*/ 0 h 668"/>
                      <a:gd name="T64" fmla="*/ 0 w 3561"/>
                      <a:gd name="T65" fmla="*/ 0 h 668"/>
                      <a:gd name="T66" fmla="*/ 0 w 3561"/>
                      <a:gd name="T67" fmla="*/ 0 h 668"/>
                      <a:gd name="T68" fmla="*/ 0 w 3561"/>
                      <a:gd name="T69" fmla="*/ 0 h 668"/>
                      <a:gd name="T70" fmla="*/ 0 w 3561"/>
                      <a:gd name="T71" fmla="*/ 0 h 668"/>
                      <a:gd name="T72" fmla="*/ 0 w 3561"/>
                      <a:gd name="T73" fmla="*/ 0 h 668"/>
                      <a:gd name="T74" fmla="*/ 0 w 3561"/>
                      <a:gd name="T75" fmla="*/ 0 h 668"/>
                      <a:gd name="T76" fmla="*/ 0 w 3561"/>
                      <a:gd name="T77" fmla="*/ 0 h 668"/>
                      <a:gd name="T78" fmla="*/ 0 w 3561"/>
                      <a:gd name="T79" fmla="*/ 0 h 668"/>
                      <a:gd name="T80" fmla="*/ 0 w 3561"/>
                      <a:gd name="T81" fmla="*/ 0 h 668"/>
                      <a:gd name="T82" fmla="*/ 0 w 3561"/>
                      <a:gd name="T83" fmla="*/ 0 h 668"/>
                      <a:gd name="T84" fmla="*/ 0 w 3561"/>
                      <a:gd name="T85" fmla="*/ 0 h 668"/>
                      <a:gd name="T86" fmla="*/ 0 w 3561"/>
                      <a:gd name="T87" fmla="*/ 0 h 668"/>
                      <a:gd name="T88" fmla="*/ 0 w 3561"/>
                      <a:gd name="T89" fmla="*/ 0 h 668"/>
                      <a:gd name="T90" fmla="*/ 0 w 3561"/>
                      <a:gd name="T91" fmla="*/ 0 h 668"/>
                      <a:gd name="T92" fmla="*/ 0 w 3561"/>
                      <a:gd name="T93" fmla="*/ 0 h 668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w 3561"/>
                      <a:gd name="T142" fmla="*/ 0 h 668"/>
                      <a:gd name="T143" fmla="*/ 3561 w 3561"/>
                      <a:gd name="T144" fmla="*/ 668 h 668"/>
                    </a:gdLst>
                    <a:ahLst/>
                    <a:cxnLst>
                      <a:cxn ang="T94">
                        <a:pos x="T0" y="T1"/>
                      </a:cxn>
                      <a:cxn ang="T95">
                        <a:pos x="T2" y="T3"/>
                      </a:cxn>
                      <a:cxn ang="T96">
                        <a:pos x="T4" y="T5"/>
                      </a:cxn>
                      <a:cxn ang="T97">
                        <a:pos x="T6" y="T7"/>
                      </a:cxn>
                      <a:cxn ang="T98">
                        <a:pos x="T8" y="T9"/>
                      </a:cxn>
                      <a:cxn ang="T99">
                        <a:pos x="T10" y="T11"/>
                      </a:cxn>
                      <a:cxn ang="T100">
                        <a:pos x="T12" y="T13"/>
                      </a:cxn>
                      <a:cxn ang="T101">
                        <a:pos x="T14" y="T15"/>
                      </a:cxn>
                      <a:cxn ang="T102">
                        <a:pos x="T16" y="T17"/>
                      </a:cxn>
                      <a:cxn ang="T103">
                        <a:pos x="T18" y="T19"/>
                      </a:cxn>
                      <a:cxn ang="T104">
                        <a:pos x="T20" y="T21"/>
                      </a:cxn>
                      <a:cxn ang="T105">
                        <a:pos x="T22" y="T23"/>
                      </a:cxn>
                      <a:cxn ang="T106">
                        <a:pos x="T24" y="T25"/>
                      </a:cxn>
                      <a:cxn ang="T107">
                        <a:pos x="T26" y="T27"/>
                      </a:cxn>
                      <a:cxn ang="T108">
                        <a:pos x="T28" y="T29"/>
                      </a:cxn>
                      <a:cxn ang="T109">
                        <a:pos x="T30" y="T31"/>
                      </a:cxn>
                      <a:cxn ang="T110">
                        <a:pos x="T32" y="T33"/>
                      </a:cxn>
                      <a:cxn ang="T111">
                        <a:pos x="T34" y="T35"/>
                      </a:cxn>
                      <a:cxn ang="T112">
                        <a:pos x="T36" y="T37"/>
                      </a:cxn>
                      <a:cxn ang="T113">
                        <a:pos x="T38" y="T39"/>
                      </a:cxn>
                      <a:cxn ang="T114">
                        <a:pos x="T40" y="T41"/>
                      </a:cxn>
                      <a:cxn ang="T115">
                        <a:pos x="T42" y="T43"/>
                      </a:cxn>
                      <a:cxn ang="T116">
                        <a:pos x="T44" y="T45"/>
                      </a:cxn>
                      <a:cxn ang="T117">
                        <a:pos x="T46" y="T47"/>
                      </a:cxn>
                      <a:cxn ang="T118">
                        <a:pos x="T48" y="T49"/>
                      </a:cxn>
                      <a:cxn ang="T119">
                        <a:pos x="T50" y="T51"/>
                      </a:cxn>
                      <a:cxn ang="T120">
                        <a:pos x="T52" y="T53"/>
                      </a:cxn>
                      <a:cxn ang="T121">
                        <a:pos x="T54" y="T55"/>
                      </a:cxn>
                      <a:cxn ang="T122">
                        <a:pos x="T56" y="T57"/>
                      </a:cxn>
                      <a:cxn ang="T123">
                        <a:pos x="T58" y="T59"/>
                      </a:cxn>
                      <a:cxn ang="T124">
                        <a:pos x="T60" y="T61"/>
                      </a:cxn>
                      <a:cxn ang="T125">
                        <a:pos x="T62" y="T63"/>
                      </a:cxn>
                      <a:cxn ang="T126">
                        <a:pos x="T64" y="T65"/>
                      </a:cxn>
                      <a:cxn ang="T127">
                        <a:pos x="T66" y="T67"/>
                      </a:cxn>
                      <a:cxn ang="T128">
                        <a:pos x="T68" y="T69"/>
                      </a:cxn>
                      <a:cxn ang="T129">
                        <a:pos x="T70" y="T71"/>
                      </a:cxn>
                      <a:cxn ang="T130">
                        <a:pos x="T72" y="T73"/>
                      </a:cxn>
                      <a:cxn ang="T131">
                        <a:pos x="T74" y="T75"/>
                      </a:cxn>
                      <a:cxn ang="T132">
                        <a:pos x="T76" y="T77"/>
                      </a:cxn>
                      <a:cxn ang="T133">
                        <a:pos x="T78" y="T79"/>
                      </a:cxn>
                      <a:cxn ang="T134">
                        <a:pos x="T80" y="T81"/>
                      </a:cxn>
                      <a:cxn ang="T135">
                        <a:pos x="T82" y="T83"/>
                      </a:cxn>
                      <a:cxn ang="T136">
                        <a:pos x="T84" y="T85"/>
                      </a:cxn>
                      <a:cxn ang="T137">
                        <a:pos x="T86" y="T87"/>
                      </a:cxn>
                      <a:cxn ang="T138">
                        <a:pos x="T88" y="T89"/>
                      </a:cxn>
                      <a:cxn ang="T139">
                        <a:pos x="T90" y="T91"/>
                      </a:cxn>
                      <a:cxn ang="T140">
                        <a:pos x="T92" y="T93"/>
                      </a:cxn>
                    </a:cxnLst>
                    <a:rect l="T141" t="T142" r="T143" b="T144"/>
                    <a:pathLst>
                      <a:path w="3561" h="668">
                        <a:moveTo>
                          <a:pt x="3557" y="128"/>
                        </a:moveTo>
                        <a:lnTo>
                          <a:pt x="3501" y="165"/>
                        </a:lnTo>
                        <a:lnTo>
                          <a:pt x="3444" y="200"/>
                        </a:lnTo>
                        <a:lnTo>
                          <a:pt x="3388" y="234"/>
                        </a:lnTo>
                        <a:lnTo>
                          <a:pt x="3330" y="266"/>
                        </a:lnTo>
                        <a:lnTo>
                          <a:pt x="3273" y="296"/>
                        </a:lnTo>
                        <a:lnTo>
                          <a:pt x="3215" y="325"/>
                        </a:lnTo>
                        <a:lnTo>
                          <a:pt x="3156" y="352"/>
                        </a:lnTo>
                        <a:lnTo>
                          <a:pt x="3097" y="377"/>
                        </a:lnTo>
                        <a:lnTo>
                          <a:pt x="3038" y="401"/>
                        </a:lnTo>
                        <a:lnTo>
                          <a:pt x="2979" y="424"/>
                        </a:lnTo>
                        <a:lnTo>
                          <a:pt x="2918" y="444"/>
                        </a:lnTo>
                        <a:lnTo>
                          <a:pt x="2858" y="464"/>
                        </a:lnTo>
                        <a:lnTo>
                          <a:pt x="2797" y="482"/>
                        </a:lnTo>
                        <a:lnTo>
                          <a:pt x="2735" y="499"/>
                        </a:lnTo>
                        <a:lnTo>
                          <a:pt x="2673" y="514"/>
                        </a:lnTo>
                        <a:lnTo>
                          <a:pt x="2611" y="529"/>
                        </a:lnTo>
                        <a:lnTo>
                          <a:pt x="2548" y="542"/>
                        </a:lnTo>
                        <a:lnTo>
                          <a:pt x="2485" y="553"/>
                        </a:lnTo>
                        <a:lnTo>
                          <a:pt x="2420" y="564"/>
                        </a:lnTo>
                        <a:lnTo>
                          <a:pt x="2356" y="573"/>
                        </a:lnTo>
                        <a:lnTo>
                          <a:pt x="2290" y="582"/>
                        </a:lnTo>
                        <a:lnTo>
                          <a:pt x="2225" y="590"/>
                        </a:lnTo>
                        <a:lnTo>
                          <a:pt x="2159" y="595"/>
                        </a:lnTo>
                        <a:lnTo>
                          <a:pt x="2092" y="601"/>
                        </a:lnTo>
                        <a:lnTo>
                          <a:pt x="2024" y="605"/>
                        </a:lnTo>
                        <a:lnTo>
                          <a:pt x="1956" y="609"/>
                        </a:lnTo>
                        <a:lnTo>
                          <a:pt x="1888" y="612"/>
                        </a:lnTo>
                        <a:lnTo>
                          <a:pt x="1818" y="614"/>
                        </a:lnTo>
                        <a:lnTo>
                          <a:pt x="1749" y="615"/>
                        </a:lnTo>
                        <a:lnTo>
                          <a:pt x="1678" y="615"/>
                        </a:lnTo>
                        <a:lnTo>
                          <a:pt x="1607" y="615"/>
                        </a:lnTo>
                        <a:lnTo>
                          <a:pt x="1536" y="614"/>
                        </a:lnTo>
                        <a:lnTo>
                          <a:pt x="1463" y="612"/>
                        </a:lnTo>
                        <a:lnTo>
                          <a:pt x="1392" y="607"/>
                        </a:lnTo>
                        <a:lnTo>
                          <a:pt x="1321" y="600"/>
                        </a:lnTo>
                        <a:lnTo>
                          <a:pt x="1250" y="591"/>
                        </a:lnTo>
                        <a:lnTo>
                          <a:pt x="1181" y="580"/>
                        </a:lnTo>
                        <a:lnTo>
                          <a:pt x="1112" y="568"/>
                        </a:lnTo>
                        <a:lnTo>
                          <a:pt x="1044" y="553"/>
                        </a:lnTo>
                        <a:lnTo>
                          <a:pt x="977" y="538"/>
                        </a:lnTo>
                        <a:lnTo>
                          <a:pt x="911" y="520"/>
                        </a:lnTo>
                        <a:lnTo>
                          <a:pt x="847" y="501"/>
                        </a:lnTo>
                        <a:lnTo>
                          <a:pt x="784" y="482"/>
                        </a:lnTo>
                        <a:lnTo>
                          <a:pt x="723" y="461"/>
                        </a:lnTo>
                        <a:lnTo>
                          <a:pt x="663" y="439"/>
                        </a:lnTo>
                        <a:lnTo>
                          <a:pt x="605" y="416"/>
                        </a:lnTo>
                        <a:lnTo>
                          <a:pt x="549" y="393"/>
                        </a:lnTo>
                        <a:lnTo>
                          <a:pt x="496" y="368"/>
                        </a:lnTo>
                        <a:lnTo>
                          <a:pt x="444" y="344"/>
                        </a:lnTo>
                        <a:lnTo>
                          <a:pt x="395" y="319"/>
                        </a:lnTo>
                        <a:lnTo>
                          <a:pt x="347" y="295"/>
                        </a:lnTo>
                        <a:lnTo>
                          <a:pt x="302" y="269"/>
                        </a:lnTo>
                        <a:lnTo>
                          <a:pt x="260" y="245"/>
                        </a:lnTo>
                        <a:lnTo>
                          <a:pt x="221" y="219"/>
                        </a:lnTo>
                        <a:lnTo>
                          <a:pt x="184" y="195"/>
                        </a:lnTo>
                        <a:lnTo>
                          <a:pt x="151" y="170"/>
                        </a:lnTo>
                        <a:lnTo>
                          <a:pt x="121" y="147"/>
                        </a:lnTo>
                        <a:lnTo>
                          <a:pt x="93" y="124"/>
                        </a:lnTo>
                        <a:lnTo>
                          <a:pt x="70" y="101"/>
                        </a:lnTo>
                        <a:lnTo>
                          <a:pt x="49" y="80"/>
                        </a:lnTo>
                        <a:lnTo>
                          <a:pt x="32" y="59"/>
                        </a:lnTo>
                        <a:lnTo>
                          <a:pt x="19" y="40"/>
                        </a:lnTo>
                        <a:lnTo>
                          <a:pt x="9" y="22"/>
                        </a:lnTo>
                        <a:lnTo>
                          <a:pt x="3" y="5"/>
                        </a:lnTo>
                        <a:lnTo>
                          <a:pt x="3" y="2"/>
                        </a:lnTo>
                        <a:lnTo>
                          <a:pt x="2" y="0"/>
                        </a:lnTo>
                        <a:lnTo>
                          <a:pt x="0" y="15"/>
                        </a:lnTo>
                        <a:lnTo>
                          <a:pt x="0" y="28"/>
                        </a:lnTo>
                        <a:lnTo>
                          <a:pt x="1" y="42"/>
                        </a:lnTo>
                        <a:lnTo>
                          <a:pt x="3" y="58"/>
                        </a:lnTo>
                        <a:lnTo>
                          <a:pt x="9" y="75"/>
                        </a:lnTo>
                        <a:lnTo>
                          <a:pt x="19" y="92"/>
                        </a:lnTo>
                        <a:lnTo>
                          <a:pt x="32" y="112"/>
                        </a:lnTo>
                        <a:lnTo>
                          <a:pt x="49" y="133"/>
                        </a:lnTo>
                        <a:lnTo>
                          <a:pt x="70" y="154"/>
                        </a:lnTo>
                        <a:lnTo>
                          <a:pt x="93" y="177"/>
                        </a:lnTo>
                        <a:lnTo>
                          <a:pt x="121" y="199"/>
                        </a:lnTo>
                        <a:lnTo>
                          <a:pt x="151" y="224"/>
                        </a:lnTo>
                        <a:lnTo>
                          <a:pt x="184" y="248"/>
                        </a:lnTo>
                        <a:lnTo>
                          <a:pt x="221" y="273"/>
                        </a:lnTo>
                        <a:lnTo>
                          <a:pt x="260" y="297"/>
                        </a:lnTo>
                        <a:lnTo>
                          <a:pt x="302" y="323"/>
                        </a:lnTo>
                        <a:lnTo>
                          <a:pt x="347" y="347"/>
                        </a:lnTo>
                        <a:lnTo>
                          <a:pt x="395" y="373"/>
                        </a:lnTo>
                        <a:lnTo>
                          <a:pt x="444" y="397"/>
                        </a:lnTo>
                        <a:lnTo>
                          <a:pt x="496" y="422"/>
                        </a:lnTo>
                        <a:lnTo>
                          <a:pt x="549" y="445"/>
                        </a:lnTo>
                        <a:lnTo>
                          <a:pt x="605" y="469"/>
                        </a:lnTo>
                        <a:lnTo>
                          <a:pt x="663" y="492"/>
                        </a:lnTo>
                        <a:lnTo>
                          <a:pt x="723" y="513"/>
                        </a:lnTo>
                        <a:lnTo>
                          <a:pt x="784" y="534"/>
                        </a:lnTo>
                        <a:lnTo>
                          <a:pt x="847" y="554"/>
                        </a:lnTo>
                        <a:lnTo>
                          <a:pt x="911" y="573"/>
                        </a:lnTo>
                        <a:lnTo>
                          <a:pt x="977" y="590"/>
                        </a:lnTo>
                        <a:lnTo>
                          <a:pt x="1044" y="605"/>
                        </a:lnTo>
                        <a:lnTo>
                          <a:pt x="1112" y="620"/>
                        </a:lnTo>
                        <a:lnTo>
                          <a:pt x="1181" y="633"/>
                        </a:lnTo>
                        <a:lnTo>
                          <a:pt x="1250" y="643"/>
                        </a:lnTo>
                        <a:lnTo>
                          <a:pt x="1321" y="653"/>
                        </a:lnTo>
                        <a:lnTo>
                          <a:pt x="1392" y="660"/>
                        </a:lnTo>
                        <a:lnTo>
                          <a:pt x="1463" y="664"/>
                        </a:lnTo>
                        <a:lnTo>
                          <a:pt x="1536" y="667"/>
                        </a:lnTo>
                        <a:lnTo>
                          <a:pt x="1607" y="668"/>
                        </a:lnTo>
                        <a:lnTo>
                          <a:pt x="1678" y="668"/>
                        </a:lnTo>
                        <a:lnTo>
                          <a:pt x="1749" y="668"/>
                        </a:lnTo>
                        <a:lnTo>
                          <a:pt x="1818" y="667"/>
                        </a:lnTo>
                        <a:lnTo>
                          <a:pt x="1888" y="664"/>
                        </a:lnTo>
                        <a:lnTo>
                          <a:pt x="1956" y="662"/>
                        </a:lnTo>
                        <a:lnTo>
                          <a:pt x="2024" y="659"/>
                        </a:lnTo>
                        <a:lnTo>
                          <a:pt x="2092" y="654"/>
                        </a:lnTo>
                        <a:lnTo>
                          <a:pt x="2159" y="649"/>
                        </a:lnTo>
                        <a:lnTo>
                          <a:pt x="2225" y="642"/>
                        </a:lnTo>
                        <a:lnTo>
                          <a:pt x="2290" y="636"/>
                        </a:lnTo>
                        <a:lnTo>
                          <a:pt x="2356" y="627"/>
                        </a:lnTo>
                        <a:lnTo>
                          <a:pt x="2420" y="617"/>
                        </a:lnTo>
                        <a:lnTo>
                          <a:pt x="2485" y="607"/>
                        </a:lnTo>
                        <a:lnTo>
                          <a:pt x="2548" y="594"/>
                        </a:lnTo>
                        <a:lnTo>
                          <a:pt x="2611" y="581"/>
                        </a:lnTo>
                        <a:lnTo>
                          <a:pt x="2673" y="568"/>
                        </a:lnTo>
                        <a:lnTo>
                          <a:pt x="2735" y="552"/>
                        </a:lnTo>
                        <a:lnTo>
                          <a:pt x="2797" y="535"/>
                        </a:lnTo>
                        <a:lnTo>
                          <a:pt x="2858" y="516"/>
                        </a:lnTo>
                        <a:lnTo>
                          <a:pt x="2918" y="498"/>
                        </a:lnTo>
                        <a:lnTo>
                          <a:pt x="2979" y="476"/>
                        </a:lnTo>
                        <a:lnTo>
                          <a:pt x="3038" y="454"/>
                        </a:lnTo>
                        <a:lnTo>
                          <a:pt x="3097" y="430"/>
                        </a:lnTo>
                        <a:lnTo>
                          <a:pt x="3156" y="405"/>
                        </a:lnTo>
                        <a:lnTo>
                          <a:pt x="3215" y="377"/>
                        </a:lnTo>
                        <a:lnTo>
                          <a:pt x="3273" y="350"/>
                        </a:lnTo>
                        <a:lnTo>
                          <a:pt x="3330" y="319"/>
                        </a:lnTo>
                        <a:lnTo>
                          <a:pt x="3388" y="287"/>
                        </a:lnTo>
                        <a:lnTo>
                          <a:pt x="3444" y="254"/>
                        </a:lnTo>
                        <a:lnTo>
                          <a:pt x="3501" y="218"/>
                        </a:lnTo>
                        <a:lnTo>
                          <a:pt x="3557" y="180"/>
                        </a:lnTo>
                        <a:lnTo>
                          <a:pt x="3559" y="164"/>
                        </a:lnTo>
                        <a:lnTo>
                          <a:pt x="3560" y="143"/>
                        </a:lnTo>
                        <a:lnTo>
                          <a:pt x="3561" y="118"/>
                        </a:lnTo>
                        <a:lnTo>
                          <a:pt x="3560" y="90"/>
                        </a:lnTo>
                        <a:lnTo>
                          <a:pt x="3560" y="101"/>
                        </a:lnTo>
                        <a:lnTo>
                          <a:pt x="3559" y="111"/>
                        </a:lnTo>
                        <a:lnTo>
                          <a:pt x="3558" y="120"/>
                        </a:lnTo>
                        <a:lnTo>
                          <a:pt x="3557" y="128"/>
                        </a:lnTo>
                        <a:close/>
                      </a:path>
                    </a:pathLst>
                  </a:custGeom>
                  <a:solidFill>
                    <a:srgbClr val="99312C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48" name="Freeform 189"/>
                  <p:cNvSpPr>
                    <a:spLocks/>
                  </p:cNvSpPr>
                  <p:nvPr/>
                </p:nvSpPr>
                <p:spPr bwMode="auto">
                  <a:xfrm>
                    <a:off x="3223" y="3764"/>
                    <a:ext cx="20" cy="18"/>
                  </a:xfrm>
                  <a:custGeom>
                    <a:avLst/>
                    <a:gdLst>
                      <a:gd name="T0" fmla="*/ 0 w 139"/>
                      <a:gd name="T1" fmla="*/ 0 h 125"/>
                      <a:gd name="T2" fmla="*/ 0 w 139"/>
                      <a:gd name="T3" fmla="*/ 0 h 125"/>
                      <a:gd name="T4" fmla="*/ 0 w 139"/>
                      <a:gd name="T5" fmla="*/ 0 h 125"/>
                      <a:gd name="T6" fmla="*/ 0 w 139"/>
                      <a:gd name="T7" fmla="*/ 0 h 125"/>
                      <a:gd name="T8" fmla="*/ 0 w 139"/>
                      <a:gd name="T9" fmla="*/ 0 h 12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39"/>
                      <a:gd name="T16" fmla="*/ 0 h 125"/>
                      <a:gd name="T17" fmla="*/ 139 w 139"/>
                      <a:gd name="T18" fmla="*/ 125 h 12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39" h="125">
                        <a:moveTo>
                          <a:pt x="69" y="125"/>
                        </a:moveTo>
                        <a:lnTo>
                          <a:pt x="0" y="62"/>
                        </a:lnTo>
                        <a:lnTo>
                          <a:pt x="69" y="0"/>
                        </a:lnTo>
                        <a:lnTo>
                          <a:pt x="139" y="62"/>
                        </a:lnTo>
                        <a:lnTo>
                          <a:pt x="69" y="125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49" name="Freeform 190"/>
                  <p:cNvSpPr>
                    <a:spLocks/>
                  </p:cNvSpPr>
                  <p:nvPr/>
                </p:nvSpPr>
                <p:spPr bwMode="auto">
                  <a:xfrm>
                    <a:off x="3251" y="3779"/>
                    <a:ext cx="35" cy="31"/>
                  </a:xfrm>
                  <a:custGeom>
                    <a:avLst/>
                    <a:gdLst>
                      <a:gd name="T0" fmla="*/ 0 w 233"/>
                      <a:gd name="T1" fmla="*/ 0 h 207"/>
                      <a:gd name="T2" fmla="*/ 0 w 233"/>
                      <a:gd name="T3" fmla="*/ 0 h 207"/>
                      <a:gd name="T4" fmla="*/ 0 w 233"/>
                      <a:gd name="T5" fmla="*/ 0 h 207"/>
                      <a:gd name="T6" fmla="*/ 0 w 233"/>
                      <a:gd name="T7" fmla="*/ 0 h 207"/>
                      <a:gd name="T8" fmla="*/ 0 w 233"/>
                      <a:gd name="T9" fmla="*/ 0 h 20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33"/>
                      <a:gd name="T16" fmla="*/ 0 h 207"/>
                      <a:gd name="T17" fmla="*/ 233 w 233"/>
                      <a:gd name="T18" fmla="*/ 207 h 20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33" h="207">
                        <a:moveTo>
                          <a:pt x="96" y="207"/>
                        </a:moveTo>
                        <a:lnTo>
                          <a:pt x="0" y="85"/>
                        </a:lnTo>
                        <a:lnTo>
                          <a:pt x="137" y="0"/>
                        </a:lnTo>
                        <a:lnTo>
                          <a:pt x="233" y="122"/>
                        </a:lnTo>
                        <a:lnTo>
                          <a:pt x="96" y="207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50" name="Freeform 191"/>
                  <p:cNvSpPr>
                    <a:spLocks/>
                  </p:cNvSpPr>
                  <p:nvPr/>
                </p:nvSpPr>
                <p:spPr bwMode="auto">
                  <a:xfrm>
                    <a:off x="3300" y="3802"/>
                    <a:ext cx="17" cy="15"/>
                  </a:xfrm>
                  <a:custGeom>
                    <a:avLst/>
                    <a:gdLst>
                      <a:gd name="T0" fmla="*/ 0 w 122"/>
                      <a:gd name="T1" fmla="*/ 0 h 109"/>
                      <a:gd name="T2" fmla="*/ 0 w 122"/>
                      <a:gd name="T3" fmla="*/ 0 h 109"/>
                      <a:gd name="T4" fmla="*/ 0 w 122"/>
                      <a:gd name="T5" fmla="*/ 0 h 109"/>
                      <a:gd name="T6" fmla="*/ 0 w 122"/>
                      <a:gd name="T7" fmla="*/ 0 h 109"/>
                      <a:gd name="T8" fmla="*/ 0 w 122"/>
                      <a:gd name="T9" fmla="*/ 0 h 10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22"/>
                      <a:gd name="T16" fmla="*/ 0 h 109"/>
                      <a:gd name="T17" fmla="*/ 122 w 122"/>
                      <a:gd name="T18" fmla="*/ 109 h 10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22" h="109">
                        <a:moveTo>
                          <a:pt x="37" y="109"/>
                        </a:moveTo>
                        <a:lnTo>
                          <a:pt x="0" y="32"/>
                        </a:lnTo>
                        <a:lnTo>
                          <a:pt x="86" y="0"/>
                        </a:lnTo>
                        <a:lnTo>
                          <a:pt x="122" y="76"/>
                        </a:lnTo>
                        <a:lnTo>
                          <a:pt x="37" y="109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51" name="Freeform 192"/>
                  <p:cNvSpPr>
                    <a:spLocks/>
                  </p:cNvSpPr>
                  <p:nvPr/>
                </p:nvSpPr>
                <p:spPr bwMode="auto">
                  <a:xfrm>
                    <a:off x="3341" y="3811"/>
                    <a:ext cx="22" cy="19"/>
                  </a:xfrm>
                  <a:custGeom>
                    <a:avLst/>
                    <a:gdLst>
                      <a:gd name="T0" fmla="*/ 0 w 143"/>
                      <a:gd name="T1" fmla="*/ 0 h 128"/>
                      <a:gd name="T2" fmla="*/ 0 w 143"/>
                      <a:gd name="T3" fmla="*/ 0 h 128"/>
                      <a:gd name="T4" fmla="*/ 0 w 143"/>
                      <a:gd name="T5" fmla="*/ 0 h 128"/>
                      <a:gd name="T6" fmla="*/ 0 w 143"/>
                      <a:gd name="T7" fmla="*/ 0 h 128"/>
                      <a:gd name="T8" fmla="*/ 0 w 143"/>
                      <a:gd name="T9" fmla="*/ 0 h 12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43"/>
                      <a:gd name="T16" fmla="*/ 0 h 128"/>
                      <a:gd name="T17" fmla="*/ 143 w 143"/>
                      <a:gd name="T18" fmla="*/ 128 h 12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43" h="128">
                        <a:moveTo>
                          <a:pt x="57" y="128"/>
                        </a:moveTo>
                        <a:lnTo>
                          <a:pt x="0" y="52"/>
                        </a:lnTo>
                        <a:lnTo>
                          <a:pt x="86" y="0"/>
                        </a:lnTo>
                        <a:lnTo>
                          <a:pt x="143" y="77"/>
                        </a:lnTo>
                        <a:lnTo>
                          <a:pt x="57" y="128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52" name="Freeform 193"/>
                  <p:cNvSpPr>
                    <a:spLocks/>
                  </p:cNvSpPr>
                  <p:nvPr/>
                </p:nvSpPr>
                <p:spPr bwMode="auto">
                  <a:xfrm>
                    <a:off x="3668" y="3764"/>
                    <a:ext cx="20" cy="18"/>
                  </a:xfrm>
                  <a:custGeom>
                    <a:avLst/>
                    <a:gdLst>
                      <a:gd name="T0" fmla="*/ 0 w 139"/>
                      <a:gd name="T1" fmla="*/ 0 h 125"/>
                      <a:gd name="T2" fmla="*/ 0 w 139"/>
                      <a:gd name="T3" fmla="*/ 0 h 125"/>
                      <a:gd name="T4" fmla="*/ 0 w 139"/>
                      <a:gd name="T5" fmla="*/ 0 h 125"/>
                      <a:gd name="T6" fmla="*/ 0 w 139"/>
                      <a:gd name="T7" fmla="*/ 0 h 125"/>
                      <a:gd name="T8" fmla="*/ 0 w 139"/>
                      <a:gd name="T9" fmla="*/ 0 h 12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39"/>
                      <a:gd name="T16" fmla="*/ 0 h 125"/>
                      <a:gd name="T17" fmla="*/ 139 w 139"/>
                      <a:gd name="T18" fmla="*/ 125 h 12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39" h="125">
                        <a:moveTo>
                          <a:pt x="69" y="125"/>
                        </a:moveTo>
                        <a:lnTo>
                          <a:pt x="139" y="62"/>
                        </a:lnTo>
                        <a:lnTo>
                          <a:pt x="69" y="0"/>
                        </a:lnTo>
                        <a:lnTo>
                          <a:pt x="0" y="62"/>
                        </a:lnTo>
                        <a:lnTo>
                          <a:pt x="69" y="125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53" name="Freeform 194"/>
                  <p:cNvSpPr>
                    <a:spLocks/>
                  </p:cNvSpPr>
                  <p:nvPr/>
                </p:nvSpPr>
                <p:spPr bwMode="auto">
                  <a:xfrm>
                    <a:off x="3627" y="3779"/>
                    <a:ext cx="33" cy="31"/>
                  </a:xfrm>
                  <a:custGeom>
                    <a:avLst/>
                    <a:gdLst>
                      <a:gd name="T0" fmla="*/ 0 w 231"/>
                      <a:gd name="T1" fmla="*/ 0 h 207"/>
                      <a:gd name="T2" fmla="*/ 0 w 231"/>
                      <a:gd name="T3" fmla="*/ 0 h 207"/>
                      <a:gd name="T4" fmla="*/ 0 w 231"/>
                      <a:gd name="T5" fmla="*/ 0 h 207"/>
                      <a:gd name="T6" fmla="*/ 0 w 231"/>
                      <a:gd name="T7" fmla="*/ 0 h 207"/>
                      <a:gd name="T8" fmla="*/ 0 w 231"/>
                      <a:gd name="T9" fmla="*/ 0 h 20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31"/>
                      <a:gd name="T16" fmla="*/ 0 h 207"/>
                      <a:gd name="T17" fmla="*/ 231 w 231"/>
                      <a:gd name="T18" fmla="*/ 207 h 20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31" h="207">
                        <a:moveTo>
                          <a:pt x="137" y="207"/>
                        </a:moveTo>
                        <a:lnTo>
                          <a:pt x="231" y="85"/>
                        </a:lnTo>
                        <a:lnTo>
                          <a:pt x="95" y="0"/>
                        </a:lnTo>
                        <a:lnTo>
                          <a:pt x="0" y="122"/>
                        </a:lnTo>
                        <a:lnTo>
                          <a:pt x="137" y="207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54" name="Freeform 195"/>
                  <p:cNvSpPr>
                    <a:spLocks/>
                  </p:cNvSpPr>
                  <p:nvPr/>
                </p:nvSpPr>
                <p:spPr bwMode="auto">
                  <a:xfrm>
                    <a:off x="3594" y="3802"/>
                    <a:ext cx="18" cy="15"/>
                  </a:xfrm>
                  <a:custGeom>
                    <a:avLst/>
                    <a:gdLst>
                      <a:gd name="T0" fmla="*/ 0 w 122"/>
                      <a:gd name="T1" fmla="*/ 0 h 109"/>
                      <a:gd name="T2" fmla="*/ 0 w 122"/>
                      <a:gd name="T3" fmla="*/ 0 h 109"/>
                      <a:gd name="T4" fmla="*/ 0 w 122"/>
                      <a:gd name="T5" fmla="*/ 0 h 109"/>
                      <a:gd name="T6" fmla="*/ 0 w 122"/>
                      <a:gd name="T7" fmla="*/ 0 h 109"/>
                      <a:gd name="T8" fmla="*/ 0 w 122"/>
                      <a:gd name="T9" fmla="*/ 0 h 10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22"/>
                      <a:gd name="T16" fmla="*/ 0 h 109"/>
                      <a:gd name="T17" fmla="*/ 122 w 122"/>
                      <a:gd name="T18" fmla="*/ 109 h 10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22" h="109">
                        <a:moveTo>
                          <a:pt x="85" y="109"/>
                        </a:moveTo>
                        <a:lnTo>
                          <a:pt x="122" y="32"/>
                        </a:lnTo>
                        <a:lnTo>
                          <a:pt x="36" y="0"/>
                        </a:lnTo>
                        <a:lnTo>
                          <a:pt x="0" y="76"/>
                        </a:lnTo>
                        <a:lnTo>
                          <a:pt x="85" y="109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55" name="Freeform 196"/>
                  <p:cNvSpPr>
                    <a:spLocks/>
                  </p:cNvSpPr>
                  <p:nvPr/>
                </p:nvSpPr>
                <p:spPr bwMode="auto">
                  <a:xfrm>
                    <a:off x="3550" y="3811"/>
                    <a:ext cx="20" cy="19"/>
                  </a:xfrm>
                  <a:custGeom>
                    <a:avLst/>
                    <a:gdLst>
                      <a:gd name="T0" fmla="*/ 0 w 141"/>
                      <a:gd name="T1" fmla="*/ 0 h 128"/>
                      <a:gd name="T2" fmla="*/ 0 w 141"/>
                      <a:gd name="T3" fmla="*/ 0 h 128"/>
                      <a:gd name="T4" fmla="*/ 0 w 141"/>
                      <a:gd name="T5" fmla="*/ 0 h 128"/>
                      <a:gd name="T6" fmla="*/ 0 w 141"/>
                      <a:gd name="T7" fmla="*/ 0 h 128"/>
                      <a:gd name="T8" fmla="*/ 0 w 141"/>
                      <a:gd name="T9" fmla="*/ 0 h 12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41"/>
                      <a:gd name="T16" fmla="*/ 0 h 128"/>
                      <a:gd name="T17" fmla="*/ 141 w 141"/>
                      <a:gd name="T18" fmla="*/ 128 h 12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41" h="128">
                        <a:moveTo>
                          <a:pt x="85" y="128"/>
                        </a:moveTo>
                        <a:lnTo>
                          <a:pt x="141" y="52"/>
                        </a:lnTo>
                        <a:lnTo>
                          <a:pt x="57" y="0"/>
                        </a:lnTo>
                        <a:lnTo>
                          <a:pt x="0" y="77"/>
                        </a:lnTo>
                        <a:lnTo>
                          <a:pt x="85" y="128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56" name="Freeform 197"/>
                  <p:cNvSpPr>
                    <a:spLocks/>
                  </p:cNvSpPr>
                  <p:nvPr/>
                </p:nvSpPr>
                <p:spPr bwMode="auto">
                  <a:xfrm>
                    <a:off x="3165" y="3511"/>
                    <a:ext cx="294" cy="330"/>
                  </a:xfrm>
                  <a:custGeom>
                    <a:avLst/>
                    <a:gdLst>
                      <a:gd name="T0" fmla="*/ 0 w 2056"/>
                      <a:gd name="T1" fmla="*/ 0 h 2325"/>
                      <a:gd name="T2" fmla="*/ 0 w 2056"/>
                      <a:gd name="T3" fmla="*/ 0 h 2325"/>
                      <a:gd name="T4" fmla="*/ 0 w 2056"/>
                      <a:gd name="T5" fmla="*/ 0 h 2325"/>
                      <a:gd name="T6" fmla="*/ 0 w 2056"/>
                      <a:gd name="T7" fmla="*/ 0 h 2325"/>
                      <a:gd name="T8" fmla="*/ 0 w 2056"/>
                      <a:gd name="T9" fmla="*/ 0 h 2325"/>
                      <a:gd name="T10" fmla="*/ 0 w 2056"/>
                      <a:gd name="T11" fmla="*/ 0 h 2325"/>
                      <a:gd name="T12" fmla="*/ 0 w 2056"/>
                      <a:gd name="T13" fmla="*/ 0 h 2325"/>
                      <a:gd name="T14" fmla="*/ 0 w 2056"/>
                      <a:gd name="T15" fmla="*/ 0 h 2325"/>
                      <a:gd name="T16" fmla="*/ 0 w 2056"/>
                      <a:gd name="T17" fmla="*/ 0 h 2325"/>
                      <a:gd name="T18" fmla="*/ 0 w 2056"/>
                      <a:gd name="T19" fmla="*/ 0 h 2325"/>
                      <a:gd name="T20" fmla="*/ 0 w 2056"/>
                      <a:gd name="T21" fmla="*/ 0 h 2325"/>
                      <a:gd name="T22" fmla="*/ 0 w 2056"/>
                      <a:gd name="T23" fmla="*/ 0 h 2325"/>
                      <a:gd name="T24" fmla="*/ 0 w 2056"/>
                      <a:gd name="T25" fmla="*/ 0 h 2325"/>
                      <a:gd name="T26" fmla="*/ 0 w 2056"/>
                      <a:gd name="T27" fmla="*/ 0 h 2325"/>
                      <a:gd name="T28" fmla="*/ 0 w 2056"/>
                      <a:gd name="T29" fmla="*/ 0 h 2325"/>
                      <a:gd name="T30" fmla="*/ 0 w 2056"/>
                      <a:gd name="T31" fmla="*/ 0 h 2325"/>
                      <a:gd name="T32" fmla="*/ 0 w 2056"/>
                      <a:gd name="T33" fmla="*/ 0 h 2325"/>
                      <a:gd name="T34" fmla="*/ 0 w 2056"/>
                      <a:gd name="T35" fmla="*/ 0 h 2325"/>
                      <a:gd name="T36" fmla="*/ 0 w 2056"/>
                      <a:gd name="T37" fmla="*/ 0 h 2325"/>
                      <a:gd name="T38" fmla="*/ 0 w 2056"/>
                      <a:gd name="T39" fmla="*/ 0 h 2325"/>
                      <a:gd name="T40" fmla="*/ 0 w 2056"/>
                      <a:gd name="T41" fmla="*/ 0 h 2325"/>
                      <a:gd name="T42" fmla="*/ 0 w 2056"/>
                      <a:gd name="T43" fmla="*/ 0 h 2325"/>
                      <a:gd name="T44" fmla="*/ 0 w 2056"/>
                      <a:gd name="T45" fmla="*/ 0 h 2325"/>
                      <a:gd name="T46" fmla="*/ 0 w 2056"/>
                      <a:gd name="T47" fmla="*/ 0 h 2325"/>
                      <a:gd name="T48" fmla="*/ 0 w 2056"/>
                      <a:gd name="T49" fmla="*/ 0 h 2325"/>
                      <a:gd name="T50" fmla="*/ 0 w 2056"/>
                      <a:gd name="T51" fmla="*/ 0 h 2325"/>
                      <a:gd name="T52" fmla="*/ 0 w 2056"/>
                      <a:gd name="T53" fmla="*/ 0 h 2325"/>
                      <a:gd name="T54" fmla="*/ 0 w 2056"/>
                      <a:gd name="T55" fmla="*/ 0 h 2325"/>
                      <a:gd name="T56" fmla="*/ 0 w 2056"/>
                      <a:gd name="T57" fmla="*/ 0 h 2325"/>
                      <a:gd name="T58" fmla="*/ 0 w 2056"/>
                      <a:gd name="T59" fmla="*/ 0 h 2325"/>
                      <a:gd name="T60" fmla="*/ 0 w 2056"/>
                      <a:gd name="T61" fmla="*/ 0 h 2325"/>
                      <a:gd name="T62" fmla="*/ 0 w 2056"/>
                      <a:gd name="T63" fmla="*/ 0 h 2325"/>
                      <a:gd name="T64" fmla="*/ 0 w 2056"/>
                      <a:gd name="T65" fmla="*/ 0 h 2325"/>
                      <a:gd name="T66" fmla="*/ 0 w 2056"/>
                      <a:gd name="T67" fmla="*/ 0 h 2325"/>
                      <a:gd name="T68" fmla="*/ 0 w 2056"/>
                      <a:gd name="T69" fmla="*/ 0 h 2325"/>
                      <a:gd name="T70" fmla="*/ 0 w 2056"/>
                      <a:gd name="T71" fmla="*/ 0 h 2325"/>
                      <a:gd name="T72" fmla="*/ 0 w 2056"/>
                      <a:gd name="T73" fmla="*/ 0 h 2325"/>
                      <a:gd name="T74" fmla="*/ 0 w 2056"/>
                      <a:gd name="T75" fmla="*/ 0 h 2325"/>
                      <a:gd name="T76" fmla="*/ 0 w 2056"/>
                      <a:gd name="T77" fmla="*/ 0 h 2325"/>
                      <a:gd name="T78" fmla="*/ 0 w 2056"/>
                      <a:gd name="T79" fmla="*/ 0 h 2325"/>
                      <a:gd name="T80" fmla="*/ 0 w 2056"/>
                      <a:gd name="T81" fmla="*/ 0 h 2325"/>
                      <a:gd name="T82" fmla="*/ 0 w 2056"/>
                      <a:gd name="T83" fmla="*/ 0 h 2325"/>
                      <a:gd name="T84" fmla="*/ 0 w 2056"/>
                      <a:gd name="T85" fmla="*/ 0 h 2325"/>
                      <a:gd name="T86" fmla="*/ 0 w 2056"/>
                      <a:gd name="T87" fmla="*/ 0 h 2325"/>
                      <a:gd name="T88" fmla="*/ 0 w 2056"/>
                      <a:gd name="T89" fmla="*/ 0 h 2325"/>
                      <a:gd name="T90" fmla="*/ 0 w 2056"/>
                      <a:gd name="T91" fmla="*/ 0 h 2325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w 2056"/>
                      <a:gd name="T139" fmla="*/ 0 h 2325"/>
                      <a:gd name="T140" fmla="*/ 2056 w 2056"/>
                      <a:gd name="T141" fmla="*/ 2325 h 2325"/>
                    </a:gdLst>
                    <a:ahLst/>
                    <a:cxnLst>
                      <a:cxn ang="T92">
                        <a:pos x="T0" y="T1"/>
                      </a:cxn>
                      <a:cxn ang="T93">
                        <a:pos x="T2" y="T3"/>
                      </a:cxn>
                      <a:cxn ang="T94">
                        <a:pos x="T4" y="T5"/>
                      </a:cxn>
                      <a:cxn ang="T95">
                        <a:pos x="T6" y="T7"/>
                      </a:cxn>
                      <a:cxn ang="T96">
                        <a:pos x="T8" y="T9"/>
                      </a:cxn>
                      <a:cxn ang="T97">
                        <a:pos x="T10" y="T11"/>
                      </a:cxn>
                      <a:cxn ang="T98">
                        <a:pos x="T12" y="T13"/>
                      </a:cxn>
                      <a:cxn ang="T99">
                        <a:pos x="T14" y="T15"/>
                      </a:cxn>
                      <a:cxn ang="T100">
                        <a:pos x="T16" y="T17"/>
                      </a:cxn>
                      <a:cxn ang="T101">
                        <a:pos x="T18" y="T19"/>
                      </a:cxn>
                      <a:cxn ang="T102">
                        <a:pos x="T20" y="T21"/>
                      </a:cxn>
                      <a:cxn ang="T103">
                        <a:pos x="T22" y="T23"/>
                      </a:cxn>
                      <a:cxn ang="T104">
                        <a:pos x="T24" y="T25"/>
                      </a:cxn>
                      <a:cxn ang="T105">
                        <a:pos x="T26" y="T27"/>
                      </a:cxn>
                      <a:cxn ang="T106">
                        <a:pos x="T28" y="T29"/>
                      </a:cxn>
                      <a:cxn ang="T107">
                        <a:pos x="T30" y="T31"/>
                      </a:cxn>
                      <a:cxn ang="T108">
                        <a:pos x="T32" y="T33"/>
                      </a:cxn>
                      <a:cxn ang="T109">
                        <a:pos x="T34" y="T35"/>
                      </a:cxn>
                      <a:cxn ang="T110">
                        <a:pos x="T36" y="T37"/>
                      </a:cxn>
                      <a:cxn ang="T111">
                        <a:pos x="T38" y="T39"/>
                      </a:cxn>
                      <a:cxn ang="T112">
                        <a:pos x="T40" y="T41"/>
                      </a:cxn>
                      <a:cxn ang="T113">
                        <a:pos x="T42" y="T43"/>
                      </a:cxn>
                      <a:cxn ang="T114">
                        <a:pos x="T44" y="T45"/>
                      </a:cxn>
                      <a:cxn ang="T115">
                        <a:pos x="T46" y="T47"/>
                      </a:cxn>
                      <a:cxn ang="T116">
                        <a:pos x="T48" y="T49"/>
                      </a:cxn>
                      <a:cxn ang="T117">
                        <a:pos x="T50" y="T51"/>
                      </a:cxn>
                      <a:cxn ang="T118">
                        <a:pos x="T52" y="T53"/>
                      </a:cxn>
                      <a:cxn ang="T119">
                        <a:pos x="T54" y="T55"/>
                      </a:cxn>
                      <a:cxn ang="T120">
                        <a:pos x="T56" y="T57"/>
                      </a:cxn>
                      <a:cxn ang="T121">
                        <a:pos x="T58" y="T59"/>
                      </a:cxn>
                      <a:cxn ang="T122">
                        <a:pos x="T60" y="T61"/>
                      </a:cxn>
                      <a:cxn ang="T123">
                        <a:pos x="T62" y="T63"/>
                      </a:cxn>
                      <a:cxn ang="T124">
                        <a:pos x="T64" y="T65"/>
                      </a:cxn>
                      <a:cxn ang="T125">
                        <a:pos x="T66" y="T67"/>
                      </a:cxn>
                      <a:cxn ang="T126">
                        <a:pos x="T68" y="T69"/>
                      </a:cxn>
                      <a:cxn ang="T127">
                        <a:pos x="T70" y="T71"/>
                      </a:cxn>
                      <a:cxn ang="T128">
                        <a:pos x="T72" y="T73"/>
                      </a:cxn>
                      <a:cxn ang="T129">
                        <a:pos x="T74" y="T75"/>
                      </a:cxn>
                      <a:cxn ang="T130">
                        <a:pos x="T76" y="T77"/>
                      </a:cxn>
                      <a:cxn ang="T131">
                        <a:pos x="T78" y="T79"/>
                      </a:cxn>
                      <a:cxn ang="T132">
                        <a:pos x="T80" y="T81"/>
                      </a:cxn>
                      <a:cxn ang="T133">
                        <a:pos x="T82" y="T83"/>
                      </a:cxn>
                      <a:cxn ang="T134">
                        <a:pos x="T84" y="T85"/>
                      </a:cxn>
                      <a:cxn ang="T135">
                        <a:pos x="T86" y="T87"/>
                      </a:cxn>
                      <a:cxn ang="T136">
                        <a:pos x="T88" y="T89"/>
                      </a:cxn>
                      <a:cxn ang="T137">
                        <a:pos x="T90" y="T91"/>
                      </a:cxn>
                    </a:cxnLst>
                    <a:rect l="T138" t="T139" r="T140" b="T141"/>
                    <a:pathLst>
                      <a:path w="2056" h="2325">
                        <a:moveTo>
                          <a:pt x="297" y="0"/>
                        </a:moveTo>
                        <a:lnTo>
                          <a:pt x="307" y="2"/>
                        </a:lnTo>
                        <a:lnTo>
                          <a:pt x="335" y="9"/>
                        </a:lnTo>
                        <a:lnTo>
                          <a:pt x="379" y="20"/>
                        </a:lnTo>
                        <a:lnTo>
                          <a:pt x="437" y="35"/>
                        </a:lnTo>
                        <a:lnTo>
                          <a:pt x="507" y="51"/>
                        </a:lnTo>
                        <a:lnTo>
                          <a:pt x="588" y="69"/>
                        </a:lnTo>
                        <a:lnTo>
                          <a:pt x="679" y="88"/>
                        </a:lnTo>
                        <a:lnTo>
                          <a:pt x="774" y="107"/>
                        </a:lnTo>
                        <a:lnTo>
                          <a:pt x="876" y="126"/>
                        </a:lnTo>
                        <a:lnTo>
                          <a:pt x="979" y="144"/>
                        </a:lnTo>
                        <a:lnTo>
                          <a:pt x="1032" y="152"/>
                        </a:lnTo>
                        <a:lnTo>
                          <a:pt x="1085" y="158"/>
                        </a:lnTo>
                        <a:lnTo>
                          <a:pt x="1136" y="165"/>
                        </a:lnTo>
                        <a:lnTo>
                          <a:pt x="1188" y="170"/>
                        </a:lnTo>
                        <a:lnTo>
                          <a:pt x="1239" y="175"/>
                        </a:lnTo>
                        <a:lnTo>
                          <a:pt x="1290" y="179"/>
                        </a:lnTo>
                        <a:lnTo>
                          <a:pt x="1337" y="182"/>
                        </a:lnTo>
                        <a:lnTo>
                          <a:pt x="1385" y="183"/>
                        </a:lnTo>
                        <a:lnTo>
                          <a:pt x="1431" y="183"/>
                        </a:lnTo>
                        <a:lnTo>
                          <a:pt x="1474" y="182"/>
                        </a:lnTo>
                        <a:lnTo>
                          <a:pt x="1517" y="179"/>
                        </a:lnTo>
                        <a:lnTo>
                          <a:pt x="1556" y="175"/>
                        </a:lnTo>
                        <a:lnTo>
                          <a:pt x="1629" y="166"/>
                        </a:lnTo>
                        <a:lnTo>
                          <a:pt x="1695" y="158"/>
                        </a:lnTo>
                        <a:lnTo>
                          <a:pt x="1725" y="156"/>
                        </a:lnTo>
                        <a:lnTo>
                          <a:pt x="1751" y="155"/>
                        </a:lnTo>
                        <a:lnTo>
                          <a:pt x="1777" y="154"/>
                        </a:lnTo>
                        <a:lnTo>
                          <a:pt x="1802" y="154"/>
                        </a:lnTo>
                        <a:lnTo>
                          <a:pt x="1824" y="154"/>
                        </a:lnTo>
                        <a:lnTo>
                          <a:pt x="1844" y="156"/>
                        </a:lnTo>
                        <a:lnTo>
                          <a:pt x="1863" y="158"/>
                        </a:lnTo>
                        <a:lnTo>
                          <a:pt x="1879" y="163"/>
                        </a:lnTo>
                        <a:lnTo>
                          <a:pt x="1895" y="167"/>
                        </a:lnTo>
                        <a:lnTo>
                          <a:pt x="1910" y="173"/>
                        </a:lnTo>
                        <a:lnTo>
                          <a:pt x="1922" y="179"/>
                        </a:lnTo>
                        <a:lnTo>
                          <a:pt x="1934" y="187"/>
                        </a:lnTo>
                        <a:lnTo>
                          <a:pt x="1944" y="197"/>
                        </a:lnTo>
                        <a:lnTo>
                          <a:pt x="1953" y="208"/>
                        </a:lnTo>
                        <a:lnTo>
                          <a:pt x="1961" y="219"/>
                        </a:lnTo>
                        <a:lnTo>
                          <a:pt x="1969" y="233"/>
                        </a:lnTo>
                        <a:lnTo>
                          <a:pt x="1974" y="248"/>
                        </a:lnTo>
                        <a:lnTo>
                          <a:pt x="1980" y="264"/>
                        </a:lnTo>
                        <a:lnTo>
                          <a:pt x="1984" y="282"/>
                        </a:lnTo>
                        <a:lnTo>
                          <a:pt x="1987" y="302"/>
                        </a:lnTo>
                        <a:lnTo>
                          <a:pt x="1991" y="323"/>
                        </a:lnTo>
                        <a:lnTo>
                          <a:pt x="1993" y="345"/>
                        </a:lnTo>
                        <a:lnTo>
                          <a:pt x="1994" y="370"/>
                        </a:lnTo>
                        <a:lnTo>
                          <a:pt x="1995" y="395"/>
                        </a:lnTo>
                        <a:lnTo>
                          <a:pt x="1997" y="453"/>
                        </a:lnTo>
                        <a:lnTo>
                          <a:pt x="1997" y="519"/>
                        </a:lnTo>
                        <a:lnTo>
                          <a:pt x="1997" y="557"/>
                        </a:lnTo>
                        <a:lnTo>
                          <a:pt x="1999" y="598"/>
                        </a:lnTo>
                        <a:lnTo>
                          <a:pt x="2001" y="640"/>
                        </a:lnTo>
                        <a:lnTo>
                          <a:pt x="2004" y="686"/>
                        </a:lnTo>
                        <a:lnTo>
                          <a:pt x="2011" y="780"/>
                        </a:lnTo>
                        <a:lnTo>
                          <a:pt x="2020" y="882"/>
                        </a:lnTo>
                        <a:lnTo>
                          <a:pt x="2030" y="987"/>
                        </a:lnTo>
                        <a:lnTo>
                          <a:pt x="2039" y="1095"/>
                        </a:lnTo>
                        <a:lnTo>
                          <a:pt x="2046" y="1206"/>
                        </a:lnTo>
                        <a:lnTo>
                          <a:pt x="2053" y="1318"/>
                        </a:lnTo>
                        <a:lnTo>
                          <a:pt x="2054" y="1373"/>
                        </a:lnTo>
                        <a:lnTo>
                          <a:pt x="2056" y="1429"/>
                        </a:lnTo>
                        <a:lnTo>
                          <a:pt x="2056" y="1485"/>
                        </a:lnTo>
                        <a:lnTo>
                          <a:pt x="2055" y="1538"/>
                        </a:lnTo>
                        <a:lnTo>
                          <a:pt x="2053" y="1592"/>
                        </a:lnTo>
                        <a:lnTo>
                          <a:pt x="2050" y="1644"/>
                        </a:lnTo>
                        <a:lnTo>
                          <a:pt x="2045" y="1695"/>
                        </a:lnTo>
                        <a:lnTo>
                          <a:pt x="2039" y="1745"/>
                        </a:lnTo>
                        <a:lnTo>
                          <a:pt x="2031" y="1794"/>
                        </a:lnTo>
                        <a:lnTo>
                          <a:pt x="2022" y="1841"/>
                        </a:lnTo>
                        <a:lnTo>
                          <a:pt x="2010" y="1885"/>
                        </a:lnTo>
                        <a:lnTo>
                          <a:pt x="1996" y="1929"/>
                        </a:lnTo>
                        <a:lnTo>
                          <a:pt x="1982" y="1970"/>
                        </a:lnTo>
                        <a:lnTo>
                          <a:pt x="1964" y="2008"/>
                        </a:lnTo>
                        <a:lnTo>
                          <a:pt x="1944" y="2044"/>
                        </a:lnTo>
                        <a:lnTo>
                          <a:pt x="1922" y="2078"/>
                        </a:lnTo>
                        <a:lnTo>
                          <a:pt x="1872" y="2141"/>
                        </a:lnTo>
                        <a:lnTo>
                          <a:pt x="1819" y="2194"/>
                        </a:lnTo>
                        <a:lnTo>
                          <a:pt x="1766" y="2237"/>
                        </a:lnTo>
                        <a:lnTo>
                          <a:pt x="1711" y="2270"/>
                        </a:lnTo>
                        <a:lnTo>
                          <a:pt x="1655" y="2296"/>
                        </a:lnTo>
                        <a:lnTo>
                          <a:pt x="1598" y="2313"/>
                        </a:lnTo>
                        <a:lnTo>
                          <a:pt x="1540" y="2323"/>
                        </a:lnTo>
                        <a:lnTo>
                          <a:pt x="1482" y="2325"/>
                        </a:lnTo>
                        <a:lnTo>
                          <a:pt x="1423" y="2319"/>
                        </a:lnTo>
                        <a:lnTo>
                          <a:pt x="1364" y="2308"/>
                        </a:lnTo>
                        <a:lnTo>
                          <a:pt x="1304" y="2292"/>
                        </a:lnTo>
                        <a:lnTo>
                          <a:pt x="1245" y="2268"/>
                        </a:lnTo>
                        <a:lnTo>
                          <a:pt x="1186" y="2241"/>
                        </a:lnTo>
                        <a:lnTo>
                          <a:pt x="1127" y="2209"/>
                        </a:lnTo>
                        <a:lnTo>
                          <a:pt x="1068" y="2174"/>
                        </a:lnTo>
                        <a:lnTo>
                          <a:pt x="1010" y="2133"/>
                        </a:lnTo>
                        <a:lnTo>
                          <a:pt x="953" y="2091"/>
                        </a:lnTo>
                        <a:lnTo>
                          <a:pt x="897" y="2046"/>
                        </a:lnTo>
                        <a:lnTo>
                          <a:pt x="842" y="1999"/>
                        </a:lnTo>
                        <a:lnTo>
                          <a:pt x="788" y="1950"/>
                        </a:lnTo>
                        <a:lnTo>
                          <a:pt x="735" y="1900"/>
                        </a:lnTo>
                        <a:lnTo>
                          <a:pt x="685" y="1849"/>
                        </a:lnTo>
                        <a:lnTo>
                          <a:pt x="636" y="1797"/>
                        </a:lnTo>
                        <a:lnTo>
                          <a:pt x="588" y="1746"/>
                        </a:lnTo>
                        <a:lnTo>
                          <a:pt x="543" y="1696"/>
                        </a:lnTo>
                        <a:lnTo>
                          <a:pt x="500" y="1647"/>
                        </a:lnTo>
                        <a:lnTo>
                          <a:pt x="459" y="1599"/>
                        </a:lnTo>
                        <a:lnTo>
                          <a:pt x="421" y="1554"/>
                        </a:lnTo>
                        <a:lnTo>
                          <a:pt x="354" y="1471"/>
                        </a:lnTo>
                        <a:lnTo>
                          <a:pt x="297" y="1402"/>
                        </a:lnTo>
                        <a:lnTo>
                          <a:pt x="277" y="1376"/>
                        </a:lnTo>
                        <a:lnTo>
                          <a:pt x="256" y="1346"/>
                        </a:lnTo>
                        <a:lnTo>
                          <a:pt x="234" y="1311"/>
                        </a:lnTo>
                        <a:lnTo>
                          <a:pt x="213" y="1273"/>
                        </a:lnTo>
                        <a:lnTo>
                          <a:pt x="192" y="1233"/>
                        </a:lnTo>
                        <a:lnTo>
                          <a:pt x="171" y="1190"/>
                        </a:lnTo>
                        <a:lnTo>
                          <a:pt x="150" y="1143"/>
                        </a:lnTo>
                        <a:lnTo>
                          <a:pt x="130" y="1095"/>
                        </a:lnTo>
                        <a:lnTo>
                          <a:pt x="111" y="1045"/>
                        </a:lnTo>
                        <a:lnTo>
                          <a:pt x="92" y="994"/>
                        </a:lnTo>
                        <a:lnTo>
                          <a:pt x="75" y="941"/>
                        </a:lnTo>
                        <a:lnTo>
                          <a:pt x="60" y="886"/>
                        </a:lnTo>
                        <a:lnTo>
                          <a:pt x="45" y="830"/>
                        </a:lnTo>
                        <a:lnTo>
                          <a:pt x="32" y="775"/>
                        </a:lnTo>
                        <a:lnTo>
                          <a:pt x="21" y="719"/>
                        </a:lnTo>
                        <a:lnTo>
                          <a:pt x="13" y="663"/>
                        </a:lnTo>
                        <a:lnTo>
                          <a:pt x="6" y="608"/>
                        </a:lnTo>
                        <a:lnTo>
                          <a:pt x="2" y="552"/>
                        </a:lnTo>
                        <a:lnTo>
                          <a:pt x="0" y="499"/>
                        </a:lnTo>
                        <a:lnTo>
                          <a:pt x="2" y="445"/>
                        </a:lnTo>
                        <a:lnTo>
                          <a:pt x="5" y="394"/>
                        </a:lnTo>
                        <a:lnTo>
                          <a:pt x="13" y="344"/>
                        </a:lnTo>
                        <a:lnTo>
                          <a:pt x="23" y="296"/>
                        </a:lnTo>
                        <a:lnTo>
                          <a:pt x="37" y="249"/>
                        </a:lnTo>
                        <a:lnTo>
                          <a:pt x="55" y="207"/>
                        </a:lnTo>
                        <a:lnTo>
                          <a:pt x="76" y="166"/>
                        </a:lnTo>
                        <a:lnTo>
                          <a:pt x="102" y="129"/>
                        </a:lnTo>
                        <a:lnTo>
                          <a:pt x="132" y="96"/>
                        </a:lnTo>
                        <a:lnTo>
                          <a:pt x="167" y="66"/>
                        </a:lnTo>
                        <a:lnTo>
                          <a:pt x="206" y="39"/>
                        </a:lnTo>
                        <a:lnTo>
                          <a:pt x="249" y="17"/>
                        </a:lnTo>
                        <a:lnTo>
                          <a:pt x="297" y="0"/>
                        </a:lnTo>
                        <a:close/>
                      </a:path>
                    </a:pathLst>
                  </a:custGeom>
                  <a:solidFill>
                    <a:srgbClr val="311F74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57" name="Freeform 198"/>
                  <p:cNvSpPr>
                    <a:spLocks/>
                  </p:cNvSpPr>
                  <p:nvPr/>
                </p:nvSpPr>
                <p:spPr bwMode="auto">
                  <a:xfrm>
                    <a:off x="3193" y="3511"/>
                    <a:ext cx="257" cy="72"/>
                  </a:xfrm>
                  <a:custGeom>
                    <a:avLst/>
                    <a:gdLst>
                      <a:gd name="T0" fmla="*/ 0 w 1797"/>
                      <a:gd name="T1" fmla="*/ 0 h 519"/>
                      <a:gd name="T2" fmla="*/ 0 w 1797"/>
                      <a:gd name="T3" fmla="*/ 0 h 519"/>
                      <a:gd name="T4" fmla="*/ 0 w 1797"/>
                      <a:gd name="T5" fmla="*/ 0 h 519"/>
                      <a:gd name="T6" fmla="*/ 0 w 1797"/>
                      <a:gd name="T7" fmla="*/ 0 h 519"/>
                      <a:gd name="T8" fmla="*/ 0 w 1797"/>
                      <a:gd name="T9" fmla="*/ 0 h 519"/>
                      <a:gd name="T10" fmla="*/ 0 w 1797"/>
                      <a:gd name="T11" fmla="*/ 0 h 519"/>
                      <a:gd name="T12" fmla="*/ 0 w 1797"/>
                      <a:gd name="T13" fmla="*/ 0 h 519"/>
                      <a:gd name="T14" fmla="*/ 0 w 1797"/>
                      <a:gd name="T15" fmla="*/ 0 h 519"/>
                      <a:gd name="T16" fmla="*/ 0 w 1797"/>
                      <a:gd name="T17" fmla="*/ 0 h 519"/>
                      <a:gd name="T18" fmla="*/ 0 w 1797"/>
                      <a:gd name="T19" fmla="*/ 0 h 519"/>
                      <a:gd name="T20" fmla="*/ 0 w 1797"/>
                      <a:gd name="T21" fmla="*/ 0 h 519"/>
                      <a:gd name="T22" fmla="*/ 0 w 1797"/>
                      <a:gd name="T23" fmla="*/ 0 h 519"/>
                      <a:gd name="T24" fmla="*/ 0 w 1797"/>
                      <a:gd name="T25" fmla="*/ 0 h 519"/>
                      <a:gd name="T26" fmla="*/ 0 w 1797"/>
                      <a:gd name="T27" fmla="*/ 0 h 519"/>
                      <a:gd name="T28" fmla="*/ 0 w 1797"/>
                      <a:gd name="T29" fmla="*/ 0 h 519"/>
                      <a:gd name="T30" fmla="*/ 0 w 1797"/>
                      <a:gd name="T31" fmla="*/ 0 h 519"/>
                      <a:gd name="T32" fmla="*/ 0 w 1797"/>
                      <a:gd name="T33" fmla="*/ 0 h 519"/>
                      <a:gd name="T34" fmla="*/ 0 w 1797"/>
                      <a:gd name="T35" fmla="*/ 0 h 519"/>
                      <a:gd name="T36" fmla="*/ 0 w 1797"/>
                      <a:gd name="T37" fmla="*/ 0 h 519"/>
                      <a:gd name="T38" fmla="*/ 0 w 1797"/>
                      <a:gd name="T39" fmla="*/ 0 h 519"/>
                      <a:gd name="T40" fmla="*/ 0 w 1797"/>
                      <a:gd name="T41" fmla="*/ 0 h 519"/>
                      <a:gd name="T42" fmla="*/ 0 w 1797"/>
                      <a:gd name="T43" fmla="*/ 0 h 519"/>
                      <a:gd name="T44" fmla="*/ 0 w 1797"/>
                      <a:gd name="T45" fmla="*/ 0 h 519"/>
                      <a:gd name="T46" fmla="*/ 0 w 1797"/>
                      <a:gd name="T47" fmla="*/ 0 h 519"/>
                      <a:gd name="T48" fmla="*/ 0 w 1797"/>
                      <a:gd name="T49" fmla="*/ 0 h 519"/>
                      <a:gd name="T50" fmla="*/ 0 w 1797"/>
                      <a:gd name="T51" fmla="*/ 0 h 519"/>
                      <a:gd name="T52" fmla="*/ 0 w 1797"/>
                      <a:gd name="T53" fmla="*/ 0 h 519"/>
                      <a:gd name="T54" fmla="*/ 0 w 1797"/>
                      <a:gd name="T55" fmla="*/ 0 h 519"/>
                      <a:gd name="T56" fmla="*/ 0 w 1797"/>
                      <a:gd name="T57" fmla="*/ 0 h 519"/>
                      <a:gd name="T58" fmla="*/ 0 w 1797"/>
                      <a:gd name="T59" fmla="*/ 0 h 519"/>
                      <a:gd name="T60" fmla="*/ 0 w 1797"/>
                      <a:gd name="T61" fmla="*/ 0 h 519"/>
                      <a:gd name="T62" fmla="*/ 0 w 1797"/>
                      <a:gd name="T63" fmla="*/ 0 h 519"/>
                      <a:gd name="T64" fmla="*/ 0 w 1797"/>
                      <a:gd name="T65" fmla="*/ 0 h 519"/>
                      <a:gd name="T66" fmla="*/ 0 w 1797"/>
                      <a:gd name="T67" fmla="*/ 0 h 519"/>
                      <a:gd name="T68" fmla="*/ 0 w 1797"/>
                      <a:gd name="T69" fmla="*/ 0 h 519"/>
                      <a:gd name="T70" fmla="*/ 0 w 1797"/>
                      <a:gd name="T71" fmla="*/ 0 h 519"/>
                      <a:gd name="T72" fmla="*/ 0 w 1797"/>
                      <a:gd name="T73" fmla="*/ 0 h 519"/>
                      <a:gd name="T74" fmla="*/ 0 w 1797"/>
                      <a:gd name="T75" fmla="*/ 0 h 519"/>
                      <a:gd name="T76" fmla="*/ 0 w 1797"/>
                      <a:gd name="T77" fmla="*/ 0 h 519"/>
                      <a:gd name="T78" fmla="*/ 0 w 1797"/>
                      <a:gd name="T79" fmla="*/ 0 h 519"/>
                      <a:gd name="T80" fmla="*/ 0 w 1797"/>
                      <a:gd name="T81" fmla="*/ 0 h 519"/>
                      <a:gd name="T82" fmla="*/ 0 w 1797"/>
                      <a:gd name="T83" fmla="*/ 0 h 519"/>
                      <a:gd name="T84" fmla="*/ 0 w 1797"/>
                      <a:gd name="T85" fmla="*/ 0 h 519"/>
                      <a:gd name="T86" fmla="*/ 0 w 1797"/>
                      <a:gd name="T87" fmla="*/ 0 h 519"/>
                      <a:gd name="T88" fmla="*/ 0 w 1797"/>
                      <a:gd name="T89" fmla="*/ 0 h 519"/>
                      <a:gd name="T90" fmla="*/ 0 w 1797"/>
                      <a:gd name="T91" fmla="*/ 0 h 519"/>
                      <a:gd name="T92" fmla="*/ 0 w 1797"/>
                      <a:gd name="T93" fmla="*/ 0 h 519"/>
                      <a:gd name="T94" fmla="*/ 0 w 1797"/>
                      <a:gd name="T95" fmla="*/ 0 h 519"/>
                      <a:gd name="T96" fmla="*/ 0 w 1797"/>
                      <a:gd name="T97" fmla="*/ 0 h 519"/>
                      <a:gd name="T98" fmla="*/ 0 w 1797"/>
                      <a:gd name="T99" fmla="*/ 0 h 519"/>
                      <a:gd name="T100" fmla="*/ 0 w 1797"/>
                      <a:gd name="T101" fmla="*/ 0 h 519"/>
                      <a:gd name="T102" fmla="*/ 0 w 1797"/>
                      <a:gd name="T103" fmla="*/ 0 h 519"/>
                      <a:gd name="T104" fmla="*/ 0 w 1797"/>
                      <a:gd name="T105" fmla="*/ 0 h 519"/>
                      <a:gd name="T106" fmla="*/ 0 w 1797"/>
                      <a:gd name="T107" fmla="*/ 0 h 519"/>
                      <a:gd name="T108" fmla="*/ 0 w 1797"/>
                      <a:gd name="T109" fmla="*/ 0 h 519"/>
                      <a:gd name="T110" fmla="*/ 0 w 1797"/>
                      <a:gd name="T111" fmla="*/ 0 h 519"/>
                      <a:gd name="T112" fmla="*/ 0 w 1797"/>
                      <a:gd name="T113" fmla="*/ 0 h 519"/>
                      <a:gd name="T114" fmla="*/ 0 w 1797"/>
                      <a:gd name="T115" fmla="*/ 0 h 519"/>
                      <a:gd name="T116" fmla="*/ 0 w 1797"/>
                      <a:gd name="T117" fmla="*/ 0 h 519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w 1797"/>
                      <a:gd name="T178" fmla="*/ 0 h 519"/>
                      <a:gd name="T179" fmla="*/ 1797 w 1797"/>
                      <a:gd name="T180" fmla="*/ 519 h 519"/>
                    </a:gdLst>
                    <a:ahLst/>
                    <a:cxnLst>
                      <a:cxn ang="T118">
                        <a:pos x="T0" y="T1"/>
                      </a:cxn>
                      <a:cxn ang="T119">
                        <a:pos x="T2" y="T3"/>
                      </a:cxn>
                      <a:cxn ang="T120">
                        <a:pos x="T4" y="T5"/>
                      </a:cxn>
                      <a:cxn ang="T121">
                        <a:pos x="T6" y="T7"/>
                      </a:cxn>
                      <a:cxn ang="T122">
                        <a:pos x="T8" y="T9"/>
                      </a:cxn>
                      <a:cxn ang="T123">
                        <a:pos x="T10" y="T11"/>
                      </a:cxn>
                      <a:cxn ang="T124">
                        <a:pos x="T12" y="T13"/>
                      </a:cxn>
                      <a:cxn ang="T125">
                        <a:pos x="T14" y="T15"/>
                      </a:cxn>
                      <a:cxn ang="T126">
                        <a:pos x="T16" y="T17"/>
                      </a:cxn>
                      <a:cxn ang="T127">
                        <a:pos x="T18" y="T19"/>
                      </a:cxn>
                      <a:cxn ang="T128">
                        <a:pos x="T20" y="T21"/>
                      </a:cxn>
                      <a:cxn ang="T129">
                        <a:pos x="T22" y="T23"/>
                      </a:cxn>
                      <a:cxn ang="T130">
                        <a:pos x="T24" y="T25"/>
                      </a:cxn>
                      <a:cxn ang="T131">
                        <a:pos x="T26" y="T27"/>
                      </a:cxn>
                      <a:cxn ang="T132">
                        <a:pos x="T28" y="T29"/>
                      </a:cxn>
                      <a:cxn ang="T133">
                        <a:pos x="T30" y="T31"/>
                      </a:cxn>
                      <a:cxn ang="T134">
                        <a:pos x="T32" y="T33"/>
                      </a:cxn>
                      <a:cxn ang="T135">
                        <a:pos x="T34" y="T35"/>
                      </a:cxn>
                      <a:cxn ang="T136">
                        <a:pos x="T36" y="T37"/>
                      </a:cxn>
                      <a:cxn ang="T137">
                        <a:pos x="T38" y="T39"/>
                      </a:cxn>
                      <a:cxn ang="T138">
                        <a:pos x="T40" y="T41"/>
                      </a:cxn>
                      <a:cxn ang="T139">
                        <a:pos x="T42" y="T43"/>
                      </a:cxn>
                      <a:cxn ang="T140">
                        <a:pos x="T44" y="T45"/>
                      </a:cxn>
                      <a:cxn ang="T141">
                        <a:pos x="T46" y="T47"/>
                      </a:cxn>
                      <a:cxn ang="T142">
                        <a:pos x="T48" y="T49"/>
                      </a:cxn>
                      <a:cxn ang="T143">
                        <a:pos x="T50" y="T51"/>
                      </a:cxn>
                      <a:cxn ang="T144">
                        <a:pos x="T52" y="T53"/>
                      </a:cxn>
                      <a:cxn ang="T145">
                        <a:pos x="T54" y="T55"/>
                      </a:cxn>
                      <a:cxn ang="T146">
                        <a:pos x="T56" y="T57"/>
                      </a:cxn>
                      <a:cxn ang="T147">
                        <a:pos x="T58" y="T59"/>
                      </a:cxn>
                      <a:cxn ang="T148">
                        <a:pos x="T60" y="T61"/>
                      </a:cxn>
                      <a:cxn ang="T149">
                        <a:pos x="T62" y="T63"/>
                      </a:cxn>
                      <a:cxn ang="T150">
                        <a:pos x="T64" y="T65"/>
                      </a:cxn>
                      <a:cxn ang="T151">
                        <a:pos x="T66" y="T67"/>
                      </a:cxn>
                      <a:cxn ang="T152">
                        <a:pos x="T68" y="T69"/>
                      </a:cxn>
                      <a:cxn ang="T153">
                        <a:pos x="T70" y="T71"/>
                      </a:cxn>
                      <a:cxn ang="T154">
                        <a:pos x="T72" y="T73"/>
                      </a:cxn>
                      <a:cxn ang="T155">
                        <a:pos x="T74" y="T75"/>
                      </a:cxn>
                      <a:cxn ang="T156">
                        <a:pos x="T76" y="T77"/>
                      </a:cxn>
                      <a:cxn ang="T157">
                        <a:pos x="T78" y="T79"/>
                      </a:cxn>
                      <a:cxn ang="T158">
                        <a:pos x="T80" y="T81"/>
                      </a:cxn>
                      <a:cxn ang="T159">
                        <a:pos x="T82" y="T83"/>
                      </a:cxn>
                      <a:cxn ang="T160">
                        <a:pos x="T84" y="T85"/>
                      </a:cxn>
                      <a:cxn ang="T161">
                        <a:pos x="T86" y="T87"/>
                      </a:cxn>
                      <a:cxn ang="T162">
                        <a:pos x="T88" y="T89"/>
                      </a:cxn>
                      <a:cxn ang="T163">
                        <a:pos x="T90" y="T91"/>
                      </a:cxn>
                      <a:cxn ang="T164">
                        <a:pos x="T92" y="T93"/>
                      </a:cxn>
                      <a:cxn ang="T165">
                        <a:pos x="T94" y="T95"/>
                      </a:cxn>
                      <a:cxn ang="T166">
                        <a:pos x="T96" y="T97"/>
                      </a:cxn>
                      <a:cxn ang="T167">
                        <a:pos x="T98" y="T99"/>
                      </a:cxn>
                      <a:cxn ang="T168">
                        <a:pos x="T100" y="T101"/>
                      </a:cxn>
                      <a:cxn ang="T169">
                        <a:pos x="T102" y="T103"/>
                      </a:cxn>
                      <a:cxn ang="T170">
                        <a:pos x="T104" y="T105"/>
                      </a:cxn>
                      <a:cxn ang="T171">
                        <a:pos x="T106" y="T107"/>
                      </a:cxn>
                      <a:cxn ang="T172">
                        <a:pos x="T108" y="T109"/>
                      </a:cxn>
                      <a:cxn ang="T173">
                        <a:pos x="T110" y="T111"/>
                      </a:cxn>
                      <a:cxn ang="T174">
                        <a:pos x="T112" y="T113"/>
                      </a:cxn>
                      <a:cxn ang="T175">
                        <a:pos x="T114" y="T115"/>
                      </a:cxn>
                      <a:cxn ang="T176">
                        <a:pos x="T116" y="T117"/>
                      </a:cxn>
                    </a:cxnLst>
                    <a:rect l="T177" t="T178" r="T179" b="T180"/>
                    <a:pathLst>
                      <a:path w="1797" h="519">
                        <a:moveTo>
                          <a:pt x="1355" y="176"/>
                        </a:moveTo>
                        <a:lnTo>
                          <a:pt x="1316" y="180"/>
                        </a:lnTo>
                        <a:lnTo>
                          <a:pt x="1274" y="182"/>
                        </a:lnTo>
                        <a:lnTo>
                          <a:pt x="1230" y="183"/>
                        </a:lnTo>
                        <a:lnTo>
                          <a:pt x="1185" y="183"/>
                        </a:lnTo>
                        <a:lnTo>
                          <a:pt x="1137" y="182"/>
                        </a:lnTo>
                        <a:lnTo>
                          <a:pt x="1089" y="179"/>
                        </a:lnTo>
                        <a:lnTo>
                          <a:pt x="1039" y="176"/>
                        </a:lnTo>
                        <a:lnTo>
                          <a:pt x="988" y="171"/>
                        </a:lnTo>
                        <a:lnTo>
                          <a:pt x="935" y="166"/>
                        </a:lnTo>
                        <a:lnTo>
                          <a:pt x="884" y="159"/>
                        </a:lnTo>
                        <a:lnTo>
                          <a:pt x="831" y="151"/>
                        </a:lnTo>
                        <a:lnTo>
                          <a:pt x="778" y="143"/>
                        </a:lnTo>
                        <a:lnTo>
                          <a:pt x="675" y="127"/>
                        </a:lnTo>
                        <a:lnTo>
                          <a:pt x="574" y="108"/>
                        </a:lnTo>
                        <a:lnTo>
                          <a:pt x="478" y="89"/>
                        </a:lnTo>
                        <a:lnTo>
                          <a:pt x="388" y="70"/>
                        </a:lnTo>
                        <a:lnTo>
                          <a:pt x="307" y="52"/>
                        </a:lnTo>
                        <a:lnTo>
                          <a:pt x="236" y="35"/>
                        </a:lnTo>
                        <a:lnTo>
                          <a:pt x="177" y="21"/>
                        </a:lnTo>
                        <a:lnTo>
                          <a:pt x="134" y="10"/>
                        </a:lnTo>
                        <a:lnTo>
                          <a:pt x="106" y="3"/>
                        </a:lnTo>
                        <a:lnTo>
                          <a:pt x="96" y="0"/>
                        </a:lnTo>
                        <a:lnTo>
                          <a:pt x="75" y="6"/>
                        </a:lnTo>
                        <a:lnTo>
                          <a:pt x="57" y="13"/>
                        </a:lnTo>
                        <a:lnTo>
                          <a:pt x="42" y="20"/>
                        </a:lnTo>
                        <a:lnTo>
                          <a:pt x="29" y="26"/>
                        </a:lnTo>
                        <a:lnTo>
                          <a:pt x="19" y="33"/>
                        </a:lnTo>
                        <a:lnTo>
                          <a:pt x="12" y="39"/>
                        </a:lnTo>
                        <a:lnTo>
                          <a:pt x="6" y="45"/>
                        </a:lnTo>
                        <a:lnTo>
                          <a:pt x="2" y="51"/>
                        </a:lnTo>
                        <a:lnTo>
                          <a:pt x="0" y="58"/>
                        </a:lnTo>
                        <a:lnTo>
                          <a:pt x="0" y="63"/>
                        </a:lnTo>
                        <a:lnTo>
                          <a:pt x="2" y="69"/>
                        </a:lnTo>
                        <a:lnTo>
                          <a:pt x="4" y="74"/>
                        </a:lnTo>
                        <a:lnTo>
                          <a:pt x="8" y="80"/>
                        </a:lnTo>
                        <a:lnTo>
                          <a:pt x="13" y="84"/>
                        </a:lnTo>
                        <a:lnTo>
                          <a:pt x="18" y="89"/>
                        </a:lnTo>
                        <a:lnTo>
                          <a:pt x="25" y="94"/>
                        </a:lnTo>
                        <a:lnTo>
                          <a:pt x="39" y="102"/>
                        </a:lnTo>
                        <a:lnTo>
                          <a:pt x="55" y="110"/>
                        </a:lnTo>
                        <a:lnTo>
                          <a:pt x="70" y="115"/>
                        </a:lnTo>
                        <a:lnTo>
                          <a:pt x="84" y="121"/>
                        </a:lnTo>
                        <a:lnTo>
                          <a:pt x="101" y="127"/>
                        </a:lnTo>
                        <a:lnTo>
                          <a:pt x="96" y="125"/>
                        </a:lnTo>
                        <a:lnTo>
                          <a:pt x="106" y="128"/>
                        </a:lnTo>
                        <a:lnTo>
                          <a:pt x="134" y="136"/>
                        </a:lnTo>
                        <a:lnTo>
                          <a:pt x="177" y="147"/>
                        </a:lnTo>
                        <a:lnTo>
                          <a:pt x="236" y="160"/>
                        </a:lnTo>
                        <a:lnTo>
                          <a:pt x="307" y="177"/>
                        </a:lnTo>
                        <a:lnTo>
                          <a:pt x="388" y="194"/>
                        </a:lnTo>
                        <a:lnTo>
                          <a:pt x="478" y="215"/>
                        </a:lnTo>
                        <a:lnTo>
                          <a:pt x="574" y="233"/>
                        </a:lnTo>
                        <a:lnTo>
                          <a:pt x="675" y="251"/>
                        </a:lnTo>
                        <a:lnTo>
                          <a:pt x="778" y="269"/>
                        </a:lnTo>
                        <a:lnTo>
                          <a:pt x="831" y="277"/>
                        </a:lnTo>
                        <a:lnTo>
                          <a:pt x="884" y="284"/>
                        </a:lnTo>
                        <a:lnTo>
                          <a:pt x="935" y="290"/>
                        </a:lnTo>
                        <a:lnTo>
                          <a:pt x="988" y="296"/>
                        </a:lnTo>
                        <a:lnTo>
                          <a:pt x="1039" y="300"/>
                        </a:lnTo>
                        <a:lnTo>
                          <a:pt x="1089" y="305"/>
                        </a:lnTo>
                        <a:lnTo>
                          <a:pt x="1137" y="307"/>
                        </a:lnTo>
                        <a:lnTo>
                          <a:pt x="1185" y="308"/>
                        </a:lnTo>
                        <a:lnTo>
                          <a:pt x="1230" y="309"/>
                        </a:lnTo>
                        <a:lnTo>
                          <a:pt x="1274" y="308"/>
                        </a:lnTo>
                        <a:lnTo>
                          <a:pt x="1316" y="305"/>
                        </a:lnTo>
                        <a:lnTo>
                          <a:pt x="1355" y="300"/>
                        </a:lnTo>
                        <a:lnTo>
                          <a:pt x="1393" y="296"/>
                        </a:lnTo>
                        <a:lnTo>
                          <a:pt x="1430" y="294"/>
                        </a:lnTo>
                        <a:lnTo>
                          <a:pt x="1463" y="294"/>
                        </a:lnTo>
                        <a:lnTo>
                          <a:pt x="1494" y="294"/>
                        </a:lnTo>
                        <a:lnTo>
                          <a:pt x="1524" y="297"/>
                        </a:lnTo>
                        <a:lnTo>
                          <a:pt x="1551" y="300"/>
                        </a:lnTo>
                        <a:lnTo>
                          <a:pt x="1577" y="305"/>
                        </a:lnTo>
                        <a:lnTo>
                          <a:pt x="1601" y="311"/>
                        </a:lnTo>
                        <a:lnTo>
                          <a:pt x="1622" y="318"/>
                        </a:lnTo>
                        <a:lnTo>
                          <a:pt x="1643" y="327"/>
                        </a:lnTo>
                        <a:lnTo>
                          <a:pt x="1661" y="336"/>
                        </a:lnTo>
                        <a:lnTo>
                          <a:pt x="1679" y="346"/>
                        </a:lnTo>
                        <a:lnTo>
                          <a:pt x="1694" y="356"/>
                        </a:lnTo>
                        <a:lnTo>
                          <a:pt x="1708" y="366"/>
                        </a:lnTo>
                        <a:lnTo>
                          <a:pt x="1721" y="378"/>
                        </a:lnTo>
                        <a:lnTo>
                          <a:pt x="1732" y="389"/>
                        </a:lnTo>
                        <a:lnTo>
                          <a:pt x="1743" y="400"/>
                        </a:lnTo>
                        <a:lnTo>
                          <a:pt x="1752" y="413"/>
                        </a:lnTo>
                        <a:lnTo>
                          <a:pt x="1760" y="424"/>
                        </a:lnTo>
                        <a:lnTo>
                          <a:pt x="1767" y="435"/>
                        </a:lnTo>
                        <a:lnTo>
                          <a:pt x="1778" y="457"/>
                        </a:lnTo>
                        <a:lnTo>
                          <a:pt x="1787" y="477"/>
                        </a:lnTo>
                        <a:lnTo>
                          <a:pt x="1795" y="507"/>
                        </a:lnTo>
                        <a:lnTo>
                          <a:pt x="1797" y="519"/>
                        </a:lnTo>
                        <a:lnTo>
                          <a:pt x="1797" y="454"/>
                        </a:lnTo>
                        <a:lnTo>
                          <a:pt x="1795" y="396"/>
                        </a:lnTo>
                        <a:lnTo>
                          <a:pt x="1794" y="370"/>
                        </a:lnTo>
                        <a:lnTo>
                          <a:pt x="1792" y="346"/>
                        </a:lnTo>
                        <a:lnTo>
                          <a:pt x="1790" y="324"/>
                        </a:lnTo>
                        <a:lnTo>
                          <a:pt x="1787" y="302"/>
                        </a:lnTo>
                        <a:lnTo>
                          <a:pt x="1784" y="282"/>
                        </a:lnTo>
                        <a:lnTo>
                          <a:pt x="1779" y="265"/>
                        </a:lnTo>
                        <a:lnTo>
                          <a:pt x="1774" y="249"/>
                        </a:lnTo>
                        <a:lnTo>
                          <a:pt x="1768" y="233"/>
                        </a:lnTo>
                        <a:lnTo>
                          <a:pt x="1760" y="220"/>
                        </a:lnTo>
                        <a:lnTo>
                          <a:pt x="1752" y="208"/>
                        </a:lnTo>
                        <a:lnTo>
                          <a:pt x="1743" y="198"/>
                        </a:lnTo>
                        <a:lnTo>
                          <a:pt x="1733" y="188"/>
                        </a:lnTo>
                        <a:lnTo>
                          <a:pt x="1721" y="180"/>
                        </a:lnTo>
                        <a:lnTo>
                          <a:pt x="1709" y="173"/>
                        </a:lnTo>
                        <a:lnTo>
                          <a:pt x="1694" y="168"/>
                        </a:lnTo>
                        <a:lnTo>
                          <a:pt x="1679" y="162"/>
                        </a:lnTo>
                        <a:lnTo>
                          <a:pt x="1662" y="159"/>
                        </a:lnTo>
                        <a:lnTo>
                          <a:pt x="1643" y="157"/>
                        </a:lnTo>
                        <a:lnTo>
                          <a:pt x="1623" y="154"/>
                        </a:lnTo>
                        <a:lnTo>
                          <a:pt x="1601" y="153"/>
                        </a:lnTo>
                        <a:lnTo>
                          <a:pt x="1577" y="154"/>
                        </a:lnTo>
                        <a:lnTo>
                          <a:pt x="1551" y="154"/>
                        </a:lnTo>
                        <a:lnTo>
                          <a:pt x="1524" y="157"/>
                        </a:lnTo>
                        <a:lnTo>
                          <a:pt x="1494" y="159"/>
                        </a:lnTo>
                        <a:lnTo>
                          <a:pt x="1430" y="166"/>
                        </a:lnTo>
                        <a:lnTo>
                          <a:pt x="1355" y="176"/>
                        </a:lnTo>
                        <a:close/>
                      </a:path>
                    </a:pathLst>
                  </a:custGeom>
                  <a:solidFill>
                    <a:srgbClr val="3D4189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58" name="Freeform 199"/>
                  <p:cNvSpPr>
                    <a:spLocks/>
                  </p:cNvSpPr>
                  <p:nvPr/>
                </p:nvSpPr>
                <p:spPr bwMode="auto">
                  <a:xfrm>
                    <a:off x="3167" y="3609"/>
                    <a:ext cx="292" cy="225"/>
                  </a:xfrm>
                  <a:custGeom>
                    <a:avLst/>
                    <a:gdLst>
                      <a:gd name="T0" fmla="*/ 0 w 2030"/>
                      <a:gd name="T1" fmla="*/ 0 h 1579"/>
                      <a:gd name="T2" fmla="*/ 0 w 2030"/>
                      <a:gd name="T3" fmla="*/ 0 h 1579"/>
                      <a:gd name="T4" fmla="*/ 0 w 2030"/>
                      <a:gd name="T5" fmla="*/ 0 h 1579"/>
                      <a:gd name="T6" fmla="*/ 0 w 2030"/>
                      <a:gd name="T7" fmla="*/ 0 h 1579"/>
                      <a:gd name="T8" fmla="*/ 0 w 2030"/>
                      <a:gd name="T9" fmla="*/ 0 h 1579"/>
                      <a:gd name="T10" fmla="*/ 0 w 2030"/>
                      <a:gd name="T11" fmla="*/ 0 h 1579"/>
                      <a:gd name="T12" fmla="*/ 0 w 2030"/>
                      <a:gd name="T13" fmla="*/ 0 h 1579"/>
                      <a:gd name="T14" fmla="*/ 0 w 2030"/>
                      <a:gd name="T15" fmla="*/ 0 h 1579"/>
                      <a:gd name="T16" fmla="*/ 0 w 2030"/>
                      <a:gd name="T17" fmla="*/ 0 h 1579"/>
                      <a:gd name="T18" fmla="*/ 0 w 2030"/>
                      <a:gd name="T19" fmla="*/ 0 h 1579"/>
                      <a:gd name="T20" fmla="*/ 0 w 2030"/>
                      <a:gd name="T21" fmla="*/ 0 h 1579"/>
                      <a:gd name="T22" fmla="*/ 0 w 2030"/>
                      <a:gd name="T23" fmla="*/ 0 h 1579"/>
                      <a:gd name="T24" fmla="*/ 0 w 2030"/>
                      <a:gd name="T25" fmla="*/ 0 h 1579"/>
                      <a:gd name="T26" fmla="*/ 0 w 2030"/>
                      <a:gd name="T27" fmla="*/ 0 h 1579"/>
                      <a:gd name="T28" fmla="*/ 0 w 2030"/>
                      <a:gd name="T29" fmla="*/ 0 h 1579"/>
                      <a:gd name="T30" fmla="*/ 0 w 2030"/>
                      <a:gd name="T31" fmla="*/ 0 h 1579"/>
                      <a:gd name="T32" fmla="*/ 0 w 2030"/>
                      <a:gd name="T33" fmla="*/ 0 h 1579"/>
                      <a:gd name="T34" fmla="*/ 0 w 2030"/>
                      <a:gd name="T35" fmla="*/ 0 h 1579"/>
                      <a:gd name="T36" fmla="*/ 0 w 2030"/>
                      <a:gd name="T37" fmla="*/ 0 h 1579"/>
                      <a:gd name="T38" fmla="*/ 0 w 2030"/>
                      <a:gd name="T39" fmla="*/ 0 h 1579"/>
                      <a:gd name="T40" fmla="*/ 0 w 2030"/>
                      <a:gd name="T41" fmla="*/ 0 h 1579"/>
                      <a:gd name="T42" fmla="*/ 0 w 2030"/>
                      <a:gd name="T43" fmla="*/ 0 h 1579"/>
                      <a:gd name="T44" fmla="*/ 0 w 2030"/>
                      <a:gd name="T45" fmla="*/ 0 h 1579"/>
                      <a:gd name="T46" fmla="*/ 0 w 2030"/>
                      <a:gd name="T47" fmla="*/ 0 h 1579"/>
                      <a:gd name="T48" fmla="*/ 0 w 2030"/>
                      <a:gd name="T49" fmla="*/ 0 h 1579"/>
                      <a:gd name="T50" fmla="*/ 0 w 2030"/>
                      <a:gd name="T51" fmla="*/ 0 h 1579"/>
                      <a:gd name="T52" fmla="*/ 0 w 2030"/>
                      <a:gd name="T53" fmla="*/ 0 h 1579"/>
                      <a:gd name="T54" fmla="*/ 0 w 2030"/>
                      <a:gd name="T55" fmla="*/ 0 h 1579"/>
                      <a:gd name="T56" fmla="*/ 0 w 2030"/>
                      <a:gd name="T57" fmla="*/ 0 h 1579"/>
                      <a:gd name="T58" fmla="*/ 0 w 2030"/>
                      <a:gd name="T59" fmla="*/ 0 h 1579"/>
                      <a:gd name="T60" fmla="*/ 0 w 2030"/>
                      <a:gd name="T61" fmla="*/ 0 h 1579"/>
                      <a:gd name="T62" fmla="*/ 0 w 2030"/>
                      <a:gd name="T63" fmla="*/ 0 h 1579"/>
                      <a:gd name="T64" fmla="*/ 0 w 2030"/>
                      <a:gd name="T65" fmla="*/ 0 h 1579"/>
                      <a:gd name="T66" fmla="*/ 0 w 2030"/>
                      <a:gd name="T67" fmla="*/ 0 h 1579"/>
                      <a:gd name="T68" fmla="*/ 0 w 2030"/>
                      <a:gd name="T69" fmla="*/ 0 h 1579"/>
                      <a:gd name="T70" fmla="*/ 0 w 2030"/>
                      <a:gd name="T71" fmla="*/ 0 h 1579"/>
                      <a:gd name="T72" fmla="*/ 0 w 2030"/>
                      <a:gd name="T73" fmla="*/ 0 h 1579"/>
                      <a:gd name="T74" fmla="*/ 0 w 2030"/>
                      <a:gd name="T75" fmla="*/ 0 h 1579"/>
                      <a:gd name="T76" fmla="*/ 0 w 2030"/>
                      <a:gd name="T77" fmla="*/ 0 h 1579"/>
                      <a:gd name="T78" fmla="*/ 0 w 2030"/>
                      <a:gd name="T79" fmla="*/ 0 h 1579"/>
                      <a:gd name="T80" fmla="*/ 0 w 2030"/>
                      <a:gd name="T81" fmla="*/ 0 h 1579"/>
                      <a:gd name="T82" fmla="*/ 0 w 2030"/>
                      <a:gd name="T83" fmla="*/ 0 h 1579"/>
                      <a:gd name="T84" fmla="*/ 0 w 2030"/>
                      <a:gd name="T85" fmla="*/ 0 h 1579"/>
                      <a:gd name="T86" fmla="*/ 0 w 2030"/>
                      <a:gd name="T87" fmla="*/ 0 h 1579"/>
                      <a:gd name="T88" fmla="*/ 0 w 2030"/>
                      <a:gd name="T89" fmla="*/ 0 h 1579"/>
                      <a:gd name="T90" fmla="*/ 0 w 2030"/>
                      <a:gd name="T91" fmla="*/ 0 h 1579"/>
                      <a:gd name="T92" fmla="*/ 0 w 2030"/>
                      <a:gd name="T93" fmla="*/ 0 h 1579"/>
                      <a:gd name="T94" fmla="*/ 0 w 2030"/>
                      <a:gd name="T95" fmla="*/ 0 h 1579"/>
                      <a:gd name="T96" fmla="*/ 0 w 2030"/>
                      <a:gd name="T97" fmla="*/ 0 h 1579"/>
                      <a:gd name="T98" fmla="*/ 0 w 2030"/>
                      <a:gd name="T99" fmla="*/ 0 h 1579"/>
                      <a:gd name="T100" fmla="*/ 0 w 2030"/>
                      <a:gd name="T101" fmla="*/ 0 h 1579"/>
                      <a:gd name="T102" fmla="*/ 0 w 2030"/>
                      <a:gd name="T103" fmla="*/ 0 h 1579"/>
                      <a:gd name="T104" fmla="*/ 0 w 2030"/>
                      <a:gd name="T105" fmla="*/ 0 h 1579"/>
                      <a:gd name="T106" fmla="*/ 0 w 2030"/>
                      <a:gd name="T107" fmla="*/ 0 h 1579"/>
                      <a:gd name="T108" fmla="*/ 0 w 2030"/>
                      <a:gd name="T109" fmla="*/ 0 h 1579"/>
                      <a:gd name="T110" fmla="*/ 0 w 2030"/>
                      <a:gd name="T111" fmla="*/ 0 h 1579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w 2030"/>
                      <a:gd name="T169" fmla="*/ 0 h 1579"/>
                      <a:gd name="T170" fmla="*/ 2030 w 2030"/>
                      <a:gd name="T171" fmla="*/ 1579 h 1579"/>
                    </a:gdLst>
                    <a:ahLst/>
                    <a:cxnLst>
                      <a:cxn ang="T112">
                        <a:pos x="T0" y="T1"/>
                      </a:cxn>
                      <a:cxn ang="T113">
                        <a:pos x="T2" y="T3"/>
                      </a:cxn>
                      <a:cxn ang="T114">
                        <a:pos x="T4" y="T5"/>
                      </a:cxn>
                      <a:cxn ang="T115">
                        <a:pos x="T6" y="T7"/>
                      </a:cxn>
                      <a:cxn ang="T116">
                        <a:pos x="T8" y="T9"/>
                      </a:cxn>
                      <a:cxn ang="T117">
                        <a:pos x="T10" y="T11"/>
                      </a:cxn>
                      <a:cxn ang="T118">
                        <a:pos x="T12" y="T13"/>
                      </a:cxn>
                      <a:cxn ang="T119">
                        <a:pos x="T14" y="T15"/>
                      </a:cxn>
                      <a:cxn ang="T120">
                        <a:pos x="T16" y="T17"/>
                      </a:cxn>
                      <a:cxn ang="T121">
                        <a:pos x="T18" y="T19"/>
                      </a:cxn>
                      <a:cxn ang="T122">
                        <a:pos x="T20" y="T21"/>
                      </a:cxn>
                      <a:cxn ang="T123">
                        <a:pos x="T22" y="T23"/>
                      </a:cxn>
                      <a:cxn ang="T124">
                        <a:pos x="T24" y="T25"/>
                      </a:cxn>
                      <a:cxn ang="T125">
                        <a:pos x="T26" y="T27"/>
                      </a:cxn>
                      <a:cxn ang="T126">
                        <a:pos x="T28" y="T29"/>
                      </a:cxn>
                      <a:cxn ang="T127">
                        <a:pos x="T30" y="T31"/>
                      </a:cxn>
                      <a:cxn ang="T128">
                        <a:pos x="T32" y="T33"/>
                      </a:cxn>
                      <a:cxn ang="T129">
                        <a:pos x="T34" y="T35"/>
                      </a:cxn>
                      <a:cxn ang="T130">
                        <a:pos x="T36" y="T37"/>
                      </a:cxn>
                      <a:cxn ang="T131">
                        <a:pos x="T38" y="T39"/>
                      </a:cxn>
                      <a:cxn ang="T132">
                        <a:pos x="T40" y="T41"/>
                      </a:cxn>
                      <a:cxn ang="T133">
                        <a:pos x="T42" y="T43"/>
                      </a:cxn>
                      <a:cxn ang="T134">
                        <a:pos x="T44" y="T45"/>
                      </a:cxn>
                      <a:cxn ang="T135">
                        <a:pos x="T46" y="T47"/>
                      </a:cxn>
                      <a:cxn ang="T136">
                        <a:pos x="T48" y="T49"/>
                      </a:cxn>
                      <a:cxn ang="T137">
                        <a:pos x="T50" y="T51"/>
                      </a:cxn>
                      <a:cxn ang="T138">
                        <a:pos x="T52" y="T53"/>
                      </a:cxn>
                      <a:cxn ang="T139">
                        <a:pos x="T54" y="T55"/>
                      </a:cxn>
                      <a:cxn ang="T140">
                        <a:pos x="T56" y="T57"/>
                      </a:cxn>
                      <a:cxn ang="T141">
                        <a:pos x="T58" y="T59"/>
                      </a:cxn>
                      <a:cxn ang="T142">
                        <a:pos x="T60" y="T61"/>
                      </a:cxn>
                      <a:cxn ang="T143">
                        <a:pos x="T62" y="T63"/>
                      </a:cxn>
                      <a:cxn ang="T144">
                        <a:pos x="T64" y="T65"/>
                      </a:cxn>
                      <a:cxn ang="T145">
                        <a:pos x="T66" y="T67"/>
                      </a:cxn>
                      <a:cxn ang="T146">
                        <a:pos x="T68" y="T69"/>
                      </a:cxn>
                      <a:cxn ang="T147">
                        <a:pos x="T70" y="T71"/>
                      </a:cxn>
                      <a:cxn ang="T148">
                        <a:pos x="T72" y="T73"/>
                      </a:cxn>
                      <a:cxn ang="T149">
                        <a:pos x="T74" y="T75"/>
                      </a:cxn>
                      <a:cxn ang="T150">
                        <a:pos x="T76" y="T77"/>
                      </a:cxn>
                      <a:cxn ang="T151">
                        <a:pos x="T78" y="T79"/>
                      </a:cxn>
                      <a:cxn ang="T152">
                        <a:pos x="T80" y="T81"/>
                      </a:cxn>
                      <a:cxn ang="T153">
                        <a:pos x="T82" y="T83"/>
                      </a:cxn>
                      <a:cxn ang="T154">
                        <a:pos x="T84" y="T85"/>
                      </a:cxn>
                      <a:cxn ang="T155">
                        <a:pos x="T86" y="T87"/>
                      </a:cxn>
                      <a:cxn ang="T156">
                        <a:pos x="T88" y="T89"/>
                      </a:cxn>
                      <a:cxn ang="T157">
                        <a:pos x="T90" y="T91"/>
                      </a:cxn>
                      <a:cxn ang="T158">
                        <a:pos x="T92" y="T93"/>
                      </a:cxn>
                      <a:cxn ang="T159">
                        <a:pos x="T94" y="T95"/>
                      </a:cxn>
                      <a:cxn ang="T160">
                        <a:pos x="T96" y="T97"/>
                      </a:cxn>
                      <a:cxn ang="T161">
                        <a:pos x="T98" y="T99"/>
                      </a:cxn>
                      <a:cxn ang="T162">
                        <a:pos x="T100" y="T101"/>
                      </a:cxn>
                      <a:cxn ang="T163">
                        <a:pos x="T102" y="T103"/>
                      </a:cxn>
                      <a:cxn ang="T164">
                        <a:pos x="T104" y="T105"/>
                      </a:cxn>
                      <a:cxn ang="T165">
                        <a:pos x="T106" y="T107"/>
                      </a:cxn>
                      <a:cxn ang="T166">
                        <a:pos x="T108" y="T109"/>
                      </a:cxn>
                      <a:cxn ang="T167">
                        <a:pos x="T110" y="T111"/>
                      </a:cxn>
                    </a:cxnLst>
                    <a:rect l="T168" t="T169" r="T170" b="T171"/>
                    <a:pathLst>
                      <a:path w="2030" h="1579">
                        <a:moveTo>
                          <a:pt x="916" y="671"/>
                        </a:moveTo>
                        <a:lnTo>
                          <a:pt x="959" y="695"/>
                        </a:lnTo>
                        <a:lnTo>
                          <a:pt x="1000" y="717"/>
                        </a:lnTo>
                        <a:lnTo>
                          <a:pt x="1040" y="737"/>
                        </a:lnTo>
                        <a:lnTo>
                          <a:pt x="1080" y="756"/>
                        </a:lnTo>
                        <a:lnTo>
                          <a:pt x="1120" y="774"/>
                        </a:lnTo>
                        <a:lnTo>
                          <a:pt x="1159" y="789"/>
                        </a:lnTo>
                        <a:lnTo>
                          <a:pt x="1197" y="804"/>
                        </a:lnTo>
                        <a:lnTo>
                          <a:pt x="1236" y="816"/>
                        </a:lnTo>
                        <a:lnTo>
                          <a:pt x="1272" y="827"/>
                        </a:lnTo>
                        <a:lnTo>
                          <a:pt x="1310" y="837"/>
                        </a:lnTo>
                        <a:lnTo>
                          <a:pt x="1347" y="846"/>
                        </a:lnTo>
                        <a:lnTo>
                          <a:pt x="1383" y="853"/>
                        </a:lnTo>
                        <a:lnTo>
                          <a:pt x="1419" y="858"/>
                        </a:lnTo>
                        <a:lnTo>
                          <a:pt x="1454" y="863"/>
                        </a:lnTo>
                        <a:lnTo>
                          <a:pt x="1490" y="865"/>
                        </a:lnTo>
                        <a:lnTo>
                          <a:pt x="1524" y="866"/>
                        </a:lnTo>
                        <a:lnTo>
                          <a:pt x="1559" y="866"/>
                        </a:lnTo>
                        <a:lnTo>
                          <a:pt x="1592" y="865"/>
                        </a:lnTo>
                        <a:lnTo>
                          <a:pt x="1625" y="862"/>
                        </a:lnTo>
                        <a:lnTo>
                          <a:pt x="1659" y="858"/>
                        </a:lnTo>
                        <a:lnTo>
                          <a:pt x="1691" y="853"/>
                        </a:lnTo>
                        <a:lnTo>
                          <a:pt x="1723" y="846"/>
                        </a:lnTo>
                        <a:lnTo>
                          <a:pt x="1756" y="838"/>
                        </a:lnTo>
                        <a:lnTo>
                          <a:pt x="1788" y="828"/>
                        </a:lnTo>
                        <a:lnTo>
                          <a:pt x="1819" y="818"/>
                        </a:lnTo>
                        <a:lnTo>
                          <a:pt x="1850" y="806"/>
                        </a:lnTo>
                        <a:lnTo>
                          <a:pt x="1880" y="794"/>
                        </a:lnTo>
                        <a:lnTo>
                          <a:pt x="1911" y="779"/>
                        </a:lnTo>
                        <a:lnTo>
                          <a:pt x="1941" y="764"/>
                        </a:lnTo>
                        <a:lnTo>
                          <a:pt x="1971" y="747"/>
                        </a:lnTo>
                        <a:lnTo>
                          <a:pt x="2000" y="729"/>
                        </a:lnTo>
                        <a:lnTo>
                          <a:pt x="2030" y="710"/>
                        </a:lnTo>
                        <a:lnTo>
                          <a:pt x="2029" y="756"/>
                        </a:lnTo>
                        <a:lnTo>
                          <a:pt x="2029" y="801"/>
                        </a:lnTo>
                        <a:lnTo>
                          <a:pt x="2027" y="847"/>
                        </a:lnTo>
                        <a:lnTo>
                          <a:pt x="2025" y="892"/>
                        </a:lnTo>
                        <a:lnTo>
                          <a:pt x="2020" y="935"/>
                        </a:lnTo>
                        <a:lnTo>
                          <a:pt x="2016" y="977"/>
                        </a:lnTo>
                        <a:lnTo>
                          <a:pt x="2010" y="1020"/>
                        </a:lnTo>
                        <a:lnTo>
                          <a:pt x="2003" y="1060"/>
                        </a:lnTo>
                        <a:lnTo>
                          <a:pt x="1995" y="1100"/>
                        </a:lnTo>
                        <a:lnTo>
                          <a:pt x="1985" y="1138"/>
                        </a:lnTo>
                        <a:lnTo>
                          <a:pt x="1974" y="1174"/>
                        </a:lnTo>
                        <a:lnTo>
                          <a:pt x="1961" y="1210"/>
                        </a:lnTo>
                        <a:lnTo>
                          <a:pt x="1948" y="1243"/>
                        </a:lnTo>
                        <a:lnTo>
                          <a:pt x="1932" y="1274"/>
                        </a:lnTo>
                        <a:lnTo>
                          <a:pt x="1924" y="1290"/>
                        </a:lnTo>
                        <a:lnTo>
                          <a:pt x="1915" y="1304"/>
                        </a:lnTo>
                        <a:lnTo>
                          <a:pt x="1906" y="1319"/>
                        </a:lnTo>
                        <a:lnTo>
                          <a:pt x="1896" y="1333"/>
                        </a:lnTo>
                        <a:lnTo>
                          <a:pt x="1846" y="1396"/>
                        </a:lnTo>
                        <a:lnTo>
                          <a:pt x="1793" y="1449"/>
                        </a:lnTo>
                        <a:lnTo>
                          <a:pt x="1740" y="1491"/>
                        </a:lnTo>
                        <a:lnTo>
                          <a:pt x="1685" y="1526"/>
                        </a:lnTo>
                        <a:lnTo>
                          <a:pt x="1629" y="1551"/>
                        </a:lnTo>
                        <a:lnTo>
                          <a:pt x="1572" y="1568"/>
                        </a:lnTo>
                        <a:lnTo>
                          <a:pt x="1514" y="1577"/>
                        </a:lnTo>
                        <a:lnTo>
                          <a:pt x="1456" y="1579"/>
                        </a:lnTo>
                        <a:lnTo>
                          <a:pt x="1397" y="1575"/>
                        </a:lnTo>
                        <a:lnTo>
                          <a:pt x="1338" y="1564"/>
                        </a:lnTo>
                        <a:lnTo>
                          <a:pt x="1278" y="1546"/>
                        </a:lnTo>
                        <a:lnTo>
                          <a:pt x="1219" y="1524"/>
                        </a:lnTo>
                        <a:lnTo>
                          <a:pt x="1160" y="1496"/>
                        </a:lnTo>
                        <a:lnTo>
                          <a:pt x="1101" y="1464"/>
                        </a:lnTo>
                        <a:lnTo>
                          <a:pt x="1042" y="1428"/>
                        </a:lnTo>
                        <a:lnTo>
                          <a:pt x="984" y="1389"/>
                        </a:lnTo>
                        <a:lnTo>
                          <a:pt x="927" y="1346"/>
                        </a:lnTo>
                        <a:lnTo>
                          <a:pt x="871" y="1301"/>
                        </a:lnTo>
                        <a:lnTo>
                          <a:pt x="816" y="1253"/>
                        </a:lnTo>
                        <a:lnTo>
                          <a:pt x="762" y="1204"/>
                        </a:lnTo>
                        <a:lnTo>
                          <a:pt x="709" y="1154"/>
                        </a:lnTo>
                        <a:lnTo>
                          <a:pt x="659" y="1103"/>
                        </a:lnTo>
                        <a:lnTo>
                          <a:pt x="610" y="1052"/>
                        </a:lnTo>
                        <a:lnTo>
                          <a:pt x="562" y="1001"/>
                        </a:lnTo>
                        <a:lnTo>
                          <a:pt x="517" y="951"/>
                        </a:lnTo>
                        <a:lnTo>
                          <a:pt x="474" y="902"/>
                        </a:lnTo>
                        <a:lnTo>
                          <a:pt x="433" y="854"/>
                        </a:lnTo>
                        <a:lnTo>
                          <a:pt x="395" y="809"/>
                        </a:lnTo>
                        <a:lnTo>
                          <a:pt x="328" y="726"/>
                        </a:lnTo>
                        <a:lnTo>
                          <a:pt x="271" y="657"/>
                        </a:lnTo>
                        <a:lnTo>
                          <a:pt x="253" y="633"/>
                        </a:lnTo>
                        <a:lnTo>
                          <a:pt x="234" y="606"/>
                        </a:lnTo>
                        <a:lnTo>
                          <a:pt x="214" y="576"/>
                        </a:lnTo>
                        <a:lnTo>
                          <a:pt x="195" y="542"/>
                        </a:lnTo>
                        <a:lnTo>
                          <a:pt x="176" y="507"/>
                        </a:lnTo>
                        <a:lnTo>
                          <a:pt x="156" y="469"/>
                        </a:lnTo>
                        <a:lnTo>
                          <a:pt x="137" y="429"/>
                        </a:lnTo>
                        <a:lnTo>
                          <a:pt x="118" y="385"/>
                        </a:lnTo>
                        <a:lnTo>
                          <a:pt x="100" y="342"/>
                        </a:lnTo>
                        <a:lnTo>
                          <a:pt x="84" y="296"/>
                        </a:lnTo>
                        <a:lnTo>
                          <a:pt x="67" y="248"/>
                        </a:lnTo>
                        <a:lnTo>
                          <a:pt x="52" y="200"/>
                        </a:lnTo>
                        <a:lnTo>
                          <a:pt x="36" y="152"/>
                        </a:lnTo>
                        <a:lnTo>
                          <a:pt x="23" y="101"/>
                        </a:lnTo>
                        <a:lnTo>
                          <a:pt x="10" y="50"/>
                        </a:lnTo>
                        <a:lnTo>
                          <a:pt x="0" y="0"/>
                        </a:lnTo>
                        <a:lnTo>
                          <a:pt x="53" y="47"/>
                        </a:lnTo>
                        <a:lnTo>
                          <a:pt x="105" y="93"/>
                        </a:lnTo>
                        <a:lnTo>
                          <a:pt x="158" y="138"/>
                        </a:lnTo>
                        <a:lnTo>
                          <a:pt x="212" y="183"/>
                        </a:lnTo>
                        <a:lnTo>
                          <a:pt x="266" y="227"/>
                        </a:lnTo>
                        <a:lnTo>
                          <a:pt x="322" y="271"/>
                        </a:lnTo>
                        <a:lnTo>
                          <a:pt x="378" y="313"/>
                        </a:lnTo>
                        <a:lnTo>
                          <a:pt x="434" y="355"/>
                        </a:lnTo>
                        <a:lnTo>
                          <a:pt x="492" y="396"/>
                        </a:lnTo>
                        <a:lnTo>
                          <a:pt x="550" y="438"/>
                        </a:lnTo>
                        <a:lnTo>
                          <a:pt x="609" y="479"/>
                        </a:lnTo>
                        <a:lnTo>
                          <a:pt x="669" y="518"/>
                        </a:lnTo>
                        <a:lnTo>
                          <a:pt x="729" y="557"/>
                        </a:lnTo>
                        <a:lnTo>
                          <a:pt x="792" y="596"/>
                        </a:lnTo>
                        <a:lnTo>
                          <a:pt x="854" y="633"/>
                        </a:lnTo>
                        <a:lnTo>
                          <a:pt x="916" y="671"/>
                        </a:lnTo>
                        <a:close/>
                      </a:path>
                    </a:pathLst>
                  </a:custGeom>
                  <a:solidFill>
                    <a:srgbClr val="312276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59" name="Freeform 200"/>
                  <p:cNvSpPr>
                    <a:spLocks/>
                  </p:cNvSpPr>
                  <p:nvPr/>
                </p:nvSpPr>
                <p:spPr bwMode="auto">
                  <a:xfrm>
                    <a:off x="3173" y="3841"/>
                    <a:ext cx="562" cy="216"/>
                  </a:xfrm>
                  <a:custGeom>
                    <a:avLst/>
                    <a:gdLst>
                      <a:gd name="T0" fmla="*/ 0 w 3934"/>
                      <a:gd name="T1" fmla="*/ 0 h 1507"/>
                      <a:gd name="T2" fmla="*/ 0 w 3934"/>
                      <a:gd name="T3" fmla="*/ 0 h 1507"/>
                      <a:gd name="T4" fmla="*/ 0 w 3934"/>
                      <a:gd name="T5" fmla="*/ 0 h 1507"/>
                      <a:gd name="T6" fmla="*/ 0 w 3934"/>
                      <a:gd name="T7" fmla="*/ 0 h 1507"/>
                      <a:gd name="T8" fmla="*/ 0 w 3934"/>
                      <a:gd name="T9" fmla="*/ 0 h 1507"/>
                      <a:gd name="T10" fmla="*/ 0 w 3934"/>
                      <a:gd name="T11" fmla="*/ 0 h 1507"/>
                      <a:gd name="T12" fmla="*/ 0 w 3934"/>
                      <a:gd name="T13" fmla="*/ 0 h 1507"/>
                      <a:gd name="T14" fmla="*/ 0 w 3934"/>
                      <a:gd name="T15" fmla="*/ 0 h 1507"/>
                      <a:gd name="T16" fmla="*/ 0 w 3934"/>
                      <a:gd name="T17" fmla="*/ 0 h 1507"/>
                      <a:gd name="T18" fmla="*/ 0 w 3934"/>
                      <a:gd name="T19" fmla="*/ 0 h 1507"/>
                      <a:gd name="T20" fmla="*/ 0 w 3934"/>
                      <a:gd name="T21" fmla="*/ 0 h 1507"/>
                      <a:gd name="T22" fmla="*/ 0 w 3934"/>
                      <a:gd name="T23" fmla="*/ 0 h 1507"/>
                      <a:gd name="T24" fmla="*/ 0 w 3934"/>
                      <a:gd name="T25" fmla="*/ 0 h 1507"/>
                      <a:gd name="T26" fmla="*/ 0 w 3934"/>
                      <a:gd name="T27" fmla="*/ 0 h 1507"/>
                      <a:gd name="T28" fmla="*/ 0 w 3934"/>
                      <a:gd name="T29" fmla="*/ 0 h 1507"/>
                      <a:gd name="T30" fmla="*/ 0 w 3934"/>
                      <a:gd name="T31" fmla="*/ 0 h 1507"/>
                      <a:gd name="T32" fmla="*/ 0 w 3934"/>
                      <a:gd name="T33" fmla="*/ 0 h 1507"/>
                      <a:gd name="T34" fmla="*/ 0 w 3934"/>
                      <a:gd name="T35" fmla="*/ 0 h 1507"/>
                      <a:gd name="T36" fmla="*/ 0 w 3934"/>
                      <a:gd name="T37" fmla="*/ 0 h 1507"/>
                      <a:gd name="T38" fmla="*/ 0 w 3934"/>
                      <a:gd name="T39" fmla="*/ 0 h 1507"/>
                      <a:gd name="T40" fmla="*/ 0 w 3934"/>
                      <a:gd name="T41" fmla="*/ 0 h 1507"/>
                      <a:gd name="T42" fmla="*/ 0 w 3934"/>
                      <a:gd name="T43" fmla="*/ 0 h 1507"/>
                      <a:gd name="T44" fmla="*/ 0 w 3934"/>
                      <a:gd name="T45" fmla="*/ 0 h 1507"/>
                      <a:gd name="T46" fmla="*/ 0 w 3934"/>
                      <a:gd name="T47" fmla="*/ 0 h 1507"/>
                      <a:gd name="T48" fmla="*/ 0 w 3934"/>
                      <a:gd name="T49" fmla="*/ 0 h 1507"/>
                      <a:gd name="T50" fmla="*/ 0 w 3934"/>
                      <a:gd name="T51" fmla="*/ 0 h 1507"/>
                      <a:gd name="T52" fmla="*/ 0 w 3934"/>
                      <a:gd name="T53" fmla="*/ 0 h 1507"/>
                      <a:gd name="T54" fmla="*/ 0 w 3934"/>
                      <a:gd name="T55" fmla="*/ 0 h 1507"/>
                      <a:gd name="T56" fmla="*/ 0 w 3934"/>
                      <a:gd name="T57" fmla="*/ 0 h 1507"/>
                      <a:gd name="T58" fmla="*/ 0 w 3934"/>
                      <a:gd name="T59" fmla="*/ 0 h 1507"/>
                      <a:gd name="T60" fmla="*/ 0 w 3934"/>
                      <a:gd name="T61" fmla="*/ 0 h 1507"/>
                      <a:gd name="T62" fmla="*/ 0 w 3934"/>
                      <a:gd name="T63" fmla="*/ 0 h 1507"/>
                      <a:gd name="T64" fmla="*/ 0 w 3934"/>
                      <a:gd name="T65" fmla="*/ 0 h 1507"/>
                      <a:gd name="T66" fmla="*/ 0 w 3934"/>
                      <a:gd name="T67" fmla="*/ 0 h 1507"/>
                      <a:gd name="T68" fmla="*/ 0 w 3934"/>
                      <a:gd name="T69" fmla="*/ 0 h 1507"/>
                      <a:gd name="T70" fmla="*/ 0 w 3934"/>
                      <a:gd name="T71" fmla="*/ 0 h 1507"/>
                      <a:gd name="T72" fmla="*/ 0 w 3934"/>
                      <a:gd name="T73" fmla="*/ 0 h 1507"/>
                      <a:gd name="T74" fmla="*/ 0 w 3934"/>
                      <a:gd name="T75" fmla="*/ 0 h 1507"/>
                      <a:gd name="T76" fmla="*/ 0 w 3934"/>
                      <a:gd name="T77" fmla="*/ 0 h 1507"/>
                      <a:gd name="T78" fmla="*/ 0 w 3934"/>
                      <a:gd name="T79" fmla="*/ 0 h 1507"/>
                      <a:gd name="T80" fmla="*/ 0 w 3934"/>
                      <a:gd name="T81" fmla="*/ 0 h 1507"/>
                      <a:gd name="T82" fmla="*/ 0 w 3934"/>
                      <a:gd name="T83" fmla="*/ 0 h 1507"/>
                      <a:gd name="T84" fmla="*/ 0 w 3934"/>
                      <a:gd name="T85" fmla="*/ 0 h 1507"/>
                      <a:gd name="T86" fmla="*/ 0 w 3934"/>
                      <a:gd name="T87" fmla="*/ 0 h 1507"/>
                      <a:gd name="T88" fmla="*/ 0 w 3934"/>
                      <a:gd name="T89" fmla="*/ 0 h 1507"/>
                      <a:gd name="T90" fmla="*/ 0 w 3934"/>
                      <a:gd name="T91" fmla="*/ 0 h 1507"/>
                      <a:gd name="T92" fmla="*/ 0 w 3934"/>
                      <a:gd name="T93" fmla="*/ 0 h 1507"/>
                      <a:gd name="T94" fmla="*/ 0 w 3934"/>
                      <a:gd name="T95" fmla="*/ 0 h 1507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w 3934"/>
                      <a:gd name="T145" fmla="*/ 0 h 1507"/>
                      <a:gd name="T146" fmla="*/ 3934 w 3934"/>
                      <a:gd name="T147" fmla="*/ 1507 h 1507"/>
                    </a:gdLst>
                    <a:ahLst/>
                    <a:cxnLst>
                      <a:cxn ang="T96">
                        <a:pos x="T0" y="T1"/>
                      </a:cxn>
                      <a:cxn ang="T97">
                        <a:pos x="T2" y="T3"/>
                      </a:cxn>
                      <a:cxn ang="T98">
                        <a:pos x="T4" y="T5"/>
                      </a:cxn>
                      <a:cxn ang="T99">
                        <a:pos x="T6" y="T7"/>
                      </a:cxn>
                      <a:cxn ang="T100">
                        <a:pos x="T8" y="T9"/>
                      </a:cxn>
                      <a:cxn ang="T101">
                        <a:pos x="T10" y="T11"/>
                      </a:cxn>
                      <a:cxn ang="T102">
                        <a:pos x="T12" y="T13"/>
                      </a:cxn>
                      <a:cxn ang="T103">
                        <a:pos x="T14" y="T15"/>
                      </a:cxn>
                      <a:cxn ang="T104">
                        <a:pos x="T16" y="T17"/>
                      </a:cxn>
                      <a:cxn ang="T105">
                        <a:pos x="T18" y="T19"/>
                      </a:cxn>
                      <a:cxn ang="T106">
                        <a:pos x="T20" y="T21"/>
                      </a:cxn>
                      <a:cxn ang="T107">
                        <a:pos x="T22" y="T23"/>
                      </a:cxn>
                      <a:cxn ang="T108">
                        <a:pos x="T24" y="T25"/>
                      </a:cxn>
                      <a:cxn ang="T109">
                        <a:pos x="T26" y="T27"/>
                      </a:cxn>
                      <a:cxn ang="T110">
                        <a:pos x="T28" y="T29"/>
                      </a:cxn>
                      <a:cxn ang="T111">
                        <a:pos x="T30" y="T31"/>
                      </a:cxn>
                      <a:cxn ang="T112">
                        <a:pos x="T32" y="T33"/>
                      </a:cxn>
                      <a:cxn ang="T113">
                        <a:pos x="T34" y="T35"/>
                      </a:cxn>
                      <a:cxn ang="T114">
                        <a:pos x="T36" y="T37"/>
                      </a:cxn>
                      <a:cxn ang="T115">
                        <a:pos x="T38" y="T39"/>
                      </a:cxn>
                      <a:cxn ang="T116">
                        <a:pos x="T40" y="T41"/>
                      </a:cxn>
                      <a:cxn ang="T117">
                        <a:pos x="T42" y="T43"/>
                      </a:cxn>
                      <a:cxn ang="T118">
                        <a:pos x="T44" y="T45"/>
                      </a:cxn>
                      <a:cxn ang="T119">
                        <a:pos x="T46" y="T47"/>
                      </a:cxn>
                      <a:cxn ang="T120">
                        <a:pos x="T48" y="T49"/>
                      </a:cxn>
                      <a:cxn ang="T121">
                        <a:pos x="T50" y="T51"/>
                      </a:cxn>
                      <a:cxn ang="T122">
                        <a:pos x="T52" y="T53"/>
                      </a:cxn>
                      <a:cxn ang="T123">
                        <a:pos x="T54" y="T55"/>
                      </a:cxn>
                      <a:cxn ang="T124">
                        <a:pos x="T56" y="T57"/>
                      </a:cxn>
                      <a:cxn ang="T125">
                        <a:pos x="T58" y="T59"/>
                      </a:cxn>
                      <a:cxn ang="T126">
                        <a:pos x="T60" y="T61"/>
                      </a:cxn>
                      <a:cxn ang="T127">
                        <a:pos x="T62" y="T63"/>
                      </a:cxn>
                      <a:cxn ang="T128">
                        <a:pos x="T64" y="T65"/>
                      </a:cxn>
                      <a:cxn ang="T129">
                        <a:pos x="T66" y="T67"/>
                      </a:cxn>
                      <a:cxn ang="T130">
                        <a:pos x="T68" y="T69"/>
                      </a:cxn>
                      <a:cxn ang="T131">
                        <a:pos x="T70" y="T71"/>
                      </a:cxn>
                      <a:cxn ang="T132">
                        <a:pos x="T72" y="T73"/>
                      </a:cxn>
                      <a:cxn ang="T133">
                        <a:pos x="T74" y="T75"/>
                      </a:cxn>
                      <a:cxn ang="T134">
                        <a:pos x="T76" y="T77"/>
                      </a:cxn>
                      <a:cxn ang="T135">
                        <a:pos x="T78" y="T79"/>
                      </a:cxn>
                      <a:cxn ang="T136">
                        <a:pos x="T80" y="T81"/>
                      </a:cxn>
                      <a:cxn ang="T137">
                        <a:pos x="T82" y="T83"/>
                      </a:cxn>
                      <a:cxn ang="T138">
                        <a:pos x="T84" y="T85"/>
                      </a:cxn>
                      <a:cxn ang="T139">
                        <a:pos x="T86" y="T87"/>
                      </a:cxn>
                      <a:cxn ang="T140">
                        <a:pos x="T88" y="T89"/>
                      </a:cxn>
                      <a:cxn ang="T141">
                        <a:pos x="T90" y="T91"/>
                      </a:cxn>
                      <a:cxn ang="T142">
                        <a:pos x="T92" y="T93"/>
                      </a:cxn>
                      <a:cxn ang="T143">
                        <a:pos x="T94" y="T95"/>
                      </a:cxn>
                    </a:cxnLst>
                    <a:rect l="T144" t="T145" r="T146" b="T147"/>
                    <a:pathLst>
                      <a:path w="3934" h="1507">
                        <a:moveTo>
                          <a:pt x="3766" y="0"/>
                        </a:moveTo>
                        <a:lnTo>
                          <a:pt x="3783" y="139"/>
                        </a:lnTo>
                        <a:lnTo>
                          <a:pt x="3781" y="269"/>
                        </a:lnTo>
                        <a:lnTo>
                          <a:pt x="3761" y="390"/>
                        </a:lnTo>
                        <a:lnTo>
                          <a:pt x="3725" y="500"/>
                        </a:lnTo>
                        <a:lnTo>
                          <a:pt x="3674" y="601"/>
                        </a:lnTo>
                        <a:lnTo>
                          <a:pt x="3608" y="693"/>
                        </a:lnTo>
                        <a:lnTo>
                          <a:pt x="3529" y="778"/>
                        </a:lnTo>
                        <a:lnTo>
                          <a:pt x="3438" y="852"/>
                        </a:lnTo>
                        <a:lnTo>
                          <a:pt x="3335" y="920"/>
                        </a:lnTo>
                        <a:lnTo>
                          <a:pt x="3221" y="979"/>
                        </a:lnTo>
                        <a:lnTo>
                          <a:pt x="3098" y="1032"/>
                        </a:lnTo>
                        <a:lnTo>
                          <a:pt x="2966" y="1076"/>
                        </a:lnTo>
                        <a:lnTo>
                          <a:pt x="2827" y="1113"/>
                        </a:lnTo>
                        <a:lnTo>
                          <a:pt x="2680" y="1144"/>
                        </a:lnTo>
                        <a:lnTo>
                          <a:pt x="2529" y="1168"/>
                        </a:lnTo>
                        <a:lnTo>
                          <a:pt x="2372" y="1186"/>
                        </a:lnTo>
                        <a:lnTo>
                          <a:pt x="2210" y="1199"/>
                        </a:lnTo>
                        <a:lnTo>
                          <a:pt x="2048" y="1205"/>
                        </a:lnTo>
                        <a:lnTo>
                          <a:pt x="1882" y="1206"/>
                        </a:lnTo>
                        <a:lnTo>
                          <a:pt x="1716" y="1203"/>
                        </a:lnTo>
                        <a:lnTo>
                          <a:pt x="1549" y="1194"/>
                        </a:lnTo>
                        <a:lnTo>
                          <a:pt x="1385" y="1181"/>
                        </a:lnTo>
                        <a:lnTo>
                          <a:pt x="1221" y="1163"/>
                        </a:lnTo>
                        <a:lnTo>
                          <a:pt x="1061" y="1142"/>
                        </a:lnTo>
                        <a:lnTo>
                          <a:pt x="905" y="1116"/>
                        </a:lnTo>
                        <a:lnTo>
                          <a:pt x="754" y="1087"/>
                        </a:lnTo>
                        <a:lnTo>
                          <a:pt x="608" y="1055"/>
                        </a:lnTo>
                        <a:lnTo>
                          <a:pt x="469" y="1020"/>
                        </a:lnTo>
                        <a:lnTo>
                          <a:pt x="337" y="983"/>
                        </a:lnTo>
                        <a:lnTo>
                          <a:pt x="215" y="943"/>
                        </a:lnTo>
                        <a:lnTo>
                          <a:pt x="102" y="901"/>
                        </a:lnTo>
                        <a:lnTo>
                          <a:pt x="0" y="857"/>
                        </a:lnTo>
                        <a:lnTo>
                          <a:pt x="12" y="878"/>
                        </a:lnTo>
                        <a:lnTo>
                          <a:pt x="26" y="898"/>
                        </a:lnTo>
                        <a:lnTo>
                          <a:pt x="39" y="918"/>
                        </a:lnTo>
                        <a:lnTo>
                          <a:pt x="52" y="937"/>
                        </a:lnTo>
                        <a:lnTo>
                          <a:pt x="67" y="955"/>
                        </a:lnTo>
                        <a:lnTo>
                          <a:pt x="80" y="973"/>
                        </a:lnTo>
                        <a:lnTo>
                          <a:pt x="95" y="989"/>
                        </a:lnTo>
                        <a:lnTo>
                          <a:pt x="109" y="1006"/>
                        </a:lnTo>
                        <a:lnTo>
                          <a:pt x="139" y="1036"/>
                        </a:lnTo>
                        <a:lnTo>
                          <a:pt x="169" y="1064"/>
                        </a:lnTo>
                        <a:lnTo>
                          <a:pt x="199" y="1089"/>
                        </a:lnTo>
                        <a:lnTo>
                          <a:pt x="229" y="1113"/>
                        </a:lnTo>
                        <a:lnTo>
                          <a:pt x="260" y="1134"/>
                        </a:lnTo>
                        <a:lnTo>
                          <a:pt x="291" y="1153"/>
                        </a:lnTo>
                        <a:lnTo>
                          <a:pt x="321" y="1170"/>
                        </a:lnTo>
                        <a:lnTo>
                          <a:pt x="351" y="1184"/>
                        </a:lnTo>
                        <a:lnTo>
                          <a:pt x="380" y="1197"/>
                        </a:lnTo>
                        <a:lnTo>
                          <a:pt x="407" y="1209"/>
                        </a:lnTo>
                        <a:lnTo>
                          <a:pt x="434" y="1219"/>
                        </a:lnTo>
                        <a:lnTo>
                          <a:pt x="461" y="1226"/>
                        </a:lnTo>
                        <a:lnTo>
                          <a:pt x="494" y="1236"/>
                        </a:lnTo>
                        <a:lnTo>
                          <a:pt x="529" y="1247"/>
                        </a:lnTo>
                        <a:lnTo>
                          <a:pt x="565" y="1261"/>
                        </a:lnTo>
                        <a:lnTo>
                          <a:pt x="604" y="1274"/>
                        </a:lnTo>
                        <a:lnTo>
                          <a:pt x="685" y="1305"/>
                        </a:lnTo>
                        <a:lnTo>
                          <a:pt x="769" y="1337"/>
                        </a:lnTo>
                        <a:lnTo>
                          <a:pt x="813" y="1352"/>
                        </a:lnTo>
                        <a:lnTo>
                          <a:pt x="857" y="1368"/>
                        </a:lnTo>
                        <a:lnTo>
                          <a:pt x="902" y="1382"/>
                        </a:lnTo>
                        <a:lnTo>
                          <a:pt x="947" y="1396"/>
                        </a:lnTo>
                        <a:lnTo>
                          <a:pt x="992" y="1408"/>
                        </a:lnTo>
                        <a:lnTo>
                          <a:pt x="1038" y="1418"/>
                        </a:lnTo>
                        <a:lnTo>
                          <a:pt x="1084" y="1427"/>
                        </a:lnTo>
                        <a:lnTo>
                          <a:pt x="1130" y="1432"/>
                        </a:lnTo>
                        <a:lnTo>
                          <a:pt x="1209" y="1442"/>
                        </a:lnTo>
                        <a:lnTo>
                          <a:pt x="1293" y="1452"/>
                        </a:lnTo>
                        <a:lnTo>
                          <a:pt x="1383" y="1463"/>
                        </a:lnTo>
                        <a:lnTo>
                          <a:pt x="1475" y="1475"/>
                        </a:lnTo>
                        <a:lnTo>
                          <a:pt x="1568" y="1486"/>
                        </a:lnTo>
                        <a:lnTo>
                          <a:pt x="1660" y="1495"/>
                        </a:lnTo>
                        <a:lnTo>
                          <a:pt x="1705" y="1499"/>
                        </a:lnTo>
                        <a:lnTo>
                          <a:pt x="1750" y="1502"/>
                        </a:lnTo>
                        <a:lnTo>
                          <a:pt x="1792" y="1505"/>
                        </a:lnTo>
                        <a:lnTo>
                          <a:pt x="1834" y="1507"/>
                        </a:lnTo>
                        <a:lnTo>
                          <a:pt x="1878" y="1507"/>
                        </a:lnTo>
                        <a:lnTo>
                          <a:pt x="1921" y="1506"/>
                        </a:lnTo>
                        <a:lnTo>
                          <a:pt x="1964" y="1503"/>
                        </a:lnTo>
                        <a:lnTo>
                          <a:pt x="2008" y="1500"/>
                        </a:lnTo>
                        <a:lnTo>
                          <a:pt x="2051" y="1495"/>
                        </a:lnTo>
                        <a:lnTo>
                          <a:pt x="2095" y="1489"/>
                        </a:lnTo>
                        <a:lnTo>
                          <a:pt x="2138" y="1482"/>
                        </a:lnTo>
                        <a:lnTo>
                          <a:pt x="2182" y="1476"/>
                        </a:lnTo>
                        <a:lnTo>
                          <a:pt x="2268" y="1461"/>
                        </a:lnTo>
                        <a:lnTo>
                          <a:pt x="2353" y="1449"/>
                        </a:lnTo>
                        <a:lnTo>
                          <a:pt x="2396" y="1443"/>
                        </a:lnTo>
                        <a:lnTo>
                          <a:pt x="2438" y="1438"/>
                        </a:lnTo>
                        <a:lnTo>
                          <a:pt x="2480" y="1434"/>
                        </a:lnTo>
                        <a:lnTo>
                          <a:pt x="2521" y="1432"/>
                        </a:lnTo>
                        <a:lnTo>
                          <a:pt x="2559" y="1430"/>
                        </a:lnTo>
                        <a:lnTo>
                          <a:pt x="2599" y="1427"/>
                        </a:lnTo>
                        <a:lnTo>
                          <a:pt x="2642" y="1421"/>
                        </a:lnTo>
                        <a:lnTo>
                          <a:pt x="2688" y="1414"/>
                        </a:lnTo>
                        <a:lnTo>
                          <a:pt x="2736" y="1406"/>
                        </a:lnTo>
                        <a:lnTo>
                          <a:pt x="2785" y="1397"/>
                        </a:lnTo>
                        <a:lnTo>
                          <a:pt x="2835" y="1387"/>
                        </a:lnTo>
                        <a:lnTo>
                          <a:pt x="2885" y="1375"/>
                        </a:lnTo>
                        <a:lnTo>
                          <a:pt x="2984" y="1354"/>
                        </a:lnTo>
                        <a:lnTo>
                          <a:pt x="3076" y="1332"/>
                        </a:lnTo>
                        <a:lnTo>
                          <a:pt x="3159" y="1311"/>
                        </a:lnTo>
                        <a:lnTo>
                          <a:pt x="3226" y="1294"/>
                        </a:lnTo>
                        <a:lnTo>
                          <a:pt x="3270" y="1282"/>
                        </a:lnTo>
                        <a:lnTo>
                          <a:pt x="3318" y="1268"/>
                        </a:lnTo>
                        <a:lnTo>
                          <a:pt x="3369" y="1251"/>
                        </a:lnTo>
                        <a:lnTo>
                          <a:pt x="3420" y="1232"/>
                        </a:lnTo>
                        <a:lnTo>
                          <a:pt x="3474" y="1211"/>
                        </a:lnTo>
                        <a:lnTo>
                          <a:pt x="3527" y="1189"/>
                        </a:lnTo>
                        <a:lnTo>
                          <a:pt x="3581" y="1163"/>
                        </a:lnTo>
                        <a:lnTo>
                          <a:pt x="3633" y="1136"/>
                        </a:lnTo>
                        <a:lnTo>
                          <a:pt x="3658" y="1122"/>
                        </a:lnTo>
                        <a:lnTo>
                          <a:pt x="3683" y="1107"/>
                        </a:lnTo>
                        <a:lnTo>
                          <a:pt x="3707" y="1093"/>
                        </a:lnTo>
                        <a:lnTo>
                          <a:pt x="3731" y="1077"/>
                        </a:lnTo>
                        <a:lnTo>
                          <a:pt x="3754" y="1062"/>
                        </a:lnTo>
                        <a:lnTo>
                          <a:pt x="3776" y="1045"/>
                        </a:lnTo>
                        <a:lnTo>
                          <a:pt x="3798" y="1028"/>
                        </a:lnTo>
                        <a:lnTo>
                          <a:pt x="3818" y="1010"/>
                        </a:lnTo>
                        <a:lnTo>
                          <a:pt x="3837" y="994"/>
                        </a:lnTo>
                        <a:lnTo>
                          <a:pt x="3854" y="976"/>
                        </a:lnTo>
                        <a:lnTo>
                          <a:pt x="3870" y="957"/>
                        </a:lnTo>
                        <a:lnTo>
                          <a:pt x="3886" y="938"/>
                        </a:lnTo>
                        <a:lnTo>
                          <a:pt x="3899" y="919"/>
                        </a:lnTo>
                        <a:lnTo>
                          <a:pt x="3911" y="900"/>
                        </a:lnTo>
                        <a:lnTo>
                          <a:pt x="3921" y="880"/>
                        </a:lnTo>
                        <a:lnTo>
                          <a:pt x="3930" y="860"/>
                        </a:lnTo>
                        <a:lnTo>
                          <a:pt x="3931" y="852"/>
                        </a:lnTo>
                        <a:lnTo>
                          <a:pt x="3933" y="845"/>
                        </a:lnTo>
                        <a:lnTo>
                          <a:pt x="3934" y="835"/>
                        </a:lnTo>
                        <a:lnTo>
                          <a:pt x="3934" y="822"/>
                        </a:lnTo>
                        <a:lnTo>
                          <a:pt x="3934" y="795"/>
                        </a:lnTo>
                        <a:lnTo>
                          <a:pt x="3931" y="761"/>
                        </a:lnTo>
                        <a:lnTo>
                          <a:pt x="3927" y="722"/>
                        </a:lnTo>
                        <a:lnTo>
                          <a:pt x="3921" y="679"/>
                        </a:lnTo>
                        <a:lnTo>
                          <a:pt x="3912" y="629"/>
                        </a:lnTo>
                        <a:lnTo>
                          <a:pt x="3903" y="575"/>
                        </a:lnTo>
                        <a:lnTo>
                          <a:pt x="3891" y="516"/>
                        </a:lnTo>
                        <a:lnTo>
                          <a:pt x="3878" y="454"/>
                        </a:lnTo>
                        <a:lnTo>
                          <a:pt x="3863" y="387"/>
                        </a:lnTo>
                        <a:lnTo>
                          <a:pt x="3847" y="316"/>
                        </a:lnTo>
                        <a:lnTo>
                          <a:pt x="3829" y="241"/>
                        </a:lnTo>
                        <a:lnTo>
                          <a:pt x="3810" y="164"/>
                        </a:lnTo>
                        <a:lnTo>
                          <a:pt x="3789" y="83"/>
                        </a:lnTo>
                        <a:lnTo>
                          <a:pt x="3766" y="0"/>
                        </a:lnTo>
                        <a:close/>
                      </a:path>
                    </a:pathLst>
                  </a:custGeom>
                  <a:solidFill>
                    <a:srgbClr val="312276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60" name="Freeform 201"/>
                  <p:cNvSpPr>
                    <a:spLocks/>
                  </p:cNvSpPr>
                  <p:nvPr/>
                </p:nvSpPr>
                <p:spPr bwMode="auto">
                  <a:xfrm>
                    <a:off x="3433" y="3505"/>
                    <a:ext cx="329" cy="332"/>
                  </a:xfrm>
                  <a:custGeom>
                    <a:avLst/>
                    <a:gdLst>
                      <a:gd name="T0" fmla="*/ 0 w 2305"/>
                      <a:gd name="T1" fmla="*/ 0 h 2325"/>
                      <a:gd name="T2" fmla="*/ 0 w 2305"/>
                      <a:gd name="T3" fmla="*/ 0 h 2325"/>
                      <a:gd name="T4" fmla="*/ 0 w 2305"/>
                      <a:gd name="T5" fmla="*/ 0 h 2325"/>
                      <a:gd name="T6" fmla="*/ 0 w 2305"/>
                      <a:gd name="T7" fmla="*/ 0 h 2325"/>
                      <a:gd name="T8" fmla="*/ 0 w 2305"/>
                      <a:gd name="T9" fmla="*/ 0 h 2325"/>
                      <a:gd name="T10" fmla="*/ 0 w 2305"/>
                      <a:gd name="T11" fmla="*/ 0 h 2325"/>
                      <a:gd name="T12" fmla="*/ 0 w 2305"/>
                      <a:gd name="T13" fmla="*/ 0 h 2325"/>
                      <a:gd name="T14" fmla="*/ 0 w 2305"/>
                      <a:gd name="T15" fmla="*/ 0 h 2325"/>
                      <a:gd name="T16" fmla="*/ 0 w 2305"/>
                      <a:gd name="T17" fmla="*/ 0 h 2325"/>
                      <a:gd name="T18" fmla="*/ 0 w 2305"/>
                      <a:gd name="T19" fmla="*/ 0 h 2325"/>
                      <a:gd name="T20" fmla="*/ 0 w 2305"/>
                      <a:gd name="T21" fmla="*/ 0 h 2325"/>
                      <a:gd name="T22" fmla="*/ 0 w 2305"/>
                      <a:gd name="T23" fmla="*/ 0 h 2325"/>
                      <a:gd name="T24" fmla="*/ 0 w 2305"/>
                      <a:gd name="T25" fmla="*/ 0 h 2325"/>
                      <a:gd name="T26" fmla="*/ 0 w 2305"/>
                      <a:gd name="T27" fmla="*/ 0 h 2325"/>
                      <a:gd name="T28" fmla="*/ 0 w 2305"/>
                      <a:gd name="T29" fmla="*/ 0 h 2325"/>
                      <a:gd name="T30" fmla="*/ 0 w 2305"/>
                      <a:gd name="T31" fmla="*/ 0 h 2325"/>
                      <a:gd name="T32" fmla="*/ 0 w 2305"/>
                      <a:gd name="T33" fmla="*/ 0 h 2325"/>
                      <a:gd name="T34" fmla="*/ 0 w 2305"/>
                      <a:gd name="T35" fmla="*/ 0 h 2325"/>
                      <a:gd name="T36" fmla="*/ 0 w 2305"/>
                      <a:gd name="T37" fmla="*/ 0 h 2325"/>
                      <a:gd name="T38" fmla="*/ 0 w 2305"/>
                      <a:gd name="T39" fmla="*/ 0 h 2325"/>
                      <a:gd name="T40" fmla="*/ 0 w 2305"/>
                      <a:gd name="T41" fmla="*/ 0 h 2325"/>
                      <a:gd name="T42" fmla="*/ 0 w 2305"/>
                      <a:gd name="T43" fmla="*/ 0 h 2325"/>
                      <a:gd name="T44" fmla="*/ 0 w 2305"/>
                      <a:gd name="T45" fmla="*/ 0 h 2325"/>
                      <a:gd name="T46" fmla="*/ 0 w 2305"/>
                      <a:gd name="T47" fmla="*/ 0 h 2325"/>
                      <a:gd name="T48" fmla="*/ 0 w 2305"/>
                      <a:gd name="T49" fmla="*/ 0 h 2325"/>
                      <a:gd name="T50" fmla="*/ 0 w 2305"/>
                      <a:gd name="T51" fmla="*/ 0 h 2325"/>
                      <a:gd name="T52" fmla="*/ 0 w 2305"/>
                      <a:gd name="T53" fmla="*/ 0 h 2325"/>
                      <a:gd name="T54" fmla="*/ 0 w 2305"/>
                      <a:gd name="T55" fmla="*/ 0 h 2325"/>
                      <a:gd name="T56" fmla="*/ 0 w 2305"/>
                      <a:gd name="T57" fmla="*/ 0 h 2325"/>
                      <a:gd name="T58" fmla="*/ 0 w 2305"/>
                      <a:gd name="T59" fmla="*/ 0 h 2325"/>
                      <a:gd name="T60" fmla="*/ 0 w 2305"/>
                      <a:gd name="T61" fmla="*/ 0 h 2325"/>
                      <a:gd name="T62" fmla="*/ 0 w 2305"/>
                      <a:gd name="T63" fmla="*/ 0 h 2325"/>
                      <a:gd name="T64" fmla="*/ 0 w 2305"/>
                      <a:gd name="T65" fmla="*/ 0 h 2325"/>
                      <a:gd name="T66" fmla="*/ 0 w 2305"/>
                      <a:gd name="T67" fmla="*/ 0 h 2325"/>
                      <a:gd name="T68" fmla="*/ 0 w 2305"/>
                      <a:gd name="T69" fmla="*/ 0 h 2325"/>
                      <a:gd name="T70" fmla="*/ 0 w 2305"/>
                      <a:gd name="T71" fmla="*/ 0 h 2325"/>
                      <a:gd name="T72" fmla="*/ 0 w 2305"/>
                      <a:gd name="T73" fmla="*/ 0 h 2325"/>
                      <a:gd name="T74" fmla="*/ 0 w 2305"/>
                      <a:gd name="T75" fmla="*/ 0 h 2325"/>
                      <a:gd name="T76" fmla="*/ 0 w 2305"/>
                      <a:gd name="T77" fmla="*/ 0 h 2325"/>
                      <a:gd name="T78" fmla="*/ 0 w 2305"/>
                      <a:gd name="T79" fmla="*/ 0 h 2325"/>
                      <a:gd name="T80" fmla="*/ 0 w 2305"/>
                      <a:gd name="T81" fmla="*/ 0 h 2325"/>
                      <a:gd name="T82" fmla="*/ 0 w 2305"/>
                      <a:gd name="T83" fmla="*/ 0 h 2325"/>
                      <a:gd name="T84" fmla="*/ 0 w 2305"/>
                      <a:gd name="T85" fmla="*/ 0 h 2325"/>
                      <a:gd name="T86" fmla="*/ 0 w 2305"/>
                      <a:gd name="T87" fmla="*/ 0 h 2325"/>
                      <a:gd name="T88" fmla="*/ 0 w 2305"/>
                      <a:gd name="T89" fmla="*/ 0 h 2325"/>
                      <a:gd name="T90" fmla="*/ 0 w 2305"/>
                      <a:gd name="T91" fmla="*/ 0 h 2325"/>
                      <a:gd name="T92" fmla="*/ 0 w 2305"/>
                      <a:gd name="T93" fmla="*/ 0 h 2325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w 2305"/>
                      <a:gd name="T142" fmla="*/ 0 h 2325"/>
                      <a:gd name="T143" fmla="*/ 2305 w 2305"/>
                      <a:gd name="T144" fmla="*/ 2325 h 2325"/>
                    </a:gdLst>
                    <a:ahLst/>
                    <a:cxnLst>
                      <a:cxn ang="T94">
                        <a:pos x="T0" y="T1"/>
                      </a:cxn>
                      <a:cxn ang="T95">
                        <a:pos x="T2" y="T3"/>
                      </a:cxn>
                      <a:cxn ang="T96">
                        <a:pos x="T4" y="T5"/>
                      </a:cxn>
                      <a:cxn ang="T97">
                        <a:pos x="T6" y="T7"/>
                      </a:cxn>
                      <a:cxn ang="T98">
                        <a:pos x="T8" y="T9"/>
                      </a:cxn>
                      <a:cxn ang="T99">
                        <a:pos x="T10" y="T11"/>
                      </a:cxn>
                      <a:cxn ang="T100">
                        <a:pos x="T12" y="T13"/>
                      </a:cxn>
                      <a:cxn ang="T101">
                        <a:pos x="T14" y="T15"/>
                      </a:cxn>
                      <a:cxn ang="T102">
                        <a:pos x="T16" y="T17"/>
                      </a:cxn>
                      <a:cxn ang="T103">
                        <a:pos x="T18" y="T19"/>
                      </a:cxn>
                      <a:cxn ang="T104">
                        <a:pos x="T20" y="T21"/>
                      </a:cxn>
                      <a:cxn ang="T105">
                        <a:pos x="T22" y="T23"/>
                      </a:cxn>
                      <a:cxn ang="T106">
                        <a:pos x="T24" y="T25"/>
                      </a:cxn>
                      <a:cxn ang="T107">
                        <a:pos x="T26" y="T27"/>
                      </a:cxn>
                      <a:cxn ang="T108">
                        <a:pos x="T28" y="T29"/>
                      </a:cxn>
                      <a:cxn ang="T109">
                        <a:pos x="T30" y="T31"/>
                      </a:cxn>
                      <a:cxn ang="T110">
                        <a:pos x="T32" y="T33"/>
                      </a:cxn>
                      <a:cxn ang="T111">
                        <a:pos x="T34" y="T35"/>
                      </a:cxn>
                      <a:cxn ang="T112">
                        <a:pos x="T36" y="T37"/>
                      </a:cxn>
                      <a:cxn ang="T113">
                        <a:pos x="T38" y="T39"/>
                      </a:cxn>
                      <a:cxn ang="T114">
                        <a:pos x="T40" y="T41"/>
                      </a:cxn>
                      <a:cxn ang="T115">
                        <a:pos x="T42" y="T43"/>
                      </a:cxn>
                      <a:cxn ang="T116">
                        <a:pos x="T44" y="T45"/>
                      </a:cxn>
                      <a:cxn ang="T117">
                        <a:pos x="T46" y="T47"/>
                      </a:cxn>
                      <a:cxn ang="T118">
                        <a:pos x="T48" y="T49"/>
                      </a:cxn>
                      <a:cxn ang="T119">
                        <a:pos x="T50" y="T51"/>
                      </a:cxn>
                      <a:cxn ang="T120">
                        <a:pos x="T52" y="T53"/>
                      </a:cxn>
                      <a:cxn ang="T121">
                        <a:pos x="T54" y="T55"/>
                      </a:cxn>
                      <a:cxn ang="T122">
                        <a:pos x="T56" y="T57"/>
                      </a:cxn>
                      <a:cxn ang="T123">
                        <a:pos x="T58" y="T59"/>
                      </a:cxn>
                      <a:cxn ang="T124">
                        <a:pos x="T60" y="T61"/>
                      </a:cxn>
                      <a:cxn ang="T125">
                        <a:pos x="T62" y="T63"/>
                      </a:cxn>
                      <a:cxn ang="T126">
                        <a:pos x="T64" y="T65"/>
                      </a:cxn>
                      <a:cxn ang="T127">
                        <a:pos x="T66" y="T67"/>
                      </a:cxn>
                      <a:cxn ang="T128">
                        <a:pos x="T68" y="T69"/>
                      </a:cxn>
                      <a:cxn ang="T129">
                        <a:pos x="T70" y="T71"/>
                      </a:cxn>
                      <a:cxn ang="T130">
                        <a:pos x="T72" y="T73"/>
                      </a:cxn>
                      <a:cxn ang="T131">
                        <a:pos x="T74" y="T75"/>
                      </a:cxn>
                      <a:cxn ang="T132">
                        <a:pos x="T76" y="T77"/>
                      </a:cxn>
                      <a:cxn ang="T133">
                        <a:pos x="T78" y="T79"/>
                      </a:cxn>
                      <a:cxn ang="T134">
                        <a:pos x="T80" y="T81"/>
                      </a:cxn>
                      <a:cxn ang="T135">
                        <a:pos x="T82" y="T83"/>
                      </a:cxn>
                      <a:cxn ang="T136">
                        <a:pos x="T84" y="T85"/>
                      </a:cxn>
                      <a:cxn ang="T137">
                        <a:pos x="T86" y="T87"/>
                      </a:cxn>
                      <a:cxn ang="T138">
                        <a:pos x="T88" y="T89"/>
                      </a:cxn>
                      <a:cxn ang="T139">
                        <a:pos x="T90" y="T91"/>
                      </a:cxn>
                      <a:cxn ang="T140">
                        <a:pos x="T92" y="T93"/>
                      </a:cxn>
                    </a:cxnLst>
                    <a:rect l="T141" t="T142" r="T143" b="T144"/>
                    <a:pathLst>
                      <a:path w="2305" h="2325">
                        <a:moveTo>
                          <a:pt x="1972" y="0"/>
                        </a:moveTo>
                        <a:lnTo>
                          <a:pt x="1961" y="3"/>
                        </a:lnTo>
                        <a:lnTo>
                          <a:pt x="1931" y="10"/>
                        </a:lnTo>
                        <a:lnTo>
                          <a:pt x="1881" y="20"/>
                        </a:lnTo>
                        <a:lnTo>
                          <a:pt x="1816" y="35"/>
                        </a:lnTo>
                        <a:lnTo>
                          <a:pt x="1736" y="52"/>
                        </a:lnTo>
                        <a:lnTo>
                          <a:pt x="1646" y="69"/>
                        </a:lnTo>
                        <a:lnTo>
                          <a:pt x="1545" y="89"/>
                        </a:lnTo>
                        <a:lnTo>
                          <a:pt x="1437" y="108"/>
                        </a:lnTo>
                        <a:lnTo>
                          <a:pt x="1324" y="126"/>
                        </a:lnTo>
                        <a:lnTo>
                          <a:pt x="1208" y="144"/>
                        </a:lnTo>
                        <a:lnTo>
                          <a:pt x="1149" y="152"/>
                        </a:lnTo>
                        <a:lnTo>
                          <a:pt x="1090" y="158"/>
                        </a:lnTo>
                        <a:lnTo>
                          <a:pt x="1032" y="165"/>
                        </a:lnTo>
                        <a:lnTo>
                          <a:pt x="974" y="171"/>
                        </a:lnTo>
                        <a:lnTo>
                          <a:pt x="916" y="175"/>
                        </a:lnTo>
                        <a:lnTo>
                          <a:pt x="860" y="180"/>
                        </a:lnTo>
                        <a:lnTo>
                          <a:pt x="806" y="182"/>
                        </a:lnTo>
                        <a:lnTo>
                          <a:pt x="752" y="183"/>
                        </a:lnTo>
                        <a:lnTo>
                          <a:pt x="701" y="184"/>
                        </a:lnTo>
                        <a:lnTo>
                          <a:pt x="652" y="182"/>
                        </a:lnTo>
                        <a:lnTo>
                          <a:pt x="605" y="180"/>
                        </a:lnTo>
                        <a:lnTo>
                          <a:pt x="562" y="175"/>
                        </a:lnTo>
                        <a:lnTo>
                          <a:pt x="479" y="166"/>
                        </a:lnTo>
                        <a:lnTo>
                          <a:pt x="405" y="160"/>
                        </a:lnTo>
                        <a:lnTo>
                          <a:pt x="373" y="156"/>
                        </a:lnTo>
                        <a:lnTo>
                          <a:pt x="342" y="155"/>
                        </a:lnTo>
                        <a:lnTo>
                          <a:pt x="313" y="154"/>
                        </a:lnTo>
                        <a:lnTo>
                          <a:pt x="286" y="154"/>
                        </a:lnTo>
                        <a:lnTo>
                          <a:pt x="262" y="155"/>
                        </a:lnTo>
                        <a:lnTo>
                          <a:pt x="238" y="156"/>
                        </a:lnTo>
                        <a:lnTo>
                          <a:pt x="218" y="158"/>
                        </a:lnTo>
                        <a:lnTo>
                          <a:pt x="198" y="163"/>
                        </a:lnTo>
                        <a:lnTo>
                          <a:pt x="181" y="167"/>
                        </a:lnTo>
                        <a:lnTo>
                          <a:pt x="165" y="173"/>
                        </a:lnTo>
                        <a:lnTo>
                          <a:pt x="150" y="180"/>
                        </a:lnTo>
                        <a:lnTo>
                          <a:pt x="138" y="188"/>
                        </a:lnTo>
                        <a:lnTo>
                          <a:pt x="126" y="197"/>
                        </a:lnTo>
                        <a:lnTo>
                          <a:pt x="116" y="208"/>
                        </a:lnTo>
                        <a:lnTo>
                          <a:pt x="107" y="221"/>
                        </a:lnTo>
                        <a:lnTo>
                          <a:pt x="99" y="234"/>
                        </a:lnTo>
                        <a:lnTo>
                          <a:pt x="92" y="249"/>
                        </a:lnTo>
                        <a:lnTo>
                          <a:pt x="87" y="265"/>
                        </a:lnTo>
                        <a:lnTo>
                          <a:pt x="81" y="283"/>
                        </a:lnTo>
                        <a:lnTo>
                          <a:pt x="78" y="302"/>
                        </a:lnTo>
                        <a:lnTo>
                          <a:pt x="75" y="323"/>
                        </a:lnTo>
                        <a:lnTo>
                          <a:pt x="71" y="345"/>
                        </a:lnTo>
                        <a:lnTo>
                          <a:pt x="69" y="370"/>
                        </a:lnTo>
                        <a:lnTo>
                          <a:pt x="68" y="397"/>
                        </a:lnTo>
                        <a:lnTo>
                          <a:pt x="67" y="453"/>
                        </a:lnTo>
                        <a:lnTo>
                          <a:pt x="67" y="519"/>
                        </a:lnTo>
                        <a:lnTo>
                          <a:pt x="66" y="558"/>
                        </a:lnTo>
                        <a:lnTo>
                          <a:pt x="65" y="598"/>
                        </a:lnTo>
                        <a:lnTo>
                          <a:pt x="62" y="641"/>
                        </a:lnTo>
                        <a:lnTo>
                          <a:pt x="59" y="686"/>
                        </a:lnTo>
                        <a:lnTo>
                          <a:pt x="51" y="780"/>
                        </a:lnTo>
                        <a:lnTo>
                          <a:pt x="41" y="882"/>
                        </a:lnTo>
                        <a:lnTo>
                          <a:pt x="30" y="987"/>
                        </a:lnTo>
                        <a:lnTo>
                          <a:pt x="20" y="1097"/>
                        </a:lnTo>
                        <a:lnTo>
                          <a:pt x="16" y="1151"/>
                        </a:lnTo>
                        <a:lnTo>
                          <a:pt x="11" y="1207"/>
                        </a:lnTo>
                        <a:lnTo>
                          <a:pt x="8" y="1262"/>
                        </a:lnTo>
                        <a:lnTo>
                          <a:pt x="4" y="1319"/>
                        </a:lnTo>
                        <a:lnTo>
                          <a:pt x="2" y="1375"/>
                        </a:lnTo>
                        <a:lnTo>
                          <a:pt x="1" y="1429"/>
                        </a:lnTo>
                        <a:lnTo>
                          <a:pt x="0" y="1485"/>
                        </a:lnTo>
                        <a:lnTo>
                          <a:pt x="1" y="1538"/>
                        </a:lnTo>
                        <a:lnTo>
                          <a:pt x="3" y="1592"/>
                        </a:lnTo>
                        <a:lnTo>
                          <a:pt x="8" y="1644"/>
                        </a:lnTo>
                        <a:lnTo>
                          <a:pt x="12" y="1696"/>
                        </a:lnTo>
                        <a:lnTo>
                          <a:pt x="20" y="1745"/>
                        </a:lnTo>
                        <a:lnTo>
                          <a:pt x="29" y="1794"/>
                        </a:lnTo>
                        <a:lnTo>
                          <a:pt x="39" y="1841"/>
                        </a:lnTo>
                        <a:lnTo>
                          <a:pt x="52" y="1887"/>
                        </a:lnTo>
                        <a:lnTo>
                          <a:pt x="67" y="1929"/>
                        </a:lnTo>
                        <a:lnTo>
                          <a:pt x="85" y="1970"/>
                        </a:lnTo>
                        <a:lnTo>
                          <a:pt x="104" y="2009"/>
                        </a:lnTo>
                        <a:lnTo>
                          <a:pt x="126" y="2045"/>
                        </a:lnTo>
                        <a:lnTo>
                          <a:pt x="151" y="2078"/>
                        </a:lnTo>
                        <a:lnTo>
                          <a:pt x="207" y="2141"/>
                        </a:lnTo>
                        <a:lnTo>
                          <a:pt x="266" y="2194"/>
                        </a:lnTo>
                        <a:lnTo>
                          <a:pt x="326" y="2237"/>
                        </a:lnTo>
                        <a:lnTo>
                          <a:pt x="387" y="2272"/>
                        </a:lnTo>
                        <a:lnTo>
                          <a:pt x="450" y="2296"/>
                        </a:lnTo>
                        <a:lnTo>
                          <a:pt x="514" y="2314"/>
                        </a:lnTo>
                        <a:lnTo>
                          <a:pt x="579" y="2323"/>
                        </a:lnTo>
                        <a:lnTo>
                          <a:pt x="644" y="2325"/>
                        </a:lnTo>
                        <a:lnTo>
                          <a:pt x="710" y="2320"/>
                        </a:lnTo>
                        <a:lnTo>
                          <a:pt x="777" y="2308"/>
                        </a:lnTo>
                        <a:lnTo>
                          <a:pt x="844" y="2292"/>
                        </a:lnTo>
                        <a:lnTo>
                          <a:pt x="909" y="2269"/>
                        </a:lnTo>
                        <a:lnTo>
                          <a:pt x="976" y="2242"/>
                        </a:lnTo>
                        <a:lnTo>
                          <a:pt x="1043" y="2209"/>
                        </a:lnTo>
                        <a:lnTo>
                          <a:pt x="1107" y="2174"/>
                        </a:lnTo>
                        <a:lnTo>
                          <a:pt x="1173" y="2134"/>
                        </a:lnTo>
                        <a:lnTo>
                          <a:pt x="1237" y="2091"/>
                        </a:lnTo>
                        <a:lnTo>
                          <a:pt x="1300" y="2046"/>
                        </a:lnTo>
                        <a:lnTo>
                          <a:pt x="1361" y="1999"/>
                        </a:lnTo>
                        <a:lnTo>
                          <a:pt x="1422" y="1950"/>
                        </a:lnTo>
                        <a:lnTo>
                          <a:pt x="1480" y="1900"/>
                        </a:lnTo>
                        <a:lnTo>
                          <a:pt x="1538" y="1849"/>
                        </a:lnTo>
                        <a:lnTo>
                          <a:pt x="1593" y="1798"/>
                        </a:lnTo>
                        <a:lnTo>
                          <a:pt x="1646" y="1746"/>
                        </a:lnTo>
                        <a:lnTo>
                          <a:pt x="1696" y="1696"/>
                        </a:lnTo>
                        <a:lnTo>
                          <a:pt x="1745" y="1647"/>
                        </a:lnTo>
                        <a:lnTo>
                          <a:pt x="1791" y="1600"/>
                        </a:lnTo>
                        <a:lnTo>
                          <a:pt x="1833" y="1554"/>
                        </a:lnTo>
                        <a:lnTo>
                          <a:pt x="1910" y="1472"/>
                        </a:lnTo>
                        <a:lnTo>
                          <a:pt x="1972" y="1403"/>
                        </a:lnTo>
                        <a:lnTo>
                          <a:pt x="1996" y="1376"/>
                        </a:lnTo>
                        <a:lnTo>
                          <a:pt x="2019" y="1346"/>
                        </a:lnTo>
                        <a:lnTo>
                          <a:pt x="2042" y="1311"/>
                        </a:lnTo>
                        <a:lnTo>
                          <a:pt x="2067" y="1273"/>
                        </a:lnTo>
                        <a:lnTo>
                          <a:pt x="2090" y="1233"/>
                        </a:lnTo>
                        <a:lnTo>
                          <a:pt x="2115" y="1190"/>
                        </a:lnTo>
                        <a:lnTo>
                          <a:pt x="2137" y="1144"/>
                        </a:lnTo>
                        <a:lnTo>
                          <a:pt x="2160" y="1095"/>
                        </a:lnTo>
                        <a:lnTo>
                          <a:pt x="2181" y="1045"/>
                        </a:lnTo>
                        <a:lnTo>
                          <a:pt x="2203" y="994"/>
                        </a:lnTo>
                        <a:lnTo>
                          <a:pt x="2222" y="941"/>
                        </a:lnTo>
                        <a:lnTo>
                          <a:pt x="2239" y="886"/>
                        </a:lnTo>
                        <a:lnTo>
                          <a:pt x="2255" y="832"/>
                        </a:lnTo>
                        <a:lnTo>
                          <a:pt x="2269" y="776"/>
                        </a:lnTo>
                        <a:lnTo>
                          <a:pt x="2282" y="719"/>
                        </a:lnTo>
                        <a:lnTo>
                          <a:pt x="2292" y="664"/>
                        </a:lnTo>
                        <a:lnTo>
                          <a:pt x="2299" y="608"/>
                        </a:lnTo>
                        <a:lnTo>
                          <a:pt x="2304" y="553"/>
                        </a:lnTo>
                        <a:lnTo>
                          <a:pt x="2305" y="499"/>
                        </a:lnTo>
                        <a:lnTo>
                          <a:pt x="2304" y="446"/>
                        </a:lnTo>
                        <a:lnTo>
                          <a:pt x="2299" y="394"/>
                        </a:lnTo>
                        <a:lnTo>
                          <a:pt x="2292" y="344"/>
                        </a:lnTo>
                        <a:lnTo>
                          <a:pt x="2279" y="296"/>
                        </a:lnTo>
                        <a:lnTo>
                          <a:pt x="2264" y="251"/>
                        </a:lnTo>
                        <a:lnTo>
                          <a:pt x="2244" y="207"/>
                        </a:lnTo>
                        <a:lnTo>
                          <a:pt x="2219" y="167"/>
                        </a:lnTo>
                        <a:lnTo>
                          <a:pt x="2192" y="129"/>
                        </a:lnTo>
                        <a:lnTo>
                          <a:pt x="2158" y="96"/>
                        </a:lnTo>
                        <a:lnTo>
                          <a:pt x="2119" y="66"/>
                        </a:lnTo>
                        <a:lnTo>
                          <a:pt x="2076" y="39"/>
                        </a:lnTo>
                        <a:lnTo>
                          <a:pt x="2027" y="17"/>
                        </a:lnTo>
                        <a:lnTo>
                          <a:pt x="1972" y="0"/>
                        </a:lnTo>
                        <a:close/>
                      </a:path>
                    </a:pathLst>
                  </a:custGeom>
                  <a:solidFill>
                    <a:srgbClr val="311F74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61" name="Freeform 202"/>
                  <p:cNvSpPr>
                    <a:spLocks/>
                  </p:cNvSpPr>
                  <p:nvPr/>
                </p:nvSpPr>
                <p:spPr bwMode="auto">
                  <a:xfrm>
                    <a:off x="3443" y="3593"/>
                    <a:ext cx="1" cy="10"/>
                  </a:xfrm>
                  <a:custGeom>
                    <a:avLst/>
                    <a:gdLst>
                      <a:gd name="T0" fmla="*/ 0 w 1"/>
                      <a:gd name="T1" fmla="*/ 0 h 39"/>
                      <a:gd name="T2" fmla="*/ 0 w 1"/>
                      <a:gd name="T3" fmla="*/ 0 h 39"/>
                      <a:gd name="T4" fmla="*/ 0 w 1"/>
                      <a:gd name="T5" fmla="*/ 0 h 39"/>
                      <a:gd name="T6" fmla="*/ 0 w 1"/>
                      <a:gd name="T7" fmla="*/ 0 h 39"/>
                      <a:gd name="T8" fmla="*/ 0 w 1"/>
                      <a:gd name="T9" fmla="*/ 0 h 39"/>
                      <a:gd name="T10" fmla="*/ 0 w 1"/>
                      <a:gd name="T11" fmla="*/ 0 h 39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"/>
                      <a:gd name="T19" fmla="*/ 0 h 39"/>
                      <a:gd name="T20" fmla="*/ 1 w 1"/>
                      <a:gd name="T21" fmla="*/ 39 h 39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" h="39">
                        <a:moveTo>
                          <a:pt x="0" y="39"/>
                        </a:moveTo>
                        <a:lnTo>
                          <a:pt x="0" y="0"/>
                        </a:lnTo>
                        <a:lnTo>
                          <a:pt x="0" y="10"/>
                        </a:lnTo>
                        <a:lnTo>
                          <a:pt x="0" y="19"/>
                        </a:lnTo>
                        <a:lnTo>
                          <a:pt x="0" y="29"/>
                        </a:lnTo>
                        <a:lnTo>
                          <a:pt x="0" y="39"/>
                        </a:lnTo>
                        <a:close/>
                      </a:path>
                    </a:pathLst>
                  </a:custGeom>
                  <a:solidFill>
                    <a:srgbClr val="3D4189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62" name="Freeform 203"/>
                  <p:cNvSpPr>
                    <a:spLocks/>
                  </p:cNvSpPr>
                  <p:nvPr/>
                </p:nvSpPr>
                <p:spPr bwMode="auto">
                  <a:xfrm>
                    <a:off x="3443" y="3511"/>
                    <a:ext cx="288" cy="72"/>
                  </a:xfrm>
                  <a:custGeom>
                    <a:avLst/>
                    <a:gdLst>
                      <a:gd name="T0" fmla="*/ 0 w 2014"/>
                      <a:gd name="T1" fmla="*/ 0 h 520"/>
                      <a:gd name="T2" fmla="*/ 0 w 2014"/>
                      <a:gd name="T3" fmla="*/ 0 h 520"/>
                      <a:gd name="T4" fmla="*/ 0 w 2014"/>
                      <a:gd name="T5" fmla="*/ 0 h 520"/>
                      <a:gd name="T6" fmla="*/ 0 w 2014"/>
                      <a:gd name="T7" fmla="*/ 0 h 520"/>
                      <a:gd name="T8" fmla="*/ 0 w 2014"/>
                      <a:gd name="T9" fmla="*/ 0 h 520"/>
                      <a:gd name="T10" fmla="*/ 0 w 2014"/>
                      <a:gd name="T11" fmla="*/ 0 h 520"/>
                      <a:gd name="T12" fmla="*/ 0 w 2014"/>
                      <a:gd name="T13" fmla="*/ 0 h 520"/>
                      <a:gd name="T14" fmla="*/ 0 w 2014"/>
                      <a:gd name="T15" fmla="*/ 0 h 520"/>
                      <a:gd name="T16" fmla="*/ 0 w 2014"/>
                      <a:gd name="T17" fmla="*/ 0 h 520"/>
                      <a:gd name="T18" fmla="*/ 0 w 2014"/>
                      <a:gd name="T19" fmla="*/ 0 h 520"/>
                      <a:gd name="T20" fmla="*/ 0 w 2014"/>
                      <a:gd name="T21" fmla="*/ 0 h 520"/>
                      <a:gd name="T22" fmla="*/ 0 w 2014"/>
                      <a:gd name="T23" fmla="*/ 0 h 520"/>
                      <a:gd name="T24" fmla="*/ 0 w 2014"/>
                      <a:gd name="T25" fmla="*/ 0 h 520"/>
                      <a:gd name="T26" fmla="*/ 0 w 2014"/>
                      <a:gd name="T27" fmla="*/ 0 h 520"/>
                      <a:gd name="T28" fmla="*/ 0 w 2014"/>
                      <a:gd name="T29" fmla="*/ 0 h 520"/>
                      <a:gd name="T30" fmla="*/ 0 w 2014"/>
                      <a:gd name="T31" fmla="*/ 0 h 520"/>
                      <a:gd name="T32" fmla="*/ 0 w 2014"/>
                      <a:gd name="T33" fmla="*/ 0 h 520"/>
                      <a:gd name="T34" fmla="*/ 0 w 2014"/>
                      <a:gd name="T35" fmla="*/ 0 h 520"/>
                      <a:gd name="T36" fmla="*/ 0 w 2014"/>
                      <a:gd name="T37" fmla="*/ 0 h 520"/>
                      <a:gd name="T38" fmla="*/ 0 w 2014"/>
                      <a:gd name="T39" fmla="*/ 0 h 520"/>
                      <a:gd name="T40" fmla="*/ 0 w 2014"/>
                      <a:gd name="T41" fmla="*/ 0 h 520"/>
                      <a:gd name="T42" fmla="*/ 0 w 2014"/>
                      <a:gd name="T43" fmla="*/ 0 h 520"/>
                      <a:gd name="T44" fmla="*/ 0 w 2014"/>
                      <a:gd name="T45" fmla="*/ 0 h 520"/>
                      <a:gd name="T46" fmla="*/ 0 w 2014"/>
                      <a:gd name="T47" fmla="*/ 0 h 520"/>
                      <a:gd name="T48" fmla="*/ 0 w 2014"/>
                      <a:gd name="T49" fmla="*/ 0 h 520"/>
                      <a:gd name="T50" fmla="*/ 0 w 2014"/>
                      <a:gd name="T51" fmla="*/ 0 h 520"/>
                      <a:gd name="T52" fmla="*/ 0 w 2014"/>
                      <a:gd name="T53" fmla="*/ 0 h 520"/>
                      <a:gd name="T54" fmla="*/ 0 w 2014"/>
                      <a:gd name="T55" fmla="*/ 0 h 520"/>
                      <a:gd name="T56" fmla="*/ 0 w 2014"/>
                      <a:gd name="T57" fmla="*/ 0 h 520"/>
                      <a:gd name="T58" fmla="*/ 0 w 2014"/>
                      <a:gd name="T59" fmla="*/ 0 h 520"/>
                      <a:gd name="T60" fmla="*/ 0 w 2014"/>
                      <a:gd name="T61" fmla="*/ 0 h 520"/>
                      <a:gd name="T62" fmla="*/ 0 w 2014"/>
                      <a:gd name="T63" fmla="*/ 0 h 520"/>
                      <a:gd name="T64" fmla="*/ 0 w 2014"/>
                      <a:gd name="T65" fmla="*/ 0 h 520"/>
                      <a:gd name="T66" fmla="*/ 0 w 2014"/>
                      <a:gd name="T67" fmla="*/ 0 h 520"/>
                      <a:gd name="T68" fmla="*/ 0 w 2014"/>
                      <a:gd name="T69" fmla="*/ 0 h 520"/>
                      <a:gd name="T70" fmla="*/ 0 w 2014"/>
                      <a:gd name="T71" fmla="*/ 0 h 520"/>
                      <a:gd name="T72" fmla="*/ 0 w 2014"/>
                      <a:gd name="T73" fmla="*/ 0 h 520"/>
                      <a:gd name="T74" fmla="*/ 0 w 2014"/>
                      <a:gd name="T75" fmla="*/ 0 h 520"/>
                      <a:gd name="T76" fmla="*/ 0 w 2014"/>
                      <a:gd name="T77" fmla="*/ 0 h 520"/>
                      <a:gd name="T78" fmla="*/ 0 w 2014"/>
                      <a:gd name="T79" fmla="*/ 0 h 520"/>
                      <a:gd name="T80" fmla="*/ 0 w 2014"/>
                      <a:gd name="T81" fmla="*/ 0 h 520"/>
                      <a:gd name="T82" fmla="*/ 0 w 2014"/>
                      <a:gd name="T83" fmla="*/ 0 h 520"/>
                      <a:gd name="T84" fmla="*/ 0 w 2014"/>
                      <a:gd name="T85" fmla="*/ 0 h 520"/>
                      <a:gd name="T86" fmla="*/ 0 w 2014"/>
                      <a:gd name="T87" fmla="*/ 0 h 520"/>
                      <a:gd name="T88" fmla="*/ 0 w 2014"/>
                      <a:gd name="T89" fmla="*/ 0 h 520"/>
                      <a:gd name="T90" fmla="*/ 0 w 2014"/>
                      <a:gd name="T91" fmla="*/ 0 h 520"/>
                      <a:gd name="T92" fmla="*/ 0 w 2014"/>
                      <a:gd name="T93" fmla="*/ 0 h 520"/>
                      <a:gd name="T94" fmla="*/ 0 w 2014"/>
                      <a:gd name="T95" fmla="*/ 0 h 520"/>
                      <a:gd name="T96" fmla="*/ 0 w 2014"/>
                      <a:gd name="T97" fmla="*/ 0 h 520"/>
                      <a:gd name="T98" fmla="*/ 0 w 2014"/>
                      <a:gd name="T99" fmla="*/ 0 h 520"/>
                      <a:gd name="T100" fmla="*/ 0 w 2014"/>
                      <a:gd name="T101" fmla="*/ 0 h 520"/>
                      <a:gd name="T102" fmla="*/ 0 w 2014"/>
                      <a:gd name="T103" fmla="*/ 0 h 520"/>
                      <a:gd name="T104" fmla="*/ 0 w 2014"/>
                      <a:gd name="T105" fmla="*/ 0 h 520"/>
                      <a:gd name="T106" fmla="*/ 0 w 2014"/>
                      <a:gd name="T107" fmla="*/ 0 h 520"/>
                      <a:gd name="T108" fmla="*/ 0 w 2014"/>
                      <a:gd name="T109" fmla="*/ 0 h 520"/>
                      <a:gd name="T110" fmla="*/ 0 w 2014"/>
                      <a:gd name="T111" fmla="*/ 0 h 520"/>
                      <a:gd name="T112" fmla="*/ 0 w 2014"/>
                      <a:gd name="T113" fmla="*/ 0 h 520"/>
                      <a:gd name="T114" fmla="*/ 0 w 2014"/>
                      <a:gd name="T115" fmla="*/ 0 h 520"/>
                      <a:gd name="T116" fmla="*/ 0 w 2014"/>
                      <a:gd name="T117" fmla="*/ 0 h 520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w 2014"/>
                      <a:gd name="T178" fmla="*/ 0 h 520"/>
                      <a:gd name="T179" fmla="*/ 2014 w 2014"/>
                      <a:gd name="T180" fmla="*/ 520 h 520"/>
                    </a:gdLst>
                    <a:ahLst/>
                    <a:cxnLst>
                      <a:cxn ang="T118">
                        <a:pos x="T0" y="T1"/>
                      </a:cxn>
                      <a:cxn ang="T119">
                        <a:pos x="T2" y="T3"/>
                      </a:cxn>
                      <a:cxn ang="T120">
                        <a:pos x="T4" y="T5"/>
                      </a:cxn>
                      <a:cxn ang="T121">
                        <a:pos x="T6" y="T7"/>
                      </a:cxn>
                      <a:cxn ang="T122">
                        <a:pos x="T8" y="T9"/>
                      </a:cxn>
                      <a:cxn ang="T123">
                        <a:pos x="T10" y="T11"/>
                      </a:cxn>
                      <a:cxn ang="T124">
                        <a:pos x="T12" y="T13"/>
                      </a:cxn>
                      <a:cxn ang="T125">
                        <a:pos x="T14" y="T15"/>
                      </a:cxn>
                      <a:cxn ang="T126">
                        <a:pos x="T16" y="T17"/>
                      </a:cxn>
                      <a:cxn ang="T127">
                        <a:pos x="T18" y="T19"/>
                      </a:cxn>
                      <a:cxn ang="T128">
                        <a:pos x="T20" y="T21"/>
                      </a:cxn>
                      <a:cxn ang="T129">
                        <a:pos x="T22" y="T23"/>
                      </a:cxn>
                      <a:cxn ang="T130">
                        <a:pos x="T24" y="T25"/>
                      </a:cxn>
                      <a:cxn ang="T131">
                        <a:pos x="T26" y="T27"/>
                      </a:cxn>
                      <a:cxn ang="T132">
                        <a:pos x="T28" y="T29"/>
                      </a:cxn>
                      <a:cxn ang="T133">
                        <a:pos x="T30" y="T31"/>
                      </a:cxn>
                      <a:cxn ang="T134">
                        <a:pos x="T32" y="T33"/>
                      </a:cxn>
                      <a:cxn ang="T135">
                        <a:pos x="T34" y="T35"/>
                      </a:cxn>
                      <a:cxn ang="T136">
                        <a:pos x="T36" y="T37"/>
                      </a:cxn>
                      <a:cxn ang="T137">
                        <a:pos x="T38" y="T39"/>
                      </a:cxn>
                      <a:cxn ang="T138">
                        <a:pos x="T40" y="T41"/>
                      </a:cxn>
                      <a:cxn ang="T139">
                        <a:pos x="T42" y="T43"/>
                      </a:cxn>
                      <a:cxn ang="T140">
                        <a:pos x="T44" y="T45"/>
                      </a:cxn>
                      <a:cxn ang="T141">
                        <a:pos x="T46" y="T47"/>
                      </a:cxn>
                      <a:cxn ang="T142">
                        <a:pos x="T48" y="T49"/>
                      </a:cxn>
                      <a:cxn ang="T143">
                        <a:pos x="T50" y="T51"/>
                      </a:cxn>
                      <a:cxn ang="T144">
                        <a:pos x="T52" y="T53"/>
                      </a:cxn>
                      <a:cxn ang="T145">
                        <a:pos x="T54" y="T55"/>
                      </a:cxn>
                      <a:cxn ang="T146">
                        <a:pos x="T56" y="T57"/>
                      </a:cxn>
                      <a:cxn ang="T147">
                        <a:pos x="T58" y="T59"/>
                      </a:cxn>
                      <a:cxn ang="T148">
                        <a:pos x="T60" y="T61"/>
                      </a:cxn>
                      <a:cxn ang="T149">
                        <a:pos x="T62" y="T63"/>
                      </a:cxn>
                      <a:cxn ang="T150">
                        <a:pos x="T64" y="T65"/>
                      </a:cxn>
                      <a:cxn ang="T151">
                        <a:pos x="T66" y="T67"/>
                      </a:cxn>
                      <a:cxn ang="T152">
                        <a:pos x="T68" y="T69"/>
                      </a:cxn>
                      <a:cxn ang="T153">
                        <a:pos x="T70" y="T71"/>
                      </a:cxn>
                      <a:cxn ang="T154">
                        <a:pos x="T72" y="T73"/>
                      </a:cxn>
                      <a:cxn ang="T155">
                        <a:pos x="T74" y="T75"/>
                      </a:cxn>
                      <a:cxn ang="T156">
                        <a:pos x="T76" y="T77"/>
                      </a:cxn>
                      <a:cxn ang="T157">
                        <a:pos x="T78" y="T79"/>
                      </a:cxn>
                      <a:cxn ang="T158">
                        <a:pos x="T80" y="T81"/>
                      </a:cxn>
                      <a:cxn ang="T159">
                        <a:pos x="T82" y="T83"/>
                      </a:cxn>
                      <a:cxn ang="T160">
                        <a:pos x="T84" y="T85"/>
                      </a:cxn>
                      <a:cxn ang="T161">
                        <a:pos x="T86" y="T87"/>
                      </a:cxn>
                      <a:cxn ang="T162">
                        <a:pos x="T88" y="T89"/>
                      </a:cxn>
                      <a:cxn ang="T163">
                        <a:pos x="T90" y="T91"/>
                      </a:cxn>
                      <a:cxn ang="T164">
                        <a:pos x="T92" y="T93"/>
                      </a:cxn>
                      <a:cxn ang="T165">
                        <a:pos x="T94" y="T95"/>
                      </a:cxn>
                      <a:cxn ang="T166">
                        <a:pos x="T96" y="T97"/>
                      </a:cxn>
                      <a:cxn ang="T167">
                        <a:pos x="T98" y="T99"/>
                      </a:cxn>
                      <a:cxn ang="T168">
                        <a:pos x="T100" y="T101"/>
                      </a:cxn>
                      <a:cxn ang="T169">
                        <a:pos x="T102" y="T103"/>
                      </a:cxn>
                      <a:cxn ang="T170">
                        <a:pos x="T104" y="T105"/>
                      </a:cxn>
                      <a:cxn ang="T171">
                        <a:pos x="T106" y="T107"/>
                      </a:cxn>
                      <a:cxn ang="T172">
                        <a:pos x="T108" y="T109"/>
                      </a:cxn>
                      <a:cxn ang="T173">
                        <a:pos x="T110" y="T111"/>
                      </a:cxn>
                      <a:cxn ang="T174">
                        <a:pos x="T112" y="T113"/>
                      </a:cxn>
                      <a:cxn ang="T175">
                        <a:pos x="T114" y="T115"/>
                      </a:cxn>
                      <a:cxn ang="T176">
                        <a:pos x="T116" y="T117"/>
                      </a:cxn>
                    </a:cxnLst>
                    <a:rect l="T177" t="T178" r="T179" b="T180"/>
                    <a:pathLst>
                      <a:path w="2014" h="520">
                        <a:moveTo>
                          <a:pt x="1906" y="0"/>
                        </a:moveTo>
                        <a:lnTo>
                          <a:pt x="1895" y="3"/>
                        </a:lnTo>
                        <a:lnTo>
                          <a:pt x="1864" y="10"/>
                        </a:lnTo>
                        <a:lnTo>
                          <a:pt x="1815" y="21"/>
                        </a:lnTo>
                        <a:lnTo>
                          <a:pt x="1749" y="36"/>
                        </a:lnTo>
                        <a:lnTo>
                          <a:pt x="1670" y="52"/>
                        </a:lnTo>
                        <a:lnTo>
                          <a:pt x="1579" y="70"/>
                        </a:lnTo>
                        <a:lnTo>
                          <a:pt x="1479" y="89"/>
                        </a:lnTo>
                        <a:lnTo>
                          <a:pt x="1371" y="108"/>
                        </a:lnTo>
                        <a:lnTo>
                          <a:pt x="1257" y="127"/>
                        </a:lnTo>
                        <a:lnTo>
                          <a:pt x="1141" y="145"/>
                        </a:lnTo>
                        <a:lnTo>
                          <a:pt x="1082" y="152"/>
                        </a:lnTo>
                        <a:lnTo>
                          <a:pt x="1023" y="159"/>
                        </a:lnTo>
                        <a:lnTo>
                          <a:pt x="964" y="166"/>
                        </a:lnTo>
                        <a:lnTo>
                          <a:pt x="906" y="171"/>
                        </a:lnTo>
                        <a:lnTo>
                          <a:pt x="850" y="176"/>
                        </a:lnTo>
                        <a:lnTo>
                          <a:pt x="794" y="180"/>
                        </a:lnTo>
                        <a:lnTo>
                          <a:pt x="738" y="182"/>
                        </a:lnTo>
                        <a:lnTo>
                          <a:pt x="686" y="184"/>
                        </a:lnTo>
                        <a:lnTo>
                          <a:pt x="635" y="184"/>
                        </a:lnTo>
                        <a:lnTo>
                          <a:pt x="586" y="182"/>
                        </a:lnTo>
                        <a:lnTo>
                          <a:pt x="539" y="180"/>
                        </a:lnTo>
                        <a:lnTo>
                          <a:pt x="495" y="176"/>
                        </a:lnTo>
                        <a:lnTo>
                          <a:pt x="412" y="167"/>
                        </a:lnTo>
                        <a:lnTo>
                          <a:pt x="339" y="159"/>
                        </a:lnTo>
                        <a:lnTo>
                          <a:pt x="305" y="157"/>
                        </a:lnTo>
                        <a:lnTo>
                          <a:pt x="275" y="156"/>
                        </a:lnTo>
                        <a:lnTo>
                          <a:pt x="246" y="155"/>
                        </a:lnTo>
                        <a:lnTo>
                          <a:pt x="220" y="155"/>
                        </a:lnTo>
                        <a:lnTo>
                          <a:pt x="195" y="155"/>
                        </a:lnTo>
                        <a:lnTo>
                          <a:pt x="172" y="157"/>
                        </a:lnTo>
                        <a:lnTo>
                          <a:pt x="151" y="159"/>
                        </a:lnTo>
                        <a:lnTo>
                          <a:pt x="132" y="162"/>
                        </a:lnTo>
                        <a:lnTo>
                          <a:pt x="114" y="168"/>
                        </a:lnTo>
                        <a:lnTo>
                          <a:pt x="98" y="174"/>
                        </a:lnTo>
                        <a:lnTo>
                          <a:pt x="84" y="180"/>
                        </a:lnTo>
                        <a:lnTo>
                          <a:pt x="71" y="188"/>
                        </a:lnTo>
                        <a:lnTo>
                          <a:pt x="59" y="198"/>
                        </a:lnTo>
                        <a:lnTo>
                          <a:pt x="49" y="208"/>
                        </a:lnTo>
                        <a:lnTo>
                          <a:pt x="41" y="220"/>
                        </a:lnTo>
                        <a:lnTo>
                          <a:pt x="33" y="234"/>
                        </a:lnTo>
                        <a:lnTo>
                          <a:pt x="25" y="249"/>
                        </a:lnTo>
                        <a:lnTo>
                          <a:pt x="19" y="265"/>
                        </a:lnTo>
                        <a:lnTo>
                          <a:pt x="15" y="283"/>
                        </a:lnTo>
                        <a:lnTo>
                          <a:pt x="10" y="303"/>
                        </a:lnTo>
                        <a:lnTo>
                          <a:pt x="7" y="324"/>
                        </a:lnTo>
                        <a:lnTo>
                          <a:pt x="5" y="346"/>
                        </a:lnTo>
                        <a:lnTo>
                          <a:pt x="3" y="371"/>
                        </a:lnTo>
                        <a:lnTo>
                          <a:pt x="2" y="396"/>
                        </a:lnTo>
                        <a:lnTo>
                          <a:pt x="0" y="454"/>
                        </a:lnTo>
                        <a:lnTo>
                          <a:pt x="0" y="520"/>
                        </a:lnTo>
                        <a:lnTo>
                          <a:pt x="3" y="507"/>
                        </a:lnTo>
                        <a:lnTo>
                          <a:pt x="14" y="477"/>
                        </a:lnTo>
                        <a:lnTo>
                          <a:pt x="24" y="458"/>
                        </a:lnTo>
                        <a:lnTo>
                          <a:pt x="37" y="436"/>
                        </a:lnTo>
                        <a:lnTo>
                          <a:pt x="46" y="425"/>
                        </a:lnTo>
                        <a:lnTo>
                          <a:pt x="55" y="413"/>
                        </a:lnTo>
                        <a:lnTo>
                          <a:pt x="66" y="402"/>
                        </a:lnTo>
                        <a:lnTo>
                          <a:pt x="78" y="391"/>
                        </a:lnTo>
                        <a:lnTo>
                          <a:pt x="92" y="378"/>
                        </a:lnTo>
                        <a:lnTo>
                          <a:pt x="106" y="367"/>
                        </a:lnTo>
                        <a:lnTo>
                          <a:pt x="122" y="357"/>
                        </a:lnTo>
                        <a:lnTo>
                          <a:pt x="140" y="347"/>
                        </a:lnTo>
                        <a:lnTo>
                          <a:pt x="159" y="337"/>
                        </a:lnTo>
                        <a:lnTo>
                          <a:pt x="180" y="328"/>
                        </a:lnTo>
                        <a:lnTo>
                          <a:pt x="202" y="319"/>
                        </a:lnTo>
                        <a:lnTo>
                          <a:pt x="226" y="313"/>
                        </a:lnTo>
                        <a:lnTo>
                          <a:pt x="253" y="306"/>
                        </a:lnTo>
                        <a:lnTo>
                          <a:pt x="281" y="302"/>
                        </a:lnTo>
                        <a:lnTo>
                          <a:pt x="312" y="297"/>
                        </a:lnTo>
                        <a:lnTo>
                          <a:pt x="344" y="295"/>
                        </a:lnTo>
                        <a:lnTo>
                          <a:pt x="378" y="294"/>
                        </a:lnTo>
                        <a:lnTo>
                          <a:pt x="415" y="295"/>
                        </a:lnTo>
                        <a:lnTo>
                          <a:pt x="453" y="297"/>
                        </a:lnTo>
                        <a:lnTo>
                          <a:pt x="495" y="302"/>
                        </a:lnTo>
                        <a:lnTo>
                          <a:pt x="539" y="305"/>
                        </a:lnTo>
                        <a:lnTo>
                          <a:pt x="586" y="308"/>
                        </a:lnTo>
                        <a:lnTo>
                          <a:pt x="635" y="309"/>
                        </a:lnTo>
                        <a:lnTo>
                          <a:pt x="686" y="309"/>
                        </a:lnTo>
                        <a:lnTo>
                          <a:pt x="738" y="307"/>
                        </a:lnTo>
                        <a:lnTo>
                          <a:pt x="794" y="305"/>
                        </a:lnTo>
                        <a:lnTo>
                          <a:pt x="850" y="302"/>
                        </a:lnTo>
                        <a:lnTo>
                          <a:pt x="906" y="296"/>
                        </a:lnTo>
                        <a:lnTo>
                          <a:pt x="964" y="290"/>
                        </a:lnTo>
                        <a:lnTo>
                          <a:pt x="1023" y="285"/>
                        </a:lnTo>
                        <a:lnTo>
                          <a:pt x="1082" y="277"/>
                        </a:lnTo>
                        <a:lnTo>
                          <a:pt x="1141" y="269"/>
                        </a:lnTo>
                        <a:lnTo>
                          <a:pt x="1257" y="253"/>
                        </a:lnTo>
                        <a:lnTo>
                          <a:pt x="1371" y="234"/>
                        </a:lnTo>
                        <a:lnTo>
                          <a:pt x="1479" y="215"/>
                        </a:lnTo>
                        <a:lnTo>
                          <a:pt x="1579" y="196"/>
                        </a:lnTo>
                        <a:lnTo>
                          <a:pt x="1670" y="177"/>
                        </a:lnTo>
                        <a:lnTo>
                          <a:pt x="1749" y="160"/>
                        </a:lnTo>
                        <a:lnTo>
                          <a:pt x="1815" y="147"/>
                        </a:lnTo>
                        <a:lnTo>
                          <a:pt x="1864" y="136"/>
                        </a:lnTo>
                        <a:lnTo>
                          <a:pt x="1895" y="128"/>
                        </a:lnTo>
                        <a:lnTo>
                          <a:pt x="1906" y="126"/>
                        </a:lnTo>
                        <a:lnTo>
                          <a:pt x="1901" y="127"/>
                        </a:lnTo>
                        <a:lnTo>
                          <a:pt x="1920" y="121"/>
                        </a:lnTo>
                        <a:lnTo>
                          <a:pt x="1936" y="117"/>
                        </a:lnTo>
                        <a:lnTo>
                          <a:pt x="1953" y="110"/>
                        </a:lnTo>
                        <a:lnTo>
                          <a:pt x="1969" y="102"/>
                        </a:lnTo>
                        <a:lnTo>
                          <a:pt x="1986" y="95"/>
                        </a:lnTo>
                        <a:lnTo>
                          <a:pt x="1994" y="90"/>
                        </a:lnTo>
                        <a:lnTo>
                          <a:pt x="1999" y="85"/>
                        </a:lnTo>
                        <a:lnTo>
                          <a:pt x="2005" y="80"/>
                        </a:lnTo>
                        <a:lnTo>
                          <a:pt x="2009" y="75"/>
                        </a:lnTo>
                        <a:lnTo>
                          <a:pt x="2013" y="69"/>
                        </a:lnTo>
                        <a:lnTo>
                          <a:pt x="2014" y="63"/>
                        </a:lnTo>
                        <a:lnTo>
                          <a:pt x="2014" y="58"/>
                        </a:lnTo>
                        <a:lnTo>
                          <a:pt x="2012" y="51"/>
                        </a:lnTo>
                        <a:lnTo>
                          <a:pt x="2007" y="46"/>
                        </a:lnTo>
                        <a:lnTo>
                          <a:pt x="2002" y="40"/>
                        </a:lnTo>
                        <a:lnTo>
                          <a:pt x="1993" y="33"/>
                        </a:lnTo>
                        <a:lnTo>
                          <a:pt x="1980" y="27"/>
                        </a:lnTo>
                        <a:lnTo>
                          <a:pt x="1967" y="20"/>
                        </a:lnTo>
                        <a:lnTo>
                          <a:pt x="1949" y="13"/>
                        </a:lnTo>
                        <a:lnTo>
                          <a:pt x="1929" y="7"/>
                        </a:lnTo>
                        <a:lnTo>
                          <a:pt x="1906" y="0"/>
                        </a:lnTo>
                        <a:close/>
                      </a:path>
                    </a:pathLst>
                  </a:custGeom>
                  <a:solidFill>
                    <a:srgbClr val="3D4189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63" name="Freeform 204"/>
                  <p:cNvSpPr>
                    <a:spLocks/>
                  </p:cNvSpPr>
                  <p:nvPr/>
                </p:nvSpPr>
                <p:spPr bwMode="auto">
                  <a:xfrm>
                    <a:off x="3433" y="3608"/>
                    <a:ext cx="324" cy="225"/>
                  </a:xfrm>
                  <a:custGeom>
                    <a:avLst/>
                    <a:gdLst>
                      <a:gd name="T0" fmla="*/ 0 w 2275"/>
                      <a:gd name="T1" fmla="*/ 0 h 1580"/>
                      <a:gd name="T2" fmla="*/ 0 w 2275"/>
                      <a:gd name="T3" fmla="*/ 0 h 1580"/>
                      <a:gd name="T4" fmla="*/ 0 w 2275"/>
                      <a:gd name="T5" fmla="*/ 0 h 1580"/>
                      <a:gd name="T6" fmla="*/ 0 w 2275"/>
                      <a:gd name="T7" fmla="*/ 0 h 1580"/>
                      <a:gd name="T8" fmla="*/ 0 w 2275"/>
                      <a:gd name="T9" fmla="*/ 0 h 1580"/>
                      <a:gd name="T10" fmla="*/ 0 w 2275"/>
                      <a:gd name="T11" fmla="*/ 0 h 1580"/>
                      <a:gd name="T12" fmla="*/ 0 w 2275"/>
                      <a:gd name="T13" fmla="*/ 0 h 1580"/>
                      <a:gd name="T14" fmla="*/ 0 w 2275"/>
                      <a:gd name="T15" fmla="*/ 0 h 1580"/>
                      <a:gd name="T16" fmla="*/ 0 w 2275"/>
                      <a:gd name="T17" fmla="*/ 0 h 1580"/>
                      <a:gd name="T18" fmla="*/ 0 w 2275"/>
                      <a:gd name="T19" fmla="*/ 0 h 1580"/>
                      <a:gd name="T20" fmla="*/ 0 w 2275"/>
                      <a:gd name="T21" fmla="*/ 0 h 1580"/>
                      <a:gd name="T22" fmla="*/ 0 w 2275"/>
                      <a:gd name="T23" fmla="*/ 0 h 1580"/>
                      <a:gd name="T24" fmla="*/ 0 w 2275"/>
                      <a:gd name="T25" fmla="*/ 0 h 1580"/>
                      <a:gd name="T26" fmla="*/ 0 w 2275"/>
                      <a:gd name="T27" fmla="*/ 0 h 1580"/>
                      <a:gd name="T28" fmla="*/ 0 w 2275"/>
                      <a:gd name="T29" fmla="*/ 0 h 1580"/>
                      <a:gd name="T30" fmla="*/ 0 w 2275"/>
                      <a:gd name="T31" fmla="*/ 0 h 1580"/>
                      <a:gd name="T32" fmla="*/ 0 w 2275"/>
                      <a:gd name="T33" fmla="*/ 0 h 1580"/>
                      <a:gd name="T34" fmla="*/ 0 w 2275"/>
                      <a:gd name="T35" fmla="*/ 0 h 1580"/>
                      <a:gd name="T36" fmla="*/ 0 w 2275"/>
                      <a:gd name="T37" fmla="*/ 0 h 1580"/>
                      <a:gd name="T38" fmla="*/ 0 w 2275"/>
                      <a:gd name="T39" fmla="*/ 0 h 1580"/>
                      <a:gd name="T40" fmla="*/ 0 w 2275"/>
                      <a:gd name="T41" fmla="*/ 0 h 1580"/>
                      <a:gd name="T42" fmla="*/ 0 w 2275"/>
                      <a:gd name="T43" fmla="*/ 0 h 1580"/>
                      <a:gd name="T44" fmla="*/ 0 w 2275"/>
                      <a:gd name="T45" fmla="*/ 0 h 1580"/>
                      <a:gd name="T46" fmla="*/ 0 w 2275"/>
                      <a:gd name="T47" fmla="*/ 0 h 1580"/>
                      <a:gd name="T48" fmla="*/ 0 w 2275"/>
                      <a:gd name="T49" fmla="*/ 0 h 1580"/>
                      <a:gd name="T50" fmla="*/ 0 w 2275"/>
                      <a:gd name="T51" fmla="*/ 0 h 1580"/>
                      <a:gd name="T52" fmla="*/ 0 w 2275"/>
                      <a:gd name="T53" fmla="*/ 0 h 1580"/>
                      <a:gd name="T54" fmla="*/ 0 w 2275"/>
                      <a:gd name="T55" fmla="*/ 0 h 1580"/>
                      <a:gd name="T56" fmla="*/ 0 w 2275"/>
                      <a:gd name="T57" fmla="*/ 0 h 1580"/>
                      <a:gd name="T58" fmla="*/ 0 w 2275"/>
                      <a:gd name="T59" fmla="*/ 0 h 1580"/>
                      <a:gd name="T60" fmla="*/ 0 w 2275"/>
                      <a:gd name="T61" fmla="*/ 0 h 1580"/>
                      <a:gd name="T62" fmla="*/ 0 w 2275"/>
                      <a:gd name="T63" fmla="*/ 0 h 1580"/>
                      <a:gd name="T64" fmla="*/ 0 w 2275"/>
                      <a:gd name="T65" fmla="*/ 0 h 1580"/>
                      <a:gd name="T66" fmla="*/ 0 w 2275"/>
                      <a:gd name="T67" fmla="*/ 0 h 1580"/>
                      <a:gd name="T68" fmla="*/ 0 w 2275"/>
                      <a:gd name="T69" fmla="*/ 0 h 1580"/>
                      <a:gd name="T70" fmla="*/ 0 w 2275"/>
                      <a:gd name="T71" fmla="*/ 0 h 1580"/>
                      <a:gd name="T72" fmla="*/ 0 w 2275"/>
                      <a:gd name="T73" fmla="*/ 0 h 1580"/>
                      <a:gd name="T74" fmla="*/ 0 w 2275"/>
                      <a:gd name="T75" fmla="*/ 0 h 1580"/>
                      <a:gd name="T76" fmla="*/ 0 w 2275"/>
                      <a:gd name="T77" fmla="*/ 0 h 1580"/>
                      <a:gd name="T78" fmla="*/ 0 w 2275"/>
                      <a:gd name="T79" fmla="*/ 0 h 1580"/>
                      <a:gd name="T80" fmla="*/ 0 w 2275"/>
                      <a:gd name="T81" fmla="*/ 0 h 1580"/>
                      <a:gd name="T82" fmla="*/ 0 w 2275"/>
                      <a:gd name="T83" fmla="*/ 0 h 1580"/>
                      <a:gd name="T84" fmla="*/ 0 w 2275"/>
                      <a:gd name="T85" fmla="*/ 0 h 1580"/>
                      <a:gd name="T86" fmla="*/ 0 w 2275"/>
                      <a:gd name="T87" fmla="*/ 0 h 1580"/>
                      <a:gd name="T88" fmla="*/ 0 w 2275"/>
                      <a:gd name="T89" fmla="*/ 0 h 1580"/>
                      <a:gd name="T90" fmla="*/ 0 w 2275"/>
                      <a:gd name="T91" fmla="*/ 0 h 1580"/>
                      <a:gd name="T92" fmla="*/ 0 w 2275"/>
                      <a:gd name="T93" fmla="*/ 0 h 1580"/>
                      <a:gd name="T94" fmla="*/ 0 w 2275"/>
                      <a:gd name="T95" fmla="*/ 0 h 1580"/>
                      <a:gd name="T96" fmla="*/ 0 w 2275"/>
                      <a:gd name="T97" fmla="*/ 0 h 1580"/>
                      <a:gd name="T98" fmla="*/ 0 w 2275"/>
                      <a:gd name="T99" fmla="*/ 0 h 1580"/>
                      <a:gd name="T100" fmla="*/ 0 w 2275"/>
                      <a:gd name="T101" fmla="*/ 0 h 1580"/>
                      <a:gd name="T102" fmla="*/ 0 w 2275"/>
                      <a:gd name="T103" fmla="*/ 0 h 1580"/>
                      <a:gd name="T104" fmla="*/ 0 w 2275"/>
                      <a:gd name="T105" fmla="*/ 0 h 1580"/>
                      <a:gd name="T106" fmla="*/ 0 w 2275"/>
                      <a:gd name="T107" fmla="*/ 0 h 1580"/>
                      <a:gd name="T108" fmla="*/ 0 w 2275"/>
                      <a:gd name="T109" fmla="*/ 0 h 1580"/>
                      <a:gd name="T110" fmla="*/ 0 w 2275"/>
                      <a:gd name="T111" fmla="*/ 0 h 1580"/>
                      <a:gd name="T112" fmla="*/ 0 w 2275"/>
                      <a:gd name="T113" fmla="*/ 0 h 1580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w 2275"/>
                      <a:gd name="T172" fmla="*/ 0 h 1580"/>
                      <a:gd name="T173" fmla="*/ 2275 w 2275"/>
                      <a:gd name="T174" fmla="*/ 1580 h 1580"/>
                    </a:gdLst>
                    <a:ahLst/>
                    <a:cxnLst>
                      <a:cxn ang="T114">
                        <a:pos x="T0" y="T1"/>
                      </a:cxn>
                      <a:cxn ang="T115">
                        <a:pos x="T2" y="T3"/>
                      </a:cxn>
                      <a:cxn ang="T116">
                        <a:pos x="T4" y="T5"/>
                      </a:cxn>
                      <a:cxn ang="T117">
                        <a:pos x="T6" y="T7"/>
                      </a:cxn>
                      <a:cxn ang="T118">
                        <a:pos x="T8" y="T9"/>
                      </a:cxn>
                      <a:cxn ang="T119">
                        <a:pos x="T10" y="T11"/>
                      </a:cxn>
                      <a:cxn ang="T120">
                        <a:pos x="T12" y="T13"/>
                      </a:cxn>
                      <a:cxn ang="T121">
                        <a:pos x="T14" y="T15"/>
                      </a:cxn>
                      <a:cxn ang="T122">
                        <a:pos x="T16" y="T17"/>
                      </a:cxn>
                      <a:cxn ang="T123">
                        <a:pos x="T18" y="T19"/>
                      </a:cxn>
                      <a:cxn ang="T124">
                        <a:pos x="T20" y="T21"/>
                      </a:cxn>
                      <a:cxn ang="T125">
                        <a:pos x="T22" y="T23"/>
                      </a:cxn>
                      <a:cxn ang="T126">
                        <a:pos x="T24" y="T25"/>
                      </a:cxn>
                      <a:cxn ang="T127">
                        <a:pos x="T26" y="T27"/>
                      </a:cxn>
                      <a:cxn ang="T128">
                        <a:pos x="T28" y="T29"/>
                      </a:cxn>
                      <a:cxn ang="T129">
                        <a:pos x="T30" y="T31"/>
                      </a:cxn>
                      <a:cxn ang="T130">
                        <a:pos x="T32" y="T33"/>
                      </a:cxn>
                      <a:cxn ang="T131">
                        <a:pos x="T34" y="T35"/>
                      </a:cxn>
                      <a:cxn ang="T132">
                        <a:pos x="T36" y="T37"/>
                      </a:cxn>
                      <a:cxn ang="T133">
                        <a:pos x="T38" y="T39"/>
                      </a:cxn>
                      <a:cxn ang="T134">
                        <a:pos x="T40" y="T41"/>
                      </a:cxn>
                      <a:cxn ang="T135">
                        <a:pos x="T42" y="T43"/>
                      </a:cxn>
                      <a:cxn ang="T136">
                        <a:pos x="T44" y="T45"/>
                      </a:cxn>
                      <a:cxn ang="T137">
                        <a:pos x="T46" y="T47"/>
                      </a:cxn>
                      <a:cxn ang="T138">
                        <a:pos x="T48" y="T49"/>
                      </a:cxn>
                      <a:cxn ang="T139">
                        <a:pos x="T50" y="T51"/>
                      </a:cxn>
                      <a:cxn ang="T140">
                        <a:pos x="T52" y="T53"/>
                      </a:cxn>
                      <a:cxn ang="T141">
                        <a:pos x="T54" y="T55"/>
                      </a:cxn>
                      <a:cxn ang="T142">
                        <a:pos x="T56" y="T57"/>
                      </a:cxn>
                      <a:cxn ang="T143">
                        <a:pos x="T58" y="T59"/>
                      </a:cxn>
                      <a:cxn ang="T144">
                        <a:pos x="T60" y="T61"/>
                      </a:cxn>
                      <a:cxn ang="T145">
                        <a:pos x="T62" y="T63"/>
                      </a:cxn>
                      <a:cxn ang="T146">
                        <a:pos x="T64" y="T65"/>
                      </a:cxn>
                      <a:cxn ang="T147">
                        <a:pos x="T66" y="T67"/>
                      </a:cxn>
                      <a:cxn ang="T148">
                        <a:pos x="T68" y="T69"/>
                      </a:cxn>
                      <a:cxn ang="T149">
                        <a:pos x="T70" y="T71"/>
                      </a:cxn>
                      <a:cxn ang="T150">
                        <a:pos x="T72" y="T73"/>
                      </a:cxn>
                      <a:cxn ang="T151">
                        <a:pos x="T74" y="T75"/>
                      </a:cxn>
                      <a:cxn ang="T152">
                        <a:pos x="T76" y="T77"/>
                      </a:cxn>
                      <a:cxn ang="T153">
                        <a:pos x="T78" y="T79"/>
                      </a:cxn>
                      <a:cxn ang="T154">
                        <a:pos x="T80" y="T81"/>
                      </a:cxn>
                      <a:cxn ang="T155">
                        <a:pos x="T82" y="T83"/>
                      </a:cxn>
                      <a:cxn ang="T156">
                        <a:pos x="T84" y="T85"/>
                      </a:cxn>
                      <a:cxn ang="T157">
                        <a:pos x="T86" y="T87"/>
                      </a:cxn>
                      <a:cxn ang="T158">
                        <a:pos x="T88" y="T89"/>
                      </a:cxn>
                      <a:cxn ang="T159">
                        <a:pos x="T90" y="T91"/>
                      </a:cxn>
                      <a:cxn ang="T160">
                        <a:pos x="T92" y="T93"/>
                      </a:cxn>
                      <a:cxn ang="T161">
                        <a:pos x="T94" y="T95"/>
                      </a:cxn>
                      <a:cxn ang="T162">
                        <a:pos x="T96" y="T97"/>
                      </a:cxn>
                      <a:cxn ang="T163">
                        <a:pos x="T98" y="T99"/>
                      </a:cxn>
                      <a:cxn ang="T164">
                        <a:pos x="T100" y="T101"/>
                      </a:cxn>
                      <a:cxn ang="T165">
                        <a:pos x="T102" y="T103"/>
                      </a:cxn>
                      <a:cxn ang="T166">
                        <a:pos x="T104" y="T105"/>
                      </a:cxn>
                      <a:cxn ang="T167">
                        <a:pos x="T106" y="T107"/>
                      </a:cxn>
                      <a:cxn ang="T168">
                        <a:pos x="T108" y="T109"/>
                      </a:cxn>
                      <a:cxn ang="T169">
                        <a:pos x="T110" y="T111"/>
                      </a:cxn>
                      <a:cxn ang="T170">
                        <a:pos x="T112" y="T113"/>
                      </a:cxn>
                    </a:cxnLst>
                    <a:rect l="T171" t="T172" r="T173" b="T174"/>
                    <a:pathLst>
                      <a:path w="2275" h="1580">
                        <a:moveTo>
                          <a:pt x="1248" y="671"/>
                        </a:moveTo>
                        <a:lnTo>
                          <a:pt x="1201" y="695"/>
                        </a:lnTo>
                        <a:lnTo>
                          <a:pt x="1155" y="717"/>
                        </a:lnTo>
                        <a:lnTo>
                          <a:pt x="1110" y="737"/>
                        </a:lnTo>
                        <a:lnTo>
                          <a:pt x="1065" y="756"/>
                        </a:lnTo>
                        <a:lnTo>
                          <a:pt x="1021" y="774"/>
                        </a:lnTo>
                        <a:lnTo>
                          <a:pt x="976" y="789"/>
                        </a:lnTo>
                        <a:lnTo>
                          <a:pt x="934" y="804"/>
                        </a:lnTo>
                        <a:lnTo>
                          <a:pt x="891" y="816"/>
                        </a:lnTo>
                        <a:lnTo>
                          <a:pt x="848" y="827"/>
                        </a:lnTo>
                        <a:lnTo>
                          <a:pt x="807" y="837"/>
                        </a:lnTo>
                        <a:lnTo>
                          <a:pt x="766" y="846"/>
                        </a:lnTo>
                        <a:lnTo>
                          <a:pt x="725" y="853"/>
                        </a:lnTo>
                        <a:lnTo>
                          <a:pt x="685" y="858"/>
                        </a:lnTo>
                        <a:lnTo>
                          <a:pt x="645" y="863"/>
                        </a:lnTo>
                        <a:lnTo>
                          <a:pt x="606" y="865"/>
                        </a:lnTo>
                        <a:lnTo>
                          <a:pt x="567" y="866"/>
                        </a:lnTo>
                        <a:lnTo>
                          <a:pt x="529" y="866"/>
                        </a:lnTo>
                        <a:lnTo>
                          <a:pt x="491" y="865"/>
                        </a:lnTo>
                        <a:lnTo>
                          <a:pt x="453" y="863"/>
                        </a:lnTo>
                        <a:lnTo>
                          <a:pt x="416" y="858"/>
                        </a:lnTo>
                        <a:lnTo>
                          <a:pt x="380" y="853"/>
                        </a:lnTo>
                        <a:lnTo>
                          <a:pt x="343" y="846"/>
                        </a:lnTo>
                        <a:lnTo>
                          <a:pt x="307" y="838"/>
                        </a:lnTo>
                        <a:lnTo>
                          <a:pt x="272" y="828"/>
                        </a:lnTo>
                        <a:lnTo>
                          <a:pt x="236" y="818"/>
                        </a:lnTo>
                        <a:lnTo>
                          <a:pt x="202" y="806"/>
                        </a:lnTo>
                        <a:lnTo>
                          <a:pt x="167" y="794"/>
                        </a:lnTo>
                        <a:lnTo>
                          <a:pt x="133" y="779"/>
                        </a:lnTo>
                        <a:lnTo>
                          <a:pt x="99" y="764"/>
                        </a:lnTo>
                        <a:lnTo>
                          <a:pt x="66" y="747"/>
                        </a:lnTo>
                        <a:lnTo>
                          <a:pt x="32" y="729"/>
                        </a:lnTo>
                        <a:lnTo>
                          <a:pt x="0" y="710"/>
                        </a:lnTo>
                        <a:lnTo>
                          <a:pt x="0" y="756"/>
                        </a:lnTo>
                        <a:lnTo>
                          <a:pt x="1" y="803"/>
                        </a:lnTo>
                        <a:lnTo>
                          <a:pt x="3" y="847"/>
                        </a:lnTo>
                        <a:lnTo>
                          <a:pt x="6" y="892"/>
                        </a:lnTo>
                        <a:lnTo>
                          <a:pt x="10" y="935"/>
                        </a:lnTo>
                        <a:lnTo>
                          <a:pt x="16" y="977"/>
                        </a:lnTo>
                        <a:lnTo>
                          <a:pt x="22" y="1020"/>
                        </a:lnTo>
                        <a:lnTo>
                          <a:pt x="30" y="1060"/>
                        </a:lnTo>
                        <a:lnTo>
                          <a:pt x="39" y="1100"/>
                        </a:lnTo>
                        <a:lnTo>
                          <a:pt x="50" y="1138"/>
                        </a:lnTo>
                        <a:lnTo>
                          <a:pt x="62" y="1174"/>
                        </a:lnTo>
                        <a:lnTo>
                          <a:pt x="76" y="1210"/>
                        </a:lnTo>
                        <a:lnTo>
                          <a:pt x="84" y="1227"/>
                        </a:lnTo>
                        <a:lnTo>
                          <a:pt x="93" y="1243"/>
                        </a:lnTo>
                        <a:lnTo>
                          <a:pt x="100" y="1260"/>
                        </a:lnTo>
                        <a:lnTo>
                          <a:pt x="109" y="1276"/>
                        </a:lnTo>
                        <a:lnTo>
                          <a:pt x="119" y="1290"/>
                        </a:lnTo>
                        <a:lnTo>
                          <a:pt x="129" y="1306"/>
                        </a:lnTo>
                        <a:lnTo>
                          <a:pt x="139" y="1319"/>
                        </a:lnTo>
                        <a:lnTo>
                          <a:pt x="150" y="1334"/>
                        </a:lnTo>
                        <a:lnTo>
                          <a:pt x="206" y="1397"/>
                        </a:lnTo>
                        <a:lnTo>
                          <a:pt x="265" y="1449"/>
                        </a:lnTo>
                        <a:lnTo>
                          <a:pt x="325" y="1493"/>
                        </a:lnTo>
                        <a:lnTo>
                          <a:pt x="386" y="1526"/>
                        </a:lnTo>
                        <a:lnTo>
                          <a:pt x="449" y="1552"/>
                        </a:lnTo>
                        <a:lnTo>
                          <a:pt x="513" y="1568"/>
                        </a:lnTo>
                        <a:lnTo>
                          <a:pt x="578" y="1578"/>
                        </a:lnTo>
                        <a:lnTo>
                          <a:pt x="643" y="1580"/>
                        </a:lnTo>
                        <a:lnTo>
                          <a:pt x="709" y="1575"/>
                        </a:lnTo>
                        <a:lnTo>
                          <a:pt x="776" y="1564"/>
                        </a:lnTo>
                        <a:lnTo>
                          <a:pt x="843" y="1546"/>
                        </a:lnTo>
                        <a:lnTo>
                          <a:pt x="908" y="1524"/>
                        </a:lnTo>
                        <a:lnTo>
                          <a:pt x="975" y="1497"/>
                        </a:lnTo>
                        <a:lnTo>
                          <a:pt x="1042" y="1465"/>
                        </a:lnTo>
                        <a:lnTo>
                          <a:pt x="1106" y="1428"/>
                        </a:lnTo>
                        <a:lnTo>
                          <a:pt x="1172" y="1389"/>
                        </a:lnTo>
                        <a:lnTo>
                          <a:pt x="1236" y="1347"/>
                        </a:lnTo>
                        <a:lnTo>
                          <a:pt x="1299" y="1301"/>
                        </a:lnTo>
                        <a:lnTo>
                          <a:pt x="1360" y="1253"/>
                        </a:lnTo>
                        <a:lnTo>
                          <a:pt x="1421" y="1204"/>
                        </a:lnTo>
                        <a:lnTo>
                          <a:pt x="1479" y="1154"/>
                        </a:lnTo>
                        <a:lnTo>
                          <a:pt x="1537" y="1104"/>
                        </a:lnTo>
                        <a:lnTo>
                          <a:pt x="1592" y="1053"/>
                        </a:lnTo>
                        <a:lnTo>
                          <a:pt x="1645" y="1002"/>
                        </a:lnTo>
                        <a:lnTo>
                          <a:pt x="1695" y="951"/>
                        </a:lnTo>
                        <a:lnTo>
                          <a:pt x="1744" y="902"/>
                        </a:lnTo>
                        <a:lnTo>
                          <a:pt x="1790" y="855"/>
                        </a:lnTo>
                        <a:lnTo>
                          <a:pt x="1832" y="809"/>
                        </a:lnTo>
                        <a:lnTo>
                          <a:pt x="1909" y="726"/>
                        </a:lnTo>
                        <a:lnTo>
                          <a:pt x="1971" y="657"/>
                        </a:lnTo>
                        <a:lnTo>
                          <a:pt x="1992" y="634"/>
                        </a:lnTo>
                        <a:lnTo>
                          <a:pt x="2014" y="606"/>
                        </a:lnTo>
                        <a:lnTo>
                          <a:pt x="2035" y="576"/>
                        </a:lnTo>
                        <a:lnTo>
                          <a:pt x="2057" y="542"/>
                        </a:lnTo>
                        <a:lnTo>
                          <a:pt x="2079" y="507"/>
                        </a:lnTo>
                        <a:lnTo>
                          <a:pt x="2100" y="469"/>
                        </a:lnTo>
                        <a:lnTo>
                          <a:pt x="2122" y="429"/>
                        </a:lnTo>
                        <a:lnTo>
                          <a:pt x="2143" y="387"/>
                        </a:lnTo>
                        <a:lnTo>
                          <a:pt x="2163" y="342"/>
                        </a:lnTo>
                        <a:lnTo>
                          <a:pt x="2183" y="296"/>
                        </a:lnTo>
                        <a:lnTo>
                          <a:pt x="2201" y="249"/>
                        </a:lnTo>
                        <a:lnTo>
                          <a:pt x="2218" y="201"/>
                        </a:lnTo>
                        <a:lnTo>
                          <a:pt x="2235" y="152"/>
                        </a:lnTo>
                        <a:lnTo>
                          <a:pt x="2250" y="102"/>
                        </a:lnTo>
                        <a:lnTo>
                          <a:pt x="2263" y="52"/>
                        </a:lnTo>
                        <a:lnTo>
                          <a:pt x="2275" y="0"/>
                        </a:lnTo>
                        <a:lnTo>
                          <a:pt x="2217" y="47"/>
                        </a:lnTo>
                        <a:lnTo>
                          <a:pt x="2158" y="93"/>
                        </a:lnTo>
                        <a:lnTo>
                          <a:pt x="2098" y="138"/>
                        </a:lnTo>
                        <a:lnTo>
                          <a:pt x="2038" y="183"/>
                        </a:lnTo>
                        <a:lnTo>
                          <a:pt x="1976" y="227"/>
                        </a:lnTo>
                        <a:lnTo>
                          <a:pt x="1914" y="271"/>
                        </a:lnTo>
                        <a:lnTo>
                          <a:pt x="1852" y="313"/>
                        </a:lnTo>
                        <a:lnTo>
                          <a:pt x="1788" y="355"/>
                        </a:lnTo>
                        <a:lnTo>
                          <a:pt x="1724" y="398"/>
                        </a:lnTo>
                        <a:lnTo>
                          <a:pt x="1658" y="438"/>
                        </a:lnTo>
                        <a:lnTo>
                          <a:pt x="1593" y="479"/>
                        </a:lnTo>
                        <a:lnTo>
                          <a:pt x="1525" y="518"/>
                        </a:lnTo>
                        <a:lnTo>
                          <a:pt x="1457" y="558"/>
                        </a:lnTo>
                        <a:lnTo>
                          <a:pt x="1388" y="596"/>
                        </a:lnTo>
                        <a:lnTo>
                          <a:pt x="1319" y="634"/>
                        </a:lnTo>
                        <a:lnTo>
                          <a:pt x="1248" y="671"/>
                        </a:lnTo>
                        <a:close/>
                      </a:path>
                    </a:pathLst>
                  </a:custGeom>
                  <a:solidFill>
                    <a:srgbClr val="312276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</p:grpSp>
          </p:grpSp>
          <p:grpSp>
            <p:nvGrpSpPr>
              <p:cNvPr id="414" name="Group 205"/>
              <p:cNvGrpSpPr>
                <a:grpSpLocks/>
              </p:cNvGrpSpPr>
              <p:nvPr/>
            </p:nvGrpSpPr>
            <p:grpSpPr bwMode="auto">
              <a:xfrm>
                <a:off x="6850803" y="2636114"/>
                <a:ext cx="350466" cy="180058"/>
                <a:chOff x="2759" y="2304"/>
                <a:chExt cx="1393" cy="766"/>
              </a:xfrm>
            </p:grpSpPr>
            <p:sp>
              <p:nvSpPr>
                <p:cNvPr id="415" name="Freeform 206"/>
                <p:cNvSpPr>
                  <a:spLocks/>
                </p:cNvSpPr>
                <p:nvPr/>
              </p:nvSpPr>
              <p:spPr bwMode="auto">
                <a:xfrm>
                  <a:off x="3640" y="2608"/>
                  <a:ext cx="508" cy="319"/>
                </a:xfrm>
                <a:custGeom>
                  <a:avLst/>
                  <a:gdLst>
                    <a:gd name="T0" fmla="*/ 0 w 3583"/>
                    <a:gd name="T1" fmla="*/ 0 h 2227"/>
                    <a:gd name="T2" fmla="*/ 0 w 3583"/>
                    <a:gd name="T3" fmla="*/ 0 h 2227"/>
                    <a:gd name="T4" fmla="*/ 0 w 3583"/>
                    <a:gd name="T5" fmla="*/ 0 h 2227"/>
                    <a:gd name="T6" fmla="*/ 0 w 3583"/>
                    <a:gd name="T7" fmla="*/ 0 h 2227"/>
                    <a:gd name="T8" fmla="*/ 0 w 3583"/>
                    <a:gd name="T9" fmla="*/ 0 h 2227"/>
                    <a:gd name="T10" fmla="*/ 0 w 3583"/>
                    <a:gd name="T11" fmla="*/ 0 h 2227"/>
                    <a:gd name="T12" fmla="*/ 0 w 3583"/>
                    <a:gd name="T13" fmla="*/ 0 h 2227"/>
                    <a:gd name="T14" fmla="*/ 0 w 3583"/>
                    <a:gd name="T15" fmla="*/ 0 h 2227"/>
                    <a:gd name="T16" fmla="*/ 0 w 3583"/>
                    <a:gd name="T17" fmla="*/ 0 h 2227"/>
                    <a:gd name="T18" fmla="*/ 0 w 3583"/>
                    <a:gd name="T19" fmla="*/ 0 h 2227"/>
                    <a:gd name="T20" fmla="*/ 0 w 3583"/>
                    <a:gd name="T21" fmla="*/ 0 h 2227"/>
                    <a:gd name="T22" fmla="*/ 0 w 3583"/>
                    <a:gd name="T23" fmla="*/ 0 h 2227"/>
                    <a:gd name="T24" fmla="*/ 0 w 3583"/>
                    <a:gd name="T25" fmla="*/ 0 h 2227"/>
                    <a:gd name="T26" fmla="*/ 0 w 3583"/>
                    <a:gd name="T27" fmla="*/ 0 h 2227"/>
                    <a:gd name="T28" fmla="*/ 0 w 3583"/>
                    <a:gd name="T29" fmla="*/ 0 h 2227"/>
                    <a:gd name="T30" fmla="*/ 0 w 3583"/>
                    <a:gd name="T31" fmla="*/ 0 h 2227"/>
                    <a:gd name="T32" fmla="*/ 0 w 3583"/>
                    <a:gd name="T33" fmla="*/ 0 h 2227"/>
                    <a:gd name="T34" fmla="*/ 0 w 3583"/>
                    <a:gd name="T35" fmla="*/ 0 h 2227"/>
                    <a:gd name="T36" fmla="*/ 0 w 3583"/>
                    <a:gd name="T37" fmla="*/ 0 h 2227"/>
                    <a:gd name="T38" fmla="*/ 0 w 3583"/>
                    <a:gd name="T39" fmla="*/ 0 h 2227"/>
                    <a:gd name="T40" fmla="*/ 0 w 3583"/>
                    <a:gd name="T41" fmla="*/ 0 h 2227"/>
                    <a:gd name="T42" fmla="*/ 0 w 3583"/>
                    <a:gd name="T43" fmla="*/ 0 h 2227"/>
                    <a:gd name="T44" fmla="*/ 0 w 3583"/>
                    <a:gd name="T45" fmla="*/ 0 h 2227"/>
                    <a:gd name="T46" fmla="*/ 0 w 3583"/>
                    <a:gd name="T47" fmla="*/ 0 h 2227"/>
                    <a:gd name="T48" fmla="*/ 0 w 3583"/>
                    <a:gd name="T49" fmla="*/ 0 h 2227"/>
                    <a:gd name="T50" fmla="*/ 0 w 3583"/>
                    <a:gd name="T51" fmla="*/ 0 h 2227"/>
                    <a:gd name="T52" fmla="*/ 0 w 3583"/>
                    <a:gd name="T53" fmla="*/ 0 h 2227"/>
                    <a:gd name="T54" fmla="*/ 0 w 3583"/>
                    <a:gd name="T55" fmla="*/ 0 h 2227"/>
                    <a:gd name="T56" fmla="*/ 0 w 3583"/>
                    <a:gd name="T57" fmla="*/ 0 h 2227"/>
                    <a:gd name="T58" fmla="*/ 0 w 3583"/>
                    <a:gd name="T59" fmla="*/ 0 h 2227"/>
                    <a:gd name="T60" fmla="*/ 0 w 3583"/>
                    <a:gd name="T61" fmla="*/ 0 h 2227"/>
                    <a:gd name="T62" fmla="*/ 0 w 3583"/>
                    <a:gd name="T63" fmla="*/ 0 h 2227"/>
                    <a:gd name="T64" fmla="*/ 0 w 3583"/>
                    <a:gd name="T65" fmla="*/ 0 h 2227"/>
                    <a:gd name="T66" fmla="*/ 0 w 3583"/>
                    <a:gd name="T67" fmla="*/ 0 h 2227"/>
                    <a:gd name="T68" fmla="*/ 0 w 3583"/>
                    <a:gd name="T69" fmla="*/ 0 h 2227"/>
                    <a:gd name="T70" fmla="*/ 0 w 3583"/>
                    <a:gd name="T71" fmla="*/ 0 h 2227"/>
                    <a:gd name="T72" fmla="*/ 0 w 3583"/>
                    <a:gd name="T73" fmla="*/ 0 h 2227"/>
                    <a:gd name="T74" fmla="*/ 0 w 3583"/>
                    <a:gd name="T75" fmla="*/ 0 h 2227"/>
                    <a:gd name="T76" fmla="*/ 0 w 3583"/>
                    <a:gd name="T77" fmla="*/ 0 h 2227"/>
                    <a:gd name="T78" fmla="*/ 0 w 3583"/>
                    <a:gd name="T79" fmla="*/ 0 h 2227"/>
                    <a:gd name="T80" fmla="*/ 0 w 3583"/>
                    <a:gd name="T81" fmla="*/ 0 h 2227"/>
                    <a:gd name="T82" fmla="*/ 0 w 3583"/>
                    <a:gd name="T83" fmla="*/ 0 h 2227"/>
                    <a:gd name="T84" fmla="*/ 0 w 3583"/>
                    <a:gd name="T85" fmla="*/ 0 h 2227"/>
                    <a:gd name="T86" fmla="*/ 0 w 3583"/>
                    <a:gd name="T87" fmla="*/ 0 h 2227"/>
                    <a:gd name="T88" fmla="*/ 0 w 3583"/>
                    <a:gd name="T89" fmla="*/ 0 h 2227"/>
                    <a:gd name="T90" fmla="*/ 0 w 3583"/>
                    <a:gd name="T91" fmla="*/ 0 h 2227"/>
                    <a:gd name="T92" fmla="*/ 0 w 3583"/>
                    <a:gd name="T93" fmla="*/ 0 h 2227"/>
                    <a:gd name="T94" fmla="*/ 0 w 3583"/>
                    <a:gd name="T95" fmla="*/ 0 h 2227"/>
                    <a:gd name="T96" fmla="*/ 0 w 3583"/>
                    <a:gd name="T97" fmla="*/ 0 h 2227"/>
                    <a:gd name="T98" fmla="*/ 0 w 3583"/>
                    <a:gd name="T99" fmla="*/ 0 h 2227"/>
                    <a:gd name="T100" fmla="*/ 0 w 3583"/>
                    <a:gd name="T101" fmla="*/ 0 h 2227"/>
                    <a:gd name="T102" fmla="*/ 0 w 3583"/>
                    <a:gd name="T103" fmla="*/ 0 h 2227"/>
                    <a:gd name="T104" fmla="*/ 0 w 3583"/>
                    <a:gd name="T105" fmla="*/ 0 h 2227"/>
                    <a:gd name="T106" fmla="*/ 0 w 3583"/>
                    <a:gd name="T107" fmla="*/ 0 h 2227"/>
                    <a:gd name="T108" fmla="*/ 0 w 3583"/>
                    <a:gd name="T109" fmla="*/ 0 h 2227"/>
                    <a:gd name="T110" fmla="*/ 0 w 3583"/>
                    <a:gd name="T111" fmla="*/ 0 h 2227"/>
                    <a:gd name="T112" fmla="*/ 0 w 3583"/>
                    <a:gd name="T113" fmla="*/ 0 h 2227"/>
                    <a:gd name="T114" fmla="*/ 0 w 3583"/>
                    <a:gd name="T115" fmla="*/ 0 h 2227"/>
                    <a:gd name="T116" fmla="*/ 0 w 3583"/>
                    <a:gd name="T117" fmla="*/ 0 h 2227"/>
                    <a:gd name="T118" fmla="*/ 0 w 3583"/>
                    <a:gd name="T119" fmla="*/ 0 h 2227"/>
                    <a:gd name="T120" fmla="*/ 0 w 3583"/>
                    <a:gd name="T121" fmla="*/ 0 h 2227"/>
                    <a:gd name="T122" fmla="*/ 0 w 3583"/>
                    <a:gd name="T123" fmla="*/ 0 h 2227"/>
                    <a:gd name="T124" fmla="*/ 0 w 3583"/>
                    <a:gd name="T125" fmla="*/ 0 h 2227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3583"/>
                    <a:gd name="T190" fmla="*/ 0 h 2227"/>
                    <a:gd name="T191" fmla="*/ 3583 w 3583"/>
                    <a:gd name="T192" fmla="*/ 2227 h 2227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3583" h="2227">
                      <a:moveTo>
                        <a:pt x="3554" y="1071"/>
                      </a:moveTo>
                      <a:lnTo>
                        <a:pt x="3545" y="1035"/>
                      </a:lnTo>
                      <a:lnTo>
                        <a:pt x="3533" y="998"/>
                      </a:lnTo>
                      <a:lnTo>
                        <a:pt x="3521" y="962"/>
                      </a:lnTo>
                      <a:lnTo>
                        <a:pt x="3506" y="925"/>
                      </a:lnTo>
                      <a:lnTo>
                        <a:pt x="3491" y="887"/>
                      </a:lnTo>
                      <a:lnTo>
                        <a:pt x="3473" y="849"/>
                      </a:lnTo>
                      <a:lnTo>
                        <a:pt x="3455" y="810"/>
                      </a:lnTo>
                      <a:lnTo>
                        <a:pt x="3435" y="771"/>
                      </a:lnTo>
                      <a:lnTo>
                        <a:pt x="3414" y="733"/>
                      </a:lnTo>
                      <a:lnTo>
                        <a:pt x="3392" y="694"/>
                      </a:lnTo>
                      <a:lnTo>
                        <a:pt x="3368" y="657"/>
                      </a:lnTo>
                      <a:lnTo>
                        <a:pt x="3344" y="619"/>
                      </a:lnTo>
                      <a:lnTo>
                        <a:pt x="3318" y="581"/>
                      </a:lnTo>
                      <a:lnTo>
                        <a:pt x="3291" y="544"/>
                      </a:lnTo>
                      <a:lnTo>
                        <a:pt x="3264" y="508"/>
                      </a:lnTo>
                      <a:lnTo>
                        <a:pt x="3236" y="472"/>
                      </a:lnTo>
                      <a:lnTo>
                        <a:pt x="3206" y="437"/>
                      </a:lnTo>
                      <a:lnTo>
                        <a:pt x="3176" y="404"/>
                      </a:lnTo>
                      <a:lnTo>
                        <a:pt x="3144" y="372"/>
                      </a:lnTo>
                      <a:lnTo>
                        <a:pt x="3113" y="340"/>
                      </a:lnTo>
                      <a:lnTo>
                        <a:pt x="3081" y="309"/>
                      </a:lnTo>
                      <a:lnTo>
                        <a:pt x="3049" y="282"/>
                      </a:lnTo>
                      <a:lnTo>
                        <a:pt x="3014" y="254"/>
                      </a:lnTo>
                      <a:lnTo>
                        <a:pt x="2981" y="228"/>
                      </a:lnTo>
                      <a:lnTo>
                        <a:pt x="2946" y="205"/>
                      </a:lnTo>
                      <a:lnTo>
                        <a:pt x="2912" y="183"/>
                      </a:lnTo>
                      <a:lnTo>
                        <a:pt x="2876" y="163"/>
                      </a:lnTo>
                      <a:lnTo>
                        <a:pt x="2841" y="145"/>
                      </a:lnTo>
                      <a:lnTo>
                        <a:pt x="2805" y="128"/>
                      </a:lnTo>
                      <a:lnTo>
                        <a:pt x="2769" y="115"/>
                      </a:lnTo>
                      <a:lnTo>
                        <a:pt x="2734" y="104"/>
                      </a:lnTo>
                      <a:lnTo>
                        <a:pt x="2697" y="95"/>
                      </a:lnTo>
                      <a:lnTo>
                        <a:pt x="2615" y="79"/>
                      </a:lnTo>
                      <a:lnTo>
                        <a:pt x="2531" y="66"/>
                      </a:lnTo>
                      <a:lnTo>
                        <a:pt x="2446" y="52"/>
                      </a:lnTo>
                      <a:lnTo>
                        <a:pt x="2359" y="41"/>
                      </a:lnTo>
                      <a:lnTo>
                        <a:pt x="2270" y="32"/>
                      </a:lnTo>
                      <a:lnTo>
                        <a:pt x="2180" y="23"/>
                      </a:lnTo>
                      <a:lnTo>
                        <a:pt x="2089" y="17"/>
                      </a:lnTo>
                      <a:lnTo>
                        <a:pt x="1998" y="11"/>
                      </a:lnTo>
                      <a:lnTo>
                        <a:pt x="1906" y="7"/>
                      </a:lnTo>
                      <a:lnTo>
                        <a:pt x="1814" y="3"/>
                      </a:lnTo>
                      <a:lnTo>
                        <a:pt x="1722" y="1"/>
                      </a:lnTo>
                      <a:lnTo>
                        <a:pt x="1631" y="0"/>
                      </a:lnTo>
                      <a:lnTo>
                        <a:pt x="1541" y="0"/>
                      </a:lnTo>
                      <a:lnTo>
                        <a:pt x="1450" y="1"/>
                      </a:lnTo>
                      <a:lnTo>
                        <a:pt x="1361" y="3"/>
                      </a:lnTo>
                      <a:lnTo>
                        <a:pt x="1274" y="6"/>
                      </a:lnTo>
                      <a:lnTo>
                        <a:pt x="1188" y="9"/>
                      </a:lnTo>
                      <a:lnTo>
                        <a:pt x="1103" y="13"/>
                      </a:lnTo>
                      <a:lnTo>
                        <a:pt x="1021" y="18"/>
                      </a:lnTo>
                      <a:lnTo>
                        <a:pt x="941" y="23"/>
                      </a:lnTo>
                      <a:lnTo>
                        <a:pt x="864" y="30"/>
                      </a:lnTo>
                      <a:lnTo>
                        <a:pt x="789" y="37"/>
                      </a:lnTo>
                      <a:lnTo>
                        <a:pt x="717" y="43"/>
                      </a:lnTo>
                      <a:lnTo>
                        <a:pt x="649" y="51"/>
                      </a:lnTo>
                      <a:lnTo>
                        <a:pt x="583" y="59"/>
                      </a:lnTo>
                      <a:lnTo>
                        <a:pt x="522" y="67"/>
                      </a:lnTo>
                      <a:lnTo>
                        <a:pt x="464" y="76"/>
                      </a:lnTo>
                      <a:lnTo>
                        <a:pt x="411" y="85"/>
                      </a:lnTo>
                      <a:lnTo>
                        <a:pt x="362" y="94"/>
                      </a:lnTo>
                      <a:lnTo>
                        <a:pt x="319" y="102"/>
                      </a:lnTo>
                      <a:lnTo>
                        <a:pt x="279" y="111"/>
                      </a:lnTo>
                      <a:lnTo>
                        <a:pt x="245" y="120"/>
                      </a:lnTo>
                      <a:lnTo>
                        <a:pt x="214" y="130"/>
                      </a:lnTo>
                      <a:lnTo>
                        <a:pt x="186" y="141"/>
                      </a:lnTo>
                      <a:lnTo>
                        <a:pt x="161" y="155"/>
                      </a:lnTo>
                      <a:lnTo>
                        <a:pt x="137" y="169"/>
                      </a:lnTo>
                      <a:lnTo>
                        <a:pt x="116" y="186"/>
                      </a:lnTo>
                      <a:lnTo>
                        <a:pt x="96" y="203"/>
                      </a:lnTo>
                      <a:lnTo>
                        <a:pt x="79" y="222"/>
                      </a:lnTo>
                      <a:lnTo>
                        <a:pt x="64" y="242"/>
                      </a:lnTo>
                      <a:lnTo>
                        <a:pt x="50" y="264"/>
                      </a:lnTo>
                      <a:lnTo>
                        <a:pt x="38" y="286"/>
                      </a:lnTo>
                      <a:lnTo>
                        <a:pt x="28" y="309"/>
                      </a:lnTo>
                      <a:lnTo>
                        <a:pt x="19" y="335"/>
                      </a:lnTo>
                      <a:lnTo>
                        <a:pt x="12" y="361"/>
                      </a:lnTo>
                      <a:lnTo>
                        <a:pt x="8" y="387"/>
                      </a:lnTo>
                      <a:lnTo>
                        <a:pt x="4" y="414"/>
                      </a:lnTo>
                      <a:lnTo>
                        <a:pt x="1" y="443"/>
                      </a:lnTo>
                      <a:lnTo>
                        <a:pt x="0" y="472"/>
                      </a:lnTo>
                      <a:lnTo>
                        <a:pt x="1" y="502"/>
                      </a:lnTo>
                      <a:lnTo>
                        <a:pt x="2" y="532"/>
                      </a:lnTo>
                      <a:lnTo>
                        <a:pt x="6" y="563"/>
                      </a:lnTo>
                      <a:lnTo>
                        <a:pt x="9" y="594"/>
                      </a:lnTo>
                      <a:lnTo>
                        <a:pt x="15" y="627"/>
                      </a:lnTo>
                      <a:lnTo>
                        <a:pt x="20" y="659"/>
                      </a:lnTo>
                      <a:lnTo>
                        <a:pt x="27" y="691"/>
                      </a:lnTo>
                      <a:lnTo>
                        <a:pt x="35" y="723"/>
                      </a:lnTo>
                      <a:lnTo>
                        <a:pt x="44" y="757"/>
                      </a:lnTo>
                      <a:lnTo>
                        <a:pt x="53" y="789"/>
                      </a:lnTo>
                      <a:lnTo>
                        <a:pt x="63" y="822"/>
                      </a:lnTo>
                      <a:lnTo>
                        <a:pt x="84" y="889"/>
                      </a:lnTo>
                      <a:lnTo>
                        <a:pt x="107" y="955"/>
                      </a:lnTo>
                      <a:lnTo>
                        <a:pt x="119" y="987"/>
                      </a:lnTo>
                      <a:lnTo>
                        <a:pt x="133" y="1021"/>
                      </a:lnTo>
                      <a:lnTo>
                        <a:pt x="148" y="1053"/>
                      </a:lnTo>
                      <a:lnTo>
                        <a:pt x="164" y="1085"/>
                      </a:lnTo>
                      <a:lnTo>
                        <a:pt x="179" y="1117"/>
                      </a:lnTo>
                      <a:lnTo>
                        <a:pt x="197" y="1149"/>
                      </a:lnTo>
                      <a:lnTo>
                        <a:pt x="215" y="1179"/>
                      </a:lnTo>
                      <a:lnTo>
                        <a:pt x="234" y="1210"/>
                      </a:lnTo>
                      <a:lnTo>
                        <a:pt x="254" y="1240"/>
                      </a:lnTo>
                      <a:lnTo>
                        <a:pt x="274" y="1269"/>
                      </a:lnTo>
                      <a:lnTo>
                        <a:pt x="295" y="1299"/>
                      </a:lnTo>
                      <a:lnTo>
                        <a:pt x="316" y="1327"/>
                      </a:lnTo>
                      <a:lnTo>
                        <a:pt x="340" y="1356"/>
                      </a:lnTo>
                      <a:lnTo>
                        <a:pt x="362" y="1383"/>
                      </a:lnTo>
                      <a:lnTo>
                        <a:pt x="386" y="1410"/>
                      </a:lnTo>
                      <a:lnTo>
                        <a:pt x="411" y="1437"/>
                      </a:lnTo>
                      <a:lnTo>
                        <a:pt x="435" y="1463"/>
                      </a:lnTo>
                      <a:lnTo>
                        <a:pt x="461" y="1489"/>
                      </a:lnTo>
                      <a:lnTo>
                        <a:pt x="487" y="1515"/>
                      </a:lnTo>
                      <a:lnTo>
                        <a:pt x="513" y="1539"/>
                      </a:lnTo>
                      <a:lnTo>
                        <a:pt x="540" y="1564"/>
                      </a:lnTo>
                      <a:lnTo>
                        <a:pt x="568" y="1587"/>
                      </a:lnTo>
                      <a:lnTo>
                        <a:pt x="596" y="1609"/>
                      </a:lnTo>
                      <a:lnTo>
                        <a:pt x="625" y="1632"/>
                      </a:lnTo>
                      <a:lnTo>
                        <a:pt x="652" y="1654"/>
                      </a:lnTo>
                      <a:lnTo>
                        <a:pt x="683" y="1675"/>
                      </a:lnTo>
                      <a:lnTo>
                        <a:pt x="711" y="1696"/>
                      </a:lnTo>
                      <a:lnTo>
                        <a:pt x="742" y="1715"/>
                      </a:lnTo>
                      <a:lnTo>
                        <a:pt x="772" y="1735"/>
                      </a:lnTo>
                      <a:lnTo>
                        <a:pt x="802" y="1753"/>
                      </a:lnTo>
                      <a:lnTo>
                        <a:pt x="832" y="1772"/>
                      </a:lnTo>
                      <a:lnTo>
                        <a:pt x="863" y="1788"/>
                      </a:lnTo>
                      <a:lnTo>
                        <a:pt x="917" y="1818"/>
                      </a:lnTo>
                      <a:lnTo>
                        <a:pt x="974" y="1847"/>
                      </a:lnTo>
                      <a:lnTo>
                        <a:pt x="1034" y="1876"/>
                      </a:lnTo>
                      <a:lnTo>
                        <a:pt x="1097" y="1905"/>
                      </a:lnTo>
                      <a:lnTo>
                        <a:pt x="1160" y="1934"/>
                      </a:lnTo>
                      <a:lnTo>
                        <a:pt x="1226" y="1962"/>
                      </a:lnTo>
                      <a:lnTo>
                        <a:pt x="1294" y="1989"/>
                      </a:lnTo>
                      <a:lnTo>
                        <a:pt x="1364" y="2015"/>
                      </a:lnTo>
                      <a:lnTo>
                        <a:pt x="1434" y="2040"/>
                      </a:lnTo>
                      <a:lnTo>
                        <a:pt x="1506" y="2064"/>
                      </a:lnTo>
                      <a:lnTo>
                        <a:pt x="1580" y="2088"/>
                      </a:lnTo>
                      <a:lnTo>
                        <a:pt x="1654" y="2110"/>
                      </a:lnTo>
                      <a:lnTo>
                        <a:pt x="1729" y="2130"/>
                      </a:lnTo>
                      <a:lnTo>
                        <a:pt x="1804" y="2149"/>
                      </a:lnTo>
                      <a:lnTo>
                        <a:pt x="1880" y="2166"/>
                      </a:lnTo>
                      <a:lnTo>
                        <a:pt x="1956" y="2181"/>
                      </a:lnTo>
                      <a:lnTo>
                        <a:pt x="2033" y="2195"/>
                      </a:lnTo>
                      <a:lnTo>
                        <a:pt x="2108" y="2206"/>
                      </a:lnTo>
                      <a:lnTo>
                        <a:pt x="2184" y="2215"/>
                      </a:lnTo>
                      <a:lnTo>
                        <a:pt x="2260" y="2221"/>
                      </a:lnTo>
                      <a:lnTo>
                        <a:pt x="2334" y="2225"/>
                      </a:lnTo>
                      <a:lnTo>
                        <a:pt x="2409" y="2227"/>
                      </a:lnTo>
                      <a:lnTo>
                        <a:pt x="2482" y="2226"/>
                      </a:lnTo>
                      <a:lnTo>
                        <a:pt x="2553" y="2221"/>
                      </a:lnTo>
                      <a:lnTo>
                        <a:pt x="2625" y="2215"/>
                      </a:lnTo>
                      <a:lnTo>
                        <a:pt x="2694" y="2205"/>
                      </a:lnTo>
                      <a:lnTo>
                        <a:pt x="2762" y="2191"/>
                      </a:lnTo>
                      <a:lnTo>
                        <a:pt x="2827" y="2175"/>
                      </a:lnTo>
                      <a:lnTo>
                        <a:pt x="2892" y="2155"/>
                      </a:lnTo>
                      <a:lnTo>
                        <a:pt x="2954" y="2131"/>
                      </a:lnTo>
                      <a:lnTo>
                        <a:pt x="3013" y="2103"/>
                      </a:lnTo>
                      <a:lnTo>
                        <a:pt x="3071" y="2072"/>
                      </a:lnTo>
                      <a:lnTo>
                        <a:pt x="3104" y="2051"/>
                      </a:lnTo>
                      <a:lnTo>
                        <a:pt x="3138" y="2030"/>
                      </a:lnTo>
                      <a:lnTo>
                        <a:pt x="3170" y="2007"/>
                      </a:lnTo>
                      <a:lnTo>
                        <a:pt x="3202" y="1984"/>
                      </a:lnTo>
                      <a:lnTo>
                        <a:pt x="3232" y="1960"/>
                      </a:lnTo>
                      <a:lnTo>
                        <a:pt x="3262" y="1935"/>
                      </a:lnTo>
                      <a:lnTo>
                        <a:pt x="3290" y="1911"/>
                      </a:lnTo>
                      <a:lnTo>
                        <a:pt x="3318" y="1885"/>
                      </a:lnTo>
                      <a:lnTo>
                        <a:pt x="3344" y="1859"/>
                      </a:lnTo>
                      <a:lnTo>
                        <a:pt x="3369" y="1832"/>
                      </a:lnTo>
                      <a:lnTo>
                        <a:pt x="3393" y="1804"/>
                      </a:lnTo>
                      <a:lnTo>
                        <a:pt x="3416" y="1775"/>
                      </a:lnTo>
                      <a:lnTo>
                        <a:pt x="3437" y="1746"/>
                      </a:lnTo>
                      <a:lnTo>
                        <a:pt x="3457" y="1716"/>
                      </a:lnTo>
                      <a:lnTo>
                        <a:pt x="3476" y="1686"/>
                      </a:lnTo>
                      <a:lnTo>
                        <a:pt x="3493" y="1655"/>
                      </a:lnTo>
                      <a:lnTo>
                        <a:pt x="3510" y="1623"/>
                      </a:lnTo>
                      <a:lnTo>
                        <a:pt x="3523" y="1590"/>
                      </a:lnTo>
                      <a:lnTo>
                        <a:pt x="3536" y="1557"/>
                      </a:lnTo>
                      <a:lnTo>
                        <a:pt x="3548" y="1524"/>
                      </a:lnTo>
                      <a:lnTo>
                        <a:pt x="3557" y="1489"/>
                      </a:lnTo>
                      <a:lnTo>
                        <a:pt x="3566" y="1455"/>
                      </a:lnTo>
                      <a:lnTo>
                        <a:pt x="3573" y="1419"/>
                      </a:lnTo>
                      <a:lnTo>
                        <a:pt x="3577" y="1382"/>
                      </a:lnTo>
                      <a:lnTo>
                        <a:pt x="3581" y="1346"/>
                      </a:lnTo>
                      <a:lnTo>
                        <a:pt x="3583" y="1308"/>
                      </a:lnTo>
                      <a:lnTo>
                        <a:pt x="3583" y="1270"/>
                      </a:lnTo>
                      <a:lnTo>
                        <a:pt x="3581" y="1231"/>
                      </a:lnTo>
                      <a:lnTo>
                        <a:pt x="3577" y="1192"/>
                      </a:lnTo>
                      <a:lnTo>
                        <a:pt x="3572" y="1152"/>
                      </a:lnTo>
                      <a:lnTo>
                        <a:pt x="3564" y="1112"/>
                      </a:lnTo>
                      <a:lnTo>
                        <a:pt x="3554" y="1071"/>
                      </a:lnTo>
                      <a:close/>
                    </a:path>
                  </a:pathLst>
                </a:custGeom>
                <a:solidFill>
                  <a:srgbClr val="242D54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416" name="Freeform 207"/>
                <p:cNvSpPr>
                  <a:spLocks/>
                </p:cNvSpPr>
                <p:nvPr/>
              </p:nvSpPr>
              <p:spPr bwMode="auto">
                <a:xfrm>
                  <a:off x="3638" y="2652"/>
                  <a:ext cx="508" cy="269"/>
                </a:xfrm>
                <a:custGeom>
                  <a:avLst/>
                  <a:gdLst>
                    <a:gd name="T0" fmla="*/ 0 w 3582"/>
                    <a:gd name="T1" fmla="*/ 0 h 1884"/>
                    <a:gd name="T2" fmla="*/ 0 w 3582"/>
                    <a:gd name="T3" fmla="*/ 0 h 1884"/>
                    <a:gd name="T4" fmla="*/ 0 w 3582"/>
                    <a:gd name="T5" fmla="*/ 0 h 1884"/>
                    <a:gd name="T6" fmla="*/ 0 w 3582"/>
                    <a:gd name="T7" fmla="*/ 0 h 1884"/>
                    <a:gd name="T8" fmla="*/ 0 w 3582"/>
                    <a:gd name="T9" fmla="*/ 0 h 1884"/>
                    <a:gd name="T10" fmla="*/ 0 w 3582"/>
                    <a:gd name="T11" fmla="*/ 0 h 1884"/>
                    <a:gd name="T12" fmla="*/ 0 w 3582"/>
                    <a:gd name="T13" fmla="*/ 0 h 1884"/>
                    <a:gd name="T14" fmla="*/ 0 w 3582"/>
                    <a:gd name="T15" fmla="*/ 0 h 1884"/>
                    <a:gd name="T16" fmla="*/ 0 w 3582"/>
                    <a:gd name="T17" fmla="*/ 0 h 1884"/>
                    <a:gd name="T18" fmla="*/ 0 w 3582"/>
                    <a:gd name="T19" fmla="*/ 0 h 1884"/>
                    <a:gd name="T20" fmla="*/ 0 w 3582"/>
                    <a:gd name="T21" fmla="*/ 0 h 1884"/>
                    <a:gd name="T22" fmla="*/ 0 w 3582"/>
                    <a:gd name="T23" fmla="*/ 0 h 1884"/>
                    <a:gd name="T24" fmla="*/ 0 w 3582"/>
                    <a:gd name="T25" fmla="*/ 0 h 1884"/>
                    <a:gd name="T26" fmla="*/ 0 w 3582"/>
                    <a:gd name="T27" fmla="*/ 0 h 1884"/>
                    <a:gd name="T28" fmla="*/ 0 w 3582"/>
                    <a:gd name="T29" fmla="*/ 0 h 1884"/>
                    <a:gd name="T30" fmla="*/ 0 w 3582"/>
                    <a:gd name="T31" fmla="*/ 0 h 1884"/>
                    <a:gd name="T32" fmla="*/ 0 w 3582"/>
                    <a:gd name="T33" fmla="*/ 0 h 1884"/>
                    <a:gd name="T34" fmla="*/ 0 w 3582"/>
                    <a:gd name="T35" fmla="*/ 0 h 1884"/>
                    <a:gd name="T36" fmla="*/ 0 w 3582"/>
                    <a:gd name="T37" fmla="*/ 0 h 1884"/>
                    <a:gd name="T38" fmla="*/ 0 w 3582"/>
                    <a:gd name="T39" fmla="*/ 0 h 1884"/>
                    <a:gd name="T40" fmla="*/ 0 w 3582"/>
                    <a:gd name="T41" fmla="*/ 0 h 1884"/>
                    <a:gd name="T42" fmla="*/ 0 w 3582"/>
                    <a:gd name="T43" fmla="*/ 0 h 1884"/>
                    <a:gd name="T44" fmla="*/ 0 w 3582"/>
                    <a:gd name="T45" fmla="*/ 0 h 1884"/>
                    <a:gd name="T46" fmla="*/ 0 w 3582"/>
                    <a:gd name="T47" fmla="*/ 0 h 1884"/>
                    <a:gd name="T48" fmla="*/ 0 w 3582"/>
                    <a:gd name="T49" fmla="*/ 0 h 1884"/>
                    <a:gd name="T50" fmla="*/ 0 w 3582"/>
                    <a:gd name="T51" fmla="*/ 0 h 1884"/>
                    <a:gd name="T52" fmla="*/ 0 w 3582"/>
                    <a:gd name="T53" fmla="*/ 0 h 1884"/>
                    <a:gd name="T54" fmla="*/ 0 w 3582"/>
                    <a:gd name="T55" fmla="*/ 0 h 1884"/>
                    <a:gd name="T56" fmla="*/ 0 w 3582"/>
                    <a:gd name="T57" fmla="*/ 0 h 1884"/>
                    <a:gd name="T58" fmla="*/ 0 w 3582"/>
                    <a:gd name="T59" fmla="*/ 0 h 1884"/>
                    <a:gd name="T60" fmla="*/ 0 w 3582"/>
                    <a:gd name="T61" fmla="*/ 0 h 1884"/>
                    <a:gd name="T62" fmla="*/ 0 w 3582"/>
                    <a:gd name="T63" fmla="*/ 0 h 1884"/>
                    <a:gd name="T64" fmla="*/ 0 w 3582"/>
                    <a:gd name="T65" fmla="*/ 0 h 1884"/>
                    <a:gd name="T66" fmla="*/ 0 w 3582"/>
                    <a:gd name="T67" fmla="*/ 0 h 1884"/>
                    <a:gd name="T68" fmla="*/ 0 w 3582"/>
                    <a:gd name="T69" fmla="*/ 0 h 1884"/>
                    <a:gd name="T70" fmla="*/ 0 w 3582"/>
                    <a:gd name="T71" fmla="*/ 0 h 1884"/>
                    <a:gd name="T72" fmla="*/ 0 w 3582"/>
                    <a:gd name="T73" fmla="*/ 0 h 1884"/>
                    <a:gd name="T74" fmla="*/ 0 w 3582"/>
                    <a:gd name="T75" fmla="*/ 0 h 1884"/>
                    <a:gd name="T76" fmla="*/ 0 w 3582"/>
                    <a:gd name="T77" fmla="*/ 0 h 1884"/>
                    <a:gd name="T78" fmla="*/ 0 w 3582"/>
                    <a:gd name="T79" fmla="*/ 0 h 1884"/>
                    <a:gd name="T80" fmla="*/ 0 w 3582"/>
                    <a:gd name="T81" fmla="*/ 0 h 1884"/>
                    <a:gd name="T82" fmla="*/ 0 w 3582"/>
                    <a:gd name="T83" fmla="*/ 0 h 1884"/>
                    <a:gd name="T84" fmla="*/ 0 w 3582"/>
                    <a:gd name="T85" fmla="*/ 0 h 1884"/>
                    <a:gd name="T86" fmla="*/ 0 w 3582"/>
                    <a:gd name="T87" fmla="*/ 0 h 1884"/>
                    <a:gd name="T88" fmla="*/ 0 w 3582"/>
                    <a:gd name="T89" fmla="*/ 0 h 1884"/>
                    <a:gd name="T90" fmla="*/ 0 w 3582"/>
                    <a:gd name="T91" fmla="*/ 0 h 1884"/>
                    <a:gd name="T92" fmla="*/ 0 w 3582"/>
                    <a:gd name="T93" fmla="*/ 0 h 1884"/>
                    <a:gd name="T94" fmla="*/ 0 w 3582"/>
                    <a:gd name="T95" fmla="*/ 0 h 1884"/>
                    <a:gd name="T96" fmla="*/ 0 w 3582"/>
                    <a:gd name="T97" fmla="*/ 0 h 1884"/>
                    <a:gd name="T98" fmla="*/ 0 w 3582"/>
                    <a:gd name="T99" fmla="*/ 0 h 1884"/>
                    <a:gd name="T100" fmla="*/ 0 w 3582"/>
                    <a:gd name="T101" fmla="*/ 0 h 1884"/>
                    <a:gd name="T102" fmla="*/ 0 w 3582"/>
                    <a:gd name="T103" fmla="*/ 0 h 1884"/>
                    <a:gd name="T104" fmla="*/ 0 w 3582"/>
                    <a:gd name="T105" fmla="*/ 0 h 1884"/>
                    <a:gd name="T106" fmla="*/ 0 w 3582"/>
                    <a:gd name="T107" fmla="*/ 0 h 1884"/>
                    <a:gd name="T108" fmla="*/ 0 w 3582"/>
                    <a:gd name="T109" fmla="*/ 0 h 1884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3582"/>
                    <a:gd name="T166" fmla="*/ 0 h 1884"/>
                    <a:gd name="T167" fmla="*/ 3582 w 3582"/>
                    <a:gd name="T168" fmla="*/ 1884 h 1884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3582" h="1884">
                      <a:moveTo>
                        <a:pt x="3553" y="728"/>
                      </a:moveTo>
                      <a:lnTo>
                        <a:pt x="3550" y="715"/>
                      </a:lnTo>
                      <a:lnTo>
                        <a:pt x="3547" y="702"/>
                      </a:lnTo>
                      <a:lnTo>
                        <a:pt x="3542" y="689"/>
                      </a:lnTo>
                      <a:lnTo>
                        <a:pt x="3539" y="677"/>
                      </a:lnTo>
                      <a:lnTo>
                        <a:pt x="3533" y="701"/>
                      </a:lnTo>
                      <a:lnTo>
                        <a:pt x="3527" y="725"/>
                      </a:lnTo>
                      <a:lnTo>
                        <a:pt x="3520" y="749"/>
                      </a:lnTo>
                      <a:lnTo>
                        <a:pt x="3512" y="773"/>
                      </a:lnTo>
                      <a:lnTo>
                        <a:pt x="3504" y="796"/>
                      </a:lnTo>
                      <a:lnTo>
                        <a:pt x="3495" y="819"/>
                      </a:lnTo>
                      <a:lnTo>
                        <a:pt x="3485" y="842"/>
                      </a:lnTo>
                      <a:lnTo>
                        <a:pt x="3475" y="864"/>
                      </a:lnTo>
                      <a:lnTo>
                        <a:pt x="3463" y="886"/>
                      </a:lnTo>
                      <a:lnTo>
                        <a:pt x="3452" y="908"/>
                      </a:lnTo>
                      <a:lnTo>
                        <a:pt x="3439" y="929"/>
                      </a:lnTo>
                      <a:lnTo>
                        <a:pt x="3426" y="951"/>
                      </a:lnTo>
                      <a:lnTo>
                        <a:pt x="3412" y="972"/>
                      </a:lnTo>
                      <a:lnTo>
                        <a:pt x="3398" y="992"/>
                      </a:lnTo>
                      <a:lnTo>
                        <a:pt x="3382" y="1012"/>
                      </a:lnTo>
                      <a:lnTo>
                        <a:pt x="3366" y="1032"/>
                      </a:lnTo>
                      <a:lnTo>
                        <a:pt x="3351" y="1052"/>
                      </a:lnTo>
                      <a:lnTo>
                        <a:pt x="3333" y="1071"/>
                      </a:lnTo>
                      <a:lnTo>
                        <a:pt x="3316" y="1090"/>
                      </a:lnTo>
                      <a:lnTo>
                        <a:pt x="3297" y="1108"/>
                      </a:lnTo>
                      <a:lnTo>
                        <a:pt x="3280" y="1126"/>
                      </a:lnTo>
                      <a:lnTo>
                        <a:pt x="3260" y="1144"/>
                      </a:lnTo>
                      <a:lnTo>
                        <a:pt x="3241" y="1162"/>
                      </a:lnTo>
                      <a:lnTo>
                        <a:pt x="3221" y="1179"/>
                      </a:lnTo>
                      <a:lnTo>
                        <a:pt x="3199" y="1195"/>
                      </a:lnTo>
                      <a:lnTo>
                        <a:pt x="3178" y="1212"/>
                      </a:lnTo>
                      <a:lnTo>
                        <a:pt x="3156" y="1229"/>
                      </a:lnTo>
                      <a:lnTo>
                        <a:pt x="3134" y="1244"/>
                      </a:lnTo>
                      <a:lnTo>
                        <a:pt x="3088" y="1276"/>
                      </a:lnTo>
                      <a:lnTo>
                        <a:pt x="3041" y="1304"/>
                      </a:lnTo>
                      <a:lnTo>
                        <a:pt x="2984" y="1336"/>
                      </a:lnTo>
                      <a:lnTo>
                        <a:pt x="2925" y="1363"/>
                      </a:lnTo>
                      <a:lnTo>
                        <a:pt x="2862" y="1387"/>
                      </a:lnTo>
                      <a:lnTo>
                        <a:pt x="2799" y="1407"/>
                      </a:lnTo>
                      <a:lnTo>
                        <a:pt x="2732" y="1424"/>
                      </a:lnTo>
                      <a:lnTo>
                        <a:pt x="2664" y="1437"/>
                      </a:lnTo>
                      <a:lnTo>
                        <a:pt x="2595" y="1447"/>
                      </a:lnTo>
                      <a:lnTo>
                        <a:pt x="2525" y="1455"/>
                      </a:lnTo>
                      <a:lnTo>
                        <a:pt x="2453" y="1458"/>
                      </a:lnTo>
                      <a:lnTo>
                        <a:pt x="2379" y="1459"/>
                      </a:lnTo>
                      <a:lnTo>
                        <a:pt x="2305" y="1458"/>
                      </a:lnTo>
                      <a:lnTo>
                        <a:pt x="2230" y="1454"/>
                      </a:lnTo>
                      <a:lnTo>
                        <a:pt x="2154" y="1447"/>
                      </a:lnTo>
                      <a:lnTo>
                        <a:pt x="2079" y="1438"/>
                      </a:lnTo>
                      <a:lnTo>
                        <a:pt x="2003" y="1427"/>
                      </a:lnTo>
                      <a:lnTo>
                        <a:pt x="1926" y="1414"/>
                      </a:lnTo>
                      <a:lnTo>
                        <a:pt x="1850" y="1398"/>
                      </a:lnTo>
                      <a:lnTo>
                        <a:pt x="1775" y="1381"/>
                      </a:lnTo>
                      <a:lnTo>
                        <a:pt x="1699" y="1362"/>
                      </a:lnTo>
                      <a:lnTo>
                        <a:pt x="1625" y="1342"/>
                      </a:lnTo>
                      <a:lnTo>
                        <a:pt x="1550" y="1320"/>
                      </a:lnTo>
                      <a:lnTo>
                        <a:pt x="1477" y="1298"/>
                      </a:lnTo>
                      <a:lnTo>
                        <a:pt x="1404" y="1273"/>
                      </a:lnTo>
                      <a:lnTo>
                        <a:pt x="1334" y="1248"/>
                      </a:lnTo>
                      <a:lnTo>
                        <a:pt x="1264" y="1221"/>
                      </a:lnTo>
                      <a:lnTo>
                        <a:pt x="1197" y="1194"/>
                      </a:lnTo>
                      <a:lnTo>
                        <a:pt x="1130" y="1166"/>
                      </a:lnTo>
                      <a:lnTo>
                        <a:pt x="1067" y="1139"/>
                      </a:lnTo>
                      <a:lnTo>
                        <a:pt x="1005" y="1110"/>
                      </a:lnTo>
                      <a:lnTo>
                        <a:pt x="944" y="1080"/>
                      </a:lnTo>
                      <a:lnTo>
                        <a:pt x="888" y="1051"/>
                      </a:lnTo>
                      <a:lnTo>
                        <a:pt x="833" y="1022"/>
                      </a:lnTo>
                      <a:lnTo>
                        <a:pt x="802" y="1004"/>
                      </a:lnTo>
                      <a:lnTo>
                        <a:pt x="772" y="986"/>
                      </a:lnTo>
                      <a:lnTo>
                        <a:pt x="742" y="967"/>
                      </a:lnTo>
                      <a:lnTo>
                        <a:pt x="712" y="948"/>
                      </a:lnTo>
                      <a:lnTo>
                        <a:pt x="682" y="928"/>
                      </a:lnTo>
                      <a:lnTo>
                        <a:pt x="653" y="907"/>
                      </a:lnTo>
                      <a:lnTo>
                        <a:pt x="624" y="886"/>
                      </a:lnTo>
                      <a:lnTo>
                        <a:pt x="595" y="865"/>
                      </a:lnTo>
                      <a:lnTo>
                        <a:pt x="566" y="843"/>
                      </a:lnTo>
                      <a:lnTo>
                        <a:pt x="538" y="819"/>
                      </a:lnTo>
                      <a:lnTo>
                        <a:pt x="512" y="796"/>
                      </a:lnTo>
                      <a:lnTo>
                        <a:pt x="484" y="771"/>
                      </a:lnTo>
                      <a:lnTo>
                        <a:pt x="457" y="747"/>
                      </a:lnTo>
                      <a:lnTo>
                        <a:pt x="431" y="722"/>
                      </a:lnTo>
                      <a:lnTo>
                        <a:pt x="406" y="696"/>
                      </a:lnTo>
                      <a:lnTo>
                        <a:pt x="381" y="670"/>
                      </a:lnTo>
                      <a:lnTo>
                        <a:pt x="357" y="643"/>
                      </a:lnTo>
                      <a:lnTo>
                        <a:pt x="333" y="616"/>
                      </a:lnTo>
                      <a:lnTo>
                        <a:pt x="310" y="588"/>
                      </a:lnTo>
                      <a:lnTo>
                        <a:pt x="288" y="560"/>
                      </a:lnTo>
                      <a:lnTo>
                        <a:pt x="266" y="531"/>
                      </a:lnTo>
                      <a:lnTo>
                        <a:pt x="244" y="502"/>
                      </a:lnTo>
                      <a:lnTo>
                        <a:pt x="224" y="472"/>
                      </a:lnTo>
                      <a:lnTo>
                        <a:pt x="204" y="442"/>
                      </a:lnTo>
                      <a:lnTo>
                        <a:pt x="185" y="412"/>
                      </a:lnTo>
                      <a:lnTo>
                        <a:pt x="168" y="381"/>
                      </a:lnTo>
                      <a:lnTo>
                        <a:pt x="150" y="350"/>
                      </a:lnTo>
                      <a:lnTo>
                        <a:pt x="134" y="317"/>
                      </a:lnTo>
                      <a:lnTo>
                        <a:pt x="119" y="286"/>
                      </a:lnTo>
                      <a:lnTo>
                        <a:pt x="104" y="253"/>
                      </a:lnTo>
                      <a:lnTo>
                        <a:pt x="90" y="221"/>
                      </a:lnTo>
                      <a:lnTo>
                        <a:pt x="77" y="187"/>
                      </a:lnTo>
                      <a:lnTo>
                        <a:pt x="69" y="164"/>
                      </a:lnTo>
                      <a:lnTo>
                        <a:pt x="61" y="140"/>
                      </a:lnTo>
                      <a:lnTo>
                        <a:pt x="53" y="117"/>
                      </a:lnTo>
                      <a:lnTo>
                        <a:pt x="45" y="94"/>
                      </a:lnTo>
                      <a:lnTo>
                        <a:pt x="37" y="70"/>
                      </a:lnTo>
                      <a:lnTo>
                        <a:pt x="31" y="47"/>
                      </a:lnTo>
                      <a:lnTo>
                        <a:pt x="23" y="24"/>
                      </a:lnTo>
                      <a:lnTo>
                        <a:pt x="17" y="0"/>
                      </a:lnTo>
                      <a:lnTo>
                        <a:pt x="13" y="16"/>
                      </a:lnTo>
                      <a:lnTo>
                        <a:pt x="10" y="33"/>
                      </a:lnTo>
                      <a:lnTo>
                        <a:pt x="6" y="49"/>
                      </a:lnTo>
                      <a:lnTo>
                        <a:pt x="4" y="66"/>
                      </a:lnTo>
                      <a:lnTo>
                        <a:pt x="1" y="100"/>
                      </a:lnTo>
                      <a:lnTo>
                        <a:pt x="0" y="136"/>
                      </a:lnTo>
                      <a:lnTo>
                        <a:pt x="1" y="173"/>
                      </a:lnTo>
                      <a:lnTo>
                        <a:pt x="4" y="211"/>
                      </a:lnTo>
                      <a:lnTo>
                        <a:pt x="8" y="250"/>
                      </a:lnTo>
                      <a:lnTo>
                        <a:pt x="14" y="288"/>
                      </a:lnTo>
                      <a:lnTo>
                        <a:pt x="22" y="329"/>
                      </a:lnTo>
                      <a:lnTo>
                        <a:pt x="31" y="369"/>
                      </a:lnTo>
                      <a:lnTo>
                        <a:pt x="41" y="409"/>
                      </a:lnTo>
                      <a:lnTo>
                        <a:pt x="52" y="450"/>
                      </a:lnTo>
                      <a:lnTo>
                        <a:pt x="64" y="491"/>
                      </a:lnTo>
                      <a:lnTo>
                        <a:pt x="77" y="531"/>
                      </a:lnTo>
                      <a:lnTo>
                        <a:pt x="91" y="572"/>
                      </a:lnTo>
                      <a:lnTo>
                        <a:pt x="105" y="612"/>
                      </a:lnTo>
                      <a:lnTo>
                        <a:pt x="119" y="646"/>
                      </a:lnTo>
                      <a:lnTo>
                        <a:pt x="132" y="678"/>
                      </a:lnTo>
                      <a:lnTo>
                        <a:pt x="146" y="710"/>
                      </a:lnTo>
                      <a:lnTo>
                        <a:pt x="162" y="742"/>
                      </a:lnTo>
                      <a:lnTo>
                        <a:pt x="179" y="775"/>
                      </a:lnTo>
                      <a:lnTo>
                        <a:pt x="195" y="806"/>
                      </a:lnTo>
                      <a:lnTo>
                        <a:pt x="214" y="837"/>
                      </a:lnTo>
                      <a:lnTo>
                        <a:pt x="233" y="867"/>
                      </a:lnTo>
                      <a:lnTo>
                        <a:pt x="252" y="897"/>
                      </a:lnTo>
                      <a:lnTo>
                        <a:pt x="272" y="927"/>
                      </a:lnTo>
                      <a:lnTo>
                        <a:pt x="293" y="956"/>
                      </a:lnTo>
                      <a:lnTo>
                        <a:pt x="316" y="985"/>
                      </a:lnTo>
                      <a:lnTo>
                        <a:pt x="338" y="1013"/>
                      </a:lnTo>
                      <a:lnTo>
                        <a:pt x="361" y="1041"/>
                      </a:lnTo>
                      <a:lnTo>
                        <a:pt x="385" y="1069"/>
                      </a:lnTo>
                      <a:lnTo>
                        <a:pt x="409" y="1095"/>
                      </a:lnTo>
                      <a:lnTo>
                        <a:pt x="435" y="1121"/>
                      </a:lnTo>
                      <a:lnTo>
                        <a:pt x="460" y="1146"/>
                      </a:lnTo>
                      <a:lnTo>
                        <a:pt x="486" y="1172"/>
                      </a:lnTo>
                      <a:lnTo>
                        <a:pt x="513" y="1197"/>
                      </a:lnTo>
                      <a:lnTo>
                        <a:pt x="539" y="1221"/>
                      </a:lnTo>
                      <a:lnTo>
                        <a:pt x="567" y="1244"/>
                      </a:lnTo>
                      <a:lnTo>
                        <a:pt x="595" y="1268"/>
                      </a:lnTo>
                      <a:lnTo>
                        <a:pt x="623" y="1290"/>
                      </a:lnTo>
                      <a:lnTo>
                        <a:pt x="652" y="1311"/>
                      </a:lnTo>
                      <a:lnTo>
                        <a:pt x="681" y="1332"/>
                      </a:lnTo>
                      <a:lnTo>
                        <a:pt x="711" y="1353"/>
                      </a:lnTo>
                      <a:lnTo>
                        <a:pt x="740" y="1373"/>
                      </a:lnTo>
                      <a:lnTo>
                        <a:pt x="770" y="1392"/>
                      </a:lnTo>
                      <a:lnTo>
                        <a:pt x="800" y="1411"/>
                      </a:lnTo>
                      <a:lnTo>
                        <a:pt x="831" y="1429"/>
                      </a:lnTo>
                      <a:lnTo>
                        <a:pt x="861" y="1446"/>
                      </a:lnTo>
                      <a:lnTo>
                        <a:pt x="916" y="1476"/>
                      </a:lnTo>
                      <a:lnTo>
                        <a:pt x="973" y="1505"/>
                      </a:lnTo>
                      <a:lnTo>
                        <a:pt x="1032" y="1535"/>
                      </a:lnTo>
                      <a:lnTo>
                        <a:pt x="1095" y="1563"/>
                      </a:lnTo>
                      <a:lnTo>
                        <a:pt x="1159" y="1592"/>
                      </a:lnTo>
                      <a:lnTo>
                        <a:pt x="1225" y="1619"/>
                      </a:lnTo>
                      <a:lnTo>
                        <a:pt x="1293" y="1646"/>
                      </a:lnTo>
                      <a:lnTo>
                        <a:pt x="1362" y="1673"/>
                      </a:lnTo>
                      <a:lnTo>
                        <a:pt x="1433" y="1698"/>
                      </a:lnTo>
                      <a:lnTo>
                        <a:pt x="1505" y="1723"/>
                      </a:lnTo>
                      <a:lnTo>
                        <a:pt x="1579" y="1745"/>
                      </a:lnTo>
                      <a:lnTo>
                        <a:pt x="1652" y="1767"/>
                      </a:lnTo>
                      <a:lnTo>
                        <a:pt x="1727" y="1787"/>
                      </a:lnTo>
                      <a:lnTo>
                        <a:pt x="1803" y="1806"/>
                      </a:lnTo>
                      <a:lnTo>
                        <a:pt x="1878" y="1823"/>
                      </a:lnTo>
                      <a:lnTo>
                        <a:pt x="1955" y="1839"/>
                      </a:lnTo>
                      <a:lnTo>
                        <a:pt x="2031" y="1852"/>
                      </a:lnTo>
                      <a:lnTo>
                        <a:pt x="2108" y="1863"/>
                      </a:lnTo>
                      <a:lnTo>
                        <a:pt x="2183" y="1872"/>
                      </a:lnTo>
                      <a:lnTo>
                        <a:pt x="2259" y="1879"/>
                      </a:lnTo>
                      <a:lnTo>
                        <a:pt x="2334" y="1883"/>
                      </a:lnTo>
                      <a:lnTo>
                        <a:pt x="2408" y="1884"/>
                      </a:lnTo>
                      <a:lnTo>
                        <a:pt x="2480" y="1883"/>
                      </a:lnTo>
                      <a:lnTo>
                        <a:pt x="2553" y="1879"/>
                      </a:lnTo>
                      <a:lnTo>
                        <a:pt x="2624" y="1872"/>
                      </a:lnTo>
                      <a:lnTo>
                        <a:pt x="2693" y="1862"/>
                      </a:lnTo>
                      <a:lnTo>
                        <a:pt x="2761" y="1849"/>
                      </a:lnTo>
                      <a:lnTo>
                        <a:pt x="2827" y="1832"/>
                      </a:lnTo>
                      <a:lnTo>
                        <a:pt x="2891" y="1812"/>
                      </a:lnTo>
                      <a:lnTo>
                        <a:pt x="2952" y="1789"/>
                      </a:lnTo>
                      <a:lnTo>
                        <a:pt x="3012" y="1761"/>
                      </a:lnTo>
                      <a:lnTo>
                        <a:pt x="3069" y="1730"/>
                      </a:lnTo>
                      <a:lnTo>
                        <a:pt x="3104" y="1708"/>
                      </a:lnTo>
                      <a:lnTo>
                        <a:pt x="3137" y="1687"/>
                      </a:lnTo>
                      <a:lnTo>
                        <a:pt x="3169" y="1665"/>
                      </a:lnTo>
                      <a:lnTo>
                        <a:pt x="3201" y="1642"/>
                      </a:lnTo>
                      <a:lnTo>
                        <a:pt x="3232" y="1618"/>
                      </a:lnTo>
                      <a:lnTo>
                        <a:pt x="3261" y="1594"/>
                      </a:lnTo>
                      <a:lnTo>
                        <a:pt x="3290" y="1568"/>
                      </a:lnTo>
                      <a:lnTo>
                        <a:pt x="3316" y="1543"/>
                      </a:lnTo>
                      <a:lnTo>
                        <a:pt x="3343" y="1516"/>
                      </a:lnTo>
                      <a:lnTo>
                        <a:pt x="3367" y="1489"/>
                      </a:lnTo>
                      <a:lnTo>
                        <a:pt x="3392" y="1461"/>
                      </a:lnTo>
                      <a:lnTo>
                        <a:pt x="3414" y="1432"/>
                      </a:lnTo>
                      <a:lnTo>
                        <a:pt x="3435" y="1404"/>
                      </a:lnTo>
                      <a:lnTo>
                        <a:pt x="3455" y="1373"/>
                      </a:lnTo>
                      <a:lnTo>
                        <a:pt x="3474" y="1343"/>
                      </a:lnTo>
                      <a:lnTo>
                        <a:pt x="3492" y="1312"/>
                      </a:lnTo>
                      <a:lnTo>
                        <a:pt x="3508" y="1280"/>
                      </a:lnTo>
                      <a:lnTo>
                        <a:pt x="3522" y="1248"/>
                      </a:lnTo>
                      <a:lnTo>
                        <a:pt x="3536" y="1215"/>
                      </a:lnTo>
                      <a:lnTo>
                        <a:pt x="3547" y="1181"/>
                      </a:lnTo>
                      <a:lnTo>
                        <a:pt x="3557" y="1148"/>
                      </a:lnTo>
                      <a:lnTo>
                        <a:pt x="3566" y="1112"/>
                      </a:lnTo>
                      <a:lnTo>
                        <a:pt x="3572" y="1076"/>
                      </a:lnTo>
                      <a:lnTo>
                        <a:pt x="3577" y="1041"/>
                      </a:lnTo>
                      <a:lnTo>
                        <a:pt x="3580" y="1003"/>
                      </a:lnTo>
                      <a:lnTo>
                        <a:pt x="3582" y="966"/>
                      </a:lnTo>
                      <a:lnTo>
                        <a:pt x="3581" y="928"/>
                      </a:lnTo>
                      <a:lnTo>
                        <a:pt x="3580" y="889"/>
                      </a:lnTo>
                      <a:lnTo>
                        <a:pt x="3576" y="849"/>
                      </a:lnTo>
                      <a:lnTo>
                        <a:pt x="3570" y="809"/>
                      </a:lnTo>
                      <a:lnTo>
                        <a:pt x="3562" y="769"/>
                      </a:lnTo>
                      <a:lnTo>
                        <a:pt x="3553" y="728"/>
                      </a:lnTo>
                      <a:close/>
                    </a:path>
                  </a:pathLst>
                </a:custGeom>
                <a:solidFill>
                  <a:srgbClr val="1B233E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417" name="Freeform 208"/>
                <p:cNvSpPr>
                  <a:spLocks/>
                </p:cNvSpPr>
                <p:nvPr/>
              </p:nvSpPr>
              <p:spPr bwMode="auto">
                <a:xfrm>
                  <a:off x="3634" y="2612"/>
                  <a:ext cx="508" cy="230"/>
                </a:xfrm>
                <a:custGeom>
                  <a:avLst/>
                  <a:gdLst>
                    <a:gd name="T0" fmla="*/ 0 w 3578"/>
                    <a:gd name="T1" fmla="*/ 0 h 1617"/>
                    <a:gd name="T2" fmla="*/ 0 w 3578"/>
                    <a:gd name="T3" fmla="*/ 0 h 1617"/>
                    <a:gd name="T4" fmla="*/ 0 w 3578"/>
                    <a:gd name="T5" fmla="*/ 0 h 1617"/>
                    <a:gd name="T6" fmla="*/ 0 w 3578"/>
                    <a:gd name="T7" fmla="*/ 0 h 1617"/>
                    <a:gd name="T8" fmla="*/ 0 w 3578"/>
                    <a:gd name="T9" fmla="*/ 0 h 1617"/>
                    <a:gd name="T10" fmla="*/ 0 w 3578"/>
                    <a:gd name="T11" fmla="*/ 0 h 1617"/>
                    <a:gd name="T12" fmla="*/ 0 w 3578"/>
                    <a:gd name="T13" fmla="*/ 0 h 1617"/>
                    <a:gd name="T14" fmla="*/ 0 w 3578"/>
                    <a:gd name="T15" fmla="*/ 0 h 1617"/>
                    <a:gd name="T16" fmla="*/ 0 w 3578"/>
                    <a:gd name="T17" fmla="*/ 0 h 1617"/>
                    <a:gd name="T18" fmla="*/ 0 w 3578"/>
                    <a:gd name="T19" fmla="*/ 0 h 1617"/>
                    <a:gd name="T20" fmla="*/ 0 w 3578"/>
                    <a:gd name="T21" fmla="*/ 0 h 1617"/>
                    <a:gd name="T22" fmla="*/ 0 w 3578"/>
                    <a:gd name="T23" fmla="*/ 0 h 1617"/>
                    <a:gd name="T24" fmla="*/ 0 w 3578"/>
                    <a:gd name="T25" fmla="*/ 0 h 1617"/>
                    <a:gd name="T26" fmla="*/ 0 w 3578"/>
                    <a:gd name="T27" fmla="*/ 0 h 1617"/>
                    <a:gd name="T28" fmla="*/ 0 w 3578"/>
                    <a:gd name="T29" fmla="*/ 0 h 1617"/>
                    <a:gd name="T30" fmla="*/ 0 w 3578"/>
                    <a:gd name="T31" fmla="*/ 0 h 1617"/>
                    <a:gd name="T32" fmla="*/ 0 w 3578"/>
                    <a:gd name="T33" fmla="*/ 0 h 1617"/>
                    <a:gd name="T34" fmla="*/ 0 w 3578"/>
                    <a:gd name="T35" fmla="*/ 0 h 1617"/>
                    <a:gd name="T36" fmla="*/ 0 w 3578"/>
                    <a:gd name="T37" fmla="*/ 0 h 1617"/>
                    <a:gd name="T38" fmla="*/ 0 w 3578"/>
                    <a:gd name="T39" fmla="*/ 0 h 1617"/>
                    <a:gd name="T40" fmla="*/ 0 w 3578"/>
                    <a:gd name="T41" fmla="*/ 0 h 1617"/>
                    <a:gd name="T42" fmla="*/ 0 w 3578"/>
                    <a:gd name="T43" fmla="*/ 0 h 1617"/>
                    <a:gd name="T44" fmla="*/ 0 w 3578"/>
                    <a:gd name="T45" fmla="*/ 0 h 1617"/>
                    <a:gd name="T46" fmla="*/ 0 w 3578"/>
                    <a:gd name="T47" fmla="*/ 0 h 1617"/>
                    <a:gd name="T48" fmla="*/ 0 w 3578"/>
                    <a:gd name="T49" fmla="*/ 0 h 1617"/>
                    <a:gd name="T50" fmla="*/ 0 w 3578"/>
                    <a:gd name="T51" fmla="*/ 0 h 1617"/>
                    <a:gd name="T52" fmla="*/ 0 w 3578"/>
                    <a:gd name="T53" fmla="*/ 0 h 1617"/>
                    <a:gd name="T54" fmla="*/ 0 w 3578"/>
                    <a:gd name="T55" fmla="*/ 0 h 1617"/>
                    <a:gd name="T56" fmla="*/ 0 w 3578"/>
                    <a:gd name="T57" fmla="*/ 0 h 1617"/>
                    <a:gd name="T58" fmla="*/ 0 w 3578"/>
                    <a:gd name="T59" fmla="*/ 0 h 1617"/>
                    <a:gd name="T60" fmla="*/ 0 w 3578"/>
                    <a:gd name="T61" fmla="*/ 0 h 1617"/>
                    <a:gd name="T62" fmla="*/ 0 w 3578"/>
                    <a:gd name="T63" fmla="*/ 0 h 1617"/>
                    <a:gd name="T64" fmla="*/ 0 w 3578"/>
                    <a:gd name="T65" fmla="*/ 0 h 1617"/>
                    <a:gd name="T66" fmla="*/ 0 w 3578"/>
                    <a:gd name="T67" fmla="*/ 0 h 1617"/>
                    <a:gd name="T68" fmla="*/ 0 w 3578"/>
                    <a:gd name="T69" fmla="*/ 0 h 1617"/>
                    <a:gd name="T70" fmla="*/ 0 w 3578"/>
                    <a:gd name="T71" fmla="*/ 0 h 1617"/>
                    <a:gd name="T72" fmla="*/ 0 w 3578"/>
                    <a:gd name="T73" fmla="*/ 0 h 1617"/>
                    <a:gd name="T74" fmla="*/ 0 w 3578"/>
                    <a:gd name="T75" fmla="*/ 0 h 1617"/>
                    <a:gd name="T76" fmla="*/ 0 w 3578"/>
                    <a:gd name="T77" fmla="*/ 0 h 1617"/>
                    <a:gd name="T78" fmla="*/ 0 w 3578"/>
                    <a:gd name="T79" fmla="*/ 0 h 1617"/>
                    <a:gd name="T80" fmla="*/ 0 w 3578"/>
                    <a:gd name="T81" fmla="*/ 0 h 1617"/>
                    <a:gd name="T82" fmla="*/ 0 w 3578"/>
                    <a:gd name="T83" fmla="*/ 0 h 1617"/>
                    <a:gd name="T84" fmla="*/ 0 w 3578"/>
                    <a:gd name="T85" fmla="*/ 0 h 1617"/>
                    <a:gd name="T86" fmla="*/ 0 w 3578"/>
                    <a:gd name="T87" fmla="*/ 0 h 1617"/>
                    <a:gd name="T88" fmla="*/ 0 w 3578"/>
                    <a:gd name="T89" fmla="*/ 0 h 1617"/>
                    <a:gd name="T90" fmla="*/ 0 w 3578"/>
                    <a:gd name="T91" fmla="*/ 0 h 1617"/>
                    <a:gd name="T92" fmla="*/ 0 w 3578"/>
                    <a:gd name="T93" fmla="*/ 0 h 1617"/>
                    <a:gd name="T94" fmla="*/ 0 w 3578"/>
                    <a:gd name="T95" fmla="*/ 0 h 1617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3578"/>
                    <a:gd name="T145" fmla="*/ 0 h 1617"/>
                    <a:gd name="T146" fmla="*/ 3578 w 3578"/>
                    <a:gd name="T147" fmla="*/ 1617 h 1617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3578" h="1617">
                      <a:moveTo>
                        <a:pt x="184" y="291"/>
                      </a:moveTo>
                      <a:lnTo>
                        <a:pt x="218" y="282"/>
                      </a:lnTo>
                      <a:lnTo>
                        <a:pt x="257" y="273"/>
                      </a:lnTo>
                      <a:lnTo>
                        <a:pt x="302" y="263"/>
                      </a:lnTo>
                      <a:lnTo>
                        <a:pt x="351" y="255"/>
                      </a:lnTo>
                      <a:lnTo>
                        <a:pt x="403" y="246"/>
                      </a:lnTo>
                      <a:lnTo>
                        <a:pt x="461" y="237"/>
                      </a:lnTo>
                      <a:lnTo>
                        <a:pt x="522" y="229"/>
                      </a:lnTo>
                      <a:lnTo>
                        <a:pt x="588" y="222"/>
                      </a:lnTo>
                      <a:lnTo>
                        <a:pt x="656" y="214"/>
                      </a:lnTo>
                      <a:lnTo>
                        <a:pt x="728" y="206"/>
                      </a:lnTo>
                      <a:lnTo>
                        <a:pt x="803" y="201"/>
                      </a:lnTo>
                      <a:lnTo>
                        <a:pt x="880" y="194"/>
                      </a:lnTo>
                      <a:lnTo>
                        <a:pt x="961" y="188"/>
                      </a:lnTo>
                      <a:lnTo>
                        <a:pt x="1043" y="184"/>
                      </a:lnTo>
                      <a:lnTo>
                        <a:pt x="1126" y="179"/>
                      </a:lnTo>
                      <a:lnTo>
                        <a:pt x="1213" y="176"/>
                      </a:lnTo>
                      <a:lnTo>
                        <a:pt x="1300" y="173"/>
                      </a:lnTo>
                      <a:lnTo>
                        <a:pt x="1389" y="172"/>
                      </a:lnTo>
                      <a:lnTo>
                        <a:pt x="1479" y="170"/>
                      </a:lnTo>
                      <a:lnTo>
                        <a:pt x="1571" y="170"/>
                      </a:lnTo>
                      <a:lnTo>
                        <a:pt x="1662" y="172"/>
                      </a:lnTo>
                      <a:lnTo>
                        <a:pt x="1753" y="174"/>
                      </a:lnTo>
                      <a:lnTo>
                        <a:pt x="1845" y="177"/>
                      </a:lnTo>
                      <a:lnTo>
                        <a:pt x="1937" y="182"/>
                      </a:lnTo>
                      <a:lnTo>
                        <a:pt x="2028" y="187"/>
                      </a:lnTo>
                      <a:lnTo>
                        <a:pt x="2118" y="194"/>
                      </a:lnTo>
                      <a:lnTo>
                        <a:pt x="2208" y="203"/>
                      </a:lnTo>
                      <a:lnTo>
                        <a:pt x="2297" y="212"/>
                      </a:lnTo>
                      <a:lnTo>
                        <a:pt x="2384" y="223"/>
                      </a:lnTo>
                      <a:lnTo>
                        <a:pt x="2470" y="235"/>
                      </a:lnTo>
                      <a:lnTo>
                        <a:pt x="2554" y="250"/>
                      </a:lnTo>
                      <a:lnTo>
                        <a:pt x="2636" y="265"/>
                      </a:lnTo>
                      <a:lnTo>
                        <a:pt x="2672" y="274"/>
                      </a:lnTo>
                      <a:lnTo>
                        <a:pt x="2708" y="285"/>
                      </a:lnTo>
                      <a:lnTo>
                        <a:pt x="2744" y="298"/>
                      </a:lnTo>
                      <a:lnTo>
                        <a:pt x="2780" y="314"/>
                      </a:lnTo>
                      <a:lnTo>
                        <a:pt x="2815" y="333"/>
                      </a:lnTo>
                      <a:lnTo>
                        <a:pt x="2850" y="353"/>
                      </a:lnTo>
                      <a:lnTo>
                        <a:pt x="2885" y="374"/>
                      </a:lnTo>
                      <a:lnTo>
                        <a:pt x="2919" y="399"/>
                      </a:lnTo>
                      <a:lnTo>
                        <a:pt x="2954" y="424"/>
                      </a:lnTo>
                      <a:lnTo>
                        <a:pt x="2987" y="451"/>
                      </a:lnTo>
                      <a:lnTo>
                        <a:pt x="3020" y="480"/>
                      </a:lnTo>
                      <a:lnTo>
                        <a:pt x="3052" y="510"/>
                      </a:lnTo>
                      <a:lnTo>
                        <a:pt x="3084" y="542"/>
                      </a:lnTo>
                      <a:lnTo>
                        <a:pt x="3114" y="574"/>
                      </a:lnTo>
                      <a:lnTo>
                        <a:pt x="3145" y="608"/>
                      </a:lnTo>
                      <a:lnTo>
                        <a:pt x="3174" y="642"/>
                      </a:lnTo>
                      <a:lnTo>
                        <a:pt x="3202" y="678"/>
                      </a:lnTo>
                      <a:lnTo>
                        <a:pt x="3230" y="715"/>
                      </a:lnTo>
                      <a:lnTo>
                        <a:pt x="3257" y="751"/>
                      </a:lnTo>
                      <a:lnTo>
                        <a:pt x="3282" y="789"/>
                      </a:lnTo>
                      <a:lnTo>
                        <a:pt x="3307" y="827"/>
                      </a:lnTo>
                      <a:lnTo>
                        <a:pt x="3330" y="865"/>
                      </a:lnTo>
                      <a:lnTo>
                        <a:pt x="3352" y="904"/>
                      </a:lnTo>
                      <a:lnTo>
                        <a:pt x="3374" y="942"/>
                      </a:lnTo>
                      <a:lnTo>
                        <a:pt x="3394" y="981"/>
                      </a:lnTo>
                      <a:lnTo>
                        <a:pt x="3413" y="1018"/>
                      </a:lnTo>
                      <a:lnTo>
                        <a:pt x="3429" y="1057"/>
                      </a:lnTo>
                      <a:lnTo>
                        <a:pt x="3445" y="1095"/>
                      </a:lnTo>
                      <a:lnTo>
                        <a:pt x="3459" y="1132"/>
                      </a:lnTo>
                      <a:lnTo>
                        <a:pt x="3473" y="1169"/>
                      </a:lnTo>
                      <a:lnTo>
                        <a:pt x="3484" y="1205"/>
                      </a:lnTo>
                      <a:lnTo>
                        <a:pt x="3494" y="1240"/>
                      </a:lnTo>
                      <a:lnTo>
                        <a:pt x="3499" y="1266"/>
                      </a:lnTo>
                      <a:lnTo>
                        <a:pt x="3505" y="1291"/>
                      </a:lnTo>
                      <a:lnTo>
                        <a:pt x="3509" y="1316"/>
                      </a:lnTo>
                      <a:lnTo>
                        <a:pt x="3513" y="1340"/>
                      </a:lnTo>
                      <a:lnTo>
                        <a:pt x="3516" y="1365"/>
                      </a:lnTo>
                      <a:lnTo>
                        <a:pt x="3518" y="1389"/>
                      </a:lnTo>
                      <a:lnTo>
                        <a:pt x="3520" y="1412"/>
                      </a:lnTo>
                      <a:lnTo>
                        <a:pt x="3522" y="1437"/>
                      </a:lnTo>
                      <a:lnTo>
                        <a:pt x="3522" y="1460"/>
                      </a:lnTo>
                      <a:lnTo>
                        <a:pt x="3522" y="1484"/>
                      </a:lnTo>
                      <a:lnTo>
                        <a:pt x="3520" y="1506"/>
                      </a:lnTo>
                      <a:lnTo>
                        <a:pt x="3519" y="1529"/>
                      </a:lnTo>
                      <a:lnTo>
                        <a:pt x="3517" y="1552"/>
                      </a:lnTo>
                      <a:lnTo>
                        <a:pt x="3514" y="1574"/>
                      </a:lnTo>
                      <a:lnTo>
                        <a:pt x="3510" y="1596"/>
                      </a:lnTo>
                      <a:lnTo>
                        <a:pt x="3506" y="1617"/>
                      </a:lnTo>
                      <a:lnTo>
                        <a:pt x="3519" y="1587"/>
                      </a:lnTo>
                      <a:lnTo>
                        <a:pt x="3532" y="1557"/>
                      </a:lnTo>
                      <a:lnTo>
                        <a:pt x="3542" y="1526"/>
                      </a:lnTo>
                      <a:lnTo>
                        <a:pt x="3552" y="1494"/>
                      </a:lnTo>
                      <a:lnTo>
                        <a:pt x="3559" y="1461"/>
                      </a:lnTo>
                      <a:lnTo>
                        <a:pt x="3566" y="1429"/>
                      </a:lnTo>
                      <a:lnTo>
                        <a:pt x="3572" y="1396"/>
                      </a:lnTo>
                      <a:lnTo>
                        <a:pt x="3575" y="1361"/>
                      </a:lnTo>
                      <a:lnTo>
                        <a:pt x="3577" y="1327"/>
                      </a:lnTo>
                      <a:lnTo>
                        <a:pt x="3578" y="1292"/>
                      </a:lnTo>
                      <a:lnTo>
                        <a:pt x="3577" y="1257"/>
                      </a:lnTo>
                      <a:lnTo>
                        <a:pt x="3575" y="1220"/>
                      </a:lnTo>
                      <a:lnTo>
                        <a:pt x="3572" y="1183"/>
                      </a:lnTo>
                      <a:lnTo>
                        <a:pt x="3566" y="1146"/>
                      </a:lnTo>
                      <a:lnTo>
                        <a:pt x="3558" y="1109"/>
                      </a:lnTo>
                      <a:lnTo>
                        <a:pt x="3549" y="1071"/>
                      </a:lnTo>
                      <a:lnTo>
                        <a:pt x="3541" y="1035"/>
                      </a:lnTo>
                      <a:lnTo>
                        <a:pt x="3529" y="1000"/>
                      </a:lnTo>
                      <a:lnTo>
                        <a:pt x="3516" y="963"/>
                      </a:lnTo>
                      <a:lnTo>
                        <a:pt x="3502" y="925"/>
                      </a:lnTo>
                      <a:lnTo>
                        <a:pt x="3486" y="887"/>
                      </a:lnTo>
                      <a:lnTo>
                        <a:pt x="3469" y="849"/>
                      </a:lnTo>
                      <a:lnTo>
                        <a:pt x="3450" y="810"/>
                      </a:lnTo>
                      <a:lnTo>
                        <a:pt x="3430" y="773"/>
                      </a:lnTo>
                      <a:lnTo>
                        <a:pt x="3409" y="734"/>
                      </a:lnTo>
                      <a:lnTo>
                        <a:pt x="3387" y="695"/>
                      </a:lnTo>
                      <a:lnTo>
                        <a:pt x="3364" y="657"/>
                      </a:lnTo>
                      <a:lnTo>
                        <a:pt x="3339" y="619"/>
                      </a:lnTo>
                      <a:lnTo>
                        <a:pt x="3313" y="581"/>
                      </a:lnTo>
                      <a:lnTo>
                        <a:pt x="3287" y="544"/>
                      </a:lnTo>
                      <a:lnTo>
                        <a:pt x="3259" y="509"/>
                      </a:lnTo>
                      <a:lnTo>
                        <a:pt x="3231" y="473"/>
                      </a:lnTo>
                      <a:lnTo>
                        <a:pt x="3201" y="438"/>
                      </a:lnTo>
                      <a:lnTo>
                        <a:pt x="3171" y="404"/>
                      </a:lnTo>
                      <a:lnTo>
                        <a:pt x="3141" y="372"/>
                      </a:lnTo>
                      <a:lnTo>
                        <a:pt x="3109" y="341"/>
                      </a:lnTo>
                      <a:lnTo>
                        <a:pt x="3076" y="311"/>
                      </a:lnTo>
                      <a:lnTo>
                        <a:pt x="3044" y="282"/>
                      </a:lnTo>
                      <a:lnTo>
                        <a:pt x="3011" y="254"/>
                      </a:lnTo>
                      <a:lnTo>
                        <a:pt x="2976" y="228"/>
                      </a:lnTo>
                      <a:lnTo>
                        <a:pt x="2942" y="205"/>
                      </a:lnTo>
                      <a:lnTo>
                        <a:pt x="2907" y="183"/>
                      </a:lnTo>
                      <a:lnTo>
                        <a:pt x="2872" y="163"/>
                      </a:lnTo>
                      <a:lnTo>
                        <a:pt x="2837" y="145"/>
                      </a:lnTo>
                      <a:lnTo>
                        <a:pt x="2800" y="128"/>
                      </a:lnTo>
                      <a:lnTo>
                        <a:pt x="2765" y="115"/>
                      </a:lnTo>
                      <a:lnTo>
                        <a:pt x="2729" y="104"/>
                      </a:lnTo>
                      <a:lnTo>
                        <a:pt x="2692" y="95"/>
                      </a:lnTo>
                      <a:lnTo>
                        <a:pt x="2611" y="79"/>
                      </a:lnTo>
                      <a:lnTo>
                        <a:pt x="2527" y="66"/>
                      </a:lnTo>
                      <a:lnTo>
                        <a:pt x="2441" y="53"/>
                      </a:lnTo>
                      <a:lnTo>
                        <a:pt x="2354" y="41"/>
                      </a:lnTo>
                      <a:lnTo>
                        <a:pt x="2265" y="33"/>
                      </a:lnTo>
                      <a:lnTo>
                        <a:pt x="2175" y="24"/>
                      </a:lnTo>
                      <a:lnTo>
                        <a:pt x="2085" y="17"/>
                      </a:lnTo>
                      <a:lnTo>
                        <a:pt x="1993" y="11"/>
                      </a:lnTo>
                      <a:lnTo>
                        <a:pt x="1902" y="7"/>
                      </a:lnTo>
                      <a:lnTo>
                        <a:pt x="1810" y="4"/>
                      </a:lnTo>
                      <a:lnTo>
                        <a:pt x="1719" y="1"/>
                      </a:lnTo>
                      <a:lnTo>
                        <a:pt x="1627" y="0"/>
                      </a:lnTo>
                      <a:lnTo>
                        <a:pt x="1536" y="0"/>
                      </a:lnTo>
                      <a:lnTo>
                        <a:pt x="1446" y="1"/>
                      </a:lnTo>
                      <a:lnTo>
                        <a:pt x="1357" y="4"/>
                      </a:lnTo>
                      <a:lnTo>
                        <a:pt x="1270" y="6"/>
                      </a:lnTo>
                      <a:lnTo>
                        <a:pt x="1183" y="9"/>
                      </a:lnTo>
                      <a:lnTo>
                        <a:pt x="1099" y="14"/>
                      </a:lnTo>
                      <a:lnTo>
                        <a:pt x="1017" y="18"/>
                      </a:lnTo>
                      <a:lnTo>
                        <a:pt x="937" y="24"/>
                      </a:lnTo>
                      <a:lnTo>
                        <a:pt x="859" y="30"/>
                      </a:lnTo>
                      <a:lnTo>
                        <a:pt x="785" y="37"/>
                      </a:lnTo>
                      <a:lnTo>
                        <a:pt x="712" y="44"/>
                      </a:lnTo>
                      <a:lnTo>
                        <a:pt x="644" y="51"/>
                      </a:lnTo>
                      <a:lnTo>
                        <a:pt x="579" y="59"/>
                      </a:lnTo>
                      <a:lnTo>
                        <a:pt x="518" y="67"/>
                      </a:lnTo>
                      <a:lnTo>
                        <a:pt x="460" y="76"/>
                      </a:lnTo>
                      <a:lnTo>
                        <a:pt x="406" y="85"/>
                      </a:lnTo>
                      <a:lnTo>
                        <a:pt x="358" y="94"/>
                      </a:lnTo>
                      <a:lnTo>
                        <a:pt x="314" y="103"/>
                      </a:lnTo>
                      <a:lnTo>
                        <a:pt x="274" y="112"/>
                      </a:lnTo>
                      <a:lnTo>
                        <a:pt x="240" y="120"/>
                      </a:lnTo>
                      <a:lnTo>
                        <a:pt x="212" y="129"/>
                      </a:lnTo>
                      <a:lnTo>
                        <a:pt x="185" y="140"/>
                      </a:lnTo>
                      <a:lnTo>
                        <a:pt x="160" y="153"/>
                      </a:lnTo>
                      <a:lnTo>
                        <a:pt x="138" y="166"/>
                      </a:lnTo>
                      <a:lnTo>
                        <a:pt x="118" y="181"/>
                      </a:lnTo>
                      <a:lnTo>
                        <a:pt x="99" y="197"/>
                      </a:lnTo>
                      <a:lnTo>
                        <a:pt x="81" y="214"/>
                      </a:lnTo>
                      <a:lnTo>
                        <a:pt x="67" y="233"/>
                      </a:lnTo>
                      <a:lnTo>
                        <a:pt x="52" y="252"/>
                      </a:lnTo>
                      <a:lnTo>
                        <a:pt x="41" y="273"/>
                      </a:lnTo>
                      <a:lnTo>
                        <a:pt x="30" y="294"/>
                      </a:lnTo>
                      <a:lnTo>
                        <a:pt x="21" y="317"/>
                      </a:lnTo>
                      <a:lnTo>
                        <a:pt x="15" y="341"/>
                      </a:lnTo>
                      <a:lnTo>
                        <a:pt x="8" y="365"/>
                      </a:lnTo>
                      <a:lnTo>
                        <a:pt x="3" y="390"/>
                      </a:lnTo>
                      <a:lnTo>
                        <a:pt x="0" y="416"/>
                      </a:lnTo>
                      <a:lnTo>
                        <a:pt x="8" y="405"/>
                      </a:lnTo>
                      <a:lnTo>
                        <a:pt x="16" y="395"/>
                      </a:lnTo>
                      <a:lnTo>
                        <a:pt x="25" y="385"/>
                      </a:lnTo>
                      <a:lnTo>
                        <a:pt x="33" y="375"/>
                      </a:lnTo>
                      <a:lnTo>
                        <a:pt x="42" y="366"/>
                      </a:lnTo>
                      <a:lnTo>
                        <a:pt x="52" y="357"/>
                      </a:lnTo>
                      <a:lnTo>
                        <a:pt x="64" y="349"/>
                      </a:lnTo>
                      <a:lnTo>
                        <a:pt x="75" y="341"/>
                      </a:lnTo>
                      <a:lnTo>
                        <a:pt x="86" y="333"/>
                      </a:lnTo>
                      <a:lnTo>
                        <a:pt x="98" y="326"/>
                      </a:lnTo>
                      <a:lnTo>
                        <a:pt x="111" y="319"/>
                      </a:lnTo>
                      <a:lnTo>
                        <a:pt x="125" y="312"/>
                      </a:lnTo>
                      <a:lnTo>
                        <a:pt x="138" y="306"/>
                      </a:lnTo>
                      <a:lnTo>
                        <a:pt x="153" y="301"/>
                      </a:lnTo>
                      <a:lnTo>
                        <a:pt x="168" y="295"/>
                      </a:lnTo>
                      <a:lnTo>
                        <a:pt x="184" y="291"/>
                      </a:lnTo>
                      <a:close/>
                    </a:path>
                  </a:pathLst>
                </a:custGeom>
                <a:solidFill>
                  <a:srgbClr val="1B457C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418" name="Freeform 209"/>
                <p:cNvSpPr>
                  <a:spLocks/>
                </p:cNvSpPr>
                <p:nvPr/>
              </p:nvSpPr>
              <p:spPr bwMode="auto">
                <a:xfrm>
                  <a:off x="3132" y="2304"/>
                  <a:ext cx="652" cy="558"/>
                </a:xfrm>
                <a:custGeom>
                  <a:avLst/>
                  <a:gdLst>
                    <a:gd name="T0" fmla="*/ 0 w 4574"/>
                    <a:gd name="T1" fmla="*/ 0 h 3909"/>
                    <a:gd name="T2" fmla="*/ 0 w 4574"/>
                    <a:gd name="T3" fmla="*/ 0 h 3909"/>
                    <a:gd name="T4" fmla="*/ 0 w 4574"/>
                    <a:gd name="T5" fmla="*/ 0 h 3909"/>
                    <a:gd name="T6" fmla="*/ 0 w 4574"/>
                    <a:gd name="T7" fmla="*/ 0 h 3909"/>
                    <a:gd name="T8" fmla="*/ 0 w 4574"/>
                    <a:gd name="T9" fmla="*/ 0 h 3909"/>
                    <a:gd name="T10" fmla="*/ 0 w 4574"/>
                    <a:gd name="T11" fmla="*/ 0 h 3909"/>
                    <a:gd name="T12" fmla="*/ 0 w 4574"/>
                    <a:gd name="T13" fmla="*/ 0 h 3909"/>
                    <a:gd name="T14" fmla="*/ 0 w 4574"/>
                    <a:gd name="T15" fmla="*/ 0 h 3909"/>
                    <a:gd name="T16" fmla="*/ 0 w 4574"/>
                    <a:gd name="T17" fmla="*/ 0 h 3909"/>
                    <a:gd name="T18" fmla="*/ 0 w 4574"/>
                    <a:gd name="T19" fmla="*/ 0 h 3909"/>
                    <a:gd name="T20" fmla="*/ 0 w 4574"/>
                    <a:gd name="T21" fmla="*/ 0 h 3909"/>
                    <a:gd name="T22" fmla="*/ 0 w 4574"/>
                    <a:gd name="T23" fmla="*/ 0 h 3909"/>
                    <a:gd name="T24" fmla="*/ 0 w 4574"/>
                    <a:gd name="T25" fmla="*/ 0 h 3909"/>
                    <a:gd name="T26" fmla="*/ 0 w 4574"/>
                    <a:gd name="T27" fmla="*/ 0 h 3909"/>
                    <a:gd name="T28" fmla="*/ 0 w 4574"/>
                    <a:gd name="T29" fmla="*/ 0 h 3909"/>
                    <a:gd name="T30" fmla="*/ 0 w 4574"/>
                    <a:gd name="T31" fmla="*/ 0 h 3909"/>
                    <a:gd name="T32" fmla="*/ 0 w 4574"/>
                    <a:gd name="T33" fmla="*/ 0 h 3909"/>
                    <a:gd name="T34" fmla="*/ 0 w 4574"/>
                    <a:gd name="T35" fmla="*/ 0 h 3909"/>
                    <a:gd name="T36" fmla="*/ 0 w 4574"/>
                    <a:gd name="T37" fmla="*/ 0 h 3909"/>
                    <a:gd name="T38" fmla="*/ 0 w 4574"/>
                    <a:gd name="T39" fmla="*/ 0 h 3909"/>
                    <a:gd name="T40" fmla="*/ 0 w 4574"/>
                    <a:gd name="T41" fmla="*/ 0 h 3909"/>
                    <a:gd name="T42" fmla="*/ 0 w 4574"/>
                    <a:gd name="T43" fmla="*/ 0 h 3909"/>
                    <a:gd name="T44" fmla="*/ 0 w 4574"/>
                    <a:gd name="T45" fmla="*/ 0 h 3909"/>
                    <a:gd name="T46" fmla="*/ 0 w 4574"/>
                    <a:gd name="T47" fmla="*/ 0 h 3909"/>
                    <a:gd name="T48" fmla="*/ 0 w 4574"/>
                    <a:gd name="T49" fmla="*/ 0 h 3909"/>
                    <a:gd name="T50" fmla="*/ 0 w 4574"/>
                    <a:gd name="T51" fmla="*/ 0 h 3909"/>
                    <a:gd name="T52" fmla="*/ 0 w 4574"/>
                    <a:gd name="T53" fmla="*/ 0 h 3909"/>
                    <a:gd name="T54" fmla="*/ 0 w 4574"/>
                    <a:gd name="T55" fmla="*/ 0 h 3909"/>
                    <a:gd name="T56" fmla="*/ 0 w 4574"/>
                    <a:gd name="T57" fmla="*/ 0 h 3909"/>
                    <a:gd name="T58" fmla="*/ 0 w 4574"/>
                    <a:gd name="T59" fmla="*/ 0 h 3909"/>
                    <a:gd name="T60" fmla="*/ 0 w 4574"/>
                    <a:gd name="T61" fmla="*/ 0 h 3909"/>
                    <a:gd name="T62" fmla="*/ 0 w 4574"/>
                    <a:gd name="T63" fmla="*/ 0 h 3909"/>
                    <a:gd name="T64" fmla="*/ 0 w 4574"/>
                    <a:gd name="T65" fmla="*/ 0 h 3909"/>
                    <a:gd name="T66" fmla="*/ 0 w 4574"/>
                    <a:gd name="T67" fmla="*/ 0 h 3909"/>
                    <a:gd name="T68" fmla="*/ 0 w 4574"/>
                    <a:gd name="T69" fmla="*/ 0 h 3909"/>
                    <a:gd name="T70" fmla="*/ 0 w 4574"/>
                    <a:gd name="T71" fmla="*/ 0 h 3909"/>
                    <a:gd name="T72" fmla="*/ 0 w 4574"/>
                    <a:gd name="T73" fmla="*/ 0 h 3909"/>
                    <a:gd name="T74" fmla="*/ 0 w 4574"/>
                    <a:gd name="T75" fmla="*/ 0 h 3909"/>
                    <a:gd name="T76" fmla="*/ 0 w 4574"/>
                    <a:gd name="T77" fmla="*/ 0 h 3909"/>
                    <a:gd name="T78" fmla="*/ 0 w 4574"/>
                    <a:gd name="T79" fmla="*/ 0 h 3909"/>
                    <a:gd name="T80" fmla="*/ 0 w 4574"/>
                    <a:gd name="T81" fmla="*/ 0 h 3909"/>
                    <a:gd name="T82" fmla="*/ 0 w 4574"/>
                    <a:gd name="T83" fmla="*/ 0 h 3909"/>
                    <a:gd name="T84" fmla="*/ 0 w 4574"/>
                    <a:gd name="T85" fmla="*/ 0 h 3909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4574"/>
                    <a:gd name="T130" fmla="*/ 0 h 3909"/>
                    <a:gd name="T131" fmla="*/ 4574 w 4574"/>
                    <a:gd name="T132" fmla="*/ 3909 h 3909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4574" h="3909">
                      <a:moveTo>
                        <a:pt x="4538" y="1754"/>
                      </a:moveTo>
                      <a:lnTo>
                        <a:pt x="4558" y="1950"/>
                      </a:lnTo>
                      <a:lnTo>
                        <a:pt x="4570" y="2133"/>
                      </a:lnTo>
                      <a:lnTo>
                        <a:pt x="4574" y="2305"/>
                      </a:lnTo>
                      <a:lnTo>
                        <a:pt x="4571" y="2465"/>
                      </a:lnTo>
                      <a:lnTo>
                        <a:pt x="4561" y="2614"/>
                      </a:lnTo>
                      <a:lnTo>
                        <a:pt x="4544" y="2753"/>
                      </a:lnTo>
                      <a:lnTo>
                        <a:pt x="4520" y="2881"/>
                      </a:lnTo>
                      <a:lnTo>
                        <a:pt x="4490" y="3000"/>
                      </a:lnTo>
                      <a:lnTo>
                        <a:pt x="4452" y="3109"/>
                      </a:lnTo>
                      <a:lnTo>
                        <a:pt x="4409" y="3209"/>
                      </a:lnTo>
                      <a:lnTo>
                        <a:pt x="4360" y="3301"/>
                      </a:lnTo>
                      <a:lnTo>
                        <a:pt x="4304" y="3383"/>
                      </a:lnTo>
                      <a:lnTo>
                        <a:pt x="4243" y="3459"/>
                      </a:lnTo>
                      <a:lnTo>
                        <a:pt x="4177" y="3525"/>
                      </a:lnTo>
                      <a:lnTo>
                        <a:pt x="4105" y="3587"/>
                      </a:lnTo>
                      <a:lnTo>
                        <a:pt x="4028" y="3640"/>
                      </a:lnTo>
                      <a:lnTo>
                        <a:pt x="3947" y="3687"/>
                      </a:lnTo>
                      <a:lnTo>
                        <a:pt x="3861" y="3729"/>
                      </a:lnTo>
                      <a:lnTo>
                        <a:pt x="3771" y="3765"/>
                      </a:lnTo>
                      <a:lnTo>
                        <a:pt x="3676" y="3796"/>
                      </a:lnTo>
                      <a:lnTo>
                        <a:pt x="3577" y="3821"/>
                      </a:lnTo>
                      <a:lnTo>
                        <a:pt x="3475" y="3844"/>
                      </a:lnTo>
                      <a:lnTo>
                        <a:pt x="3369" y="3862"/>
                      </a:lnTo>
                      <a:lnTo>
                        <a:pt x="3260" y="3876"/>
                      </a:lnTo>
                      <a:lnTo>
                        <a:pt x="3148" y="3887"/>
                      </a:lnTo>
                      <a:lnTo>
                        <a:pt x="3032" y="3895"/>
                      </a:lnTo>
                      <a:lnTo>
                        <a:pt x="2913" y="3902"/>
                      </a:lnTo>
                      <a:lnTo>
                        <a:pt x="2793" y="3905"/>
                      </a:lnTo>
                      <a:lnTo>
                        <a:pt x="2669" y="3907"/>
                      </a:lnTo>
                      <a:lnTo>
                        <a:pt x="2544" y="3908"/>
                      </a:lnTo>
                      <a:lnTo>
                        <a:pt x="2416" y="3909"/>
                      </a:lnTo>
                      <a:lnTo>
                        <a:pt x="2287" y="3909"/>
                      </a:lnTo>
                      <a:lnTo>
                        <a:pt x="2158" y="3909"/>
                      </a:lnTo>
                      <a:lnTo>
                        <a:pt x="2031" y="3909"/>
                      </a:lnTo>
                      <a:lnTo>
                        <a:pt x="1905" y="3908"/>
                      </a:lnTo>
                      <a:lnTo>
                        <a:pt x="1783" y="3906"/>
                      </a:lnTo>
                      <a:lnTo>
                        <a:pt x="1662" y="3903"/>
                      </a:lnTo>
                      <a:lnTo>
                        <a:pt x="1544" y="3897"/>
                      </a:lnTo>
                      <a:lnTo>
                        <a:pt x="1428" y="3889"/>
                      </a:lnTo>
                      <a:lnTo>
                        <a:pt x="1316" y="3879"/>
                      </a:lnTo>
                      <a:lnTo>
                        <a:pt x="1205" y="3866"/>
                      </a:lnTo>
                      <a:lnTo>
                        <a:pt x="1100" y="3849"/>
                      </a:lnTo>
                      <a:lnTo>
                        <a:pt x="997" y="3828"/>
                      </a:lnTo>
                      <a:lnTo>
                        <a:pt x="898" y="3803"/>
                      </a:lnTo>
                      <a:lnTo>
                        <a:pt x="804" y="3773"/>
                      </a:lnTo>
                      <a:lnTo>
                        <a:pt x="713" y="3737"/>
                      </a:lnTo>
                      <a:lnTo>
                        <a:pt x="627" y="3697"/>
                      </a:lnTo>
                      <a:lnTo>
                        <a:pt x="545" y="3650"/>
                      </a:lnTo>
                      <a:lnTo>
                        <a:pt x="469" y="3597"/>
                      </a:lnTo>
                      <a:lnTo>
                        <a:pt x="397" y="3537"/>
                      </a:lnTo>
                      <a:lnTo>
                        <a:pt x="331" y="3470"/>
                      </a:lnTo>
                      <a:lnTo>
                        <a:pt x="269" y="3394"/>
                      </a:lnTo>
                      <a:lnTo>
                        <a:pt x="215" y="3312"/>
                      </a:lnTo>
                      <a:lnTo>
                        <a:pt x="165" y="3221"/>
                      </a:lnTo>
                      <a:lnTo>
                        <a:pt x="121" y="3120"/>
                      </a:lnTo>
                      <a:lnTo>
                        <a:pt x="85" y="3011"/>
                      </a:lnTo>
                      <a:lnTo>
                        <a:pt x="53" y="2892"/>
                      </a:lnTo>
                      <a:lnTo>
                        <a:pt x="30" y="2763"/>
                      </a:lnTo>
                      <a:lnTo>
                        <a:pt x="12" y="2623"/>
                      </a:lnTo>
                      <a:lnTo>
                        <a:pt x="2" y="2473"/>
                      </a:lnTo>
                      <a:lnTo>
                        <a:pt x="0" y="2311"/>
                      </a:lnTo>
                      <a:lnTo>
                        <a:pt x="4" y="2138"/>
                      </a:lnTo>
                      <a:lnTo>
                        <a:pt x="18" y="1952"/>
                      </a:lnTo>
                      <a:lnTo>
                        <a:pt x="38" y="1754"/>
                      </a:lnTo>
                      <a:lnTo>
                        <a:pt x="51" y="1659"/>
                      </a:lnTo>
                      <a:lnTo>
                        <a:pt x="70" y="1568"/>
                      </a:lnTo>
                      <a:lnTo>
                        <a:pt x="95" y="1477"/>
                      </a:lnTo>
                      <a:lnTo>
                        <a:pt x="124" y="1388"/>
                      </a:lnTo>
                      <a:lnTo>
                        <a:pt x="156" y="1301"/>
                      </a:lnTo>
                      <a:lnTo>
                        <a:pt x="194" y="1216"/>
                      </a:lnTo>
                      <a:lnTo>
                        <a:pt x="236" y="1134"/>
                      </a:lnTo>
                      <a:lnTo>
                        <a:pt x="282" y="1053"/>
                      </a:lnTo>
                      <a:lnTo>
                        <a:pt x="332" y="975"/>
                      </a:lnTo>
                      <a:lnTo>
                        <a:pt x="386" y="899"/>
                      </a:lnTo>
                      <a:lnTo>
                        <a:pt x="444" y="826"/>
                      </a:lnTo>
                      <a:lnTo>
                        <a:pt x="505" y="755"/>
                      </a:lnTo>
                      <a:lnTo>
                        <a:pt x="571" y="687"/>
                      </a:lnTo>
                      <a:lnTo>
                        <a:pt x="639" y="621"/>
                      </a:lnTo>
                      <a:lnTo>
                        <a:pt x="711" y="558"/>
                      </a:lnTo>
                      <a:lnTo>
                        <a:pt x="786" y="497"/>
                      </a:lnTo>
                      <a:lnTo>
                        <a:pt x="864" y="441"/>
                      </a:lnTo>
                      <a:lnTo>
                        <a:pt x="944" y="387"/>
                      </a:lnTo>
                      <a:lnTo>
                        <a:pt x="1027" y="336"/>
                      </a:lnTo>
                      <a:lnTo>
                        <a:pt x="1113" y="288"/>
                      </a:lnTo>
                      <a:lnTo>
                        <a:pt x="1201" y="244"/>
                      </a:lnTo>
                      <a:lnTo>
                        <a:pt x="1291" y="204"/>
                      </a:lnTo>
                      <a:lnTo>
                        <a:pt x="1383" y="166"/>
                      </a:lnTo>
                      <a:lnTo>
                        <a:pt x="1478" y="132"/>
                      </a:lnTo>
                      <a:lnTo>
                        <a:pt x="1574" y="101"/>
                      </a:lnTo>
                      <a:lnTo>
                        <a:pt x="1672" y="76"/>
                      </a:lnTo>
                      <a:lnTo>
                        <a:pt x="1772" y="52"/>
                      </a:lnTo>
                      <a:lnTo>
                        <a:pt x="1872" y="33"/>
                      </a:lnTo>
                      <a:lnTo>
                        <a:pt x="1974" y="19"/>
                      </a:lnTo>
                      <a:lnTo>
                        <a:pt x="2078" y="9"/>
                      </a:lnTo>
                      <a:lnTo>
                        <a:pt x="2183" y="2"/>
                      </a:lnTo>
                      <a:lnTo>
                        <a:pt x="2287" y="0"/>
                      </a:lnTo>
                      <a:lnTo>
                        <a:pt x="2393" y="2"/>
                      </a:lnTo>
                      <a:lnTo>
                        <a:pt x="2498" y="9"/>
                      </a:lnTo>
                      <a:lnTo>
                        <a:pt x="2600" y="19"/>
                      </a:lnTo>
                      <a:lnTo>
                        <a:pt x="2702" y="33"/>
                      </a:lnTo>
                      <a:lnTo>
                        <a:pt x="2804" y="52"/>
                      </a:lnTo>
                      <a:lnTo>
                        <a:pt x="2903" y="76"/>
                      </a:lnTo>
                      <a:lnTo>
                        <a:pt x="3001" y="101"/>
                      </a:lnTo>
                      <a:lnTo>
                        <a:pt x="3097" y="132"/>
                      </a:lnTo>
                      <a:lnTo>
                        <a:pt x="3192" y="166"/>
                      </a:lnTo>
                      <a:lnTo>
                        <a:pt x="3284" y="204"/>
                      </a:lnTo>
                      <a:lnTo>
                        <a:pt x="3375" y="244"/>
                      </a:lnTo>
                      <a:lnTo>
                        <a:pt x="3463" y="288"/>
                      </a:lnTo>
                      <a:lnTo>
                        <a:pt x="3548" y="336"/>
                      </a:lnTo>
                      <a:lnTo>
                        <a:pt x="3632" y="387"/>
                      </a:lnTo>
                      <a:lnTo>
                        <a:pt x="3712" y="441"/>
                      </a:lnTo>
                      <a:lnTo>
                        <a:pt x="3790" y="497"/>
                      </a:lnTo>
                      <a:lnTo>
                        <a:pt x="3864" y="558"/>
                      </a:lnTo>
                      <a:lnTo>
                        <a:pt x="3936" y="621"/>
                      </a:lnTo>
                      <a:lnTo>
                        <a:pt x="4005" y="687"/>
                      </a:lnTo>
                      <a:lnTo>
                        <a:pt x="4069" y="755"/>
                      </a:lnTo>
                      <a:lnTo>
                        <a:pt x="4131" y="826"/>
                      </a:lnTo>
                      <a:lnTo>
                        <a:pt x="4189" y="899"/>
                      </a:lnTo>
                      <a:lnTo>
                        <a:pt x="4243" y="975"/>
                      </a:lnTo>
                      <a:lnTo>
                        <a:pt x="4293" y="1053"/>
                      </a:lnTo>
                      <a:lnTo>
                        <a:pt x="4340" y="1134"/>
                      </a:lnTo>
                      <a:lnTo>
                        <a:pt x="4382" y="1216"/>
                      </a:lnTo>
                      <a:lnTo>
                        <a:pt x="4419" y="1301"/>
                      </a:lnTo>
                      <a:lnTo>
                        <a:pt x="4452" y="1388"/>
                      </a:lnTo>
                      <a:lnTo>
                        <a:pt x="4481" y="1477"/>
                      </a:lnTo>
                      <a:lnTo>
                        <a:pt x="4504" y="1568"/>
                      </a:lnTo>
                      <a:lnTo>
                        <a:pt x="4523" y="1659"/>
                      </a:lnTo>
                      <a:lnTo>
                        <a:pt x="4538" y="1754"/>
                      </a:lnTo>
                      <a:close/>
                    </a:path>
                  </a:pathLst>
                </a:custGeom>
                <a:solidFill>
                  <a:srgbClr val="242D54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419" name="Freeform 210"/>
                <p:cNvSpPr>
                  <a:spLocks/>
                </p:cNvSpPr>
                <p:nvPr/>
              </p:nvSpPr>
              <p:spPr bwMode="auto">
                <a:xfrm>
                  <a:off x="3132" y="2460"/>
                  <a:ext cx="652" cy="406"/>
                </a:xfrm>
                <a:custGeom>
                  <a:avLst/>
                  <a:gdLst>
                    <a:gd name="T0" fmla="*/ 0 w 4574"/>
                    <a:gd name="T1" fmla="*/ 0 h 2849"/>
                    <a:gd name="T2" fmla="*/ 0 w 4574"/>
                    <a:gd name="T3" fmla="*/ 0 h 2849"/>
                    <a:gd name="T4" fmla="*/ 0 w 4574"/>
                    <a:gd name="T5" fmla="*/ 0 h 2849"/>
                    <a:gd name="T6" fmla="*/ 0 w 4574"/>
                    <a:gd name="T7" fmla="*/ 0 h 2849"/>
                    <a:gd name="T8" fmla="*/ 0 w 4574"/>
                    <a:gd name="T9" fmla="*/ 0 h 2849"/>
                    <a:gd name="T10" fmla="*/ 0 w 4574"/>
                    <a:gd name="T11" fmla="*/ 0 h 2849"/>
                    <a:gd name="T12" fmla="*/ 0 w 4574"/>
                    <a:gd name="T13" fmla="*/ 0 h 2849"/>
                    <a:gd name="T14" fmla="*/ 0 w 4574"/>
                    <a:gd name="T15" fmla="*/ 0 h 2849"/>
                    <a:gd name="T16" fmla="*/ 0 w 4574"/>
                    <a:gd name="T17" fmla="*/ 0 h 2849"/>
                    <a:gd name="T18" fmla="*/ 0 w 4574"/>
                    <a:gd name="T19" fmla="*/ 0 h 2849"/>
                    <a:gd name="T20" fmla="*/ 0 w 4574"/>
                    <a:gd name="T21" fmla="*/ 0 h 2849"/>
                    <a:gd name="T22" fmla="*/ 0 w 4574"/>
                    <a:gd name="T23" fmla="*/ 0 h 2849"/>
                    <a:gd name="T24" fmla="*/ 0 w 4574"/>
                    <a:gd name="T25" fmla="*/ 0 h 2849"/>
                    <a:gd name="T26" fmla="*/ 0 w 4574"/>
                    <a:gd name="T27" fmla="*/ 0 h 2849"/>
                    <a:gd name="T28" fmla="*/ 0 w 4574"/>
                    <a:gd name="T29" fmla="*/ 0 h 2849"/>
                    <a:gd name="T30" fmla="*/ 0 w 4574"/>
                    <a:gd name="T31" fmla="*/ 0 h 2849"/>
                    <a:gd name="T32" fmla="*/ 0 w 4574"/>
                    <a:gd name="T33" fmla="*/ 0 h 2849"/>
                    <a:gd name="T34" fmla="*/ 0 w 4574"/>
                    <a:gd name="T35" fmla="*/ 0 h 2849"/>
                    <a:gd name="T36" fmla="*/ 0 w 4574"/>
                    <a:gd name="T37" fmla="*/ 0 h 2849"/>
                    <a:gd name="T38" fmla="*/ 0 w 4574"/>
                    <a:gd name="T39" fmla="*/ 0 h 2849"/>
                    <a:gd name="T40" fmla="*/ 0 w 4574"/>
                    <a:gd name="T41" fmla="*/ 0 h 2849"/>
                    <a:gd name="T42" fmla="*/ 0 w 4574"/>
                    <a:gd name="T43" fmla="*/ 0 h 2849"/>
                    <a:gd name="T44" fmla="*/ 0 w 4574"/>
                    <a:gd name="T45" fmla="*/ 0 h 2849"/>
                    <a:gd name="T46" fmla="*/ 0 w 4574"/>
                    <a:gd name="T47" fmla="*/ 0 h 2849"/>
                    <a:gd name="T48" fmla="*/ 0 w 4574"/>
                    <a:gd name="T49" fmla="*/ 0 h 2849"/>
                    <a:gd name="T50" fmla="*/ 0 w 4574"/>
                    <a:gd name="T51" fmla="*/ 0 h 2849"/>
                    <a:gd name="T52" fmla="*/ 0 w 4574"/>
                    <a:gd name="T53" fmla="*/ 0 h 2849"/>
                    <a:gd name="T54" fmla="*/ 0 w 4574"/>
                    <a:gd name="T55" fmla="*/ 0 h 2849"/>
                    <a:gd name="T56" fmla="*/ 0 w 4574"/>
                    <a:gd name="T57" fmla="*/ 0 h 2849"/>
                    <a:gd name="T58" fmla="*/ 0 w 4574"/>
                    <a:gd name="T59" fmla="*/ 0 h 2849"/>
                    <a:gd name="T60" fmla="*/ 0 w 4574"/>
                    <a:gd name="T61" fmla="*/ 0 h 2849"/>
                    <a:gd name="T62" fmla="*/ 0 w 4574"/>
                    <a:gd name="T63" fmla="*/ 0 h 2849"/>
                    <a:gd name="T64" fmla="*/ 0 w 4574"/>
                    <a:gd name="T65" fmla="*/ 0 h 2849"/>
                    <a:gd name="T66" fmla="*/ 0 w 4574"/>
                    <a:gd name="T67" fmla="*/ 0 h 2849"/>
                    <a:gd name="T68" fmla="*/ 0 w 4574"/>
                    <a:gd name="T69" fmla="*/ 0 h 2849"/>
                    <a:gd name="T70" fmla="*/ 0 w 4574"/>
                    <a:gd name="T71" fmla="*/ 0 h 2849"/>
                    <a:gd name="T72" fmla="*/ 0 w 4574"/>
                    <a:gd name="T73" fmla="*/ 0 h 2849"/>
                    <a:gd name="T74" fmla="*/ 0 w 4574"/>
                    <a:gd name="T75" fmla="*/ 0 h 2849"/>
                    <a:gd name="T76" fmla="*/ 0 w 4574"/>
                    <a:gd name="T77" fmla="*/ 0 h 2849"/>
                    <a:gd name="T78" fmla="*/ 0 w 4574"/>
                    <a:gd name="T79" fmla="*/ 0 h 2849"/>
                    <a:gd name="T80" fmla="*/ 0 w 4574"/>
                    <a:gd name="T81" fmla="*/ 0 h 2849"/>
                    <a:gd name="T82" fmla="*/ 0 w 4574"/>
                    <a:gd name="T83" fmla="*/ 0 h 2849"/>
                    <a:gd name="T84" fmla="*/ 0 w 4574"/>
                    <a:gd name="T85" fmla="*/ 0 h 2849"/>
                    <a:gd name="T86" fmla="*/ 0 w 4574"/>
                    <a:gd name="T87" fmla="*/ 0 h 2849"/>
                    <a:gd name="T88" fmla="*/ 0 w 4574"/>
                    <a:gd name="T89" fmla="*/ 0 h 2849"/>
                    <a:gd name="T90" fmla="*/ 0 w 4574"/>
                    <a:gd name="T91" fmla="*/ 0 h 2849"/>
                    <a:gd name="T92" fmla="*/ 0 w 4574"/>
                    <a:gd name="T93" fmla="*/ 0 h 2849"/>
                    <a:gd name="T94" fmla="*/ 0 w 4574"/>
                    <a:gd name="T95" fmla="*/ 0 h 2849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4574"/>
                    <a:gd name="T145" fmla="*/ 0 h 2849"/>
                    <a:gd name="T146" fmla="*/ 4574 w 4574"/>
                    <a:gd name="T147" fmla="*/ 2849 h 2849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4574" h="2849">
                      <a:moveTo>
                        <a:pt x="4538" y="693"/>
                      </a:moveTo>
                      <a:lnTo>
                        <a:pt x="4531" y="646"/>
                      </a:lnTo>
                      <a:lnTo>
                        <a:pt x="4523" y="601"/>
                      </a:lnTo>
                      <a:lnTo>
                        <a:pt x="4515" y="554"/>
                      </a:lnTo>
                      <a:lnTo>
                        <a:pt x="4505" y="509"/>
                      </a:lnTo>
                      <a:lnTo>
                        <a:pt x="4494" y="464"/>
                      </a:lnTo>
                      <a:lnTo>
                        <a:pt x="4482" y="419"/>
                      </a:lnTo>
                      <a:lnTo>
                        <a:pt x="4468" y="375"/>
                      </a:lnTo>
                      <a:lnTo>
                        <a:pt x="4453" y="331"/>
                      </a:lnTo>
                      <a:lnTo>
                        <a:pt x="4438" y="288"/>
                      </a:lnTo>
                      <a:lnTo>
                        <a:pt x="4421" y="246"/>
                      </a:lnTo>
                      <a:lnTo>
                        <a:pt x="4403" y="203"/>
                      </a:lnTo>
                      <a:lnTo>
                        <a:pt x="4384" y="161"/>
                      </a:lnTo>
                      <a:lnTo>
                        <a:pt x="4364" y="120"/>
                      </a:lnTo>
                      <a:lnTo>
                        <a:pt x="4343" y="80"/>
                      </a:lnTo>
                      <a:lnTo>
                        <a:pt x="4321" y="40"/>
                      </a:lnTo>
                      <a:lnTo>
                        <a:pt x="4297" y="0"/>
                      </a:lnTo>
                      <a:lnTo>
                        <a:pt x="4274" y="32"/>
                      </a:lnTo>
                      <a:lnTo>
                        <a:pt x="4251" y="64"/>
                      </a:lnTo>
                      <a:lnTo>
                        <a:pt x="4226" y="95"/>
                      </a:lnTo>
                      <a:lnTo>
                        <a:pt x="4200" y="125"/>
                      </a:lnTo>
                      <a:lnTo>
                        <a:pt x="4175" y="155"/>
                      </a:lnTo>
                      <a:lnTo>
                        <a:pt x="4148" y="184"/>
                      </a:lnTo>
                      <a:lnTo>
                        <a:pt x="4121" y="212"/>
                      </a:lnTo>
                      <a:lnTo>
                        <a:pt x="4094" y="239"/>
                      </a:lnTo>
                      <a:lnTo>
                        <a:pt x="4054" y="273"/>
                      </a:lnTo>
                      <a:lnTo>
                        <a:pt x="4012" y="307"/>
                      </a:lnTo>
                      <a:lnTo>
                        <a:pt x="3970" y="339"/>
                      </a:lnTo>
                      <a:lnTo>
                        <a:pt x="3926" y="370"/>
                      </a:lnTo>
                      <a:lnTo>
                        <a:pt x="3880" y="400"/>
                      </a:lnTo>
                      <a:lnTo>
                        <a:pt x="3833" y="429"/>
                      </a:lnTo>
                      <a:lnTo>
                        <a:pt x="3784" y="457"/>
                      </a:lnTo>
                      <a:lnTo>
                        <a:pt x="3735" y="484"/>
                      </a:lnTo>
                      <a:lnTo>
                        <a:pt x="3684" y="509"/>
                      </a:lnTo>
                      <a:lnTo>
                        <a:pt x="3633" y="534"/>
                      </a:lnTo>
                      <a:lnTo>
                        <a:pt x="3581" y="557"/>
                      </a:lnTo>
                      <a:lnTo>
                        <a:pt x="3527" y="579"/>
                      </a:lnTo>
                      <a:lnTo>
                        <a:pt x="3474" y="602"/>
                      </a:lnTo>
                      <a:lnTo>
                        <a:pt x="3419" y="623"/>
                      </a:lnTo>
                      <a:lnTo>
                        <a:pt x="3363" y="643"/>
                      </a:lnTo>
                      <a:lnTo>
                        <a:pt x="3309" y="662"/>
                      </a:lnTo>
                      <a:lnTo>
                        <a:pt x="3252" y="680"/>
                      </a:lnTo>
                      <a:lnTo>
                        <a:pt x="3197" y="697"/>
                      </a:lnTo>
                      <a:lnTo>
                        <a:pt x="3141" y="715"/>
                      </a:lnTo>
                      <a:lnTo>
                        <a:pt x="3084" y="731"/>
                      </a:lnTo>
                      <a:lnTo>
                        <a:pt x="2972" y="762"/>
                      </a:lnTo>
                      <a:lnTo>
                        <a:pt x="2860" y="790"/>
                      </a:lnTo>
                      <a:lnTo>
                        <a:pt x="2750" y="815"/>
                      </a:lnTo>
                      <a:lnTo>
                        <a:pt x="2643" y="840"/>
                      </a:lnTo>
                      <a:lnTo>
                        <a:pt x="2539" y="863"/>
                      </a:lnTo>
                      <a:lnTo>
                        <a:pt x="2439" y="884"/>
                      </a:lnTo>
                      <a:lnTo>
                        <a:pt x="2368" y="899"/>
                      </a:lnTo>
                      <a:lnTo>
                        <a:pt x="2297" y="910"/>
                      </a:lnTo>
                      <a:lnTo>
                        <a:pt x="2226" y="921"/>
                      </a:lnTo>
                      <a:lnTo>
                        <a:pt x="2154" y="929"/>
                      </a:lnTo>
                      <a:lnTo>
                        <a:pt x="2081" y="936"/>
                      </a:lnTo>
                      <a:lnTo>
                        <a:pt x="2009" y="941"/>
                      </a:lnTo>
                      <a:lnTo>
                        <a:pt x="1935" y="944"/>
                      </a:lnTo>
                      <a:lnTo>
                        <a:pt x="1862" y="948"/>
                      </a:lnTo>
                      <a:lnTo>
                        <a:pt x="1787" y="948"/>
                      </a:lnTo>
                      <a:lnTo>
                        <a:pt x="1713" y="948"/>
                      </a:lnTo>
                      <a:lnTo>
                        <a:pt x="1638" y="947"/>
                      </a:lnTo>
                      <a:lnTo>
                        <a:pt x="1563" y="944"/>
                      </a:lnTo>
                      <a:lnTo>
                        <a:pt x="1488" y="940"/>
                      </a:lnTo>
                      <a:lnTo>
                        <a:pt x="1412" y="936"/>
                      </a:lnTo>
                      <a:lnTo>
                        <a:pt x="1337" y="930"/>
                      </a:lnTo>
                      <a:lnTo>
                        <a:pt x="1261" y="924"/>
                      </a:lnTo>
                      <a:lnTo>
                        <a:pt x="1185" y="917"/>
                      </a:lnTo>
                      <a:lnTo>
                        <a:pt x="1111" y="910"/>
                      </a:lnTo>
                      <a:lnTo>
                        <a:pt x="1035" y="901"/>
                      </a:lnTo>
                      <a:lnTo>
                        <a:pt x="959" y="892"/>
                      </a:lnTo>
                      <a:lnTo>
                        <a:pt x="809" y="873"/>
                      </a:lnTo>
                      <a:lnTo>
                        <a:pt x="660" y="853"/>
                      </a:lnTo>
                      <a:lnTo>
                        <a:pt x="512" y="833"/>
                      </a:lnTo>
                      <a:lnTo>
                        <a:pt x="366" y="812"/>
                      </a:lnTo>
                      <a:lnTo>
                        <a:pt x="221" y="792"/>
                      </a:lnTo>
                      <a:lnTo>
                        <a:pt x="80" y="773"/>
                      </a:lnTo>
                      <a:lnTo>
                        <a:pt x="68" y="771"/>
                      </a:lnTo>
                      <a:lnTo>
                        <a:pt x="55" y="770"/>
                      </a:lnTo>
                      <a:lnTo>
                        <a:pt x="42" y="769"/>
                      </a:lnTo>
                      <a:lnTo>
                        <a:pt x="30" y="766"/>
                      </a:lnTo>
                      <a:lnTo>
                        <a:pt x="12" y="958"/>
                      </a:lnTo>
                      <a:lnTo>
                        <a:pt x="2" y="1137"/>
                      </a:lnTo>
                      <a:lnTo>
                        <a:pt x="0" y="1305"/>
                      </a:lnTo>
                      <a:lnTo>
                        <a:pt x="6" y="1461"/>
                      </a:lnTo>
                      <a:lnTo>
                        <a:pt x="18" y="1607"/>
                      </a:lnTo>
                      <a:lnTo>
                        <a:pt x="37" y="1741"/>
                      </a:lnTo>
                      <a:lnTo>
                        <a:pt x="62" y="1866"/>
                      </a:lnTo>
                      <a:lnTo>
                        <a:pt x="95" y="1981"/>
                      </a:lnTo>
                      <a:lnTo>
                        <a:pt x="132" y="2086"/>
                      </a:lnTo>
                      <a:lnTo>
                        <a:pt x="177" y="2183"/>
                      </a:lnTo>
                      <a:lnTo>
                        <a:pt x="227" y="2271"/>
                      </a:lnTo>
                      <a:lnTo>
                        <a:pt x="284" y="2351"/>
                      </a:lnTo>
                      <a:lnTo>
                        <a:pt x="345" y="2423"/>
                      </a:lnTo>
                      <a:lnTo>
                        <a:pt x="412" y="2489"/>
                      </a:lnTo>
                      <a:lnTo>
                        <a:pt x="483" y="2547"/>
                      </a:lnTo>
                      <a:lnTo>
                        <a:pt x="560" y="2598"/>
                      </a:lnTo>
                      <a:lnTo>
                        <a:pt x="641" y="2643"/>
                      </a:lnTo>
                      <a:lnTo>
                        <a:pt x="728" y="2683"/>
                      </a:lnTo>
                      <a:lnTo>
                        <a:pt x="818" y="2716"/>
                      </a:lnTo>
                      <a:lnTo>
                        <a:pt x="912" y="2745"/>
                      </a:lnTo>
                      <a:lnTo>
                        <a:pt x="1009" y="2770"/>
                      </a:lnTo>
                      <a:lnTo>
                        <a:pt x="1112" y="2791"/>
                      </a:lnTo>
                      <a:lnTo>
                        <a:pt x="1217" y="2806"/>
                      </a:lnTo>
                      <a:lnTo>
                        <a:pt x="1326" y="2820"/>
                      </a:lnTo>
                      <a:lnTo>
                        <a:pt x="1437" y="2830"/>
                      </a:lnTo>
                      <a:lnTo>
                        <a:pt x="1552" y="2837"/>
                      </a:lnTo>
                      <a:lnTo>
                        <a:pt x="1668" y="2842"/>
                      </a:lnTo>
                      <a:lnTo>
                        <a:pt x="1789" y="2845"/>
                      </a:lnTo>
                      <a:lnTo>
                        <a:pt x="1910" y="2847"/>
                      </a:lnTo>
                      <a:lnTo>
                        <a:pt x="2035" y="2849"/>
                      </a:lnTo>
                      <a:lnTo>
                        <a:pt x="2160" y="2849"/>
                      </a:lnTo>
                      <a:lnTo>
                        <a:pt x="2287" y="2849"/>
                      </a:lnTo>
                      <a:lnTo>
                        <a:pt x="2416" y="2849"/>
                      </a:lnTo>
                      <a:lnTo>
                        <a:pt x="2544" y="2849"/>
                      </a:lnTo>
                      <a:lnTo>
                        <a:pt x="2669" y="2846"/>
                      </a:lnTo>
                      <a:lnTo>
                        <a:pt x="2793" y="2844"/>
                      </a:lnTo>
                      <a:lnTo>
                        <a:pt x="2913" y="2841"/>
                      </a:lnTo>
                      <a:lnTo>
                        <a:pt x="3032" y="2834"/>
                      </a:lnTo>
                      <a:lnTo>
                        <a:pt x="3148" y="2826"/>
                      </a:lnTo>
                      <a:lnTo>
                        <a:pt x="3260" y="2815"/>
                      </a:lnTo>
                      <a:lnTo>
                        <a:pt x="3369" y="2801"/>
                      </a:lnTo>
                      <a:lnTo>
                        <a:pt x="3475" y="2783"/>
                      </a:lnTo>
                      <a:lnTo>
                        <a:pt x="3577" y="2761"/>
                      </a:lnTo>
                      <a:lnTo>
                        <a:pt x="3676" y="2735"/>
                      </a:lnTo>
                      <a:lnTo>
                        <a:pt x="3771" y="2704"/>
                      </a:lnTo>
                      <a:lnTo>
                        <a:pt x="3861" y="2668"/>
                      </a:lnTo>
                      <a:lnTo>
                        <a:pt x="3947" y="2627"/>
                      </a:lnTo>
                      <a:lnTo>
                        <a:pt x="4028" y="2579"/>
                      </a:lnTo>
                      <a:lnTo>
                        <a:pt x="4105" y="2526"/>
                      </a:lnTo>
                      <a:lnTo>
                        <a:pt x="4177" y="2465"/>
                      </a:lnTo>
                      <a:lnTo>
                        <a:pt x="4243" y="2398"/>
                      </a:lnTo>
                      <a:lnTo>
                        <a:pt x="4304" y="2322"/>
                      </a:lnTo>
                      <a:lnTo>
                        <a:pt x="4360" y="2240"/>
                      </a:lnTo>
                      <a:lnTo>
                        <a:pt x="4409" y="2149"/>
                      </a:lnTo>
                      <a:lnTo>
                        <a:pt x="4452" y="2048"/>
                      </a:lnTo>
                      <a:lnTo>
                        <a:pt x="4490" y="1939"/>
                      </a:lnTo>
                      <a:lnTo>
                        <a:pt x="4520" y="1820"/>
                      </a:lnTo>
                      <a:lnTo>
                        <a:pt x="4544" y="1692"/>
                      </a:lnTo>
                      <a:lnTo>
                        <a:pt x="4561" y="1554"/>
                      </a:lnTo>
                      <a:lnTo>
                        <a:pt x="4571" y="1404"/>
                      </a:lnTo>
                      <a:lnTo>
                        <a:pt x="4574" y="1244"/>
                      </a:lnTo>
                      <a:lnTo>
                        <a:pt x="4570" y="1072"/>
                      </a:lnTo>
                      <a:lnTo>
                        <a:pt x="4558" y="889"/>
                      </a:lnTo>
                      <a:lnTo>
                        <a:pt x="4538" y="693"/>
                      </a:lnTo>
                      <a:close/>
                    </a:path>
                  </a:pathLst>
                </a:custGeom>
                <a:solidFill>
                  <a:srgbClr val="1B233E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420" name="Freeform 211"/>
                <p:cNvSpPr>
                  <a:spLocks/>
                </p:cNvSpPr>
                <p:nvPr/>
              </p:nvSpPr>
              <p:spPr bwMode="auto">
                <a:xfrm>
                  <a:off x="2759" y="2608"/>
                  <a:ext cx="511" cy="319"/>
                </a:xfrm>
                <a:custGeom>
                  <a:avLst/>
                  <a:gdLst>
                    <a:gd name="T0" fmla="*/ 0 w 3582"/>
                    <a:gd name="T1" fmla="*/ 0 h 2227"/>
                    <a:gd name="T2" fmla="*/ 0 w 3582"/>
                    <a:gd name="T3" fmla="*/ 0 h 2227"/>
                    <a:gd name="T4" fmla="*/ 0 w 3582"/>
                    <a:gd name="T5" fmla="*/ 0 h 2227"/>
                    <a:gd name="T6" fmla="*/ 0 w 3582"/>
                    <a:gd name="T7" fmla="*/ 0 h 2227"/>
                    <a:gd name="T8" fmla="*/ 0 w 3582"/>
                    <a:gd name="T9" fmla="*/ 0 h 2227"/>
                    <a:gd name="T10" fmla="*/ 0 w 3582"/>
                    <a:gd name="T11" fmla="*/ 0 h 2227"/>
                    <a:gd name="T12" fmla="*/ 0 w 3582"/>
                    <a:gd name="T13" fmla="*/ 0 h 2227"/>
                    <a:gd name="T14" fmla="*/ 0 w 3582"/>
                    <a:gd name="T15" fmla="*/ 0 h 2227"/>
                    <a:gd name="T16" fmla="*/ 0 w 3582"/>
                    <a:gd name="T17" fmla="*/ 0 h 2227"/>
                    <a:gd name="T18" fmla="*/ 0 w 3582"/>
                    <a:gd name="T19" fmla="*/ 0 h 2227"/>
                    <a:gd name="T20" fmla="*/ 0 w 3582"/>
                    <a:gd name="T21" fmla="*/ 0 h 2227"/>
                    <a:gd name="T22" fmla="*/ 0 w 3582"/>
                    <a:gd name="T23" fmla="*/ 0 h 2227"/>
                    <a:gd name="T24" fmla="*/ 0 w 3582"/>
                    <a:gd name="T25" fmla="*/ 0 h 2227"/>
                    <a:gd name="T26" fmla="*/ 0 w 3582"/>
                    <a:gd name="T27" fmla="*/ 0 h 2227"/>
                    <a:gd name="T28" fmla="*/ 0 w 3582"/>
                    <a:gd name="T29" fmla="*/ 0 h 2227"/>
                    <a:gd name="T30" fmla="*/ 0 w 3582"/>
                    <a:gd name="T31" fmla="*/ 0 h 2227"/>
                    <a:gd name="T32" fmla="*/ 0 w 3582"/>
                    <a:gd name="T33" fmla="*/ 0 h 2227"/>
                    <a:gd name="T34" fmla="*/ 0 w 3582"/>
                    <a:gd name="T35" fmla="*/ 0 h 2227"/>
                    <a:gd name="T36" fmla="*/ 0 w 3582"/>
                    <a:gd name="T37" fmla="*/ 0 h 2227"/>
                    <a:gd name="T38" fmla="*/ 0 w 3582"/>
                    <a:gd name="T39" fmla="*/ 0 h 2227"/>
                    <a:gd name="T40" fmla="*/ 0 w 3582"/>
                    <a:gd name="T41" fmla="*/ 0 h 2227"/>
                    <a:gd name="T42" fmla="*/ 0 w 3582"/>
                    <a:gd name="T43" fmla="*/ 0 h 2227"/>
                    <a:gd name="T44" fmla="*/ 0 w 3582"/>
                    <a:gd name="T45" fmla="*/ 0 h 2227"/>
                    <a:gd name="T46" fmla="*/ 0 w 3582"/>
                    <a:gd name="T47" fmla="*/ 0 h 2227"/>
                    <a:gd name="T48" fmla="*/ 0 w 3582"/>
                    <a:gd name="T49" fmla="*/ 0 h 2227"/>
                    <a:gd name="T50" fmla="*/ 0 w 3582"/>
                    <a:gd name="T51" fmla="*/ 0 h 2227"/>
                    <a:gd name="T52" fmla="*/ 0 w 3582"/>
                    <a:gd name="T53" fmla="*/ 0 h 2227"/>
                    <a:gd name="T54" fmla="*/ 0 w 3582"/>
                    <a:gd name="T55" fmla="*/ 0 h 2227"/>
                    <a:gd name="T56" fmla="*/ 0 w 3582"/>
                    <a:gd name="T57" fmla="*/ 0 h 2227"/>
                    <a:gd name="T58" fmla="*/ 0 w 3582"/>
                    <a:gd name="T59" fmla="*/ 0 h 2227"/>
                    <a:gd name="T60" fmla="*/ 0 w 3582"/>
                    <a:gd name="T61" fmla="*/ 0 h 2227"/>
                    <a:gd name="T62" fmla="*/ 0 w 3582"/>
                    <a:gd name="T63" fmla="*/ 0 h 2227"/>
                    <a:gd name="T64" fmla="*/ 0 w 3582"/>
                    <a:gd name="T65" fmla="*/ 0 h 2227"/>
                    <a:gd name="T66" fmla="*/ 0 w 3582"/>
                    <a:gd name="T67" fmla="*/ 0 h 2227"/>
                    <a:gd name="T68" fmla="*/ 0 w 3582"/>
                    <a:gd name="T69" fmla="*/ 0 h 2227"/>
                    <a:gd name="T70" fmla="*/ 0 w 3582"/>
                    <a:gd name="T71" fmla="*/ 0 h 2227"/>
                    <a:gd name="T72" fmla="*/ 0 w 3582"/>
                    <a:gd name="T73" fmla="*/ 0 h 2227"/>
                    <a:gd name="T74" fmla="*/ 0 w 3582"/>
                    <a:gd name="T75" fmla="*/ 0 h 2227"/>
                    <a:gd name="T76" fmla="*/ 0 w 3582"/>
                    <a:gd name="T77" fmla="*/ 0 h 2227"/>
                    <a:gd name="T78" fmla="*/ 0 w 3582"/>
                    <a:gd name="T79" fmla="*/ 0 h 2227"/>
                    <a:gd name="T80" fmla="*/ 0 w 3582"/>
                    <a:gd name="T81" fmla="*/ 0 h 2227"/>
                    <a:gd name="T82" fmla="*/ 0 w 3582"/>
                    <a:gd name="T83" fmla="*/ 0 h 2227"/>
                    <a:gd name="T84" fmla="*/ 0 w 3582"/>
                    <a:gd name="T85" fmla="*/ 0 h 2227"/>
                    <a:gd name="T86" fmla="*/ 0 w 3582"/>
                    <a:gd name="T87" fmla="*/ 0 h 2227"/>
                    <a:gd name="T88" fmla="*/ 0 w 3582"/>
                    <a:gd name="T89" fmla="*/ 0 h 2227"/>
                    <a:gd name="T90" fmla="*/ 0 w 3582"/>
                    <a:gd name="T91" fmla="*/ 0 h 2227"/>
                    <a:gd name="T92" fmla="*/ 0 w 3582"/>
                    <a:gd name="T93" fmla="*/ 0 h 2227"/>
                    <a:gd name="T94" fmla="*/ 0 w 3582"/>
                    <a:gd name="T95" fmla="*/ 0 h 2227"/>
                    <a:gd name="T96" fmla="*/ 0 w 3582"/>
                    <a:gd name="T97" fmla="*/ 0 h 2227"/>
                    <a:gd name="T98" fmla="*/ 0 w 3582"/>
                    <a:gd name="T99" fmla="*/ 0 h 2227"/>
                    <a:gd name="T100" fmla="*/ 0 w 3582"/>
                    <a:gd name="T101" fmla="*/ 0 h 2227"/>
                    <a:gd name="T102" fmla="*/ 0 w 3582"/>
                    <a:gd name="T103" fmla="*/ 0 h 2227"/>
                    <a:gd name="T104" fmla="*/ 0 w 3582"/>
                    <a:gd name="T105" fmla="*/ 0 h 2227"/>
                    <a:gd name="T106" fmla="*/ 0 w 3582"/>
                    <a:gd name="T107" fmla="*/ 0 h 2227"/>
                    <a:gd name="T108" fmla="*/ 0 w 3582"/>
                    <a:gd name="T109" fmla="*/ 0 h 2227"/>
                    <a:gd name="T110" fmla="*/ 0 w 3582"/>
                    <a:gd name="T111" fmla="*/ 0 h 2227"/>
                    <a:gd name="T112" fmla="*/ 0 w 3582"/>
                    <a:gd name="T113" fmla="*/ 0 h 2227"/>
                    <a:gd name="T114" fmla="*/ 0 w 3582"/>
                    <a:gd name="T115" fmla="*/ 0 h 2227"/>
                    <a:gd name="T116" fmla="*/ 0 w 3582"/>
                    <a:gd name="T117" fmla="*/ 0 h 2227"/>
                    <a:gd name="T118" fmla="*/ 0 w 3582"/>
                    <a:gd name="T119" fmla="*/ 0 h 2227"/>
                    <a:gd name="T120" fmla="*/ 0 w 3582"/>
                    <a:gd name="T121" fmla="*/ 0 h 2227"/>
                    <a:gd name="T122" fmla="*/ 0 w 3582"/>
                    <a:gd name="T123" fmla="*/ 0 h 2227"/>
                    <a:gd name="T124" fmla="*/ 0 w 3582"/>
                    <a:gd name="T125" fmla="*/ 0 h 2227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3582"/>
                    <a:gd name="T190" fmla="*/ 0 h 2227"/>
                    <a:gd name="T191" fmla="*/ 3582 w 3582"/>
                    <a:gd name="T192" fmla="*/ 2227 h 2227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3582" h="2227">
                      <a:moveTo>
                        <a:pt x="29" y="1071"/>
                      </a:moveTo>
                      <a:lnTo>
                        <a:pt x="38" y="1035"/>
                      </a:lnTo>
                      <a:lnTo>
                        <a:pt x="49" y="998"/>
                      </a:lnTo>
                      <a:lnTo>
                        <a:pt x="63" y="962"/>
                      </a:lnTo>
                      <a:lnTo>
                        <a:pt x="77" y="925"/>
                      </a:lnTo>
                      <a:lnTo>
                        <a:pt x="93" y="887"/>
                      </a:lnTo>
                      <a:lnTo>
                        <a:pt x="109" y="849"/>
                      </a:lnTo>
                      <a:lnTo>
                        <a:pt x="128" y="810"/>
                      </a:lnTo>
                      <a:lnTo>
                        <a:pt x="148" y="771"/>
                      </a:lnTo>
                      <a:lnTo>
                        <a:pt x="169" y="733"/>
                      </a:lnTo>
                      <a:lnTo>
                        <a:pt x="192" y="694"/>
                      </a:lnTo>
                      <a:lnTo>
                        <a:pt x="215" y="657"/>
                      </a:lnTo>
                      <a:lnTo>
                        <a:pt x="240" y="619"/>
                      </a:lnTo>
                      <a:lnTo>
                        <a:pt x="265" y="581"/>
                      </a:lnTo>
                      <a:lnTo>
                        <a:pt x="292" y="544"/>
                      </a:lnTo>
                      <a:lnTo>
                        <a:pt x="320" y="508"/>
                      </a:lnTo>
                      <a:lnTo>
                        <a:pt x="347" y="472"/>
                      </a:lnTo>
                      <a:lnTo>
                        <a:pt x="378" y="437"/>
                      </a:lnTo>
                      <a:lnTo>
                        <a:pt x="408" y="404"/>
                      </a:lnTo>
                      <a:lnTo>
                        <a:pt x="438" y="372"/>
                      </a:lnTo>
                      <a:lnTo>
                        <a:pt x="470" y="340"/>
                      </a:lnTo>
                      <a:lnTo>
                        <a:pt x="502" y="309"/>
                      </a:lnTo>
                      <a:lnTo>
                        <a:pt x="534" y="282"/>
                      </a:lnTo>
                      <a:lnTo>
                        <a:pt x="568" y="254"/>
                      </a:lnTo>
                      <a:lnTo>
                        <a:pt x="602" y="228"/>
                      </a:lnTo>
                      <a:lnTo>
                        <a:pt x="637" y="205"/>
                      </a:lnTo>
                      <a:lnTo>
                        <a:pt x="671" y="183"/>
                      </a:lnTo>
                      <a:lnTo>
                        <a:pt x="707" y="163"/>
                      </a:lnTo>
                      <a:lnTo>
                        <a:pt x="743" y="145"/>
                      </a:lnTo>
                      <a:lnTo>
                        <a:pt x="778" y="128"/>
                      </a:lnTo>
                      <a:lnTo>
                        <a:pt x="814" y="115"/>
                      </a:lnTo>
                      <a:lnTo>
                        <a:pt x="849" y="104"/>
                      </a:lnTo>
                      <a:lnTo>
                        <a:pt x="886" y="95"/>
                      </a:lnTo>
                      <a:lnTo>
                        <a:pt x="967" y="79"/>
                      </a:lnTo>
                      <a:lnTo>
                        <a:pt x="1052" y="66"/>
                      </a:lnTo>
                      <a:lnTo>
                        <a:pt x="1138" y="52"/>
                      </a:lnTo>
                      <a:lnTo>
                        <a:pt x="1225" y="41"/>
                      </a:lnTo>
                      <a:lnTo>
                        <a:pt x="1314" y="32"/>
                      </a:lnTo>
                      <a:lnTo>
                        <a:pt x="1404" y="23"/>
                      </a:lnTo>
                      <a:lnTo>
                        <a:pt x="1494" y="17"/>
                      </a:lnTo>
                      <a:lnTo>
                        <a:pt x="1585" y="11"/>
                      </a:lnTo>
                      <a:lnTo>
                        <a:pt x="1676" y="7"/>
                      </a:lnTo>
                      <a:lnTo>
                        <a:pt x="1769" y="3"/>
                      </a:lnTo>
                      <a:lnTo>
                        <a:pt x="1860" y="1"/>
                      </a:lnTo>
                      <a:lnTo>
                        <a:pt x="1951" y="0"/>
                      </a:lnTo>
                      <a:lnTo>
                        <a:pt x="2043" y="0"/>
                      </a:lnTo>
                      <a:lnTo>
                        <a:pt x="2133" y="1"/>
                      </a:lnTo>
                      <a:lnTo>
                        <a:pt x="2222" y="3"/>
                      </a:lnTo>
                      <a:lnTo>
                        <a:pt x="2309" y="6"/>
                      </a:lnTo>
                      <a:lnTo>
                        <a:pt x="2395" y="9"/>
                      </a:lnTo>
                      <a:lnTo>
                        <a:pt x="2480" y="13"/>
                      </a:lnTo>
                      <a:lnTo>
                        <a:pt x="2561" y="18"/>
                      </a:lnTo>
                      <a:lnTo>
                        <a:pt x="2641" y="23"/>
                      </a:lnTo>
                      <a:lnTo>
                        <a:pt x="2719" y="30"/>
                      </a:lnTo>
                      <a:lnTo>
                        <a:pt x="2794" y="37"/>
                      </a:lnTo>
                      <a:lnTo>
                        <a:pt x="2866" y="43"/>
                      </a:lnTo>
                      <a:lnTo>
                        <a:pt x="2934" y="51"/>
                      </a:lnTo>
                      <a:lnTo>
                        <a:pt x="3000" y="59"/>
                      </a:lnTo>
                      <a:lnTo>
                        <a:pt x="3061" y="67"/>
                      </a:lnTo>
                      <a:lnTo>
                        <a:pt x="3119" y="76"/>
                      </a:lnTo>
                      <a:lnTo>
                        <a:pt x="3172" y="85"/>
                      </a:lnTo>
                      <a:lnTo>
                        <a:pt x="3220" y="94"/>
                      </a:lnTo>
                      <a:lnTo>
                        <a:pt x="3265" y="102"/>
                      </a:lnTo>
                      <a:lnTo>
                        <a:pt x="3304" y="111"/>
                      </a:lnTo>
                      <a:lnTo>
                        <a:pt x="3338" y="120"/>
                      </a:lnTo>
                      <a:lnTo>
                        <a:pt x="3368" y="130"/>
                      </a:lnTo>
                      <a:lnTo>
                        <a:pt x="3397" y="141"/>
                      </a:lnTo>
                      <a:lnTo>
                        <a:pt x="3423" y="155"/>
                      </a:lnTo>
                      <a:lnTo>
                        <a:pt x="3446" y="169"/>
                      </a:lnTo>
                      <a:lnTo>
                        <a:pt x="3467" y="186"/>
                      </a:lnTo>
                      <a:lnTo>
                        <a:pt x="3487" y="203"/>
                      </a:lnTo>
                      <a:lnTo>
                        <a:pt x="3504" y="222"/>
                      </a:lnTo>
                      <a:lnTo>
                        <a:pt x="3520" y="242"/>
                      </a:lnTo>
                      <a:lnTo>
                        <a:pt x="3533" y="264"/>
                      </a:lnTo>
                      <a:lnTo>
                        <a:pt x="3545" y="286"/>
                      </a:lnTo>
                      <a:lnTo>
                        <a:pt x="3555" y="309"/>
                      </a:lnTo>
                      <a:lnTo>
                        <a:pt x="3563" y="335"/>
                      </a:lnTo>
                      <a:lnTo>
                        <a:pt x="3570" y="361"/>
                      </a:lnTo>
                      <a:lnTo>
                        <a:pt x="3575" y="387"/>
                      </a:lnTo>
                      <a:lnTo>
                        <a:pt x="3579" y="414"/>
                      </a:lnTo>
                      <a:lnTo>
                        <a:pt x="3582" y="443"/>
                      </a:lnTo>
                      <a:lnTo>
                        <a:pt x="3582" y="472"/>
                      </a:lnTo>
                      <a:lnTo>
                        <a:pt x="3582" y="502"/>
                      </a:lnTo>
                      <a:lnTo>
                        <a:pt x="3581" y="532"/>
                      </a:lnTo>
                      <a:lnTo>
                        <a:pt x="3577" y="563"/>
                      </a:lnTo>
                      <a:lnTo>
                        <a:pt x="3574" y="594"/>
                      </a:lnTo>
                      <a:lnTo>
                        <a:pt x="3569" y="627"/>
                      </a:lnTo>
                      <a:lnTo>
                        <a:pt x="3563" y="659"/>
                      </a:lnTo>
                      <a:lnTo>
                        <a:pt x="3556" y="691"/>
                      </a:lnTo>
                      <a:lnTo>
                        <a:pt x="3548" y="723"/>
                      </a:lnTo>
                      <a:lnTo>
                        <a:pt x="3540" y="757"/>
                      </a:lnTo>
                      <a:lnTo>
                        <a:pt x="3531" y="789"/>
                      </a:lnTo>
                      <a:lnTo>
                        <a:pt x="3521" y="822"/>
                      </a:lnTo>
                      <a:lnTo>
                        <a:pt x="3500" y="889"/>
                      </a:lnTo>
                      <a:lnTo>
                        <a:pt x="3476" y="955"/>
                      </a:lnTo>
                      <a:lnTo>
                        <a:pt x="3464" y="987"/>
                      </a:lnTo>
                      <a:lnTo>
                        <a:pt x="3449" y="1021"/>
                      </a:lnTo>
                      <a:lnTo>
                        <a:pt x="3435" y="1053"/>
                      </a:lnTo>
                      <a:lnTo>
                        <a:pt x="3419" y="1085"/>
                      </a:lnTo>
                      <a:lnTo>
                        <a:pt x="3404" y="1117"/>
                      </a:lnTo>
                      <a:lnTo>
                        <a:pt x="3386" y="1149"/>
                      </a:lnTo>
                      <a:lnTo>
                        <a:pt x="3368" y="1179"/>
                      </a:lnTo>
                      <a:lnTo>
                        <a:pt x="3349" y="1210"/>
                      </a:lnTo>
                      <a:lnTo>
                        <a:pt x="3329" y="1240"/>
                      </a:lnTo>
                      <a:lnTo>
                        <a:pt x="3309" y="1269"/>
                      </a:lnTo>
                      <a:lnTo>
                        <a:pt x="3288" y="1299"/>
                      </a:lnTo>
                      <a:lnTo>
                        <a:pt x="3266" y="1327"/>
                      </a:lnTo>
                      <a:lnTo>
                        <a:pt x="3244" y="1356"/>
                      </a:lnTo>
                      <a:lnTo>
                        <a:pt x="3220" y="1383"/>
                      </a:lnTo>
                      <a:lnTo>
                        <a:pt x="3197" y="1410"/>
                      </a:lnTo>
                      <a:lnTo>
                        <a:pt x="3172" y="1437"/>
                      </a:lnTo>
                      <a:lnTo>
                        <a:pt x="3148" y="1463"/>
                      </a:lnTo>
                      <a:lnTo>
                        <a:pt x="3122" y="1489"/>
                      </a:lnTo>
                      <a:lnTo>
                        <a:pt x="3095" y="1515"/>
                      </a:lnTo>
                      <a:lnTo>
                        <a:pt x="3070" y="1539"/>
                      </a:lnTo>
                      <a:lnTo>
                        <a:pt x="3042" y="1564"/>
                      </a:lnTo>
                      <a:lnTo>
                        <a:pt x="3015" y="1587"/>
                      </a:lnTo>
                      <a:lnTo>
                        <a:pt x="2988" y="1609"/>
                      </a:lnTo>
                      <a:lnTo>
                        <a:pt x="2959" y="1632"/>
                      </a:lnTo>
                      <a:lnTo>
                        <a:pt x="2930" y="1654"/>
                      </a:lnTo>
                      <a:lnTo>
                        <a:pt x="2901" y="1675"/>
                      </a:lnTo>
                      <a:lnTo>
                        <a:pt x="2872" y="1696"/>
                      </a:lnTo>
                      <a:lnTo>
                        <a:pt x="2842" y="1715"/>
                      </a:lnTo>
                      <a:lnTo>
                        <a:pt x="2812" y="1735"/>
                      </a:lnTo>
                      <a:lnTo>
                        <a:pt x="2782" y="1753"/>
                      </a:lnTo>
                      <a:lnTo>
                        <a:pt x="2752" y="1772"/>
                      </a:lnTo>
                      <a:lnTo>
                        <a:pt x="2720" y="1788"/>
                      </a:lnTo>
                      <a:lnTo>
                        <a:pt x="2666" y="1818"/>
                      </a:lnTo>
                      <a:lnTo>
                        <a:pt x="2609" y="1847"/>
                      </a:lnTo>
                      <a:lnTo>
                        <a:pt x="2549" y="1876"/>
                      </a:lnTo>
                      <a:lnTo>
                        <a:pt x="2487" y="1905"/>
                      </a:lnTo>
                      <a:lnTo>
                        <a:pt x="2423" y="1934"/>
                      </a:lnTo>
                      <a:lnTo>
                        <a:pt x="2356" y="1962"/>
                      </a:lnTo>
                      <a:lnTo>
                        <a:pt x="2289" y="1989"/>
                      </a:lnTo>
                      <a:lnTo>
                        <a:pt x="2220" y="2015"/>
                      </a:lnTo>
                      <a:lnTo>
                        <a:pt x="2148" y="2040"/>
                      </a:lnTo>
                      <a:lnTo>
                        <a:pt x="2077" y="2064"/>
                      </a:lnTo>
                      <a:lnTo>
                        <a:pt x="2004" y="2088"/>
                      </a:lnTo>
                      <a:lnTo>
                        <a:pt x="1929" y="2110"/>
                      </a:lnTo>
                      <a:lnTo>
                        <a:pt x="1854" y="2130"/>
                      </a:lnTo>
                      <a:lnTo>
                        <a:pt x="1779" y="2149"/>
                      </a:lnTo>
                      <a:lnTo>
                        <a:pt x="1703" y="2166"/>
                      </a:lnTo>
                      <a:lnTo>
                        <a:pt x="1627" y="2181"/>
                      </a:lnTo>
                      <a:lnTo>
                        <a:pt x="1551" y="2195"/>
                      </a:lnTo>
                      <a:lnTo>
                        <a:pt x="1475" y="2206"/>
                      </a:lnTo>
                      <a:lnTo>
                        <a:pt x="1398" y="2215"/>
                      </a:lnTo>
                      <a:lnTo>
                        <a:pt x="1324" y="2221"/>
                      </a:lnTo>
                      <a:lnTo>
                        <a:pt x="1248" y="2225"/>
                      </a:lnTo>
                      <a:lnTo>
                        <a:pt x="1174" y="2227"/>
                      </a:lnTo>
                      <a:lnTo>
                        <a:pt x="1101" y="2226"/>
                      </a:lnTo>
                      <a:lnTo>
                        <a:pt x="1029" y="2221"/>
                      </a:lnTo>
                      <a:lnTo>
                        <a:pt x="959" y="2215"/>
                      </a:lnTo>
                      <a:lnTo>
                        <a:pt x="888" y="2205"/>
                      </a:lnTo>
                      <a:lnTo>
                        <a:pt x="822" y="2191"/>
                      </a:lnTo>
                      <a:lnTo>
                        <a:pt x="755" y="2175"/>
                      </a:lnTo>
                      <a:lnTo>
                        <a:pt x="691" y="2155"/>
                      </a:lnTo>
                      <a:lnTo>
                        <a:pt x="629" y="2131"/>
                      </a:lnTo>
                      <a:lnTo>
                        <a:pt x="570" y="2103"/>
                      </a:lnTo>
                      <a:lnTo>
                        <a:pt x="512" y="2072"/>
                      </a:lnTo>
                      <a:lnTo>
                        <a:pt x="479" y="2051"/>
                      </a:lnTo>
                      <a:lnTo>
                        <a:pt x="445" y="2030"/>
                      </a:lnTo>
                      <a:lnTo>
                        <a:pt x="412" y="2007"/>
                      </a:lnTo>
                      <a:lnTo>
                        <a:pt x="381" y="1984"/>
                      </a:lnTo>
                      <a:lnTo>
                        <a:pt x="351" y="1960"/>
                      </a:lnTo>
                      <a:lnTo>
                        <a:pt x="321" y="1935"/>
                      </a:lnTo>
                      <a:lnTo>
                        <a:pt x="293" y="1911"/>
                      </a:lnTo>
                      <a:lnTo>
                        <a:pt x="265" y="1885"/>
                      </a:lnTo>
                      <a:lnTo>
                        <a:pt x="240" y="1859"/>
                      </a:lnTo>
                      <a:lnTo>
                        <a:pt x="214" y="1832"/>
                      </a:lnTo>
                      <a:lnTo>
                        <a:pt x="191" y="1804"/>
                      </a:lnTo>
                      <a:lnTo>
                        <a:pt x="167" y="1775"/>
                      </a:lnTo>
                      <a:lnTo>
                        <a:pt x="146" y="1746"/>
                      </a:lnTo>
                      <a:lnTo>
                        <a:pt x="126" y="1716"/>
                      </a:lnTo>
                      <a:lnTo>
                        <a:pt x="107" y="1686"/>
                      </a:lnTo>
                      <a:lnTo>
                        <a:pt x="90" y="1655"/>
                      </a:lnTo>
                      <a:lnTo>
                        <a:pt x="74" y="1623"/>
                      </a:lnTo>
                      <a:lnTo>
                        <a:pt x="59" y="1590"/>
                      </a:lnTo>
                      <a:lnTo>
                        <a:pt x="47" y="1557"/>
                      </a:lnTo>
                      <a:lnTo>
                        <a:pt x="35" y="1524"/>
                      </a:lnTo>
                      <a:lnTo>
                        <a:pt x="25" y="1489"/>
                      </a:lnTo>
                      <a:lnTo>
                        <a:pt x="17" y="1455"/>
                      </a:lnTo>
                      <a:lnTo>
                        <a:pt x="10" y="1419"/>
                      </a:lnTo>
                      <a:lnTo>
                        <a:pt x="5" y="1382"/>
                      </a:lnTo>
                      <a:lnTo>
                        <a:pt x="1" y="1346"/>
                      </a:lnTo>
                      <a:lnTo>
                        <a:pt x="0" y="1308"/>
                      </a:lnTo>
                      <a:lnTo>
                        <a:pt x="0" y="1270"/>
                      </a:lnTo>
                      <a:lnTo>
                        <a:pt x="2" y="1231"/>
                      </a:lnTo>
                      <a:lnTo>
                        <a:pt x="6" y="1192"/>
                      </a:lnTo>
                      <a:lnTo>
                        <a:pt x="11" y="1152"/>
                      </a:lnTo>
                      <a:lnTo>
                        <a:pt x="19" y="1112"/>
                      </a:lnTo>
                      <a:lnTo>
                        <a:pt x="29" y="1071"/>
                      </a:lnTo>
                      <a:close/>
                    </a:path>
                  </a:pathLst>
                </a:custGeom>
                <a:solidFill>
                  <a:srgbClr val="242D54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421" name="Freeform 212"/>
                <p:cNvSpPr>
                  <a:spLocks/>
                </p:cNvSpPr>
                <p:nvPr/>
              </p:nvSpPr>
              <p:spPr bwMode="auto">
                <a:xfrm>
                  <a:off x="2763" y="2652"/>
                  <a:ext cx="509" cy="269"/>
                </a:xfrm>
                <a:custGeom>
                  <a:avLst/>
                  <a:gdLst>
                    <a:gd name="T0" fmla="*/ 0 w 3582"/>
                    <a:gd name="T1" fmla="*/ 0 h 1884"/>
                    <a:gd name="T2" fmla="*/ 0 w 3582"/>
                    <a:gd name="T3" fmla="*/ 0 h 1884"/>
                    <a:gd name="T4" fmla="*/ 0 w 3582"/>
                    <a:gd name="T5" fmla="*/ 0 h 1884"/>
                    <a:gd name="T6" fmla="*/ 0 w 3582"/>
                    <a:gd name="T7" fmla="*/ 0 h 1884"/>
                    <a:gd name="T8" fmla="*/ 0 w 3582"/>
                    <a:gd name="T9" fmla="*/ 0 h 1884"/>
                    <a:gd name="T10" fmla="*/ 0 w 3582"/>
                    <a:gd name="T11" fmla="*/ 0 h 1884"/>
                    <a:gd name="T12" fmla="*/ 0 w 3582"/>
                    <a:gd name="T13" fmla="*/ 0 h 1884"/>
                    <a:gd name="T14" fmla="*/ 0 w 3582"/>
                    <a:gd name="T15" fmla="*/ 0 h 1884"/>
                    <a:gd name="T16" fmla="*/ 0 w 3582"/>
                    <a:gd name="T17" fmla="*/ 0 h 1884"/>
                    <a:gd name="T18" fmla="*/ 0 w 3582"/>
                    <a:gd name="T19" fmla="*/ 0 h 1884"/>
                    <a:gd name="T20" fmla="*/ 0 w 3582"/>
                    <a:gd name="T21" fmla="*/ 0 h 1884"/>
                    <a:gd name="T22" fmla="*/ 0 w 3582"/>
                    <a:gd name="T23" fmla="*/ 0 h 1884"/>
                    <a:gd name="T24" fmla="*/ 0 w 3582"/>
                    <a:gd name="T25" fmla="*/ 0 h 1884"/>
                    <a:gd name="T26" fmla="*/ 0 w 3582"/>
                    <a:gd name="T27" fmla="*/ 0 h 1884"/>
                    <a:gd name="T28" fmla="*/ 0 w 3582"/>
                    <a:gd name="T29" fmla="*/ 0 h 1884"/>
                    <a:gd name="T30" fmla="*/ 0 w 3582"/>
                    <a:gd name="T31" fmla="*/ 0 h 1884"/>
                    <a:gd name="T32" fmla="*/ 0 w 3582"/>
                    <a:gd name="T33" fmla="*/ 0 h 1884"/>
                    <a:gd name="T34" fmla="*/ 0 w 3582"/>
                    <a:gd name="T35" fmla="*/ 0 h 1884"/>
                    <a:gd name="T36" fmla="*/ 0 w 3582"/>
                    <a:gd name="T37" fmla="*/ 0 h 1884"/>
                    <a:gd name="T38" fmla="*/ 0 w 3582"/>
                    <a:gd name="T39" fmla="*/ 0 h 1884"/>
                    <a:gd name="T40" fmla="*/ 0 w 3582"/>
                    <a:gd name="T41" fmla="*/ 0 h 1884"/>
                    <a:gd name="T42" fmla="*/ 0 w 3582"/>
                    <a:gd name="T43" fmla="*/ 0 h 1884"/>
                    <a:gd name="T44" fmla="*/ 0 w 3582"/>
                    <a:gd name="T45" fmla="*/ 0 h 1884"/>
                    <a:gd name="T46" fmla="*/ 0 w 3582"/>
                    <a:gd name="T47" fmla="*/ 0 h 1884"/>
                    <a:gd name="T48" fmla="*/ 0 w 3582"/>
                    <a:gd name="T49" fmla="*/ 0 h 1884"/>
                    <a:gd name="T50" fmla="*/ 0 w 3582"/>
                    <a:gd name="T51" fmla="*/ 0 h 1884"/>
                    <a:gd name="T52" fmla="*/ 0 w 3582"/>
                    <a:gd name="T53" fmla="*/ 0 h 1884"/>
                    <a:gd name="T54" fmla="*/ 0 w 3582"/>
                    <a:gd name="T55" fmla="*/ 0 h 1884"/>
                    <a:gd name="T56" fmla="*/ 0 w 3582"/>
                    <a:gd name="T57" fmla="*/ 0 h 1884"/>
                    <a:gd name="T58" fmla="*/ 0 w 3582"/>
                    <a:gd name="T59" fmla="*/ 0 h 1884"/>
                    <a:gd name="T60" fmla="*/ 0 w 3582"/>
                    <a:gd name="T61" fmla="*/ 0 h 1884"/>
                    <a:gd name="T62" fmla="*/ 0 w 3582"/>
                    <a:gd name="T63" fmla="*/ 0 h 1884"/>
                    <a:gd name="T64" fmla="*/ 0 w 3582"/>
                    <a:gd name="T65" fmla="*/ 0 h 1884"/>
                    <a:gd name="T66" fmla="*/ 0 w 3582"/>
                    <a:gd name="T67" fmla="*/ 0 h 1884"/>
                    <a:gd name="T68" fmla="*/ 0 w 3582"/>
                    <a:gd name="T69" fmla="*/ 0 h 1884"/>
                    <a:gd name="T70" fmla="*/ 0 w 3582"/>
                    <a:gd name="T71" fmla="*/ 0 h 1884"/>
                    <a:gd name="T72" fmla="*/ 0 w 3582"/>
                    <a:gd name="T73" fmla="*/ 0 h 1884"/>
                    <a:gd name="T74" fmla="*/ 0 w 3582"/>
                    <a:gd name="T75" fmla="*/ 0 h 1884"/>
                    <a:gd name="T76" fmla="*/ 0 w 3582"/>
                    <a:gd name="T77" fmla="*/ 0 h 1884"/>
                    <a:gd name="T78" fmla="*/ 0 w 3582"/>
                    <a:gd name="T79" fmla="*/ 0 h 1884"/>
                    <a:gd name="T80" fmla="*/ 0 w 3582"/>
                    <a:gd name="T81" fmla="*/ 0 h 1884"/>
                    <a:gd name="T82" fmla="*/ 0 w 3582"/>
                    <a:gd name="T83" fmla="*/ 0 h 1884"/>
                    <a:gd name="T84" fmla="*/ 0 w 3582"/>
                    <a:gd name="T85" fmla="*/ 0 h 1884"/>
                    <a:gd name="T86" fmla="*/ 0 w 3582"/>
                    <a:gd name="T87" fmla="*/ 0 h 1884"/>
                    <a:gd name="T88" fmla="*/ 0 w 3582"/>
                    <a:gd name="T89" fmla="*/ 0 h 1884"/>
                    <a:gd name="T90" fmla="*/ 0 w 3582"/>
                    <a:gd name="T91" fmla="*/ 0 h 1884"/>
                    <a:gd name="T92" fmla="*/ 0 w 3582"/>
                    <a:gd name="T93" fmla="*/ 0 h 1884"/>
                    <a:gd name="T94" fmla="*/ 0 w 3582"/>
                    <a:gd name="T95" fmla="*/ 0 h 1884"/>
                    <a:gd name="T96" fmla="*/ 0 w 3582"/>
                    <a:gd name="T97" fmla="*/ 0 h 1884"/>
                    <a:gd name="T98" fmla="*/ 0 w 3582"/>
                    <a:gd name="T99" fmla="*/ 0 h 1884"/>
                    <a:gd name="T100" fmla="*/ 0 w 3582"/>
                    <a:gd name="T101" fmla="*/ 0 h 1884"/>
                    <a:gd name="T102" fmla="*/ 0 w 3582"/>
                    <a:gd name="T103" fmla="*/ 0 h 1884"/>
                    <a:gd name="T104" fmla="*/ 0 w 3582"/>
                    <a:gd name="T105" fmla="*/ 0 h 1884"/>
                    <a:gd name="T106" fmla="*/ 0 w 3582"/>
                    <a:gd name="T107" fmla="*/ 0 h 1884"/>
                    <a:gd name="T108" fmla="*/ 0 w 3582"/>
                    <a:gd name="T109" fmla="*/ 0 h 1884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3582"/>
                    <a:gd name="T166" fmla="*/ 0 h 1884"/>
                    <a:gd name="T167" fmla="*/ 3582 w 3582"/>
                    <a:gd name="T168" fmla="*/ 1884 h 1884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3582" h="1884">
                      <a:moveTo>
                        <a:pt x="29" y="728"/>
                      </a:moveTo>
                      <a:lnTo>
                        <a:pt x="32" y="715"/>
                      </a:lnTo>
                      <a:lnTo>
                        <a:pt x="36" y="702"/>
                      </a:lnTo>
                      <a:lnTo>
                        <a:pt x="40" y="689"/>
                      </a:lnTo>
                      <a:lnTo>
                        <a:pt x="43" y="677"/>
                      </a:lnTo>
                      <a:lnTo>
                        <a:pt x="49" y="701"/>
                      </a:lnTo>
                      <a:lnTo>
                        <a:pt x="56" y="725"/>
                      </a:lnTo>
                      <a:lnTo>
                        <a:pt x="62" y="749"/>
                      </a:lnTo>
                      <a:lnTo>
                        <a:pt x="70" y="773"/>
                      </a:lnTo>
                      <a:lnTo>
                        <a:pt x="78" y="796"/>
                      </a:lnTo>
                      <a:lnTo>
                        <a:pt x="87" y="819"/>
                      </a:lnTo>
                      <a:lnTo>
                        <a:pt x="97" y="842"/>
                      </a:lnTo>
                      <a:lnTo>
                        <a:pt x="107" y="864"/>
                      </a:lnTo>
                      <a:lnTo>
                        <a:pt x="118" y="886"/>
                      </a:lnTo>
                      <a:lnTo>
                        <a:pt x="130" y="908"/>
                      </a:lnTo>
                      <a:lnTo>
                        <a:pt x="142" y="929"/>
                      </a:lnTo>
                      <a:lnTo>
                        <a:pt x="156" y="951"/>
                      </a:lnTo>
                      <a:lnTo>
                        <a:pt x="170" y="972"/>
                      </a:lnTo>
                      <a:lnTo>
                        <a:pt x="185" y="992"/>
                      </a:lnTo>
                      <a:lnTo>
                        <a:pt x="199" y="1012"/>
                      </a:lnTo>
                      <a:lnTo>
                        <a:pt x="216" y="1032"/>
                      </a:lnTo>
                      <a:lnTo>
                        <a:pt x="231" y="1052"/>
                      </a:lnTo>
                      <a:lnTo>
                        <a:pt x="249" y="1071"/>
                      </a:lnTo>
                      <a:lnTo>
                        <a:pt x="266" y="1090"/>
                      </a:lnTo>
                      <a:lnTo>
                        <a:pt x="285" y="1108"/>
                      </a:lnTo>
                      <a:lnTo>
                        <a:pt x="303" y="1126"/>
                      </a:lnTo>
                      <a:lnTo>
                        <a:pt x="322" y="1144"/>
                      </a:lnTo>
                      <a:lnTo>
                        <a:pt x="342" y="1162"/>
                      </a:lnTo>
                      <a:lnTo>
                        <a:pt x="362" y="1179"/>
                      </a:lnTo>
                      <a:lnTo>
                        <a:pt x="383" y="1195"/>
                      </a:lnTo>
                      <a:lnTo>
                        <a:pt x="404" y="1212"/>
                      </a:lnTo>
                      <a:lnTo>
                        <a:pt x="426" y="1229"/>
                      </a:lnTo>
                      <a:lnTo>
                        <a:pt x="448" y="1244"/>
                      </a:lnTo>
                      <a:lnTo>
                        <a:pt x="494" y="1276"/>
                      </a:lnTo>
                      <a:lnTo>
                        <a:pt x="541" y="1304"/>
                      </a:lnTo>
                      <a:lnTo>
                        <a:pt x="599" y="1336"/>
                      </a:lnTo>
                      <a:lnTo>
                        <a:pt x="658" y="1363"/>
                      </a:lnTo>
                      <a:lnTo>
                        <a:pt x="720" y="1387"/>
                      </a:lnTo>
                      <a:lnTo>
                        <a:pt x="783" y="1407"/>
                      </a:lnTo>
                      <a:lnTo>
                        <a:pt x="850" y="1424"/>
                      </a:lnTo>
                      <a:lnTo>
                        <a:pt x="917" y="1437"/>
                      </a:lnTo>
                      <a:lnTo>
                        <a:pt x="987" y="1447"/>
                      </a:lnTo>
                      <a:lnTo>
                        <a:pt x="1057" y="1455"/>
                      </a:lnTo>
                      <a:lnTo>
                        <a:pt x="1130" y="1458"/>
                      </a:lnTo>
                      <a:lnTo>
                        <a:pt x="1203" y="1459"/>
                      </a:lnTo>
                      <a:lnTo>
                        <a:pt x="1277" y="1458"/>
                      </a:lnTo>
                      <a:lnTo>
                        <a:pt x="1352" y="1454"/>
                      </a:lnTo>
                      <a:lnTo>
                        <a:pt x="1427" y="1447"/>
                      </a:lnTo>
                      <a:lnTo>
                        <a:pt x="1504" y="1438"/>
                      </a:lnTo>
                      <a:lnTo>
                        <a:pt x="1579" y="1427"/>
                      </a:lnTo>
                      <a:lnTo>
                        <a:pt x="1656" y="1414"/>
                      </a:lnTo>
                      <a:lnTo>
                        <a:pt x="1732" y="1398"/>
                      </a:lnTo>
                      <a:lnTo>
                        <a:pt x="1807" y="1381"/>
                      </a:lnTo>
                      <a:lnTo>
                        <a:pt x="1883" y="1362"/>
                      </a:lnTo>
                      <a:lnTo>
                        <a:pt x="1958" y="1342"/>
                      </a:lnTo>
                      <a:lnTo>
                        <a:pt x="2032" y="1320"/>
                      </a:lnTo>
                      <a:lnTo>
                        <a:pt x="2106" y="1298"/>
                      </a:lnTo>
                      <a:lnTo>
                        <a:pt x="2177" y="1273"/>
                      </a:lnTo>
                      <a:lnTo>
                        <a:pt x="2248" y="1248"/>
                      </a:lnTo>
                      <a:lnTo>
                        <a:pt x="2317" y="1221"/>
                      </a:lnTo>
                      <a:lnTo>
                        <a:pt x="2385" y="1194"/>
                      </a:lnTo>
                      <a:lnTo>
                        <a:pt x="2452" y="1166"/>
                      </a:lnTo>
                      <a:lnTo>
                        <a:pt x="2515" y="1139"/>
                      </a:lnTo>
                      <a:lnTo>
                        <a:pt x="2578" y="1110"/>
                      </a:lnTo>
                      <a:lnTo>
                        <a:pt x="2637" y="1080"/>
                      </a:lnTo>
                      <a:lnTo>
                        <a:pt x="2695" y="1051"/>
                      </a:lnTo>
                      <a:lnTo>
                        <a:pt x="2749" y="1022"/>
                      </a:lnTo>
                      <a:lnTo>
                        <a:pt x="2780" y="1004"/>
                      </a:lnTo>
                      <a:lnTo>
                        <a:pt x="2810" y="986"/>
                      </a:lnTo>
                      <a:lnTo>
                        <a:pt x="2840" y="967"/>
                      </a:lnTo>
                      <a:lnTo>
                        <a:pt x="2870" y="948"/>
                      </a:lnTo>
                      <a:lnTo>
                        <a:pt x="2900" y="928"/>
                      </a:lnTo>
                      <a:lnTo>
                        <a:pt x="2929" y="907"/>
                      </a:lnTo>
                      <a:lnTo>
                        <a:pt x="2958" y="886"/>
                      </a:lnTo>
                      <a:lnTo>
                        <a:pt x="2987" y="865"/>
                      </a:lnTo>
                      <a:lnTo>
                        <a:pt x="3015" y="843"/>
                      </a:lnTo>
                      <a:lnTo>
                        <a:pt x="3044" y="819"/>
                      </a:lnTo>
                      <a:lnTo>
                        <a:pt x="3071" y="796"/>
                      </a:lnTo>
                      <a:lnTo>
                        <a:pt x="3099" y="771"/>
                      </a:lnTo>
                      <a:lnTo>
                        <a:pt x="3124" y="747"/>
                      </a:lnTo>
                      <a:lnTo>
                        <a:pt x="3151" y="722"/>
                      </a:lnTo>
                      <a:lnTo>
                        <a:pt x="3176" y="696"/>
                      </a:lnTo>
                      <a:lnTo>
                        <a:pt x="3201" y="670"/>
                      </a:lnTo>
                      <a:lnTo>
                        <a:pt x="3225" y="643"/>
                      </a:lnTo>
                      <a:lnTo>
                        <a:pt x="3249" y="616"/>
                      </a:lnTo>
                      <a:lnTo>
                        <a:pt x="3272" y="588"/>
                      </a:lnTo>
                      <a:lnTo>
                        <a:pt x="3294" y="560"/>
                      </a:lnTo>
                      <a:lnTo>
                        <a:pt x="3317" y="531"/>
                      </a:lnTo>
                      <a:lnTo>
                        <a:pt x="3338" y="502"/>
                      </a:lnTo>
                      <a:lnTo>
                        <a:pt x="3358" y="472"/>
                      </a:lnTo>
                      <a:lnTo>
                        <a:pt x="3378" y="442"/>
                      </a:lnTo>
                      <a:lnTo>
                        <a:pt x="3397" y="412"/>
                      </a:lnTo>
                      <a:lnTo>
                        <a:pt x="3415" y="381"/>
                      </a:lnTo>
                      <a:lnTo>
                        <a:pt x="3431" y="350"/>
                      </a:lnTo>
                      <a:lnTo>
                        <a:pt x="3448" y="317"/>
                      </a:lnTo>
                      <a:lnTo>
                        <a:pt x="3464" y="286"/>
                      </a:lnTo>
                      <a:lnTo>
                        <a:pt x="3478" y="253"/>
                      </a:lnTo>
                      <a:lnTo>
                        <a:pt x="3493" y="221"/>
                      </a:lnTo>
                      <a:lnTo>
                        <a:pt x="3505" y="187"/>
                      </a:lnTo>
                      <a:lnTo>
                        <a:pt x="3514" y="164"/>
                      </a:lnTo>
                      <a:lnTo>
                        <a:pt x="3521" y="140"/>
                      </a:lnTo>
                      <a:lnTo>
                        <a:pt x="3529" y="117"/>
                      </a:lnTo>
                      <a:lnTo>
                        <a:pt x="3537" y="94"/>
                      </a:lnTo>
                      <a:lnTo>
                        <a:pt x="3545" y="70"/>
                      </a:lnTo>
                      <a:lnTo>
                        <a:pt x="3552" y="47"/>
                      </a:lnTo>
                      <a:lnTo>
                        <a:pt x="3558" y="24"/>
                      </a:lnTo>
                      <a:lnTo>
                        <a:pt x="3565" y="0"/>
                      </a:lnTo>
                      <a:lnTo>
                        <a:pt x="3569" y="16"/>
                      </a:lnTo>
                      <a:lnTo>
                        <a:pt x="3573" y="33"/>
                      </a:lnTo>
                      <a:lnTo>
                        <a:pt x="3576" y="49"/>
                      </a:lnTo>
                      <a:lnTo>
                        <a:pt x="3578" y="66"/>
                      </a:lnTo>
                      <a:lnTo>
                        <a:pt x="3582" y="100"/>
                      </a:lnTo>
                      <a:lnTo>
                        <a:pt x="3582" y="136"/>
                      </a:lnTo>
                      <a:lnTo>
                        <a:pt x="3582" y="173"/>
                      </a:lnTo>
                      <a:lnTo>
                        <a:pt x="3578" y="211"/>
                      </a:lnTo>
                      <a:lnTo>
                        <a:pt x="3574" y="250"/>
                      </a:lnTo>
                      <a:lnTo>
                        <a:pt x="3568" y="288"/>
                      </a:lnTo>
                      <a:lnTo>
                        <a:pt x="3560" y="329"/>
                      </a:lnTo>
                      <a:lnTo>
                        <a:pt x="3552" y="369"/>
                      </a:lnTo>
                      <a:lnTo>
                        <a:pt x="3541" y="409"/>
                      </a:lnTo>
                      <a:lnTo>
                        <a:pt x="3530" y="450"/>
                      </a:lnTo>
                      <a:lnTo>
                        <a:pt x="3518" y="491"/>
                      </a:lnTo>
                      <a:lnTo>
                        <a:pt x="3505" y="531"/>
                      </a:lnTo>
                      <a:lnTo>
                        <a:pt x="3491" y="572"/>
                      </a:lnTo>
                      <a:lnTo>
                        <a:pt x="3477" y="612"/>
                      </a:lnTo>
                      <a:lnTo>
                        <a:pt x="3464" y="646"/>
                      </a:lnTo>
                      <a:lnTo>
                        <a:pt x="3450" y="678"/>
                      </a:lnTo>
                      <a:lnTo>
                        <a:pt x="3436" y="710"/>
                      </a:lnTo>
                      <a:lnTo>
                        <a:pt x="3420" y="742"/>
                      </a:lnTo>
                      <a:lnTo>
                        <a:pt x="3403" y="775"/>
                      </a:lnTo>
                      <a:lnTo>
                        <a:pt x="3387" y="806"/>
                      </a:lnTo>
                      <a:lnTo>
                        <a:pt x="3368" y="837"/>
                      </a:lnTo>
                      <a:lnTo>
                        <a:pt x="3349" y="867"/>
                      </a:lnTo>
                      <a:lnTo>
                        <a:pt x="3330" y="897"/>
                      </a:lnTo>
                      <a:lnTo>
                        <a:pt x="3309" y="927"/>
                      </a:lnTo>
                      <a:lnTo>
                        <a:pt x="3288" y="956"/>
                      </a:lnTo>
                      <a:lnTo>
                        <a:pt x="3267" y="985"/>
                      </a:lnTo>
                      <a:lnTo>
                        <a:pt x="3244" y="1013"/>
                      </a:lnTo>
                      <a:lnTo>
                        <a:pt x="3221" y="1041"/>
                      </a:lnTo>
                      <a:lnTo>
                        <a:pt x="3196" y="1069"/>
                      </a:lnTo>
                      <a:lnTo>
                        <a:pt x="3173" y="1095"/>
                      </a:lnTo>
                      <a:lnTo>
                        <a:pt x="3147" y="1121"/>
                      </a:lnTo>
                      <a:lnTo>
                        <a:pt x="3122" y="1146"/>
                      </a:lnTo>
                      <a:lnTo>
                        <a:pt x="3096" y="1172"/>
                      </a:lnTo>
                      <a:lnTo>
                        <a:pt x="3070" y="1197"/>
                      </a:lnTo>
                      <a:lnTo>
                        <a:pt x="3043" y="1221"/>
                      </a:lnTo>
                      <a:lnTo>
                        <a:pt x="3015" y="1244"/>
                      </a:lnTo>
                      <a:lnTo>
                        <a:pt x="2987" y="1268"/>
                      </a:lnTo>
                      <a:lnTo>
                        <a:pt x="2959" y="1290"/>
                      </a:lnTo>
                      <a:lnTo>
                        <a:pt x="2930" y="1311"/>
                      </a:lnTo>
                      <a:lnTo>
                        <a:pt x="2902" y="1332"/>
                      </a:lnTo>
                      <a:lnTo>
                        <a:pt x="2871" y="1353"/>
                      </a:lnTo>
                      <a:lnTo>
                        <a:pt x="2843" y="1373"/>
                      </a:lnTo>
                      <a:lnTo>
                        <a:pt x="2812" y="1392"/>
                      </a:lnTo>
                      <a:lnTo>
                        <a:pt x="2781" y="1411"/>
                      </a:lnTo>
                      <a:lnTo>
                        <a:pt x="2751" y="1429"/>
                      </a:lnTo>
                      <a:lnTo>
                        <a:pt x="2721" y="1446"/>
                      </a:lnTo>
                      <a:lnTo>
                        <a:pt x="2666" y="1476"/>
                      </a:lnTo>
                      <a:lnTo>
                        <a:pt x="2609" y="1505"/>
                      </a:lnTo>
                      <a:lnTo>
                        <a:pt x="2549" y="1535"/>
                      </a:lnTo>
                      <a:lnTo>
                        <a:pt x="2487" y="1563"/>
                      </a:lnTo>
                      <a:lnTo>
                        <a:pt x="2423" y="1592"/>
                      </a:lnTo>
                      <a:lnTo>
                        <a:pt x="2357" y="1619"/>
                      </a:lnTo>
                      <a:lnTo>
                        <a:pt x="2289" y="1646"/>
                      </a:lnTo>
                      <a:lnTo>
                        <a:pt x="2220" y="1673"/>
                      </a:lnTo>
                      <a:lnTo>
                        <a:pt x="2149" y="1698"/>
                      </a:lnTo>
                      <a:lnTo>
                        <a:pt x="2077" y="1723"/>
                      </a:lnTo>
                      <a:lnTo>
                        <a:pt x="2003" y="1745"/>
                      </a:lnTo>
                      <a:lnTo>
                        <a:pt x="1930" y="1767"/>
                      </a:lnTo>
                      <a:lnTo>
                        <a:pt x="1854" y="1787"/>
                      </a:lnTo>
                      <a:lnTo>
                        <a:pt x="1780" y="1806"/>
                      </a:lnTo>
                      <a:lnTo>
                        <a:pt x="1703" y="1823"/>
                      </a:lnTo>
                      <a:lnTo>
                        <a:pt x="1627" y="1839"/>
                      </a:lnTo>
                      <a:lnTo>
                        <a:pt x="1550" y="1852"/>
                      </a:lnTo>
                      <a:lnTo>
                        <a:pt x="1475" y="1863"/>
                      </a:lnTo>
                      <a:lnTo>
                        <a:pt x="1399" y="1872"/>
                      </a:lnTo>
                      <a:lnTo>
                        <a:pt x="1323" y="1879"/>
                      </a:lnTo>
                      <a:lnTo>
                        <a:pt x="1249" y="1883"/>
                      </a:lnTo>
                      <a:lnTo>
                        <a:pt x="1174" y="1884"/>
                      </a:lnTo>
                      <a:lnTo>
                        <a:pt x="1102" y="1883"/>
                      </a:lnTo>
                      <a:lnTo>
                        <a:pt x="1029" y="1879"/>
                      </a:lnTo>
                      <a:lnTo>
                        <a:pt x="958" y="1872"/>
                      </a:lnTo>
                      <a:lnTo>
                        <a:pt x="889" y="1862"/>
                      </a:lnTo>
                      <a:lnTo>
                        <a:pt x="821" y="1849"/>
                      </a:lnTo>
                      <a:lnTo>
                        <a:pt x="756" y="1832"/>
                      </a:lnTo>
                      <a:lnTo>
                        <a:pt x="691" y="1812"/>
                      </a:lnTo>
                      <a:lnTo>
                        <a:pt x="630" y="1789"/>
                      </a:lnTo>
                      <a:lnTo>
                        <a:pt x="570" y="1761"/>
                      </a:lnTo>
                      <a:lnTo>
                        <a:pt x="513" y="1730"/>
                      </a:lnTo>
                      <a:lnTo>
                        <a:pt x="479" y="1708"/>
                      </a:lnTo>
                      <a:lnTo>
                        <a:pt x="445" y="1687"/>
                      </a:lnTo>
                      <a:lnTo>
                        <a:pt x="413" y="1665"/>
                      </a:lnTo>
                      <a:lnTo>
                        <a:pt x="382" y="1642"/>
                      </a:lnTo>
                      <a:lnTo>
                        <a:pt x="351" y="1618"/>
                      </a:lnTo>
                      <a:lnTo>
                        <a:pt x="322" y="1594"/>
                      </a:lnTo>
                      <a:lnTo>
                        <a:pt x="293" y="1568"/>
                      </a:lnTo>
                      <a:lnTo>
                        <a:pt x="266" y="1543"/>
                      </a:lnTo>
                      <a:lnTo>
                        <a:pt x="239" y="1516"/>
                      </a:lnTo>
                      <a:lnTo>
                        <a:pt x="215" y="1489"/>
                      </a:lnTo>
                      <a:lnTo>
                        <a:pt x="190" y="1461"/>
                      </a:lnTo>
                      <a:lnTo>
                        <a:pt x="168" y="1432"/>
                      </a:lnTo>
                      <a:lnTo>
                        <a:pt x="147" y="1404"/>
                      </a:lnTo>
                      <a:lnTo>
                        <a:pt x="127" y="1373"/>
                      </a:lnTo>
                      <a:lnTo>
                        <a:pt x="108" y="1343"/>
                      </a:lnTo>
                      <a:lnTo>
                        <a:pt x="90" y="1312"/>
                      </a:lnTo>
                      <a:lnTo>
                        <a:pt x="74" y="1280"/>
                      </a:lnTo>
                      <a:lnTo>
                        <a:pt x="60" y="1248"/>
                      </a:lnTo>
                      <a:lnTo>
                        <a:pt x="47" y="1215"/>
                      </a:lnTo>
                      <a:lnTo>
                        <a:pt x="36" y="1181"/>
                      </a:lnTo>
                      <a:lnTo>
                        <a:pt x="26" y="1148"/>
                      </a:lnTo>
                      <a:lnTo>
                        <a:pt x="17" y="1112"/>
                      </a:lnTo>
                      <a:lnTo>
                        <a:pt x="10" y="1076"/>
                      </a:lnTo>
                      <a:lnTo>
                        <a:pt x="5" y="1041"/>
                      </a:lnTo>
                      <a:lnTo>
                        <a:pt x="2" y="1003"/>
                      </a:lnTo>
                      <a:lnTo>
                        <a:pt x="0" y="966"/>
                      </a:lnTo>
                      <a:lnTo>
                        <a:pt x="0" y="928"/>
                      </a:lnTo>
                      <a:lnTo>
                        <a:pt x="2" y="889"/>
                      </a:lnTo>
                      <a:lnTo>
                        <a:pt x="7" y="849"/>
                      </a:lnTo>
                      <a:lnTo>
                        <a:pt x="12" y="809"/>
                      </a:lnTo>
                      <a:lnTo>
                        <a:pt x="20" y="769"/>
                      </a:lnTo>
                      <a:lnTo>
                        <a:pt x="29" y="728"/>
                      </a:lnTo>
                      <a:close/>
                    </a:path>
                  </a:pathLst>
                </a:custGeom>
                <a:solidFill>
                  <a:srgbClr val="1B233E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422" name="Freeform 213"/>
                <p:cNvSpPr>
                  <a:spLocks/>
                </p:cNvSpPr>
                <p:nvPr/>
              </p:nvSpPr>
              <p:spPr bwMode="auto">
                <a:xfrm>
                  <a:off x="2767" y="2612"/>
                  <a:ext cx="509" cy="230"/>
                </a:xfrm>
                <a:custGeom>
                  <a:avLst/>
                  <a:gdLst>
                    <a:gd name="T0" fmla="*/ 0 w 3578"/>
                    <a:gd name="T1" fmla="*/ 0 h 1617"/>
                    <a:gd name="T2" fmla="*/ 0 w 3578"/>
                    <a:gd name="T3" fmla="*/ 0 h 1617"/>
                    <a:gd name="T4" fmla="*/ 0 w 3578"/>
                    <a:gd name="T5" fmla="*/ 0 h 1617"/>
                    <a:gd name="T6" fmla="*/ 0 w 3578"/>
                    <a:gd name="T7" fmla="*/ 0 h 1617"/>
                    <a:gd name="T8" fmla="*/ 0 w 3578"/>
                    <a:gd name="T9" fmla="*/ 0 h 1617"/>
                    <a:gd name="T10" fmla="*/ 0 w 3578"/>
                    <a:gd name="T11" fmla="*/ 0 h 1617"/>
                    <a:gd name="T12" fmla="*/ 0 w 3578"/>
                    <a:gd name="T13" fmla="*/ 0 h 1617"/>
                    <a:gd name="T14" fmla="*/ 0 w 3578"/>
                    <a:gd name="T15" fmla="*/ 0 h 1617"/>
                    <a:gd name="T16" fmla="*/ 0 w 3578"/>
                    <a:gd name="T17" fmla="*/ 0 h 1617"/>
                    <a:gd name="T18" fmla="*/ 0 w 3578"/>
                    <a:gd name="T19" fmla="*/ 0 h 1617"/>
                    <a:gd name="T20" fmla="*/ 0 w 3578"/>
                    <a:gd name="T21" fmla="*/ 0 h 1617"/>
                    <a:gd name="T22" fmla="*/ 0 w 3578"/>
                    <a:gd name="T23" fmla="*/ 0 h 1617"/>
                    <a:gd name="T24" fmla="*/ 0 w 3578"/>
                    <a:gd name="T25" fmla="*/ 0 h 1617"/>
                    <a:gd name="T26" fmla="*/ 0 w 3578"/>
                    <a:gd name="T27" fmla="*/ 0 h 1617"/>
                    <a:gd name="T28" fmla="*/ 0 w 3578"/>
                    <a:gd name="T29" fmla="*/ 0 h 1617"/>
                    <a:gd name="T30" fmla="*/ 0 w 3578"/>
                    <a:gd name="T31" fmla="*/ 0 h 1617"/>
                    <a:gd name="T32" fmla="*/ 0 w 3578"/>
                    <a:gd name="T33" fmla="*/ 0 h 1617"/>
                    <a:gd name="T34" fmla="*/ 0 w 3578"/>
                    <a:gd name="T35" fmla="*/ 0 h 1617"/>
                    <a:gd name="T36" fmla="*/ 0 w 3578"/>
                    <a:gd name="T37" fmla="*/ 0 h 1617"/>
                    <a:gd name="T38" fmla="*/ 0 w 3578"/>
                    <a:gd name="T39" fmla="*/ 0 h 1617"/>
                    <a:gd name="T40" fmla="*/ 0 w 3578"/>
                    <a:gd name="T41" fmla="*/ 0 h 1617"/>
                    <a:gd name="T42" fmla="*/ 0 w 3578"/>
                    <a:gd name="T43" fmla="*/ 0 h 1617"/>
                    <a:gd name="T44" fmla="*/ 0 w 3578"/>
                    <a:gd name="T45" fmla="*/ 0 h 1617"/>
                    <a:gd name="T46" fmla="*/ 0 w 3578"/>
                    <a:gd name="T47" fmla="*/ 0 h 1617"/>
                    <a:gd name="T48" fmla="*/ 0 w 3578"/>
                    <a:gd name="T49" fmla="*/ 0 h 1617"/>
                    <a:gd name="T50" fmla="*/ 0 w 3578"/>
                    <a:gd name="T51" fmla="*/ 0 h 1617"/>
                    <a:gd name="T52" fmla="*/ 0 w 3578"/>
                    <a:gd name="T53" fmla="*/ 0 h 1617"/>
                    <a:gd name="T54" fmla="*/ 0 w 3578"/>
                    <a:gd name="T55" fmla="*/ 0 h 1617"/>
                    <a:gd name="T56" fmla="*/ 0 w 3578"/>
                    <a:gd name="T57" fmla="*/ 0 h 1617"/>
                    <a:gd name="T58" fmla="*/ 0 w 3578"/>
                    <a:gd name="T59" fmla="*/ 0 h 1617"/>
                    <a:gd name="T60" fmla="*/ 0 w 3578"/>
                    <a:gd name="T61" fmla="*/ 0 h 1617"/>
                    <a:gd name="T62" fmla="*/ 0 w 3578"/>
                    <a:gd name="T63" fmla="*/ 0 h 1617"/>
                    <a:gd name="T64" fmla="*/ 0 w 3578"/>
                    <a:gd name="T65" fmla="*/ 0 h 1617"/>
                    <a:gd name="T66" fmla="*/ 0 w 3578"/>
                    <a:gd name="T67" fmla="*/ 0 h 1617"/>
                    <a:gd name="T68" fmla="*/ 0 w 3578"/>
                    <a:gd name="T69" fmla="*/ 0 h 1617"/>
                    <a:gd name="T70" fmla="*/ 0 w 3578"/>
                    <a:gd name="T71" fmla="*/ 0 h 1617"/>
                    <a:gd name="T72" fmla="*/ 0 w 3578"/>
                    <a:gd name="T73" fmla="*/ 0 h 1617"/>
                    <a:gd name="T74" fmla="*/ 0 w 3578"/>
                    <a:gd name="T75" fmla="*/ 0 h 1617"/>
                    <a:gd name="T76" fmla="*/ 0 w 3578"/>
                    <a:gd name="T77" fmla="*/ 0 h 1617"/>
                    <a:gd name="T78" fmla="*/ 0 w 3578"/>
                    <a:gd name="T79" fmla="*/ 0 h 1617"/>
                    <a:gd name="T80" fmla="*/ 0 w 3578"/>
                    <a:gd name="T81" fmla="*/ 0 h 1617"/>
                    <a:gd name="T82" fmla="*/ 0 w 3578"/>
                    <a:gd name="T83" fmla="*/ 0 h 1617"/>
                    <a:gd name="T84" fmla="*/ 0 w 3578"/>
                    <a:gd name="T85" fmla="*/ 0 h 1617"/>
                    <a:gd name="T86" fmla="*/ 0 w 3578"/>
                    <a:gd name="T87" fmla="*/ 0 h 1617"/>
                    <a:gd name="T88" fmla="*/ 0 w 3578"/>
                    <a:gd name="T89" fmla="*/ 0 h 1617"/>
                    <a:gd name="T90" fmla="*/ 0 w 3578"/>
                    <a:gd name="T91" fmla="*/ 0 h 1617"/>
                    <a:gd name="T92" fmla="*/ 0 w 3578"/>
                    <a:gd name="T93" fmla="*/ 0 h 1617"/>
                    <a:gd name="T94" fmla="*/ 0 w 3578"/>
                    <a:gd name="T95" fmla="*/ 0 h 1617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3578"/>
                    <a:gd name="T145" fmla="*/ 0 h 1617"/>
                    <a:gd name="T146" fmla="*/ 3578 w 3578"/>
                    <a:gd name="T147" fmla="*/ 1617 h 1617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3578" h="1617">
                      <a:moveTo>
                        <a:pt x="3395" y="291"/>
                      </a:moveTo>
                      <a:lnTo>
                        <a:pt x="3360" y="282"/>
                      </a:lnTo>
                      <a:lnTo>
                        <a:pt x="3321" y="273"/>
                      </a:lnTo>
                      <a:lnTo>
                        <a:pt x="3277" y="263"/>
                      </a:lnTo>
                      <a:lnTo>
                        <a:pt x="3228" y="255"/>
                      </a:lnTo>
                      <a:lnTo>
                        <a:pt x="3174" y="246"/>
                      </a:lnTo>
                      <a:lnTo>
                        <a:pt x="3117" y="237"/>
                      </a:lnTo>
                      <a:lnTo>
                        <a:pt x="3056" y="229"/>
                      </a:lnTo>
                      <a:lnTo>
                        <a:pt x="2990" y="222"/>
                      </a:lnTo>
                      <a:lnTo>
                        <a:pt x="2921" y="214"/>
                      </a:lnTo>
                      <a:lnTo>
                        <a:pt x="2850" y="206"/>
                      </a:lnTo>
                      <a:lnTo>
                        <a:pt x="2776" y="201"/>
                      </a:lnTo>
                      <a:lnTo>
                        <a:pt x="2698" y="194"/>
                      </a:lnTo>
                      <a:lnTo>
                        <a:pt x="2618" y="188"/>
                      </a:lnTo>
                      <a:lnTo>
                        <a:pt x="2535" y="184"/>
                      </a:lnTo>
                      <a:lnTo>
                        <a:pt x="2452" y="179"/>
                      </a:lnTo>
                      <a:lnTo>
                        <a:pt x="2365" y="176"/>
                      </a:lnTo>
                      <a:lnTo>
                        <a:pt x="2277" y="173"/>
                      </a:lnTo>
                      <a:lnTo>
                        <a:pt x="2189" y="172"/>
                      </a:lnTo>
                      <a:lnTo>
                        <a:pt x="2099" y="170"/>
                      </a:lnTo>
                      <a:lnTo>
                        <a:pt x="2008" y="170"/>
                      </a:lnTo>
                      <a:lnTo>
                        <a:pt x="1916" y="172"/>
                      </a:lnTo>
                      <a:lnTo>
                        <a:pt x="1825" y="174"/>
                      </a:lnTo>
                      <a:lnTo>
                        <a:pt x="1733" y="177"/>
                      </a:lnTo>
                      <a:lnTo>
                        <a:pt x="1642" y="182"/>
                      </a:lnTo>
                      <a:lnTo>
                        <a:pt x="1550" y="187"/>
                      </a:lnTo>
                      <a:lnTo>
                        <a:pt x="1459" y="194"/>
                      </a:lnTo>
                      <a:lnTo>
                        <a:pt x="1370" y="203"/>
                      </a:lnTo>
                      <a:lnTo>
                        <a:pt x="1281" y="212"/>
                      </a:lnTo>
                      <a:lnTo>
                        <a:pt x="1194" y="223"/>
                      </a:lnTo>
                      <a:lnTo>
                        <a:pt x="1108" y="235"/>
                      </a:lnTo>
                      <a:lnTo>
                        <a:pt x="1024" y="250"/>
                      </a:lnTo>
                      <a:lnTo>
                        <a:pt x="943" y="265"/>
                      </a:lnTo>
                      <a:lnTo>
                        <a:pt x="906" y="274"/>
                      </a:lnTo>
                      <a:lnTo>
                        <a:pt x="870" y="285"/>
                      </a:lnTo>
                      <a:lnTo>
                        <a:pt x="834" y="298"/>
                      </a:lnTo>
                      <a:lnTo>
                        <a:pt x="798" y="314"/>
                      </a:lnTo>
                      <a:lnTo>
                        <a:pt x="762" y="333"/>
                      </a:lnTo>
                      <a:lnTo>
                        <a:pt x="728" y="353"/>
                      </a:lnTo>
                      <a:lnTo>
                        <a:pt x="692" y="374"/>
                      </a:lnTo>
                      <a:lnTo>
                        <a:pt x="659" y="399"/>
                      </a:lnTo>
                      <a:lnTo>
                        <a:pt x="624" y="424"/>
                      </a:lnTo>
                      <a:lnTo>
                        <a:pt x="591" y="451"/>
                      </a:lnTo>
                      <a:lnTo>
                        <a:pt x="557" y="480"/>
                      </a:lnTo>
                      <a:lnTo>
                        <a:pt x="526" y="510"/>
                      </a:lnTo>
                      <a:lnTo>
                        <a:pt x="494" y="542"/>
                      </a:lnTo>
                      <a:lnTo>
                        <a:pt x="463" y="574"/>
                      </a:lnTo>
                      <a:lnTo>
                        <a:pt x="433" y="608"/>
                      </a:lnTo>
                      <a:lnTo>
                        <a:pt x="404" y="642"/>
                      </a:lnTo>
                      <a:lnTo>
                        <a:pt x="375" y="678"/>
                      </a:lnTo>
                      <a:lnTo>
                        <a:pt x="348" y="715"/>
                      </a:lnTo>
                      <a:lnTo>
                        <a:pt x="322" y="751"/>
                      </a:lnTo>
                      <a:lnTo>
                        <a:pt x="296" y="789"/>
                      </a:lnTo>
                      <a:lnTo>
                        <a:pt x="271" y="827"/>
                      </a:lnTo>
                      <a:lnTo>
                        <a:pt x="248" y="865"/>
                      </a:lnTo>
                      <a:lnTo>
                        <a:pt x="226" y="904"/>
                      </a:lnTo>
                      <a:lnTo>
                        <a:pt x="205" y="942"/>
                      </a:lnTo>
                      <a:lnTo>
                        <a:pt x="185" y="981"/>
                      </a:lnTo>
                      <a:lnTo>
                        <a:pt x="166" y="1018"/>
                      </a:lnTo>
                      <a:lnTo>
                        <a:pt x="149" y="1057"/>
                      </a:lnTo>
                      <a:lnTo>
                        <a:pt x="133" y="1095"/>
                      </a:lnTo>
                      <a:lnTo>
                        <a:pt x="119" y="1132"/>
                      </a:lnTo>
                      <a:lnTo>
                        <a:pt x="106" y="1169"/>
                      </a:lnTo>
                      <a:lnTo>
                        <a:pt x="94" y="1205"/>
                      </a:lnTo>
                      <a:lnTo>
                        <a:pt x="86" y="1240"/>
                      </a:lnTo>
                      <a:lnTo>
                        <a:pt x="79" y="1266"/>
                      </a:lnTo>
                      <a:lnTo>
                        <a:pt x="73" y="1291"/>
                      </a:lnTo>
                      <a:lnTo>
                        <a:pt x="69" y="1316"/>
                      </a:lnTo>
                      <a:lnTo>
                        <a:pt x="66" y="1340"/>
                      </a:lnTo>
                      <a:lnTo>
                        <a:pt x="62" y="1365"/>
                      </a:lnTo>
                      <a:lnTo>
                        <a:pt x="60" y="1389"/>
                      </a:lnTo>
                      <a:lnTo>
                        <a:pt x="58" y="1412"/>
                      </a:lnTo>
                      <a:lnTo>
                        <a:pt x="57" y="1437"/>
                      </a:lnTo>
                      <a:lnTo>
                        <a:pt x="57" y="1460"/>
                      </a:lnTo>
                      <a:lnTo>
                        <a:pt x="57" y="1484"/>
                      </a:lnTo>
                      <a:lnTo>
                        <a:pt x="58" y="1506"/>
                      </a:lnTo>
                      <a:lnTo>
                        <a:pt x="59" y="1529"/>
                      </a:lnTo>
                      <a:lnTo>
                        <a:pt x="61" y="1552"/>
                      </a:lnTo>
                      <a:lnTo>
                        <a:pt x="64" y="1574"/>
                      </a:lnTo>
                      <a:lnTo>
                        <a:pt x="68" y="1596"/>
                      </a:lnTo>
                      <a:lnTo>
                        <a:pt x="72" y="1617"/>
                      </a:lnTo>
                      <a:lnTo>
                        <a:pt x="59" y="1587"/>
                      </a:lnTo>
                      <a:lnTo>
                        <a:pt x="47" y="1557"/>
                      </a:lnTo>
                      <a:lnTo>
                        <a:pt x="35" y="1526"/>
                      </a:lnTo>
                      <a:lnTo>
                        <a:pt x="27" y="1494"/>
                      </a:lnTo>
                      <a:lnTo>
                        <a:pt x="19" y="1461"/>
                      </a:lnTo>
                      <a:lnTo>
                        <a:pt x="12" y="1429"/>
                      </a:lnTo>
                      <a:lnTo>
                        <a:pt x="7" y="1396"/>
                      </a:lnTo>
                      <a:lnTo>
                        <a:pt x="3" y="1361"/>
                      </a:lnTo>
                      <a:lnTo>
                        <a:pt x="1" y="1327"/>
                      </a:lnTo>
                      <a:lnTo>
                        <a:pt x="0" y="1292"/>
                      </a:lnTo>
                      <a:lnTo>
                        <a:pt x="1" y="1257"/>
                      </a:lnTo>
                      <a:lnTo>
                        <a:pt x="3" y="1220"/>
                      </a:lnTo>
                      <a:lnTo>
                        <a:pt x="7" y="1183"/>
                      </a:lnTo>
                      <a:lnTo>
                        <a:pt x="12" y="1146"/>
                      </a:lnTo>
                      <a:lnTo>
                        <a:pt x="20" y="1109"/>
                      </a:lnTo>
                      <a:lnTo>
                        <a:pt x="29" y="1071"/>
                      </a:lnTo>
                      <a:lnTo>
                        <a:pt x="38" y="1035"/>
                      </a:lnTo>
                      <a:lnTo>
                        <a:pt x="49" y="1000"/>
                      </a:lnTo>
                      <a:lnTo>
                        <a:pt x="62" y="963"/>
                      </a:lnTo>
                      <a:lnTo>
                        <a:pt x="77" y="925"/>
                      </a:lnTo>
                      <a:lnTo>
                        <a:pt x="92" y="887"/>
                      </a:lnTo>
                      <a:lnTo>
                        <a:pt x="109" y="849"/>
                      </a:lnTo>
                      <a:lnTo>
                        <a:pt x="128" y="810"/>
                      </a:lnTo>
                      <a:lnTo>
                        <a:pt x="148" y="773"/>
                      </a:lnTo>
                      <a:lnTo>
                        <a:pt x="169" y="734"/>
                      </a:lnTo>
                      <a:lnTo>
                        <a:pt x="191" y="695"/>
                      </a:lnTo>
                      <a:lnTo>
                        <a:pt x="215" y="657"/>
                      </a:lnTo>
                      <a:lnTo>
                        <a:pt x="239" y="619"/>
                      </a:lnTo>
                      <a:lnTo>
                        <a:pt x="265" y="581"/>
                      </a:lnTo>
                      <a:lnTo>
                        <a:pt x="291" y="544"/>
                      </a:lnTo>
                      <a:lnTo>
                        <a:pt x="319" y="509"/>
                      </a:lnTo>
                      <a:lnTo>
                        <a:pt x="347" y="473"/>
                      </a:lnTo>
                      <a:lnTo>
                        <a:pt x="376" y="438"/>
                      </a:lnTo>
                      <a:lnTo>
                        <a:pt x="407" y="404"/>
                      </a:lnTo>
                      <a:lnTo>
                        <a:pt x="437" y="372"/>
                      </a:lnTo>
                      <a:lnTo>
                        <a:pt x="470" y="341"/>
                      </a:lnTo>
                      <a:lnTo>
                        <a:pt x="502" y="311"/>
                      </a:lnTo>
                      <a:lnTo>
                        <a:pt x="534" y="282"/>
                      </a:lnTo>
                      <a:lnTo>
                        <a:pt x="567" y="254"/>
                      </a:lnTo>
                      <a:lnTo>
                        <a:pt x="602" y="228"/>
                      </a:lnTo>
                      <a:lnTo>
                        <a:pt x="637" y="205"/>
                      </a:lnTo>
                      <a:lnTo>
                        <a:pt x="671" y="183"/>
                      </a:lnTo>
                      <a:lnTo>
                        <a:pt x="706" y="163"/>
                      </a:lnTo>
                      <a:lnTo>
                        <a:pt x="741" y="145"/>
                      </a:lnTo>
                      <a:lnTo>
                        <a:pt x="777" y="128"/>
                      </a:lnTo>
                      <a:lnTo>
                        <a:pt x="813" y="115"/>
                      </a:lnTo>
                      <a:lnTo>
                        <a:pt x="849" y="104"/>
                      </a:lnTo>
                      <a:lnTo>
                        <a:pt x="886" y="95"/>
                      </a:lnTo>
                      <a:lnTo>
                        <a:pt x="967" y="79"/>
                      </a:lnTo>
                      <a:lnTo>
                        <a:pt x="1052" y="66"/>
                      </a:lnTo>
                      <a:lnTo>
                        <a:pt x="1137" y="53"/>
                      </a:lnTo>
                      <a:lnTo>
                        <a:pt x="1224" y="41"/>
                      </a:lnTo>
                      <a:lnTo>
                        <a:pt x="1313" y="33"/>
                      </a:lnTo>
                      <a:lnTo>
                        <a:pt x="1403" y="24"/>
                      </a:lnTo>
                      <a:lnTo>
                        <a:pt x="1494" y="17"/>
                      </a:lnTo>
                      <a:lnTo>
                        <a:pt x="1585" y="11"/>
                      </a:lnTo>
                      <a:lnTo>
                        <a:pt x="1676" y="7"/>
                      </a:lnTo>
                      <a:lnTo>
                        <a:pt x="1768" y="4"/>
                      </a:lnTo>
                      <a:lnTo>
                        <a:pt x="1860" y="1"/>
                      </a:lnTo>
                      <a:lnTo>
                        <a:pt x="1951" y="0"/>
                      </a:lnTo>
                      <a:lnTo>
                        <a:pt x="2042" y="0"/>
                      </a:lnTo>
                      <a:lnTo>
                        <a:pt x="2132" y="1"/>
                      </a:lnTo>
                      <a:lnTo>
                        <a:pt x="2221" y="4"/>
                      </a:lnTo>
                      <a:lnTo>
                        <a:pt x="2308" y="6"/>
                      </a:lnTo>
                      <a:lnTo>
                        <a:pt x="2395" y="9"/>
                      </a:lnTo>
                      <a:lnTo>
                        <a:pt x="2479" y="14"/>
                      </a:lnTo>
                      <a:lnTo>
                        <a:pt x="2561" y="18"/>
                      </a:lnTo>
                      <a:lnTo>
                        <a:pt x="2641" y="24"/>
                      </a:lnTo>
                      <a:lnTo>
                        <a:pt x="2719" y="30"/>
                      </a:lnTo>
                      <a:lnTo>
                        <a:pt x="2793" y="37"/>
                      </a:lnTo>
                      <a:lnTo>
                        <a:pt x="2866" y="44"/>
                      </a:lnTo>
                      <a:lnTo>
                        <a:pt x="2934" y="51"/>
                      </a:lnTo>
                      <a:lnTo>
                        <a:pt x="2999" y="59"/>
                      </a:lnTo>
                      <a:lnTo>
                        <a:pt x="3061" y="67"/>
                      </a:lnTo>
                      <a:lnTo>
                        <a:pt x="3117" y="76"/>
                      </a:lnTo>
                      <a:lnTo>
                        <a:pt x="3171" y="85"/>
                      </a:lnTo>
                      <a:lnTo>
                        <a:pt x="3220" y="94"/>
                      </a:lnTo>
                      <a:lnTo>
                        <a:pt x="3264" y="103"/>
                      </a:lnTo>
                      <a:lnTo>
                        <a:pt x="3303" y="112"/>
                      </a:lnTo>
                      <a:lnTo>
                        <a:pt x="3338" y="120"/>
                      </a:lnTo>
                      <a:lnTo>
                        <a:pt x="3367" y="129"/>
                      </a:lnTo>
                      <a:lnTo>
                        <a:pt x="3393" y="140"/>
                      </a:lnTo>
                      <a:lnTo>
                        <a:pt x="3418" y="153"/>
                      </a:lnTo>
                      <a:lnTo>
                        <a:pt x="3440" y="166"/>
                      </a:lnTo>
                      <a:lnTo>
                        <a:pt x="3460" y="181"/>
                      </a:lnTo>
                      <a:lnTo>
                        <a:pt x="3479" y="197"/>
                      </a:lnTo>
                      <a:lnTo>
                        <a:pt x="3496" y="214"/>
                      </a:lnTo>
                      <a:lnTo>
                        <a:pt x="3511" y="233"/>
                      </a:lnTo>
                      <a:lnTo>
                        <a:pt x="3525" y="252"/>
                      </a:lnTo>
                      <a:lnTo>
                        <a:pt x="3537" y="273"/>
                      </a:lnTo>
                      <a:lnTo>
                        <a:pt x="3547" y="294"/>
                      </a:lnTo>
                      <a:lnTo>
                        <a:pt x="3556" y="317"/>
                      </a:lnTo>
                      <a:lnTo>
                        <a:pt x="3564" y="341"/>
                      </a:lnTo>
                      <a:lnTo>
                        <a:pt x="3570" y="365"/>
                      </a:lnTo>
                      <a:lnTo>
                        <a:pt x="3575" y="390"/>
                      </a:lnTo>
                      <a:lnTo>
                        <a:pt x="3578" y="416"/>
                      </a:lnTo>
                      <a:lnTo>
                        <a:pt x="3570" y="405"/>
                      </a:lnTo>
                      <a:lnTo>
                        <a:pt x="3563" y="395"/>
                      </a:lnTo>
                      <a:lnTo>
                        <a:pt x="3554" y="385"/>
                      </a:lnTo>
                      <a:lnTo>
                        <a:pt x="3545" y="375"/>
                      </a:lnTo>
                      <a:lnTo>
                        <a:pt x="3536" y="366"/>
                      </a:lnTo>
                      <a:lnTo>
                        <a:pt x="3526" y="357"/>
                      </a:lnTo>
                      <a:lnTo>
                        <a:pt x="3515" y="349"/>
                      </a:lnTo>
                      <a:lnTo>
                        <a:pt x="3504" y="341"/>
                      </a:lnTo>
                      <a:lnTo>
                        <a:pt x="3492" y="333"/>
                      </a:lnTo>
                      <a:lnTo>
                        <a:pt x="3480" y="326"/>
                      </a:lnTo>
                      <a:lnTo>
                        <a:pt x="3467" y="319"/>
                      </a:lnTo>
                      <a:lnTo>
                        <a:pt x="3454" y="312"/>
                      </a:lnTo>
                      <a:lnTo>
                        <a:pt x="3440" y="306"/>
                      </a:lnTo>
                      <a:lnTo>
                        <a:pt x="3426" y="301"/>
                      </a:lnTo>
                      <a:lnTo>
                        <a:pt x="3410" y="295"/>
                      </a:lnTo>
                      <a:lnTo>
                        <a:pt x="3395" y="291"/>
                      </a:lnTo>
                      <a:close/>
                    </a:path>
                  </a:pathLst>
                </a:custGeom>
                <a:solidFill>
                  <a:srgbClr val="1B457C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423" name="Freeform 214"/>
                <p:cNvSpPr>
                  <a:spLocks/>
                </p:cNvSpPr>
                <p:nvPr/>
              </p:nvSpPr>
              <p:spPr bwMode="auto">
                <a:xfrm>
                  <a:off x="2950" y="2489"/>
                  <a:ext cx="984" cy="575"/>
                </a:xfrm>
                <a:custGeom>
                  <a:avLst/>
                  <a:gdLst>
                    <a:gd name="T0" fmla="*/ 0 w 6882"/>
                    <a:gd name="T1" fmla="*/ 0 h 4066"/>
                    <a:gd name="T2" fmla="*/ 0 w 6882"/>
                    <a:gd name="T3" fmla="*/ 0 h 4066"/>
                    <a:gd name="T4" fmla="*/ 0 w 6882"/>
                    <a:gd name="T5" fmla="*/ 0 h 4066"/>
                    <a:gd name="T6" fmla="*/ 0 w 6882"/>
                    <a:gd name="T7" fmla="*/ 0 h 4066"/>
                    <a:gd name="T8" fmla="*/ 0 w 6882"/>
                    <a:gd name="T9" fmla="*/ 0 h 4066"/>
                    <a:gd name="T10" fmla="*/ 0 w 6882"/>
                    <a:gd name="T11" fmla="*/ 0 h 4066"/>
                    <a:gd name="T12" fmla="*/ 0 w 6882"/>
                    <a:gd name="T13" fmla="*/ 0 h 4066"/>
                    <a:gd name="T14" fmla="*/ 0 w 6882"/>
                    <a:gd name="T15" fmla="*/ 0 h 4066"/>
                    <a:gd name="T16" fmla="*/ 0 w 6882"/>
                    <a:gd name="T17" fmla="*/ 0 h 4066"/>
                    <a:gd name="T18" fmla="*/ 0 w 6882"/>
                    <a:gd name="T19" fmla="*/ 0 h 4066"/>
                    <a:gd name="T20" fmla="*/ 0 w 6882"/>
                    <a:gd name="T21" fmla="*/ 0 h 4066"/>
                    <a:gd name="T22" fmla="*/ 0 w 6882"/>
                    <a:gd name="T23" fmla="*/ 0 h 4066"/>
                    <a:gd name="T24" fmla="*/ 0 w 6882"/>
                    <a:gd name="T25" fmla="*/ 0 h 4066"/>
                    <a:gd name="T26" fmla="*/ 0 w 6882"/>
                    <a:gd name="T27" fmla="*/ 0 h 4066"/>
                    <a:gd name="T28" fmla="*/ 0 w 6882"/>
                    <a:gd name="T29" fmla="*/ 0 h 4066"/>
                    <a:gd name="T30" fmla="*/ 0 w 6882"/>
                    <a:gd name="T31" fmla="*/ 0 h 4066"/>
                    <a:gd name="T32" fmla="*/ 0 w 6882"/>
                    <a:gd name="T33" fmla="*/ 0 h 4066"/>
                    <a:gd name="T34" fmla="*/ 0 w 6882"/>
                    <a:gd name="T35" fmla="*/ 0 h 4066"/>
                    <a:gd name="T36" fmla="*/ 0 w 6882"/>
                    <a:gd name="T37" fmla="*/ 0 h 4066"/>
                    <a:gd name="T38" fmla="*/ 0 w 6882"/>
                    <a:gd name="T39" fmla="*/ 0 h 4066"/>
                    <a:gd name="T40" fmla="*/ 0 w 6882"/>
                    <a:gd name="T41" fmla="*/ 0 h 4066"/>
                    <a:gd name="T42" fmla="*/ 0 w 6882"/>
                    <a:gd name="T43" fmla="*/ 0 h 4066"/>
                    <a:gd name="T44" fmla="*/ 0 w 6882"/>
                    <a:gd name="T45" fmla="*/ 0 h 4066"/>
                    <a:gd name="T46" fmla="*/ 0 w 6882"/>
                    <a:gd name="T47" fmla="*/ 0 h 4066"/>
                    <a:gd name="T48" fmla="*/ 0 w 6882"/>
                    <a:gd name="T49" fmla="*/ 0 h 4066"/>
                    <a:gd name="T50" fmla="*/ 0 w 6882"/>
                    <a:gd name="T51" fmla="*/ 0 h 4066"/>
                    <a:gd name="T52" fmla="*/ 0 w 6882"/>
                    <a:gd name="T53" fmla="*/ 0 h 4066"/>
                    <a:gd name="T54" fmla="*/ 0 w 6882"/>
                    <a:gd name="T55" fmla="*/ 0 h 4066"/>
                    <a:gd name="T56" fmla="*/ 0 w 6882"/>
                    <a:gd name="T57" fmla="*/ 0 h 4066"/>
                    <a:gd name="T58" fmla="*/ 0 w 6882"/>
                    <a:gd name="T59" fmla="*/ 0 h 4066"/>
                    <a:gd name="T60" fmla="*/ 0 w 6882"/>
                    <a:gd name="T61" fmla="*/ 0 h 4066"/>
                    <a:gd name="T62" fmla="*/ 0 w 6882"/>
                    <a:gd name="T63" fmla="*/ 0 h 4066"/>
                    <a:gd name="T64" fmla="*/ 0 w 6882"/>
                    <a:gd name="T65" fmla="*/ 0 h 4066"/>
                    <a:gd name="T66" fmla="*/ 0 w 6882"/>
                    <a:gd name="T67" fmla="*/ 0 h 4066"/>
                    <a:gd name="T68" fmla="*/ 0 w 6882"/>
                    <a:gd name="T69" fmla="*/ 0 h 4066"/>
                    <a:gd name="T70" fmla="*/ 0 w 6882"/>
                    <a:gd name="T71" fmla="*/ 0 h 4066"/>
                    <a:gd name="T72" fmla="*/ 0 w 6882"/>
                    <a:gd name="T73" fmla="*/ 0 h 4066"/>
                    <a:gd name="T74" fmla="*/ 0 w 6882"/>
                    <a:gd name="T75" fmla="*/ 0 h 4066"/>
                    <a:gd name="T76" fmla="*/ 0 w 6882"/>
                    <a:gd name="T77" fmla="*/ 0 h 4066"/>
                    <a:gd name="T78" fmla="*/ 0 w 6882"/>
                    <a:gd name="T79" fmla="*/ 0 h 4066"/>
                    <a:gd name="T80" fmla="*/ 0 w 6882"/>
                    <a:gd name="T81" fmla="*/ 0 h 4066"/>
                    <a:gd name="T82" fmla="*/ 0 w 6882"/>
                    <a:gd name="T83" fmla="*/ 0 h 4066"/>
                    <a:gd name="T84" fmla="*/ 0 w 6882"/>
                    <a:gd name="T85" fmla="*/ 0 h 4066"/>
                    <a:gd name="T86" fmla="*/ 0 w 6882"/>
                    <a:gd name="T87" fmla="*/ 0 h 4066"/>
                    <a:gd name="T88" fmla="*/ 0 w 6882"/>
                    <a:gd name="T89" fmla="*/ 0 h 4066"/>
                    <a:gd name="T90" fmla="*/ 0 w 6882"/>
                    <a:gd name="T91" fmla="*/ 0 h 4066"/>
                    <a:gd name="T92" fmla="*/ 0 w 6882"/>
                    <a:gd name="T93" fmla="*/ 0 h 4066"/>
                    <a:gd name="T94" fmla="*/ 0 w 6882"/>
                    <a:gd name="T95" fmla="*/ 0 h 406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6882"/>
                    <a:gd name="T145" fmla="*/ 0 h 4066"/>
                    <a:gd name="T146" fmla="*/ 6882 w 6882"/>
                    <a:gd name="T147" fmla="*/ 4066 h 4066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6882" h="4066">
                      <a:moveTo>
                        <a:pt x="6852" y="4060"/>
                      </a:moveTo>
                      <a:lnTo>
                        <a:pt x="6873" y="3833"/>
                      </a:lnTo>
                      <a:lnTo>
                        <a:pt x="6882" y="3612"/>
                      </a:lnTo>
                      <a:lnTo>
                        <a:pt x="6877" y="3395"/>
                      </a:lnTo>
                      <a:lnTo>
                        <a:pt x="6863" y="3183"/>
                      </a:lnTo>
                      <a:lnTo>
                        <a:pt x="6836" y="2978"/>
                      </a:lnTo>
                      <a:lnTo>
                        <a:pt x="6799" y="2777"/>
                      </a:lnTo>
                      <a:lnTo>
                        <a:pt x="6752" y="2582"/>
                      </a:lnTo>
                      <a:lnTo>
                        <a:pt x="6694" y="2394"/>
                      </a:lnTo>
                      <a:lnTo>
                        <a:pt x="6627" y="2211"/>
                      </a:lnTo>
                      <a:lnTo>
                        <a:pt x="6551" y="2035"/>
                      </a:lnTo>
                      <a:lnTo>
                        <a:pt x="6467" y="1865"/>
                      </a:lnTo>
                      <a:lnTo>
                        <a:pt x="6373" y="1701"/>
                      </a:lnTo>
                      <a:lnTo>
                        <a:pt x="6273" y="1543"/>
                      </a:lnTo>
                      <a:lnTo>
                        <a:pt x="6165" y="1393"/>
                      </a:lnTo>
                      <a:lnTo>
                        <a:pt x="6050" y="1249"/>
                      </a:lnTo>
                      <a:lnTo>
                        <a:pt x="5929" y="1112"/>
                      </a:lnTo>
                      <a:lnTo>
                        <a:pt x="5801" y="983"/>
                      </a:lnTo>
                      <a:lnTo>
                        <a:pt x="5669" y="861"/>
                      </a:lnTo>
                      <a:lnTo>
                        <a:pt x="5531" y="746"/>
                      </a:lnTo>
                      <a:lnTo>
                        <a:pt x="5387" y="639"/>
                      </a:lnTo>
                      <a:lnTo>
                        <a:pt x="5240" y="540"/>
                      </a:lnTo>
                      <a:lnTo>
                        <a:pt x="5089" y="449"/>
                      </a:lnTo>
                      <a:lnTo>
                        <a:pt x="4934" y="366"/>
                      </a:lnTo>
                      <a:lnTo>
                        <a:pt x="4777" y="290"/>
                      </a:lnTo>
                      <a:lnTo>
                        <a:pt x="4617" y="223"/>
                      </a:lnTo>
                      <a:lnTo>
                        <a:pt x="4454" y="164"/>
                      </a:lnTo>
                      <a:lnTo>
                        <a:pt x="4290" y="114"/>
                      </a:lnTo>
                      <a:lnTo>
                        <a:pt x="4125" y="73"/>
                      </a:lnTo>
                      <a:lnTo>
                        <a:pt x="3958" y="42"/>
                      </a:lnTo>
                      <a:lnTo>
                        <a:pt x="3792" y="18"/>
                      </a:lnTo>
                      <a:lnTo>
                        <a:pt x="3625" y="4"/>
                      </a:lnTo>
                      <a:lnTo>
                        <a:pt x="3459" y="0"/>
                      </a:lnTo>
                      <a:lnTo>
                        <a:pt x="3292" y="4"/>
                      </a:lnTo>
                      <a:lnTo>
                        <a:pt x="3124" y="20"/>
                      </a:lnTo>
                      <a:lnTo>
                        <a:pt x="2956" y="43"/>
                      </a:lnTo>
                      <a:lnTo>
                        <a:pt x="2789" y="77"/>
                      </a:lnTo>
                      <a:lnTo>
                        <a:pt x="2622" y="121"/>
                      </a:lnTo>
                      <a:lnTo>
                        <a:pt x="2456" y="172"/>
                      </a:lnTo>
                      <a:lnTo>
                        <a:pt x="2292" y="233"/>
                      </a:lnTo>
                      <a:lnTo>
                        <a:pt x="2130" y="302"/>
                      </a:lnTo>
                      <a:lnTo>
                        <a:pt x="1970" y="381"/>
                      </a:lnTo>
                      <a:lnTo>
                        <a:pt x="1813" y="467"/>
                      </a:lnTo>
                      <a:lnTo>
                        <a:pt x="1660" y="562"/>
                      </a:lnTo>
                      <a:lnTo>
                        <a:pt x="1510" y="664"/>
                      </a:lnTo>
                      <a:lnTo>
                        <a:pt x="1365" y="773"/>
                      </a:lnTo>
                      <a:lnTo>
                        <a:pt x="1224" y="891"/>
                      </a:lnTo>
                      <a:lnTo>
                        <a:pt x="1089" y="1016"/>
                      </a:lnTo>
                      <a:lnTo>
                        <a:pt x="959" y="1147"/>
                      </a:lnTo>
                      <a:lnTo>
                        <a:pt x="836" y="1286"/>
                      </a:lnTo>
                      <a:lnTo>
                        <a:pt x="719" y="1432"/>
                      </a:lnTo>
                      <a:lnTo>
                        <a:pt x="609" y="1583"/>
                      </a:lnTo>
                      <a:lnTo>
                        <a:pt x="506" y="1742"/>
                      </a:lnTo>
                      <a:lnTo>
                        <a:pt x="413" y="1906"/>
                      </a:lnTo>
                      <a:lnTo>
                        <a:pt x="327" y="2077"/>
                      </a:lnTo>
                      <a:lnTo>
                        <a:pt x="250" y="2253"/>
                      </a:lnTo>
                      <a:lnTo>
                        <a:pt x="183" y="2434"/>
                      </a:lnTo>
                      <a:lnTo>
                        <a:pt x="125" y="2621"/>
                      </a:lnTo>
                      <a:lnTo>
                        <a:pt x="77" y="2814"/>
                      </a:lnTo>
                      <a:lnTo>
                        <a:pt x="40" y="3011"/>
                      </a:lnTo>
                      <a:lnTo>
                        <a:pt x="16" y="3213"/>
                      </a:lnTo>
                      <a:lnTo>
                        <a:pt x="1" y="3420"/>
                      </a:lnTo>
                      <a:lnTo>
                        <a:pt x="0" y="3631"/>
                      </a:lnTo>
                      <a:lnTo>
                        <a:pt x="10" y="3847"/>
                      </a:lnTo>
                      <a:lnTo>
                        <a:pt x="35" y="4066"/>
                      </a:lnTo>
                      <a:lnTo>
                        <a:pt x="101" y="4016"/>
                      </a:lnTo>
                      <a:lnTo>
                        <a:pt x="181" y="3959"/>
                      </a:lnTo>
                      <a:lnTo>
                        <a:pt x="274" y="3897"/>
                      </a:lnTo>
                      <a:lnTo>
                        <a:pt x="378" y="3829"/>
                      </a:lnTo>
                      <a:lnTo>
                        <a:pt x="494" y="3757"/>
                      </a:lnTo>
                      <a:lnTo>
                        <a:pt x="622" y="3681"/>
                      </a:lnTo>
                      <a:lnTo>
                        <a:pt x="761" y="3604"/>
                      </a:lnTo>
                      <a:lnTo>
                        <a:pt x="912" y="3525"/>
                      </a:lnTo>
                      <a:lnTo>
                        <a:pt x="1072" y="3447"/>
                      </a:lnTo>
                      <a:lnTo>
                        <a:pt x="1243" y="3369"/>
                      </a:lnTo>
                      <a:lnTo>
                        <a:pt x="1424" y="3295"/>
                      </a:lnTo>
                      <a:lnTo>
                        <a:pt x="1613" y="3222"/>
                      </a:lnTo>
                      <a:lnTo>
                        <a:pt x="1812" y="3154"/>
                      </a:lnTo>
                      <a:lnTo>
                        <a:pt x="2019" y="3092"/>
                      </a:lnTo>
                      <a:lnTo>
                        <a:pt x="2235" y="3037"/>
                      </a:lnTo>
                      <a:lnTo>
                        <a:pt x="2460" y="2988"/>
                      </a:lnTo>
                      <a:lnTo>
                        <a:pt x="2691" y="2946"/>
                      </a:lnTo>
                      <a:lnTo>
                        <a:pt x="2931" y="2916"/>
                      </a:lnTo>
                      <a:lnTo>
                        <a:pt x="3177" y="2895"/>
                      </a:lnTo>
                      <a:lnTo>
                        <a:pt x="3429" y="2886"/>
                      </a:lnTo>
                      <a:lnTo>
                        <a:pt x="3687" y="2891"/>
                      </a:lnTo>
                      <a:lnTo>
                        <a:pt x="3952" y="2907"/>
                      </a:lnTo>
                      <a:lnTo>
                        <a:pt x="4223" y="2940"/>
                      </a:lnTo>
                      <a:lnTo>
                        <a:pt x="4499" y="2988"/>
                      </a:lnTo>
                      <a:lnTo>
                        <a:pt x="4779" y="3052"/>
                      </a:lnTo>
                      <a:lnTo>
                        <a:pt x="5064" y="3134"/>
                      </a:lnTo>
                      <a:lnTo>
                        <a:pt x="5354" y="3236"/>
                      </a:lnTo>
                      <a:lnTo>
                        <a:pt x="5647" y="3356"/>
                      </a:lnTo>
                      <a:lnTo>
                        <a:pt x="5943" y="3498"/>
                      </a:lnTo>
                      <a:lnTo>
                        <a:pt x="6244" y="3662"/>
                      </a:lnTo>
                      <a:lnTo>
                        <a:pt x="6547" y="3849"/>
                      </a:lnTo>
                      <a:lnTo>
                        <a:pt x="6852" y="4060"/>
                      </a:lnTo>
                      <a:close/>
                    </a:path>
                  </a:pathLst>
                </a:custGeom>
                <a:solidFill>
                  <a:srgbClr val="242D54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424" name="Freeform 215"/>
                <p:cNvSpPr>
                  <a:spLocks/>
                </p:cNvSpPr>
                <p:nvPr/>
              </p:nvSpPr>
              <p:spPr bwMode="auto">
                <a:xfrm>
                  <a:off x="2950" y="2628"/>
                  <a:ext cx="984" cy="436"/>
                </a:xfrm>
                <a:custGeom>
                  <a:avLst/>
                  <a:gdLst>
                    <a:gd name="T0" fmla="*/ 0 w 6883"/>
                    <a:gd name="T1" fmla="*/ 0 h 3057"/>
                    <a:gd name="T2" fmla="*/ 0 w 6883"/>
                    <a:gd name="T3" fmla="*/ 0 h 3057"/>
                    <a:gd name="T4" fmla="*/ 0 w 6883"/>
                    <a:gd name="T5" fmla="*/ 0 h 3057"/>
                    <a:gd name="T6" fmla="*/ 0 w 6883"/>
                    <a:gd name="T7" fmla="*/ 0 h 3057"/>
                    <a:gd name="T8" fmla="*/ 0 w 6883"/>
                    <a:gd name="T9" fmla="*/ 0 h 3057"/>
                    <a:gd name="T10" fmla="*/ 0 w 6883"/>
                    <a:gd name="T11" fmla="*/ 0 h 3057"/>
                    <a:gd name="T12" fmla="*/ 0 w 6883"/>
                    <a:gd name="T13" fmla="*/ 0 h 3057"/>
                    <a:gd name="T14" fmla="*/ 0 w 6883"/>
                    <a:gd name="T15" fmla="*/ 0 h 3057"/>
                    <a:gd name="T16" fmla="*/ 0 w 6883"/>
                    <a:gd name="T17" fmla="*/ 0 h 3057"/>
                    <a:gd name="T18" fmla="*/ 0 w 6883"/>
                    <a:gd name="T19" fmla="*/ 0 h 3057"/>
                    <a:gd name="T20" fmla="*/ 0 w 6883"/>
                    <a:gd name="T21" fmla="*/ 0 h 3057"/>
                    <a:gd name="T22" fmla="*/ 0 w 6883"/>
                    <a:gd name="T23" fmla="*/ 0 h 3057"/>
                    <a:gd name="T24" fmla="*/ 0 w 6883"/>
                    <a:gd name="T25" fmla="*/ 0 h 3057"/>
                    <a:gd name="T26" fmla="*/ 0 w 6883"/>
                    <a:gd name="T27" fmla="*/ 0 h 3057"/>
                    <a:gd name="T28" fmla="*/ 0 w 6883"/>
                    <a:gd name="T29" fmla="*/ 0 h 3057"/>
                    <a:gd name="T30" fmla="*/ 0 w 6883"/>
                    <a:gd name="T31" fmla="*/ 0 h 3057"/>
                    <a:gd name="T32" fmla="*/ 0 w 6883"/>
                    <a:gd name="T33" fmla="*/ 0 h 3057"/>
                    <a:gd name="T34" fmla="*/ 0 w 6883"/>
                    <a:gd name="T35" fmla="*/ 0 h 3057"/>
                    <a:gd name="T36" fmla="*/ 0 w 6883"/>
                    <a:gd name="T37" fmla="*/ 0 h 3057"/>
                    <a:gd name="T38" fmla="*/ 0 w 6883"/>
                    <a:gd name="T39" fmla="*/ 0 h 3057"/>
                    <a:gd name="T40" fmla="*/ 0 w 6883"/>
                    <a:gd name="T41" fmla="*/ 0 h 3057"/>
                    <a:gd name="T42" fmla="*/ 0 w 6883"/>
                    <a:gd name="T43" fmla="*/ 0 h 3057"/>
                    <a:gd name="T44" fmla="*/ 0 w 6883"/>
                    <a:gd name="T45" fmla="*/ 0 h 3057"/>
                    <a:gd name="T46" fmla="*/ 0 w 6883"/>
                    <a:gd name="T47" fmla="*/ 0 h 3057"/>
                    <a:gd name="T48" fmla="*/ 0 w 6883"/>
                    <a:gd name="T49" fmla="*/ 0 h 3057"/>
                    <a:gd name="T50" fmla="*/ 0 w 6883"/>
                    <a:gd name="T51" fmla="*/ 0 h 3057"/>
                    <a:gd name="T52" fmla="*/ 0 w 6883"/>
                    <a:gd name="T53" fmla="*/ 0 h 3057"/>
                    <a:gd name="T54" fmla="*/ 0 w 6883"/>
                    <a:gd name="T55" fmla="*/ 0 h 3057"/>
                    <a:gd name="T56" fmla="*/ 0 w 6883"/>
                    <a:gd name="T57" fmla="*/ 0 h 3057"/>
                    <a:gd name="T58" fmla="*/ 0 w 6883"/>
                    <a:gd name="T59" fmla="*/ 0 h 3057"/>
                    <a:gd name="T60" fmla="*/ 0 w 6883"/>
                    <a:gd name="T61" fmla="*/ 0 h 3057"/>
                    <a:gd name="T62" fmla="*/ 0 w 6883"/>
                    <a:gd name="T63" fmla="*/ 0 h 3057"/>
                    <a:gd name="T64" fmla="*/ 0 w 6883"/>
                    <a:gd name="T65" fmla="*/ 0 h 3057"/>
                    <a:gd name="T66" fmla="*/ 0 w 6883"/>
                    <a:gd name="T67" fmla="*/ 0 h 3057"/>
                    <a:gd name="T68" fmla="*/ 0 w 6883"/>
                    <a:gd name="T69" fmla="*/ 0 h 3057"/>
                    <a:gd name="T70" fmla="*/ 0 w 6883"/>
                    <a:gd name="T71" fmla="*/ 0 h 3057"/>
                    <a:gd name="T72" fmla="*/ 0 w 6883"/>
                    <a:gd name="T73" fmla="*/ 0 h 3057"/>
                    <a:gd name="T74" fmla="*/ 0 w 6883"/>
                    <a:gd name="T75" fmla="*/ 0 h 3057"/>
                    <a:gd name="T76" fmla="*/ 0 w 6883"/>
                    <a:gd name="T77" fmla="*/ 0 h 3057"/>
                    <a:gd name="T78" fmla="*/ 0 w 6883"/>
                    <a:gd name="T79" fmla="*/ 0 h 3057"/>
                    <a:gd name="T80" fmla="*/ 0 w 6883"/>
                    <a:gd name="T81" fmla="*/ 0 h 3057"/>
                    <a:gd name="T82" fmla="*/ 0 w 6883"/>
                    <a:gd name="T83" fmla="*/ 0 h 3057"/>
                    <a:gd name="T84" fmla="*/ 0 w 6883"/>
                    <a:gd name="T85" fmla="*/ 0 h 3057"/>
                    <a:gd name="T86" fmla="*/ 0 w 6883"/>
                    <a:gd name="T87" fmla="*/ 0 h 3057"/>
                    <a:gd name="T88" fmla="*/ 0 w 6883"/>
                    <a:gd name="T89" fmla="*/ 0 h 3057"/>
                    <a:gd name="T90" fmla="*/ 0 w 6883"/>
                    <a:gd name="T91" fmla="*/ 0 h 3057"/>
                    <a:gd name="T92" fmla="*/ 0 w 6883"/>
                    <a:gd name="T93" fmla="*/ 0 h 3057"/>
                    <a:gd name="T94" fmla="*/ 0 w 6883"/>
                    <a:gd name="T95" fmla="*/ 0 h 3057"/>
                    <a:gd name="T96" fmla="*/ 0 w 6883"/>
                    <a:gd name="T97" fmla="*/ 0 h 3057"/>
                    <a:gd name="T98" fmla="*/ 0 w 6883"/>
                    <a:gd name="T99" fmla="*/ 0 h 3057"/>
                    <a:gd name="T100" fmla="*/ 0 w 6883"/>
                    <a:gd name="T101" fmla="*/ 0 h 3057"/>
                    <a:gd name="T102" fmla="*/ 0 w 6883"/>
                    <a:gd name="T103" fmla="*/ 0 h 3057"/>
                    <a:gd name="T104" fmla="*/ 0 w 6883"/>
                    <a:gd name="T105" fmla="*/ 0 h 3057"/>
                    <a:gd name="T106" fmla="*/ 0 w 6883"/>
                    <a:gd name="T107" fmla="*/ 0 h 3057"/>
                    <a:gd name="T108" fmla="*/ 0 w 6883"/>
                    <a:gd name="T109" fmla="*/ 0 h 3057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6883"/>
                    <a:gd name="T166" fmla="*/ 0 h 3057"/>
                    <a:gd name="T167" fmla="*/ 6883 w 6883"/>
                    <a:gd name="T168" fmla="*/ 3057 h 3057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6883" h="3057">
                      <a:moveTo>
                        <a:pt x="5829" y="0"/>
                      </a:moveTo>
                      <a:lnTo>
                        <a:pt x="5815" y="20"/>
                      </a:lnTo>
                      <a:lnTo>
                        <a:pt x="5804" y="39"/>
                      </a:lnTo>
                      <a:lnTo>
                        <a:pt x="5793" y="58"/>
                      </a:lnTo>
                      <a:lnTo>
                        <a:pt x="5782" y="75"/>
                      </a:lnTo>
                      <a:lnTo>
                        <a:pt x="5760" y="113"/>
                      </a:lnTo>
                      <a:lnTo>
                        <a:pt x="5736" y="150"/>
                      </a:lnTo>
                      <a:lnTo>
                        <a:pt x="5714" y="186"/>
                      </a:lnTo>
                      <a:lnTo>
                        <a:pt x="5691" y="220"/>
                      </a:lnTo>
                      <a:lnTo>
                        <a:pt x="5667" y="252"/>
                      </a:lnTo>
                      <a:lnTo>
                        <a:pt x="5644" y="285"/>
                      </a:lnTo>
                      <a:lnTo>
                        <a:pt x="5619" y="315"/>
                      </a:lnTo>
                      <a:lnTo>
                        <a:pt x="5595" y="345"/>
                      </a:lnTo>
                      <a:lnTo>
                        <a:pt x="5571" y="374"/>
                      </a:lnTo>
                      <a:lnTo>
                        <a:pt x="5546" y="401"/>
                      </a:lnTo>
                      <a:lnTo>
                        <a:pt x="5520" y="428"/>
                      </a:lnTo>
                      <a:lnTo>
                        <a:pt x="5495" y="454"/>
                      </a:lnTo>
                      <a:lnTo>
                        <a:pt x="5469" y="478"/>
                      </a:lnTo>
                      <a:lnTo>
                        <a:pt x="5443" y="503"/>
                      </a:lnTo>
                      <a:lnTo>
                        <a:pt x="5416" y="526"/>
                      </a:lnTo>
                      <a:lnTo>
                        <a:pt x="5388" y="549"/>
                      </a:lnTo>
                      <a:lnTo>
                        <a:pt x="5360" y="572"/>
                      </a:lnTo>
                      <a:lnTo>
                        <a:pt x="5331" y="593"/>
                      </a:lnTo>
                      <a:lnTo>
                        <a:pt x="5302" y="614"/>
                      </a:lnTo>
                      <a:lnTo>
                        <a:pt x="5272" y="635"/>
                      </a:lnTo>
                      <a:lnTo>
                        <a:pt x="5242" y="655"/>
                      </a:lnTo>
                      <a:lnTo>
                        <a:pt x="5212" y="674"/>
                      </a:lnTo>
                      <a:lnTo>
                        <a:pt x="5180" y="693"/>
                      </a:lnTo>
                      <a:lnTo>
                        <a:pt x="5149" y="712"/>
                      </a:lnTo>
                      <a:lnTo>
                        <a:pt x="5082" y="749"/>
                      </a:lnTo>
                      <a:lnTo>
                        <a:pt x="5013" y="784"/>
                      </a:lnTo>
                      <a:lnTo>
                        <a:pt x="4942" y="820"/>
                      </a:lnTo>
                      <a:lnTo>
                        <a:pt x="4866" y="856"/>
                      </a:lnTo>
                      <a:lnTo>
                        <a:pt x="4803" y="883"/>
                      </a:lnTo>
                      <a:lnTo>
                        <a:pt x="4739" y="910"/>
                      </a:lnTo>
                      <a:lnTo>
                        <a:pt x="4677" y="935"/>
                      </a:lnTo>
                      <a:lnTo>
                        <a:pt x="4613" y="958"/>
                      </a:lnTo>
                      <a:lnTo>
                        <a:pt x="4551" y="979"/>
                      </a:lnTo>
                      <a:lnTo>
                        <a:pt x="4489" y="999"/>
                      </a:lnTo>
                      <a:lnTo>
                        <a:pt x="4427" y="1017"/>
                      </a:lnTo>
                      <a:lnTo>
                        <a:pt x="4365" y="1034"/>
                      </a:lnTo>
                      <a:lnTo>
                        <a:pt x="4304" y="1049"/>
                      </a:lnTo>
                      <a:lnTo>
                        <a:pt x="4243" y="1064"/>
                      </a:lnTo>
                      <a:lnTo>
                        <a:pt x="4180" y="1076"/>
                      </a:lnTo>
                      <a:lnTo>
                        <a:pt x="4119" y="1087"/>
                      </a:lnTo>
                      <a:lnTo>
                        <a:pt x="4058" y="1098"/>
                      </a:lnTo>
                      <a:lnTo>
                        <a:pt x="3997" y="1107"/>
                      </a:lnTo>
                      <a:lnTo>
                        <a:pt x="3934" y="1115"/>
                      </a:lnTo>
                      <a:lnTo>
                        <a:pt x="3873" y="1123"/>
                      </a:lnTo>
                      <a:lnTo>
                        <a:pt x="3812" y="1128"/>
                      </a:lnTo>
                      <a:lnTo>
                        <a:pt x="3750" y="1134"/>
                      </a:lnTo>
                      <a:lnTo>
                        <a:pt x="3687" y="1139"/>
                      </a:lnTo>
                      <a:lnTo>
                        <a:pt x="3625" y="1143"/>
                      </a:lnTo>
                      <a:lnTo>
                        <a:pt x="3563" y="1146"/>
                      </a:lnTo>
                      <a:lnTo>
                        <a:pt x="3500" y="1148"/>
                      </a:lnTo>
                      <a:lnTo>
                        <a:pt x="3437" y="1150"/>
                      </a:lnTo>
                      <a:lnTo>
                        <a:pt x="3373" y="1153"/>
                      </a:lnTo>
                      <a:lnTo>
                        <a:pt x="3245" y="1155"/>
                      </a:lnTo>
                      <a:lnTo>
                        <a:pt x="3115" y="1155"/>
                      </a:lnTo>
                      <a:lnTo>
                        <a:pt x="2983" y="1156"/>
                      </a:lnTo>
                      <a:lnTo>
                        <a:pt x="2848" y="1156"/>
                      </a:lnTo>
                      <a:lnTo>
                        <a:pt x="2790" y="1157"/>
                      </a:lnTo>
                      <a:lnTo>
                        <a:pt x="2729" y="1159"/>
                      </a:lnTo>
                      <a:lnTo>
                        <a:pt x="2663" y="1165"/>
                      </a:lnTo>
                      <a:lnTo>
                        <a:pt x="2594" y="1172"/>
                      </a:lnTo>
                      <a:lnTo>
                        <a:pt x="2521" y="1182"/>
                      </a:lnTo>
                      <a:lnTo>
                        <a:pt x="2445" y="1193"/>
                      </a:lnTo>
                      <a:lnTo>
                        <a:pt x="2366" y="1207"/>
                      </a:lnTo>
                      <a:lnTo>
                        <a:pt x="2285" y="1223"/>
                      </a:lnTo>
                      <a:lnTo>
                        <a:pt x="2200" y="1241"/>
                      </a:lnTo>
                      <a:lnTo>
                        <a:pt x="2114" y="1262"/>
                      </a:lnTo>
                      <a:lnTo>
                        <a:pt x="2024" y="1284"/>
                      </a:lnTo>
                      <a:lnTo>
                        <a:pt x="1934" y="1310"/>
                      </a:lnTo>
                      <a:lnTo>
                        <a:pt x="1841" y="1337"/>
                      </a:lnTo>
                      <a:lnTo>
                        <a:pt x="1747" y="1367"/>
                      </a:lnTo>
                      <a:lnTo>
                        <a:pt x="1652" y="1400"/>
                      </a:lnTo>
                      <a:lnTo>
                        <a:pt x="1555" y="1434"/>
                      </a:lnTo>
                      <a:lnTo>
                        <a:pt x="1457" y="1472"/>
                      </a:lnTo>
                      <a:lnTo>
                        <a:pt x="1358" y="1512"/>
                      </a:lnTo>
                      <a:lnTo>
                        <a:pt x="1259" y="1554"/>
                      </a:lnTo>
                      <a:lnTo>
                        <a:pt x="1159" y="1600"/>
                      </a:lnTo>
                      <a:lnTo>
                        <a:pt x="1058" y="1648"/>
                      </a:lnTo>
                      <a:lnTo>
                        <a:pt x="959" y="1698"/>
                      </a:lnTo>
                      <a:lnTo>
                        <a:pt x="859" y="1751"/>
                      </a:lnTo>
                      <a:lnTo>
                        <a:pt x="760" y="1807"/>
                      </a:lnTo>
                      <a:lnTo>
                        <a:pt x="661" y="1866"/>
                      </a:lnTo>
                      <a:lnTo>
                        <a:pt x="563" y="1928"/>
                      </a:lnTo>
                      <a:lnTo>
                        <a:pt x="466" y="1992"/>
                      </a:lnTo>
                      <a:lnTo>
                        <a:pt x="372" y="2060"/>
                      </a:lnTo>
                      <a:lnTo>
                        <a:pt x="277" y="2130"/>
                      </a:lnTo>
                      <a:lnTo>
                        <a:pt x="185" y="2203"/>
                      </a:lnTo>
                      <a:lnTo>
                        <a:pt x="93" y="2279"/>
                      </a:lnTo>
                      <a:lnTo>
                        <a:pt x="6" y="2358"/>
                      </a:lnTo>
                      <a:lnTo>
                        <a:pt x="2" y="2442"/>
                      </a:lnTo>
                      <a:lnTo>
                        <a:pt x="0" y="2528"/>
                      </a:lnTo>
                      <a:lnTo>
                        <a:pt x="1" y="2615"/>
                      </a:lnTo>
                      <a:lnTo>
                        <a:pt x="3" y="2702"/>
                      </a:lnTo>
                      <a:lnTo>
                        <a:pt x="8" y="2790"/>
                      </a:lnTo>
                      <a:lnTo>
                        <a:pt x="16" y="2878"/>
                      </a:lnTo>
                      <a:lnTo>
                        <a:pt x="24" y="2968"/>
                      </a:lnTo>
                      <a:lnTo>
                        <a:pt x="36" y="3057"/>
                      </a:lnTo>
                      <a:lnTo>
                        <a:pt x="102" y="3008"/>
                      </a:lnTo>
                      <a:lnTo>
                        <a:pt x="182" y="2951"/>
                      </a:lnTo>
                      <a:lnTo>
                        <a:pt x="275" y="2888"/>
                      </a:lnTo>
                      <a:lnTo>
                        <a:pt x="379" y="2820"/>
                      </a:lnTo>
                      <a:lnTo>
                        <a:pt x="495" y="2747"/>
                      </a:lnTo>
                      <a:lnTo>
                        <a:pt x="623" y="2672"/>
                      </a:lnTo>
                      <a:lnTo>
                        <a:pt x="762" y="2595"/>
                      </a:lnTo>
                      <a:lnTo>
                        <a:pt x="913" y="2516"/>
                      </a:lnTo>
                      <a:lnTo>
                        <a:pt x="1073" y="2438"/>
                      </a:lnTo>
                      <a:lnTo>
                        <a:pt x="1244" y="2360"/>
                      </a:lnTo>
                      <a:lnTo>
                        <a:pt x="1425" y="2286"/>
                      </a:lnTo>
                      <a:lnTo>
                        <a:pt x="1614" y="2213"/>
                      </a:lnTo>
                      <a:lnTo>
                        <a:pt x="1813" y="2145"/>
                      </a:lnTo>
                      <a:lnTo>
                        <a:pt x="2020" y="2083"/>
                      </a:lnTo>
                      <a:lnTo>
                        <a:pt x="2236" y="2027"/>
                      </a:lnTo>
                      <a:lnTo>
                        <a:pt x="2461" y="1978"/>
                      </a:lnTo>
                      <a:lnTo>
                        <a:pt x="2692" y="1938"/>
                      </a:lnTo>
                      <a:lnTo>
                        <a:pt x="2932" y="1907"/>
                      </a:lnTo>
                      <a:lnTo>
                        <a:pt x="3178" y="1887"/>
                      </a:lnTo>
                      <a:lnTo>
                        <a:pt x="3430" y="1878"/>
                      </a:lnTo>
                      <a:lnTo>
                        <a:pt x="3688" y="1882"/>
                      </a:lnTo>
                      <a:lnTo>
                        <a:pt x="3953" y="1898"/>
                      </a:lnTo>
                      <a:lnTo>
                        <a:pt x="4224" y="1931"/>
                      </a:lnTo>
                      <a:lnTo>
                        <a:pt x="4500" y="1978"/>
                      </a:lnTo>
                      <a:lnTo>
                        <a:pt x="4780" y="2043"/>
                      </a:lnTo>
                      <a:lnTo>
                        <a:pt x="5065" y="2125"/>
                      </a:lnTo>
                      <a:lnTo>
                        <a:pt x="5355" y="2227"/>
                      </a:lnTo>
                      <a:lnTo>
                        <a:pt x="5648" y="2348"/>
                      </a:lnTo>
                      <a:lnTo>
                        <a:pt x="5946" y="2489"/>
                      </a:lnTo>
                      <a:lnTo>
                        <a:pt x="6245" y="2654"/>
                      </a:lnTo>
                      <a:lnTo>
                        <a:pt x="6548" y="2841"/>
                      </a:lnTo>
                      <a:lnTo>
                        <a:pt x="6853" y="3051"/>
                      </a:lnTo>
                      <a:lnTo>
                        <a:pt x="6866" y="2932"/>
                      </a:lnTo>
                      <a:lnTo>
                        <a:pt x="6875" y="2813"/>
                      </a:lnTo>
                      <a:lnTo>
                        <a:pt x="6881" y="2696"/>
                      </a:lnTo>
                      <a:lnTo>
                        <a:pt x="6883" y="2582"/>
                      </a:lnTo>
                      <a:lnTo>
                        <a:pt x="6882" y="2467"/>
                      </a:lnTo>
                      <a:lnTo>
                        <a:pt x="6877" y="2355"/>
                      </a:lnTo>
                      <a:lnTo>
                        <a:pt x="6869" y="2243"/>
                      </a:lnTo>
                      <a:lnTo>
                        <a:pt x="6859" y="2133"/>
                      </a:lnTo>
                      <a:lnTo>
                        <a:pt x="6846" y="2025"/>
                      </a:lnTo>
                      <a:lnTo>
                        <a:pt x="6829" y="1918"/>
                      </a:lnTo>
                      <a:lnTo>
                        <a:pt x="6809" y="1814"/>
                      </a:lnTo>
                      <a:lnTo>
                        <a:pt x="6787" y="1709"/>
                      </a:lnTo>
                      <a:lnTo>
                        <a:pt x="6761" y="1608"/>
                      </a:lnTo>
                      <a:lnTo>
                        <a:pt x="6734" y="1508"/>
                      </a:lnTo>
                      <a:lnTo>
                        <a:pt x="6702" y="1409"/>
                      </a:lnTo>
                      <a:lnTo>
                        <a:pt x="6669" y="1312"/>
                      </a:lnTo>
                      <a:lnTo>
                        <a:pt x="6633" y="1216"/>
                      </a:lnTo>
                      <a:lnTo>
                        <a:pt x="6594" y="1123"/>
                      </a:lnTo>
                      <a:lnTo>
                        <a:pt x="6554" y="1030"/>
                      </a:lnTo>
                      <a:lnTo>
                        <a:pt x="6511" y="940"/>
                      </a:lnTo>
                      <a:lnTo>
                        <a:pt x="6465" y="851"/>
                      </a:lnTo>
                      <a:lnTo>
                        <a:pt x="6418" y="765"/>
                      </a:lnTo>
                      <a:lnTo>
                        <a:pt x="6367" y="680"/>
                      </a:lnTo>
                      <a:lnTo>
                        <a:pt x="6315" y="596"/>
                      </a:lnTo>
                      <a:lnTo>
                        <a:pt x="6261" y="515"/>
                      </a:lnTo>
                      <a:lnTo>
                        <a:pt x="6205" y="436"/>
                      </a:lnTo>
                      <a:lnTo>
                        <a:pt x="6146" y="358"/>
                      </a:lnTo>
                      <a:lnTo>
                        <a:pt x="6086" y="282"/>
                      </a:lnTo>
                      <a:lnTo>
                        <a:pt x="6025" y="209"/>
                      </a:lnTo>
                      <a:lnTo>
                        <a:pt x="5961" y="138"/>
                      </a:lnTo>
                      <a:lnTo>
                        <a:pt x="5896" y="68"/>
                      </a:lnTo>
                      <a:lnTo>
                        <a:pt x="5829" y="0"/>
                      </a:lnTo>
                      <a:close/>
                    </a:path>
                  </a:pathLst>
                </a:custGeom>
                <a:solidFill>
                  <a:srgbClr val="1B233E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425" name="Freeform 216"/>
                <p:cNvSpPr>
                  <a:spLocks/>
                </p:cNvSpPr>
                <p:nvPr/>
              </p:nvSpPr>
              <p:spPr bwMode="auto">
                <a:xfrm>
                  <a:off x="3077" y="2487"/>
                  <a:ext cx="441" cy="208"/>
                </a:xfrm>
                <a:custGeom>
                  <a:avLst/>
                  <a:gdLst>
                    <a:gd name="T0" fmla="*/ 0 w 3086"/>
                    <a:gd name="T1" fmla="*/ 0 h 1483"/>
                    <a:gd name="T2" fmla="*/ 0 w 3086"/>
                    <a:gd name="T3" fmla="*/ 0 h 1483"/>
                    <a:gd name="T4" fmla="*/ 0 w 3086"/>
                    <a:gd name="T5" fmla="*/ 0 h 1483"/>
                    <a:gd name="T6" fmla="*/ 0 w 3086"/>
                    <a:gd name="T7" fmla="*/ 0 h 1483"/>
                    <a:gd name="T8" fmla="*/ 0 w 3086"/>
                    <a:gd name="T9" fmla="*/ 0 h 1483"/>
                    <a:gd name="T10" fmla="*/ 0 w 3086"/>
                    <a:gd name="T11" fmla="*/ 0 h 1483"/>
                    <a:gd name="T12" fmla="*/ 0 w 3086"/>
                    <a:gd name="T13" fmla="*/ 0 h 1483"/>
                    <a:gd name="T14" fmla="*/ 0 w 3086"/>
                    <a:gd name="T15" fmla="*/ 0 h 1483"/>
                    <a:gd name="T16" fmla="*/ 0 w 3086"/>
                    <a:gd name="T17" fmla="*/ 0 h 1483"/>
                    <a:gd name="T18" fmla="*/ 0 w 3086"/>
                    <a:gd name="T19" fmla="*/ 0 h 1483"/>
                    <a:gd name="T20" fmla="*/ 0 w 3086"/>
                    <a:gd name="T21" fmla="*/ 0 h 1483"/>
                    <a:gd name="T22" fmla="*/ 0 w 3086"/>
                    <a:gd name="T23" fmla="*/ 0 h 1483"/>
                    <a:gd name="T24" fmla="*/ 0 w 3086"/>
                    <a:gd name="T25" fmla="*/ 0 h 1483"/>
                    <a:gd name="T26" fmla="*/ 0 w 3086"/>
                    <a:gd name="T27" fmla="*/ 0 h 1483"/>
                    <a:gd name="T28" fmla="*/ 0 w 3086"/>
                    <a:gd name="T29" fmla="*/ 0 h 1483"/>
                    <a:gd name="T30" fmla="*/ 0 w 3086"/>
                    <a:gd name="T31" fmla="*/ 0 h 1483"/>
                    <a:gd name="T32" fmla="*/ 0 w 3086"/>
                    <a:gd name="T33" fmla="*/ 0 h 1483"/>
                    <a:gd name="T34" fmla="*/ 0 w 3086"/>
                    <a:gd name="T35" fmla="*/ 0 h 1483"/>
                    <a:gd name="T36" fmla="*/ 0 w 3086"/>
                    <a:gd name="T37" fmla="*/ 0 h 1483"/>
                    <a:gd name="T38" fmla="*/ 0 w 3086"/>
                    <a:gd name="T39" fmla="*/ 0 h 1483"/>
                    <a:gd name="T40" fmla="*/ 0 w 3086"/>
                    <a:gd name="T41" fmla="*/ 0 h 1483"/>
                    <a:gd name="T42" fmla="*/ 0 w 3086"/>
                    <a:gd name="T43" fmla="*/ 0 h 1483"/>
                    <a:gd name="T44" fmla="*/ 0 w 3086"/>
                    <a:gd name="T45" fmla="*/ 0 h 1483"/>
                    <a:gd name="T46" fmla="*/ 0 w 3086"/>
                    <a:gd name="T47" fmla="*/ 0 h 1483"/>
                    <a:gd name="T48" fmla="*/ 0 w 3086"/>
                    <a:gd name="T49" fmla="*/ 0 h 1483"/>
                    <a:gd name="T50" fmla="*/ 0 w 3086"/>
                    <a:gd name="T51" fmla="*/ 0 h 1483"/>
                    <a:gd name="T52" fmla="*/ 0 w 3086"/>
                    <a:gd name="T53" fmla="*/ 0 h 1483"/>
                    <a:gd name="T54" fmla="*/ 0 w 3086"/>
                    <a:gd name="T55" fmla="*/ 0 h 1483"/>
                    <a:gd name="T56" fmla="*/ 0 w 3086"/>
                    <a:gd name="T57" fmla="*/ 0 h 1483"/>
                    <a:gd name="T58" fmla="*/ 0 w 3086"/>
                    <a:gd name="T59" fmla="*/ 0 h 1483"/>
                    <a:gd name="T60" fmla="*/ 0 w 3086"/>
                    <a:gd name="T61" fmla="*/ 0 h 1483"/>
                    <a:gd name="T62" fmla="*/ 0 w 3086"/>
                    <a:gd name="T63" fmla="*/ 0 h 1483"/>
                    <a:gd name="T64" fmla="*/ 0 w 3086"/>
                    <a:gd name="T65" fmla="*/ 0 h 1483"/>
                    <a:gd name="T66" fmla="*/ 0 w 3086"/>
                    <a:gd name="T67" fmla="*/ 0 h 1483"/>
                    <a:gd name="T68" fmla="*/ 0 w 3086"/>
                    <a:gd name="T69" fmla="*/ 0 h 1483"/>
                    <a:gd name="T70" fmla="*/ 0 w 3086"/>
                    <a:gd name="T71" fmla="*/ 0 h 1483"/>
                    <a:gd name="T72" fmla="*/ 0 w 3086"/>
                    <a:gd name="T73" fmla="*/ 0 h 1483"/>
                    <a:gd name="T74" fmla="*/ 0 w 3086"/>
                    <a:gd name="T75" fmla="*/ 0 h 1483"/>
                    <a:gd name="T76" fmla="*/ 0 w 3086"/>
                    <a:gd name="T77" fmla="*/ 0 h 1483"/>
                    <a:gd name="T78" fmla="*/ 0 w 3086"/>
                    <a:gd name="T79" fmla="*/ 0 h 1483"/>
                    <a:gd name="T80" fmla="*/ 0 w 3086"/>
                    <a:gd name="T81" fmla="*/ 0 h 1483"/>
                    <a:gd name="T82" fmla="*/ 0 w 3086"/>
                    <a:gd name="T83" fmla="*/ 0 h 1483"/>
                    <a:gd name="T84" fmla="*/ 0 w 3086"/>
                    <a:gd name="T85" fmla="*/ 0 h 1483"/>
                    <a:gd name="T86" fmla="*/ 0 w 3086"/>
                    <a:gd name="T87" fmla="*/ 0 h 1483"/>
                    <a:gd name="T88" fmla="*/ 0 w 3086"/>
                    <a:gd name="T89" fmla="*/ 0 h 1483"/>
                    <a:gd name="T90" fmla="*/ 0 w 3086"/>
                    <a:gd name="T91" fmla="*/ 0 h 1483"/>
                    <a:gd name="T92" fmla="*/ 0 w 3086"/>
                    <a:gd name="T93" fmla="*/ 0 h 1483"/>
                    <a:gd name="T94" fmla="*/ 0 w 3086"/>
                    <a:gd name="T95" fmla="*/ 0 h 1483"/>
                    <a:gd name="T96" fmla="*/ 0 w 3086"/>
                    <a:gd name="T97" fmla="*/ 0 h 1483"/>
                    <a:gd name="T98" fmla="*/ 0 w 3086"/>
                    <a:gd name="T99" fmla="*/ 0 h 1483"/>
                    <a:gd name="T100" fmla="*/ 0 w 3086"/>
                    <a:gd name="T101" fmla="*/ 0 h 1483"/>
                    <a:gd name="T102" fmla="*/ 0 w 3086"/>
                    <a:gd name="T103" fmla="*/ 0 h 1483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3086"/>
                    <a:gd name="T157" fmla="*/ 0 h 1483"/>
                    <a:gd name="T158" fmla="*/ 3086 w 3086"/>
                    <a:gd name="T159" fmla="*/ 1483 h 1483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3086" h="1483">
                      <a:moveTo>
                        <a:pt x="1769" y="1302"/>
                      </a:moveTo>
                      <a:lnTo>
                        <a:pt x="1826" y="1278"/>
                      </a:lnTo>
                      <a:lnTo>
                        <a:pt x="1881" y="1252"/>
                      </a:lnTo>
                      <a:lnTo>
                        <a:pt x="1937" y="1224"/>
                      </a:lnTo>
                      <a:lnTo>
                        <a:pt x="1990" y="1196"/>
                      </a:lnTo>
                      <a:lnTo>
                        <a:pt x="2043" y="1167"/>
                      </a:lnTo>
                      <a:lnTo>
                        <a:pt x="2094" y="1138"/>
                      </a:lnTo>
                      <a:lnTo>
                        <a:pt x="2145" y="1107"/>
                      </a:lnTo>
                      <a:lnTo>
                        <a:pt x="2194" y="1075"/>
                      </a:lnTo>
                      <a:lnTo>
                        <a:pt x="2242" y="1043"/>
                      </a:lnTo>
                      <a:lnTo>
                        <a:pt x="2289" y="1008"/>
                      </a:lnTo>
                      <a:lnTo>
                        <a:pt x="2335" y="974"/>
                      </a:lnTo>
                      <a:lnTo>
                        <a:pt x="2380" y="938"/>
                      </a:lnTo>
                      <a:lnTo>
                        <a:pt x="2424" y="901"/>
                      </a:lnTo>
                      <a:lnTo>
                        <a:pt x="2467" y="864"/>
                      </a:lnTo>
                      <a:lnTo>
                        <a:pt x="2509" y="825"/>
                      </a:lnTo>
                      <a:lnTo>
                        <a:pt x="2550" y="786"/>
                      </a:lnTo>
                      <a:lnTo>
                        <a:pt x="2590" y="744"/>
                      </a:lnTo>
                      <a:lnTo>
                        <a:pt x="2629" y="703"/>
                      </a:lnTo>
                      <a:lnTo>
                        <a:pt x="2667" y="661"/>
                      </a:lnTo>
                      <a:lnTo>
                        <a:pt x="2704" y="617"/>
                      </a:lnTo>
                      <a:lnTo>
                        <a:pt x="2741" y="573"/>
                      </a:lnTo>
                      <a:lnTo>
                        <a:pt x="2776" y="527"/>
                      </a:lnTo>
                      <a:lnTo>
                        <a:pt x="2811" y="481"/>
                      </a:lnTo>
                      <a:lnTo>
                        <a:pt x="2844" y="433"/>
                      </a:lnTo>
                      <a:lnTo>
                        <a:pt x="2877" y="385"/>
                      </a:lnTo>
                      <a:lnTo>
                        <a:pt x="2910" y="336"/>
                      </a:lnTo>
                      <a:lnTo>
                        <a:pt x="2941" y="286"/>
                      </a:lnTo>
                      <a:lnTo>
                        <a:pt x="2971" y="235"/>
                      </a:lnTo>
                      <a:lnTo>
                        <a:pt x="3001" y="182"/>
                      </a:lnTo>
                      <a:lnTo>
                        <a:pt x="3030" y="129"/>
                      </a:lnTo>
                      <a:lnTo>
                        <a:pt x="3058" y="76"/>
                      </a:lnTo>
                      <a:lnTo>
                        <a:pt x="3086" y="20"/>
                      </a:lnTo>
                      <a:lnTo>
                        <a:pt x="3042" y="16"/>
                      </a:lnTo>
                      <a:lnTo>
                        <a:pt x="2999" y="11"/>
                      </a:lnTo>
                      <a:lnTo>
                        <a:pt x="2955" y="8"/>
                      </a:lnTo>
                      <a:lnTo>
                        <a:pt x="2913" y="6"/>
                      </a:lnTo>
                      <a:lnTo>
                        <a:pt x="2870" y="3"/>
                      </a:lnTo>
                      <a:lnTo>
                        <a:pt x="2826" y="1"/>
                      </a:lnTo>
                      <a:lnTo>
                        <a:pt x="2783" y="0"/>
                      </a:lnTo>
                      <a:lnTo>
                        <a:pt x="2739" y="0"/>
                      </a:lnTo>
                      <a:lnTo>
                        <a:pt x="2646" y="1"/>
                      </a:lnTo>
                      <a:lnTo>
                        <a:pt x="2552" y="7"/>
                      </a:lnTo>
                      <a:lnTo>
                        <a:pt x="2458" y="14"/>
                      </a:lnTo>
                      <a:lnTo>
                        <a:pt x="2363" y="24"/>
                      </a:lnTo>
                      <a:lnTo>
                        <a:pt x="2270" y="39"/>
                      </a:lnTo>
                      <a:lnTo>
                        <a:pt x="2175" y="56"/>
                      </a:lnTo>
                      <a:lnTo>
                        <a:pt x="2081" y="76"/>
                      </a:lnTo>
                      <a:lnTo>
                        <a:pt x="1987" y="98"/>
                      </a:lnTo>
                      <a:lnTo>
                        <a:pt x="1892" y="124"/>
                      </a:lnTo>
                      <a:lnTo>
                        <a:pt x="1800" y="152"/>
                      </a:lnTo>
                      <a:lnTo>
                        <a:pt x="1707" y="184"/>
                      </a:lnTo>
                      <a:lnTo>
                        <a:pt x="1614" y="218"/>
                      </a:lnTo>
                      <a:lnTo>
                        <a:pt x="1522" y="255"/>
                      </a:lnTo>
                      <a:lnTo>
                        <a:pt x="1432" y="294"/>
                      </a:lnTo>
                      <a:lnTo>
                        <a:pt x="1340" y="336"/>
                      </a:lnTo>
                      <a:lnTo>
                        <a:pt x="1251" y="381"/>
                      </a:lnTo>
                      <a:lnTo>
                        <a:pt x="1162" y="428"/>
                      </a:lnTo>
                      <a:lnTo>
                        <a:pt x="1076" y="479"/>
                      </a:lnTo>
                      <a:lnTo>
                        <a:pt x="989" y="532"/>
                      </a:lnTo>
                      <a:lnTo>
                        <a:pt x="903" y="586"/>
                      </a:lnTo>
                      <a:lnTo>
                        <a:pt x="820" y="644"/>
                      </a:lnTo>
                      <a:lnTo>
                        <a:pt x="736" y="704"/>
                      </a:lnTo>
                      <a:lnTo>
                        <a:pt x="655" y="767"/>
                      </a:lnTo>
                      <a:lnTo>
                        <a:pt x="576" y="831"/>
                      </a:lnTo>
                      <a:lnTo>
                        <a:pt x="497" y="898"/>
                      </a:lnTo>
                      <a:lnTo>
                        <a:pt x="421" y="968"/>
                      </a:lnTo>
                      <a:lnTo>
                        <a:pt x="345" y="1039"/>
                      </a:lnTo>
                      <a:lnTo>
                        <a:pt x="273" y="1114"/>
                      </a:lnTo>
                      <a:lnTo>
                        <a:pt x="202" y="1190"/>
                      </a:lnTo>
                      <a:lnTo>
                        <a:pt x="133" y="1269"/>
                      </a:lnTo>
                      <a:lnTo>
                        <a:pt x="66" y="1349"/>
                      </a:lnTo>
                      <a:lnTo>
                        <a:pt x="0" y="1431"/>
                      </a:lnTo>
                      <a:lnTo>
                        <a:pt x="58" y="1440"/>
                      </a:lnTo>
                      <a:lnTo>
                        <a:pt x="116" y="1449"/>
                      </a:lnTo>
                      <a:lnTo>
                        <a:pt x="175" y="1457"/>
                      </a:lnTo>
                      <a:lnTo>
                        <a:pt x="234" y="1462"/>
                      </a:lnTo>
                      <a:lnTo>
                        <a:pt x="294" y="1468"/>
                      </a:lnTo>
                      <a:lnTo>
                        <a:pt x="353" y="1473"/>
                      </a:lnTo>
                      <a:lnTo>
                        <a:pt x="413" y="1477"/>
                      </a:lnTo>
                      <a:lnTo>
                        <a:pt x="474" y="1480"/>
                      </a:lnTo>
                      <a:lnTo>
                        <a:pt x="535" y="1482"/>
                      </a:lnTo>
                      <a:lnTo>
                        <a:pt x="595" y="1483"/>
                      </a:lnTo>
                      <a:lnTo>
                        <a:pt x="655" y="1483"/>
                      </a:lnTo>
                      <a:lnTo>
                        <a:pt x="715" y="1483"/>
                      </a:lnTo>
                      <a:lnTo>
                        <a:pt x="775" y="1481"/>
                      </a:lnTo>
                      <a:lnTo>
                        <a:pt x="835" y="1480"/>
                      </a:lnTo>
                      <a:lnTo>
                        <a:pt x="894" y="1477"/>
                      </a:lnTo>
                      <a:lnTo>
                        <a:pt x="953" y="1472"/>
                      </a:lnTo>
                      <a:lnTo>
                        <a:pt x="1012" y="1468"/>
                      </a:lnTo>
                      <a:lnTo>
                        <a:pt x="1069" y="1462"/>
                      </a:lnTo>
                      <a:lnTo>
                        <a:pt x="1127" y="1457"/>
                      </a:lnTo>
                      <a:lnTo>
                        <a:pt x="1182" y="1449"/>
                      </a:lnTo>
                      <a:lnTo>
                        <a:pt x="1238" y="1441"/>
                      </a:lnTo>
                      <a:lnTo>
                        <a:pt x="1293" y="1432"/>
                      </a:lnTo>
                      <a:lnTo>
                        <a:pt x="1346" y="1423"/>
                      </a:lnTo>
                      <a:lnTo>
                        <a:pt x="1398" y="1413"/>
                      </a:lnTo>
                      <a:lnTo>
                        <a:pt x="1449" y="1402"/>
                      </a:lnTo>
                      <a:lnTo>
                        <a:pt x="1500" y="1390"/>
                      </a:lnTo>
                      <a:lnTo>
                        <a:pt x="1547" y="1378"/>
                      </a:lnTo>
                      <a:lnTo>
                        <a:pt x="1595" y="1363"/>
                      </a:lnTo>
                      <a:lnTo>
                        <a:pt x="1641" y="1350"/>
                      </a:lnTo>
                      <a:lnTo>
                        <a:pt x="1685" y="1334"/>
                      </a:lnTo>
                      <a:lnTo>
                        <a:pt x="1728" y="1319"/>
                      </a:lnTo>
                      <a:lnTo>
                        <a:pt x="1769" y="1302"/>
                      </a:lnTo>
                      <a:close/>
                    </a:path>
                  </a:pathLst>
                </a:custGeom>
                <a:solidFill>
                  <a:srgbClr val="243D6A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</p:grpSp>
          <p:grpSp>
            <p:nvGrpSpPr>
              <p:cNvPr id="465" name="Group 166"/>
              <p:cNvGrpSpPr>
                <a:grpSpLocks/>
              </p:cNvGrpSpPr>
              <p:nvPr/>
            </p:nvGrpSpPr>
            <p:grpSpPr bwMode="auto">
              <a:xfrm>
                <a:off x="7587042" y="2442935"/>
                <a:ext cx="486034" cy="903881"/>
                <a:chOff x="192" y="480"/>
                <a:chExt cx="1038" cy="1824"/>
              </a:xfrm>
            </p:grpSpPr>
            <p:pic>
              <p:nvPicPr>
                <p:cNvPr id="478" name="Picture 167" descr="j0417464"/>
                <p:cNvPicPr>
                  <a:picLocks noChangeAspect="1" noChangeArrowheads="1"/>
                </p:cNvPicPr>
                <p:nvPr/>
              </p:nvPicPr>
              <p:blipFill>
                <a:blip r:embed="rId4" cstate="print"/>
                <a:srcRect/>
                <a:stretch>
                  <a:fillRect/>
                </a:stretch>
              </p:blipFill>
              <p:spPr bwMode="auto">
                <a:xfrm>
                  <a:off x="192" y="480"/>
                  <a:ext cx="1038" cy="168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grpSp>
              <p:nvGrpSpPr>
                <p:cNvPr id="479" name="Group 168"/>
                <p:cNvGrpSpPr>
                  <a:grpSpLocks/>
                </p:cNvGrpSpPr>
                <p:nvPr/>
              </p:nvGrpSpPr>
              <p:grpSpPr bwMode="auto">
                <a:xfrm>
                  <a:off x="279" y="1545"/>
                  <a:ext cx="885" cy="759"/>
                  <a:chOff x="3160" y="3505"/>
                  <a:chExt cx="602" cy="660"/>
                </a:xfrm>
              </p:grpSpPr>
              <p:sp>
                <p:nvSpPr>
                  <p:cNvPr id="480" name="Freeform 169"/>
                  <p:cNvSpPr>
                    <a:spLocks/>
                  </p:cNvSpPr>
                  <p:nvPr/>
                </p:nvSpPr>
                <p:spPr bwMode="auto">
                  <a:xfrm>
                    <a:off x="3292" y="3975"/>
                    <a:ext cx="136" cy="177"/>
                  </a:xfrm>
                  <a:custGeom>
                    <a:avLst/>
                    <a:gdLst>
                      <a:gd name="T0" fmla="*/ 0 w 955"/>
                      <a:gd name="T1" fmla="*/ 0 h 1249"/>
                      <a:gd name="T2" fmla="*/ 0 w 955"/>
                      <a:gd name="T3" fmla="*/ 0 h 1249"/>
                      <a:gd name="T4" fmla="*/ 0 w 955"/>
                      <a:gd name="T5" fmla="*/ 0 h 1249"/>
                      <a:gd name="T6" fmla="*/ 0 w 955"/>
                      <a:gd name="T7" fmla="*/ 0 h 1249"/>
                      <a:gd name="T8" fmla="*/ 0 w 955"/>
                      <a:gd name="T9" fmla="*/ 0 h 1249"/>
                      <a:gd name="T10" fmla="*/ 0 w 955"/>
                      <a:gd name="T11" fmla="*/ 0 h 1249"/>
                      <a:gd name="T12" fmla="*/ 0 w 955"/>
                      <a:gd name="T13" fmla="*/ 0 h 1249"/>
                      <a:gd name="T14" fmla="*/ 0 w 955"/>
                      <a:gd name="T15" fmla="*/ 0 h 1249"/>
                      <a:gd name="T16" fmla="*/ 0 w 955"/>
                      <a:gd name="T17" fmla="*/ 0 h 1249"/>
                      <a:gd name="T18" fmla="*/ 0 w 955"/>
                      <a:gd name="T19" fmla="*/ 0 h 1249"/>
                      <a:gd name="T20" fmla="*/ 0 w 955"/>
                      <a:gd name="T21" fmla="*/ 0 h 1249"/>
                      <a:gd name="T22" fmla="*/ 0 w 955"/>
                      <a:gd name="T23" fmla="*/ 0 h 1249"/>
                      <a:gd name="T24" fmla="*/ 0 w 955"/>
                      <a:gd name="T25" fmla="*/ 0 h 1249"/>
                      <a:gd name="T26" fmla="*/ 0 w 955"/>
                      <a:gd name="T27" fmla="*/ 0 h 1249"/>
                      <a:gd name="T28" fmla="*/ 0 w 955"/>
                      <a:gd name="T29" fmla="*/ 0 h 1249"/>
                      <a:gd name="T30" fmla="*/ 0 w 955"/>
                      <a:gd name="T31" fmla="*/ 0 h 1249"/>
                      <a:gd name="T32" fmla="*/ 0 w 955"/>
                      <a:gd name="T33" fmla="*/ 0 h 1249"/>
                      <a:gd name="T34" fmla="*/ 0 w 955"/>
                      <a:gd name="T35" fmla="*/ 0 h 1249"/>
                      <a:gd name="T36" fmla="*/ 0 w 955"/>
                      <a:gd name="T37" fmla="*/ 0 h 1249"/>
                      <a:gd name="T38" fmla="*/ 0 w 955"/>
                      <a:gd name="T39" fmla="*/ 0 h 1249"/>
                      <a:gd name="T40" fmla="*/ 0 w 955"/>
                      <a:gd name="T41" fmla="*/ 0 h 1249"/>
                      <a:gd name="T42" fmla="*/ 0 w 955"/>
                      <a:gd name="T43" fmla="*/ 0 h 1249"/>
                      <a:gd name="T44" fmla="*/ 0 w 955"/>
                      <a:gd name="T45" fmla="*/ 0 h 1249"/>
                      <a:gd name="T46" fmla="*/ 0 w 955"/>
                      <a:gd name="T47" fmla="*/ 0 h 1249"/>
                      <a:gd name="T48" fmla="*/ 0 w 955"/>
                      <a:gd name="T49" fmla="*/ 0 h 1249"/>
                      <a:gd name="T50" fmla="*/ 0 w 955"/>
                      <a:gd name="T51" fmla="*/ 0 h 1249"/>
                      <a:gd name="T52" fmla="*/ 0 w 955"/>
                      <a:gd name="T53" fmla="*/ 0 h 1249"/>
                      <a:gd name="T54" fmla="*/ 0 w 955"/>
                      <a:gd name="T55" fmla="*/ 0 h 1249"/>
                      <a:gd name="T56" fmla="*/ 0 w 955"/>
                      <a:gd name="T57" fmla="*/ 0 h 1249"/>
                      <a:gd name="T58" fmla="*/ 0 w 955"/>
                      <a:gd name="T59" fmla="*/ 0 h 1249"/>
                      <a:gd name="T60" fmla="*/ 0 w 955"/>
                      <a:gd name="T61" fmla="*/ 0 h 1249"/>
                      <a:gd name="T62" fmla="*/ 0 w 955"/>
                      <a:gd name="T63" fmla="*/ 0 h 1249"/>
                      <a:gd name="T64" fmla="*/ 0 w 955"/>
                      <a:gd name="T65" fmla="*/ 0 h 1249"/>
                      <a:gd name="T66" fmla="*/ 0 w 955"/>
                      <a:gd name="T67" fmla="*/ 0 h 1249"/>
                      <a:gd name="T68" fmla="*/ 0 w 955"/>
                      <a:gd name="T69" fmla="*/ 0 h 1249"/>
                      <a:gd name="T70" fmla="*/ 0 w 955"/>
                      <a:gd name="T71" fmla="*/ 0 h 1249"/>
                      <a:gd name="T72" fmla="*/ 0 w 955"/>
                      <a:gd name="T73" fmla="*/ 0 h 1249"/>
                      <a:gd name="T74" fmla="*/ 0 w 955"/>
                      <a:gd name="T75" fmla="*/ 0 h 1249"/>
                      <a:gd name="T76" fmla="*/ 0 w 955"/>
                      <a:gd name="T77" fmla="*/ 0 h 1249"/>
                      <a:gd name="T78" fmla="*/ 0 w 955"/>
                      <a:gd name="T79" fmla="*/ 0 h 1249"/>
                      <a:gd name="T80" fmla="*/ 0 w 955"/>
                      <a:gd name="T81" fmla="*/ 0 h 1249"/>
                      <a:gd name="T82" fmla="*/ 0 w 955"/>
                      <a:gd name="T83" fmla="*/ 0 h 1249"/>
                      <a:gd name="T84" fmla="*/ 0 w 955"/>
                      <a:gd name="T85" fmla="*/ 0 h 1249"/>
                      <a:gd name="T86" fmla="*/ 0 w 955"/>
                      <a:gd name="T87" fmla="*/ 0 h 1249"/>
                      <a:gd name="T88" fmla="*/ 0 w 955"/>
                      <a:gd name="T89" fmla="*/ 0 h 1249"/>
                      <a:gd name="T90" fmla="*/ 0 w 955"/>
                      <a:gd name="T91" fmla="*/ 0 h 1249"/>
                      <a:gd name="T92" fmla="*/ 0 w 955"/>
                      <a:gd name="T93" fmla="*/ 0 h 1249"/>
                      <a:gd name="T94" fmla="*/ 0 w 955"/>
                      <a:gd name="T95" fmla="*/ 0 h 1249"/>
                      <a:gd name="T96" fmla="*/ 0 w 955"/>
                      <a:gd name="T97" fmla="*/ 0 h 1249"/>
                      <a:gd name="T98" fmla="*/ 0 w 955"/>
                      <a:gd name="T99" fmla="*/ 0 h 1249"/>
                      <a:gd name="T100" fmla="*/ 0 w 955"/>
                      <a:gd name="T101" fmla="*/ 0 h 1249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w 955"/>
                      <a:gd name="T154" fmla="*/ 0 h 1249"/>
                      <a:gd name="T155" fmla="*/ 955 w 955"/>
                      <a:gd name="T156" fmla="*/ 1249 h 1249"/>
                    </a:gdLst>
                    <a:ahLst/>
                    <a:cxnLst>
                      <a:cxn ang="T102">
                        <a:pos x="T0" y="T1"/>
                      </a:cxn>
                      <a:cxn ang="T103">
                        <a:pos x="T2" y="T3"/>
                      </a:cxn>
                      <a:cxn ang="T104">
                        <a:pos x="T4" y="T5"/>
                      </a:cxn>
                      <a:cxn ang="T105">
                        <a:pos x="T6" y="T7"/>
                      </a:cxn>
                      <a:cxn ang="T106">
                        <a:pos x="T8" y="T9"/>
                      </a:cxn>
                      <a:cxn ang="T107">
                        <a:pos x="T10" y="T11"/>
                      </a:cxn>
                      <a:cxn ang="T108">
                        <a:pos x="T12" y="T13"/>
                      </a:cxn>
                      <a:cxn ang="T109">
                        <a:pos x="T14" y="T15"/>
                      </a:cxn>
                      <a:cxn ang="T110">
                        <a:pos x="T16" y="T17"/>
                      </a:cxn>
                      <a:cxn ang="T111">
                        <a:pos x="T18" y="T19"/>
                      </a:cxn>
                      <a:cxn ang="T112">
                        <a:pos x="T20" y="T21"/>
                      </a:cxn>
                      <a:cxn ang="T113">
                        <a:pos x="T22" y="T23"/>
                      </a:cxn>
                      <a:cxn ang="T114">
                        <a:pos x="T24" y="T25"/>
                      </a:cxn>
                      <a:cxn ang="T115">
                        <a:pos x="T26" y="T27"/>
                      </a:cxn>
                      <a:cxn ang="T116">
                        <a:pos x="T28" y="T29"/>
                      </a:cxn>
                      <a:cxn ang="T117">
                        <a:pos x="T30" y="T31"/>
                      </a:cxn>
                      <a:cxn ang="T118">
                        <a:pos x="T32" y="T33"/>
                      </a:cxn>
                      <a:cxn ang="T119">
                        <a:pos x="T34" y="T35"/>
                      </a:cxn>
                      <a:cxn ang="T120">
                        <a:pos x="T36" y="T37"/>
                      </a:cxn>
                      <a:cxn ang="T121">
                        <a:pos x="T38" y="T39"/>
                      </a:cxn>
                      <a:cxn ang="T122">
                        <a:pos x="T40" y="T41"/>
                      </a:cxn>
                      <a:cxn ang="T123">
                        <a:pos x="T42" y="T43"/>
                      </a:cxn>
                      <a:cxn ang="T124">
                        <a:pos x="T44" y="T45"/>
                      </a:cxn>
                      <a:cxn ang="T125">
                        <a:pos x="T46" y="T47"/>
                      </a:cxn>
                      <a:cxn ang="T126">
                        <a:pos x="T48" y="T49"/>
                      </a:cxn>
                      <a:cxn ang="T127">
                        <a:pos x="T50" y="T51"/>
                      </a:cxn>
                      <a:cxn ang="T128">
                        <a:pos x="T52" y="T53"/>
                      </a:cxn>
                      <a:cxn ang="T129">
                        <a:pos x="T54" y="T55"/>
                      </a:cxn>
                      <a:cxn ang="T130">
                        <a:pos x="T56" y="T57"/>
                      </a:cxn>
                      <a:cxn ang="T131">
                        <a:pos x="T58" y="T59"/>
                      </a:cxn>
                      <a:cxn ang="T132">
                        <a:pos x="T60" y="T61"/>
                      </a:cxn>
                      <a:cxn ang="T133">
                        <a:pos x="T62" y="T63"/>
                      </a:cxn>
                      <a:cxn ang="T134">
                        <a:pos x="T64" y="T65"/>
                      </a:cxn>
                      <a:cxn ang="T135">
                        <a:pos x="T66" y="T67"/>
                      </a:cxn>
                      <a:cxn ang="T136">
                        <a:pos x="T68" y="T69"/>
                      </a:cxn>
                      <a:cxn ang="T137">
                        <a:pos x="T70" y="T71"/>
                      </a:cxn>
                      <a:cxn ang="T138">
                        <a:pos x="T72" y="T73"/>
                      </a:cxn>
                      <a:cxn ang="T139">
                        <a:pos x="T74" y="T75"/>
                      </a:cxn>
                      <a:cxn ang="T140">
                        <a:pos x="T76" y="T77"/>
                      </a:cxn>
                      <a:cxn ang="T141">
                        <a:pos x="T78" y="T79"/>
                      </a:cxn>
                      <a:cxn ang="T142">
                        <a:pos x="T80" y="T81"/>
                      </a:cxn>
                      <a:cxn ang="T143">
                        <a:pos x="T82" y="T83"/>
                      </a:cxn>
                      <a:cxn ang="T144">
                        <a:pos x="T84" y="T85"/>
                      </a:cxn>
                      <a:cxn ang="T145">
                        <a:pos x="T86" y="T87"/>
                      </a:cxn>
                      <a:cxn ang="T146">
                        <a:pos x="T88" y="T89"/>
                      </a:cxn>
                      <a:cxn ang="T147">
                        <a:pos x="T90" y="T91"/>
                      </a:cxn>
                      <a:cxn ang="T148">
                        <a:pos x="T92" y="T93"/>
                      </a:cxn>
                      <a:cxn ang="T149">
                        <a:pos x="T94" y="T95"/>
                      </a:cxn>
                      <a:cxn ang="T150">
                        <a:pos x="T96" y="T97"/>
                      </a:cxn>
                      <a:cxn ang="T151">
                        <a:pos x="T98" y="T99"/>
                      </a:cxn>
                      <a:cxn ang="T152">
                        <a:pos x="T100" y="T101"/>
                      </a:cxn>
                    </a:cxnLst>
                    <a:rect l="T153" t="T154" r="T155" b="T156"/>
                    <a:pathLst>
                      <a:path w="955" h="1249">
                        <a:moveTo>
                          <a:pt x="953" y="531"/>
                        </a:moveTo>
                        <a:lnTo>
                          <a:pt x="955" y="463"/>
                        </a:lnTo>
                        <a:lnTo>
                          <a:pt x="951" y="401"/>
                        </a:lnTo>
                        <a:lnTo>
                          <a:pt x="942" y="344"/>
                        </a:lnTo>
                        <a:lnTo>
                          <a:pt x="929" y="292"/>
                        </a:lnTo>
                        <a:lnTo>
                          <a:pt x="911" y="245"/>
                        </a:lnTo>
                        <a:lnTo>
                          <a:pt x="889" y="202"/>
                        </a:lnTo>
                        <a:lnTo>
                          <a:pt x="863" y="164"/>
                        </a:lnTo>
                        <a:lnTo>
                          <a:pt x="834" y="130"/>
                        </a:lnTo>
                        <a:lnTo>
                          <a:pt x="802" y="100"/>
                        </a:lnTo>
                        <a:lnTo>
                          <a:pt x="768" y="75"/>
                        </a:lnTo>
                        <a:lnTo>
                          <a:pt x="731" y="54"/>
                        </a:lnTo>
                        <a:lnTo>
                          <a:pt x="692" y="36"/>
                        </a:lnTo>
                        <a:lnTo>
                          <a:pt x="652" y="23"/>
                        </a:lnTo>
                        <a:lnTo>
                          <a:pt x="611" y="11"/>
                        </a:lnTo>
                        <a:lnTo>
                          <a:pt x="567" y="5"/>
                        </a:lnTo>
                        <a:lnTo>
                          <a:pt x="524" y="0"/>
                        </a:lnTo>
                        <a:lnTo>
                          <a:pt x="480" y="0"/>
                        </a:lnTo>
                        <a:lnTo>
                          <a:pt x="437" y="2"/>
                        </a:lnTo>
                        <a:lnTo>
                          <a:pt x="395" y="7"/>
                        </a:lnTo>
                        <a:lnTo>
                          <a:pt x="352" y="15"/>
                        </a:lnTo>
                        <a:lnTo>
                          <a:pt x="311" y="25"/>
                        </a:lnTo>
                        <a:lnTo>
                          <a:pt x="272" y="37"/>
                        </a:lnTo>
                        <a:lnTo>
                          <a:pt x="234" y="53"/>
                        </a:lnTo>
                        <a:lnTo>
                          <a:pt x="199" y="69"/>
                        </a:lnTo>
                        <a:lnTo>
                          <a:pt x="165" y="88"/>
                        </a:lnTo>
                        <a:lnTo>
                          <a:pt x="135" y="109"/>
                        </a:lnTo>
                        <a:lnTo>
                          <a:pt x="109" y="132"/>
                        </a:lnTo>
                        <a:lnTo>
                          <a:pt x="85" y="155"/>
                        </a:lnTo>
                        <a:lnTo>
                          <a:pt x="66" y="181"/>
                        </a:lnTo>
                        <a:lnTo>
                          <a:pt x="51" y="207"/>
                        </a:lnTo>
                        <a:lnTo>
                          <a:pt x="41" y="235"/>
                        </a:lnTo>
                        <a:lnTo>
                          <a:pt x="35" y="264"/>
                        </a:lnTo>
                        <a:lnTo>
                          <a:pt x="25" y="352"/>
                        </a:lnTo>
                        <a:lnTo>
                          <a:pt x="14" y="448"/>
                        </a:lnTo>
                        <a:lnTo>
                          <a:pt x="10" y="497"/>
                        </a:lnTo>
                        <a:lnTo>
                          <a:pt x="5" y="547"/>
                        </a:lnTo>
                        <a:lnTo>
                          <a:pt x="2" y="596"/>
                        </a:lnTo>
                        <a:lnTo>
                          <a:pt x="1" y="645"/>
                        </a:lnTo>
                        <a:lnTo>
                          <a:pt x="0" y="692"/>
                        </a:lnTo>
                        <a:lnTo>
                          <a:pt x="2" y="738"/>
                        </a:lnTo>
                        <a:lnTo>
                          <a:pt x="3" y="760"/>
                        </a:lnTo>
                        <a:lnTo>
                          <a:pt x="5" y="781"/>
                        </a:lnTo>
                        <a:lnTo>
                          <a:pt x="8" y="803"/>
                        </a:lnTo>
                        <a:lnTo>
                          <a:pt x="12" y="823"/>
                        </a:lnTo>
                        <a:lnTo>
                          <a:pt x="15" y="843"/>
                        </a:lnTo>
                        <a:lnTo>
                          <a:pt x="21" y="860"/>
                        </a:lnTo>
                        <a:lnTo>
                          <a:pt x="26" y="878"/>
                        </a:lnTo>
                        <a:lnTo>
                          <a:pt x="33" y="895"/>
                        </a:lnTo>
                        <a:lnTo>
                          <a:pt x="40" y="911"/>
                        </a:lnTo>
                        <a:lnTo>
                          <a:pt x="47" y="926"/>
                        </a:lnTo>
                        <a:lnTo>
                          <a:pt x="57" y="939"/>
                        </a:lnTo>
                        <a:lnTo>
                          <a:pt x="67" y="952"/>
                        </a:lnTo>
                        <a:lnTo>
                          <a:pt x="79" y="963"/>
                        </a:lnTo>
                        <a:lnTo>
                          <a:pt x="91" y="975"/>
                        </a:lnTo>
                        <a:lnTo>
                          <a:pt x="104" y="987"/>
                        </a:lnTo>
                        <a:lnTo>
                          <a:pt x="120" y="1001"/>
                        </a:lnTo>
                        <a:lnTo>
                          <a:pt x="153" y="1026"/>
                        </a:lnTo>
                        <a:lnTo>
                          <a:pt x="190" y="1052"/>
                        </a:lnTo>
                        <a:lnTo>
                          <a:pt x="231" y="1079"/>
                        </a:lnTo>
                        <a:lnTo>
                          <a:pt x="274" y="1104"/>
                        </a:lnTo>
                        <a:lnTo>
                          <a:pt x="320" y="1129"/>
                        </a:lnTo>
                        <a:lnTo>
                          <a:pt x="368" y="1152"/>
                        </a:lnTo>
                        <a:lnTo>
                          <a:pt x="416" y="1174"/>
                        </a:lnTo>
                        <a:lnTo>
                          <a:pt x="465" y="1194"/>
                        </a:lnTo>
                        <a:lnTo>
                          <a:pt x="489" y="1203"/>
                        </a:lnTo>
                        <a:lnTo>
                          <a:pt x="514" y="1212"/>
                        </a:lnTo>
                        <a:lnTo>
                          <a:pt x="538" y="1220"/>
                        </a:lnTo>
                        <a:lnTo>
                          <a:pt x="563" y="1227"/>
                        </a:lnTo>
                        <a:lnTo>
                          <a:pt x="586" y="1232"/>
                        </a:lnTo>
                        <a:lnTo>
                          <a:pt x="609" y="1238"/>
                        </a:lnTo>
                        <a:lnTo>
                          <a:pt x="633" y="1242"/>
                        </a:lnTo>
                        <a:lnTo>
                          <a:pt x="655" y="1246"/>
                        </a:lnTo>
                        <a:lnTo>
                          <a:pt x="676" y="1248"/>
                        </a:lnTo>
                        <a:lnTo>
                          <a:pt x="697" y="1249"/>
                        </a:lnTo>
                        <a:lnTo>
                          <a:pt x="719" y="1249"/>
                        </a:lnTo>
                        <a:lnTo>
                          <a:pt x="737" y="1248"/>
                        </a:lnTo>
                        <a:lnTo>
                          <a:pt x="762" y="1244"/>
                        </a:lnTo>
                        <a:lnTo>
                          <a:pt x="784" y="1239"/>
                        </a:lnTo>
                        <a:lnTo>
                          <a:pt x="805" y="1231"/>
                        </a:lnTo>
                        <a:lnTo>
                          <a:pt x="824" y="1221"/>
                        </a:lnTo>
                        <a:lnTo>
                          <a:pt x="841" y="1210"/>
                        </a:lnTo>
                        <a:lnTo>
                          <a:pt x="858" y="1197"/>
                        </a:lnTo>
                        <a:lnTo>
                          <a:pt x="871" y="1181"/>
                        </a:lnTo>
                        <a:lnTo>
                          <a:pt x="883" y="1164"/>
                        </a:lnTo>
                        <a:lnTo>
                          <a:pt x="894" y="1146"/>
                        </a:lnTo>
                        <a:lnTo>
                          <a:pt x="904" y="1126"/>
                        </a:lnTo>
                        <a:lnTo>
                          <a:pt x="913" y="1105"/>
                        </a:lnTo>
                        <a:lnTo>
                          <a:pt x="921" y="1083"/>
                        </a:lnTo>
                        <a:lnTo>
                          <a:pt x="928" y="1060"/>
                        </a:lnTo>
                        <a:lnTo>
                          <a:pt x="932" y="1035"/>
                        </a:lnTo>
                        <a:lnTo>
                          <a:pt x="937" y="1010"/>
                        </a:lnTo>
                        <a:lnTo>
                          <a:pt x="941" y="984"/>
                        </a:lnTo>
                        <a:lnTo>
                          <a:pt x="943" y="957"/>
                        </a:lnTo>
                        <a:lnTo>
                          <a:pt x="946" y="929"/>
                        </a:lnTo>
                        <a:lnTo>
                          <a:pt x="948" y="902"/>
                        </a:lnTo>
                        <a:lnTo>
                          <a:pt x="949" y="873"/>
                        </a:lnTo>
                        <a:lnTo>
                          <a:pt x="950" y="815"/>
                        </a:lnTo>
                        <a:lnTo>
                          <a:pt x="950" y="756"/>
                        </a:lnTo>
                        <a:lnTo>
                          <a:pt x="950" y="698"/>
                        </a:lnTo>
                        <a:lnTo>
                          <a:pt x="950" y="640"/>
                        </a:lnTo>
                        <a:lnTo>
                          <a:pt x="951" y="584"/>
                        </a:lnTo>
                        <a:lnTo>
                          <a:pt x="953" y="531"/>
                        </a:lnTo>
                        <a:close/>
                      </a:path>
                    </a:pathLst>
                  </a:custGeom>
                  <a:solidFill>
                    <a:srgbClr val="273669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81" name="Freeform 170"/>
                  <p:cNvSpPr>
                    <a:spLocks/>
                  </p:cNvSpPr>
                  <p:nvPr/>
                </p:nvSpPr>
                <p:spPr bwMode="auto">
                  <a:xfrm>
                    <a:off x="3357" y="3975"/>
                    <a:ext cx="71" cy="138"/>
                  </a:xfrm>
                  <a:custGeom>
                    <a:avLst/>
                    <a:gdLst>
                      <a:gd name="T0" fmla="*/ 0 w 502"/>
                      <a:gd name="T1" fmla="*/ 0 h 967"/>
                      <a:gd name="T2" fmla="*/ 0 w 502"/>
                      <a:gd name="T3" fmla="*/ 0 h 967"/>
                      <a:gd name="T4" fmla="*/ 0 w 502"/>
                      <a:gd name="T5" fmla="*/ 0 h 967"/>
                      <a:gd name="T6" fmla="*/ 0 w 502"/>
                      <a:gd name="T7" fmla="*/ 0 h 967"/>
                      <a:gd name="T8" fmla="*/ 0 w 502"/>
                      <a:gd name="T9" fmla="*/ 0 h 967"/>
                      <a:gd name="T10" fmla="*/ 0 w 502"/>
                      <a:gd name="T11" fmla="*/ 0 h 967"/>
                      <a:gd name="T12" fmla="*/ 0 w 502"/>
                      <a:gd name="T13" fmla="*/ 0 h 967"/>
                      <a:gd name="T14" fmla="*/ 0 w 502"/>
                      <a:gd name="T15" fmla="*/ 0 h 967"/>
                      <a:gd name="T16" fmla="*/ 0 w 502"/>
                      <a:gd name="T17" fmla="*/ 0 h 967"/>
                      <a:gd name="T18" fmla="*/ 0 w 502"/>
                      <a:gd name="T19" fmla="*/ 0 h 967"/>
                      <a:gd name="T20" fmla="*/ 0 w 502"/>
                      <a:gd name="T21" fmla="*/ 0 h 967"/>
                      <a:gd name="T22" fmla="*/ 0 w 502"/>
                      <a:gd name="T23" fmla="*/ 0 h 967"/>
                      <a:gd name="T24" fmla="*/ 0 w 502"/>
                      <a:gd name="T25" fmla="*/ 0 h 967"/>
                      <a:gd name="T26" fmla="*/ 0 w 502"/>
                      <a:gd name="T27" fmla="*/ 0 h 967"/>
                      <a:gd name="T28" fmla="*/ 0 w 502"/>
                      <a:gd name="T29" fmla="*/ 0 h 967"/>
                      <a:gd name="T30" fmla="*/ 0 w 502"/>
                      <a:gd name="T31" fmla="*/ 0 h 967"/>
                      <a:gd name="T32" fmla="*/ 0 w 502"/>
                      <a:gd name="T33" fmla="*/ 0 h 967"/>
                      <a:gd name="T34" fmla="*/ 0 w 502"/>
                      <a:gd name="T35" fmla="*/ 0 h 967"/>
                      <a:gd name="T36" fmla="*/ 0 w 502"/>
                      <a:gd name="T37" fmla="*/ 0 h 967"/>
                      <a:gd name="T38" fmla="*/ 0 w 502"/>
                      <a:gd name="T39" fmla="*/ 0 h 967"/>
                      <a:gd name="T40" fmla="*/ 0 w 502"/>
                      <a:gd name="T41" fmla="*/ 0 h 967"/>
                      <a:gd name="T42" fmla="*/ 0 w 502"/>
                      <a:gd name="T43" fmla="*/ 0 h 967"/>
                      <a:gd name="T44" fmla="*/ 0 w 502"/>
                      <a:gd name="T45" fmla="*/ 0 h 967"/>
                      <a:gd name="T46" fmla="*/ 0 w 502"/>
                      <a:gd name="T47" fmla="*/ 0 h 967"/>
                      <a:gd name="T48" fmla="*/ 0 w 502"/>
                      <a:gd name="T49" fmla="*/ 0 h 967"/>
                      <a:gd name="T50" fmla="*/ 0 w 502"/>
                      <a:gd name="T51" fmla="*/ 0 h 967"/>
                      <a:gd name="T52" fmla="*/ 0 w 502"/>
                      <a:gd name="T53" fmla="*/ 0 h 967"/>
                      <a:gd name="T54" fmla="*/ 0 w 502"/>
                      <a:gd name="T55" fmla="*/ 0 h 967"/>
                      <a:gd name="T56" fmla="*/ 0 w 502"/>
                      <a:gd name="T57" fmla="*/ 0 h 967"/>
                      <a:gd name="T58" fmla="*/ 0 w 502"/>
                      <a:gd name="T59" fmla="*/ 0 h 967"/>
                      <a:gd name="T60" fmla="*/ 0 w 502"/>
                      <a:gd name="T61" fmla="*/ 0 h 967"/>
                      <a:gd name="T62" fmla="*/ 0 w 502"/>
                      <a:gd name="T63" fmla="*/ 0 h 967"/>
                      <a:gd name="T64" fmla="*/ 0 w 502"/>
                      <a:gd name="T65" fmla="*/ 0 h 967"/>
                      <a:gd name="T66" fmla="*/ 0 w 502"/>
                      <a:gd name="T67" fmla="*/ 0 h 967"/>
                      <a:gd name="T68" fmla="*/ 0 w 502"/>
                      <a:gd name="T69" fmla="*/ 0 h 967"/>
                      <a:gd name="T70" fmla="*/ 0 w 502"/>
                      <a:gd name="T71" fmla="*/ 0 h 967"/>
                      <a:gd name="T72" fmla="*/ 0 w 502"/>
                      <a:gd name="T73" fmla="*/ 0 h 967"/>
                      <a:gd name="T74" fmla="*/ 0 w 502"/>
                      <a:gd name="T75" fmla="*/ 0 h 967"/>
                      <a:gd name="T76" fmla="*/ 0 w 502"/>
                      <a:gd name="T77" fmla="*/ 0 h 967"/>
                      <a:gd name="T78" fmla="*/ 0 w 502"/>
                      <a:gd name="T79" fmla="*/ 0 h 967"/>
                      <a:gd name="T80" fmla="*/ 0 w 502"/>
                      <a:gd name="T81" fmla="*/ 0 h 967"/>
                      <a:gd name="T82" fmla="*/ 0 w 502"/>
                      <a:gd name="T83" fmla="*/ 0 h 967"/>
                      <a:gd name="T84" fmla="*/ 0 w 502"/>
                      <a:gd name="T85" fmla="*/ 0 h 96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502"/>
                      <a:gd name="T130" fmla="*/ 0 h 967"/>
                      <a:gd name="T131" fmla="*/ 502 w 502"/>
                      <a:gd name="T132" fmla="*/ 967 h 96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502" h="967">
                        <a:moveTo>
                          <a:pt x="499" y="379"/>
                        </a:moveTo>
                        <a:lnTo>
                          <a:pt x="496" y="358"/>
                        </a:lnTo>
                        <a:lnTo>
                          <a:pt x="492" y="337"/>
                        </a:lnTo>
                        <a:lnTo>
                          <a:pt x="485" y="315"/>
                        </a:lnTo>
                        <a:lnTo>
                          <a:pt x="478" y="291"/>
                        </a:lnTo>
                        <a:lnTo>
                          <a:pt x="469" y="269"/>
                        </a:lnTo>
                        <a:lnTo>
                          <a:pt x="458" y="246"/>
                        </a:lnTo>
                        <a:lnTo>
                          <a:pt x="447" y="224"/>
                        </a:lnTo>
                        <a:lnTo>
                          <a:pt x="434" y="200"/>
                        </a:lnTo>
                        <a:lnTo>
                          <a:pt x="420" y="179"/>
                        </a:lnTo>
                        <a:lnTo>
                          <a:pt x="405" y="157"/>
                        </a:lnTo>
                        <a:lnTo>
                          <a:pt x="389" y="137"/>
                        </a:lnTo>
                        <a:lnTo>
                          <a:pt x="373" y="118"/>
                        </a:lnTo>
                        <a:lnTo>
                          <a:pt x="355" y="100"/>
                        </a:lnTo>
                        <a:lnTo>
                          <a:pt x="337" y="83"/>
                        </a:lnTo>
                        <a:lnTo>
                          <a:pt x="318" y="69"/>
                        </a:lnTo>
                        <a:lnTo>
                          <a:pt x="298" y="55"/>
                        </a:lnTo>
                        <a:lnTo>
                          <a:pt x="288" y="50"/>
                        </a:lnTo>
                        <a:lnTo>
                          <a:pt x="272" y="43"/>
                        </a:lnTo>
                        <a:lnTo>
                          <a:pt x="255" y="37"/>
                        </a:lnTo>
                        <a:lnTo>
                          <a:pt x="233" y="30"/>
                        </a:lnTo>
                        <a:lnTo>
                          <a:pt x="210" y="22"/>
                        </a:lnTo>
                        <a:lnTo>
                          <a:pt x="186" y="15"/>
                        </a:lnTo>
                        <a:lnTo>
                          <a:pt x="160" y="10"/>
                        </a:lnTo>
                        <a:lnTo>
                          <a:pt x="134" y="5"/>
                        </a:lnTo>
                        <a:lnTo>
                          <a:pt x="110" y="2"/>
                        </a:lnTo>
                        <a:lnTo>
                          <a:pt x="86" y="0"/>
                        </a:lnTo>
                        <a:lnTo>
                          <a:pt x="75" y="0"/>
                        </a:lnTo>
                        <a:lnTo>
                          <a:pt x="65" y="1"/>
                        </a:lnTo>
                        <a:lnTo>
                          <a:pt x="55" y="2"/>
                        </a:lnTo>
                        <a:lnTo>
                          <a:pt x="46" y="3"/>
                        </a:lnTo>
                        <a:lnTo>
                          <a:pt x="39" y="5"/>
                        </a:lnTo>
                        <a:lnTo>
                          <a:pt x="32" y="9"/>
                        </a:lnTo>
                        <a:lnTo>
                          <a:pt x="25" y="13"/>
                        </a:lnTo>
                        <a:lnTo>
                          <a:pt x="21" y="18"/>
                        </a:lnTo>
                        <a:lnTo>
                          <a:pt x="17" y="23"/>
                        </a:lnTo>
                        <a:lnTo>
                          <a:pt x="15" y="30"/>
                        </a:lnTo>
                        <a:lnTo>
                          <a:pt x="14" y="38"/>
                        </a:lnTo>
                        <a:lnTo>
                          <a:pt x="14" y="45"/>
                        </a:lnTo>
                        <a:lnTo>
                          <a:pt x="14" y="62"/>
                        </a:lnTo>
                        <a:lnTo>
                          <a:pt x="13" y="107"/>
                        </a:lnTo>
                        <a:lnTo>
                          <a:pt x="12" y="172"/>
                        </a:lnTo>
                        <a:lnTo>
                          <a:pt x="10" y="252"/>
                        </a:lnTo>
                        <a:lnTo>
                          <a:pt x="7" y="341"/>
                        </a:lnTo>
                        <a:lnTo>
                          <a:pt x="6" y="433"/>
                        </a:lnTo>
                        <a:lnTo>
                          <a:pt x="5" y="520"/>
                        </a:lnTo>
                        <a:lnTo>
                          <a:pt x="5" y="596"/>
                        </a:lnTo>
                        <a:lnTo>
                          <a:pt x="4" y="630"/>
                        </a:lnTo>
                        <a:lnTo>
                          <a:pt x="2" y="664"/>
                        </a:lnTo>
                        <a:lnTo>
                          <a:pt x="0" y="700"/>
                        </a:lnTo>
                        <a:lnTo>
                          <a:pt x="0" y="737"/>
                        </a:lnTo>
                        <a:lnTo>
                          <a:pt x="1" y="754"/>
                        </a:lnTo>
                        <a:lnTo>
                          <a:pt x="3" y="771"/>
                        </a:lnTo>
                        <a:lnTo>
                          <a:pt x="6" y="788"/>
                        </a:lnTo>
                        <a:lnTo>
                          <a:pt x="12" y="803"/>
                        </a:lnTo>
                        <a:lnTo>
                          <a:pt x="17" y="819"/>
                        </a:lnTo>
                        <a:lnTo>
                          <a:pt x="25" y="833"/>
                        </a:lnTo>
                        <a:lnTo>
                          <a:pt x="30" y="840"/>
                        </a:lnTo>
                        <a:lnTo>
                          <a:pt x="35" y="847"/>
                        </a:lnTo>
                        <a:lnTo>
                          <a:pt x="41" y="853"/>
                        </a:lnTo>
                        <a:lnTo>
                          <a:pt x="48" y="859"/>
                        </a:lnTo>
                        <a:lnTo>
                          <a:pt x="56" y="867"/>
                        </a:lnTo>
                        <a:lnTo>
                          <a:pt x="68" y="875"/>
                        </a:lnTo>
                        <a:lnTo>
                          <a:pt x="78" y="882"/>
                        </a:lnTo>
                        <a:lnTo>
                          <a:pt x="90" y="888"/>
                        </a:lnTo>
                        <a:lnTo>
                          <a:pt x="113" y="900"/>
                        </a:lnTo>
                        <a:lnTo>
                          <a:pt x="140" y="910"/>
                        </a:lnTo>
                        <a:lnTo>
                          <a:pt x="167" y="919"/>
                        </a:lnTo>
                        <a:lnTo>
                          <a:pt x="196" y="927"/>
                        </a:lnTo>
                        <a:lnTo>
                          <a:pt x="224" y="933"/>
                        </a:lnTo>
                        <a:lnTo>
                          <a:pt x="255" y="939"/>
                        </a:lnTo>
                        <a:lnTo>
                          <a:pt x="316" y="947"/>
                        </a:lnTo>
                        <a:lnTo>
                          <a:pt x="376" y="954"/>
                        </a:lnTo>
                        <a:lnTo>
                          <a:pt x="433" y="960"/>
                        </a:lnTo>
                        <a:lnTo>
                          <a:pt x="485" y="967"/>
                        </a:lnTo>
                        <a:lnTo>
                          <a:pt x="483" y="946"/>
                        </a:lnTo>
                        <a:lnTo>
                          <a:pt x="482" y="918"/>
                        </a:lnTo>
                        <a:lnTo>
                          <a:pt x="482" y="886"/>
                        </a:lnTo>
                        <a:lnTo>
                          <a:pt x="483" y="850"/>
                        </a:lnTo>
                        <a:lnTo>
                          <a:pt x="486" y="768"/>
                        </a:lnTo>
                        <a:lnTo>
                          <a:pt x="492" y="679"/>
                        </a:lnTo>
                        <a:lnTo>
                          <a:pt x="496" y="589"/>
                        </a:lnTo>
                        <a:lnTo>
                          <a:pt x="501" y="505"/>
                        </a:lnTo>
                        <a:lnTo>
                          <a:pt x="501" y="467"/>
                        </a:lnTo>
                        <a:lnTo>
                          <a:pt x="502" y="433"/>
                        </a:lnTo>
                        <a:lnTo>
                          <a:pt x="501" y="404"/>
                        </a:lnTo>
                        <a:lnTo>
                          <a:pt x="499" y="379"/>
                        </a:lnTo>
                        <a:close/>
                      </a:path>
                    </a:pathLst>
                  </a:custGeom>
                  <a:solidFill>
                    <a:srgbClr val="242B53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82" name="Freeform 171"/>
                  <p:cNvSpPr>
                    <a:spLocks/>
                  </p:cNvSpPr>
                  <p:nvPr/>
                </p:nvSpPr>
                <p:spPr bwMode="auto">
                  <a:xfrm>
                    <a:off x="3254" y="4059"/>
                    <a:ext cx="170" cy="105"/>
                  </a:xfrm>
                  <a:custGeom>
                    <a:avLst/>
                    <a:gdLst>
                      <a:gd name="T0" fmla="*/ 0 w 1192"/>
                      <a:gd name="T1" fmla="*/ 0 h 736"/>
                      <a:gd name="T2" fmla="*/ 0 w 1192"/>
                      <a:gd name="T3" fmla="*/ 0 h 736"/>
                      <a:gd name="T4" fmla="*/ 0 w 1192"/>
                      <a:gd name="T5" fmla="*/ 0 h 736"/>
                      <a:gd name="T6" fmla="*/ 0 w 1192"/>
                      <a:gd name="T7" fmla="*/ 0 h 736"/>
                      <a:gd name="T8" fmla="*/ 0 w 1192"/>
                      <a:gd name="T9" fmla="*/ 0 h 736"/>
                      <a:gd name="T10" fmla="*/ 0 w 1192"/>
                      <a:gd name="T11" fmla="*/ 0 h 736"/>
                      <a:gd name="T12" fmla="*/ 0 w 1192"/>
                      <a:gd name="T13" fmla="*/ 0 h 736"/>
                      <a:gd name="T14" fmla="*/ 0 w 1192"/>
                      <a:gd name="T15" fmla="*/ 0 h 736"/>
                      <a:gd name="T16" fmla="*/ 0 w 1192"/>
                      <a:gd name="T17" fmla="*/ 0 h 736"/>
                      <a:gd name="T18" fmla="*/ 0 w 1192"/>
                      <a:gd name="T19" fmla="*/ 0 h 736"/>
                      <a:gd name="T20" fmla="*/ 0 w 1192"/>
                      <a:gd name="T21" fmla="*/ 0 h 736"/>
                      <a:gd name="T22" fmla="*/ 0 w 1192"/>
                      <a:gd name="T23" fmla="*/ 0 h 736"/>
                      <a:gd name="T24" fmla="*/ 0 w 1192"/>
                      <a:gd name="T25" fmla="*/ 0 h 736"/>
                      <a:gd name="T26" fmla="*/ 0 w 1192"/>
                      <a:gd name="T27" fmla="*/ 0 h 736"/>
                      <a:gd name="T28" fmla="*/ 0 w 1192"/>
                      <a:gd name="T29" fmla="*/ 0 h 736"/>
                      <a:gd name="T30" fmla="*/ 0 w 1192"/>
                      <a:gd name="T31" fmla="*/ 0 h 736"/>
                      <a:gd name="T32" fmla="*/ 0 w 1192"/>
                      <a:gd name="T33" fmla="*/ 0 h 736"/>
                      <a:gd name="T34" fmla="*/ 0 w 1192"/>
                      <a:gd name="T35" fmla="*/ 0 h 736"/>
                      <a:gd name="T36" fmla="*/ 0 w 1192"/>
                      <a:gd name="T37" fmla="*/ 0 h 736"/>
                      <a:gd name="T38" fmla="*/ 0 w 1192"/>
                      <a:gd name="T39" fmla="*/ 0 h 736"/>
                      <a:gd name="T40" fmla="*/ 0 w 1192"/>
                      <a:gd name="T41" fmla="*/ 0 h 736"/>
                      <a:gd name="T42" fmla="*/ 0 w 1192"/>
                      <a:gd name="T43" fmla="*/ 0 h 736"/>
                      <a:gd name="T44" fmla="*/ 0 w 1192"/>
                      <a:gd name="T45" fmla="*/ 0 h 736"/>
                      <a:gd name="T46" fmla="*/ 0 w 1192"/>
                      <a:gd name="T47" fmla="*/ 0 h 736"/>
                      <a:gd name="T48" fmla="*/ 0 w 1192"/>
                      <a:gd name="T49" fmla="*/ 0 h 736"/>
                      <a:gd name="T50" fmla="*/ 0 w 1192"/>
                      <a:gd name="T51" fmla="*/ 0 h 736"/>
                      <a:gd name="T52" fmla="*/ 0 w 1192"/>
                      <a:gd name="T53" fmla="*/ 0 h 736"/>
                      <a:gd name="T54" fmla="*/ 0 w 1192"/>
                      <a:gd name="T55" fmla="*/ 0 h 736"/>
                      <a:gd name="T56" fmla="*/ 0 w 1192"/>
                      <a:gd name="T57" fmla="*/ 0 h 736"/>
                      <a:gd name="T58" fmla="*/ 0 w 1192"/>
                      <a:gd name="T59" fmla="*/ 0 h 736"/>
                      <a:gd name="T60" fmla="*/ 0 w 1192"/>
                      <a:gd name="T61" fmla="*/ 0 h 736"/>
                      <a:gd name="T62" fmla="*/ 0 w 1192"/>
                      <a:gd name="T63" fmla="*/ 0 h 736"/>
                      <a:gd name="T64" fmla="*/ 0 w 1192"/>
                      <a:gd name="T65" fmla="*/ 0 h 736"/>
                      <a:gd name="T66" fmla="*/ 0 w 1192"/>
                      <a:gd name="T67" fmla="*/ 0 h 736"/>
                      <a:gd name="T68" fmla="*/ 0 w 1192"/>
                      <a:gd name="T69" fmla="*/ 0 h 736"/>
                      <a:gd name="T70" fmla="*/ 0 w 1192"/>
                      <a:gd name="T71" fmla="*/ 0 h 736"/>
                      <a:gd name="T72" fmla="*/ 0 w 1192"/>
                      <a:gd name="T73" fmla="*/ 0 h 736"/>
                      <a:gd name="T74" fmla="*/ 0 w 1192"/>
                      <a:gd name="T75" fmla="*/ 0 h 736"/>
                      <a:gd name="T76" fmla="*/ 0 w 1192"/>
                      <a:gd name="T77" fmla="*/ 0 h 736"/>
                      <a:gd name="T78" fmla="*/ 0 w 1192"/>
                      <a:gd name="T79" fmla="*/ 0 h 736"/>
                      <a:gd name="T80" fmla="*/ 0 w 1192"/>
                      <a:gd name="T81" fmla="*/ 0 h 736"/>
                      <a:gd name="T82" fmla="*/ 0 w 1192"/>
                      <a:gd name="T83" fmla="*/ 0 h 736"/>
                      <a:gd name="T84" fmla="*/ 0 w 1192"/>
                      <a:gd name="T85" fmla="*/ 0 h 736"/>
                      <a:gd name="T86" fmla="*/ 0 w 1192"/>
                      <a:gd name="T87" fmla="*/ 0 h 736"/>
                      <a:gd name="T88" fmla="*/ 0 w 1192"/>
                      <a:gd name="T89" fmla="*/ 0 h 736"/>
                      <a:gd name="T90" fmla="*/ 0 w 1192"/>
                      <a:gd name="T91" fmla="*/ 0 h 736"/>
                      <a:gd name="T92" fmla="*/ 0 w 1192"/>
                      <a:gd name="T93" fmla="*/ 0 h 736"/>
                      <a:gd name="T94" fmla="*/ 0 w 1192"/>
                      <a:gd name="T95" fmla="*/ 0 h 736"/>
                      <a:gd name="T96" fmla="*/ 0 w 1192"/>
                      <a:gd name="T97" fmla="*/ 0 h 736"/>
                      <a:gd name="T98" fmla="*/ 0 w 1192"/>
                      <a:gd name="T99" fmla="*/ 0 h 736"/>
                      <a:gd name="T100" fmla="*/ 0 w 1192"/>
                      <a:gd name="T101" fmla="*/ 0 h 736"/>
                      <a:gd name="T102" fmla="*/ 0 w 1192"/>
                      <a:gd name="T103" fmla="*/ 0 h 736"/>
                      <a:gd name="T104" fmla="*/ 0 w 1192"/>
                      <a:gd name="T105" fmla="*/ 0 h 736"/>
                      <a:gd name="T106" fmla="*/ 0 w 1192"/>
                      <a:gd name="T107" fmla="*/ 0 h 736"/>
                      <a:gd name="T108" fmla="*/ 0 w 1192"/>
                      <a:gd name="T109" fmla="*/ 0 h 736"/>
                      <a:gd name="T110" fmla="*/ 0 w 1192"/>
                      <a:gd name="T111" fmla="*/ 0 h 736"/>
                      <a:gd name="T112" fmla="*/ 0 w 1192"/>
                      <a:gd name="T113" fmla="*/ 0 h 736"/>
                      <a:gd name="T114" fmla="*/ 0 w 1192"/>
                      <a:gd name="T115" fmla="*/ 0 h 736"/>
                      <a:gd name="T116" fmla="*/ 0 w 1192"/>
                      <a:gd name="T117" fmla="*/ 0 h 736"/>
                      <a:gd name="T118" fmla="*/ 0 w 1192"/>
                      <a:gd name="T119" fmla="*/ 0 h 736"/>
                      <a:gd name="T120" fmla="*/ 0 w 1192"/>
                      <a:gd name="T121" fmla="*/ 0 h 736"/>
                      <a:gd name="T122" fmla="*/ 0 w 1192"/>
                      <a:gd name="T123" fmla="*/ 0 h 736"/>
                      <a:gd name="T124" fmla="*/ 0 w 1192"/>
                      <a:gd name="T125" fmla="*/ 0 h 7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60000 65536"/>
                      <a:gd name="T184" fmla="*/ 0 60000 65536"/>
                      <a:gd name="T185" fmla="*/ 0 60000 65536"/>
                      <a:gd name="T186" fmla="*/ 0 60000 65536"/>
                      <a:gd name="T187" fmla="*/ 0 60000 65536"/>
                      <a:gd name="T188" fmla="*/ 0 60000 65536"/>
                      <a:gd name="T189" fmla="*/ 0 w 1192"/>
                      <a:gd name="T190" fmla="*/ 0 h 736"/>
                      <a:gd name="T191" fmla="*/ 1192 w 1192"/>
                      <a:gd name="T192" fmla="*/ 736 h 736"/>
                    </a:gdLst>
                    <a:ahLst/>
                    <a:cxnLst>
                      <a:cxn ang="T126">
                        <a:pos x="T0" y="T1"/>
                      </a:cxn>
                      <a:cxn ang="T127">
                        <a:pos x="T2" y="T3"/>
                      </a:cxn>
                      <a:cxn ang="T128">
                        <a:pos x="T4" y="T5"/>
                      </a:cxn>
                      <a:cxn ang="T129">
                        <a:pos x="T6" y="T7"/>
                      </a:cxn>
                      <a:cxn ang="T130">
                        <a:pos x="T8" y="T9"/>
                      </a:cxn>
                      <a:cxn ang="T131">
                        <a:pos x="T10" y="T11"/>
                      </a:cxn>
                      <a:cxn ang="T132">
                        <a:pos x="T12" y="T13"/>
                      </a:cxn>
                      <a:cxn ang="T133">
                        <a:pos x="T14" y="T15"/>
                      </a:cxn>
                      <a:cxn ang="T134">
                        <a:pos x="T16" y="T17"/>
                      </a:cxn>
                      <a:cxn ang="T135">
                        <a:pos x="T18" y="T19"/>
                      </a:cxn>
                      <a:cxn ang="T136">
                        <a:pos x="T20" y="T21"/>
                      </a:cxn>
                      <a:cxn ang="T137">
                        <a:pos x="T22" y="T23"/>
                      </a:cxn>
                      <a:cxn ang="T138">
                        <a:pos x="T24" y="T25"/>
                      </a:cxn>
                      <a:cxn ang="T139">
                        <a:pos x="T26" y="T27"/>
                      </a:cxn>
                      <a:cxn ang="T140">
                        <a:pos x="T28" y="T29"/>
                      </a:cxn>
                      <a:cxn ang="T141">
                        <a:pos x="T30" y="T31"/>
                      </a:cxn>
                      <a:cxn ang="T142">
                        <a:pos x="T32" y="T33"/>
                      </a:cxn>
                      <a:cxn ang="T143">
                        <a:pos x="T34" y="T35"/>
                      </a:cxn>
                      <a:cxn ang="T144">
                        <a:pos x="T36" y="T37"/>
                      </a:cxn>
                      <a:cxn ang="T145">
                        <a:pos x="T38" y="T39"/>
                      </a:cxn>
                      <a:cxn ang="T146">
                        <a:pos x="T40" y="T41"/>
                      </a:cxn>
                      <a:cxn ang="T147">
                        <a:pos x="T42" y="T43"/>
                      </a:cxn>
                      <a:cxn ang="T148">
                        <a:pos x="T44" y="T45"/>
                      </a:cxn>
                      <a:cxn ang="T149">
                        <a:pos x="T46" y="T47"/>
                      </a:cxn>
                      <a:cxn ang="T150">
                        <a:pos x="T48" y="T49"/>
                      </a:cxn>
                      <a:cxn ang="T151">
                        <a:pos x="T50" y="T51"/>
                      </a:cxn>
                      <a:cxn ang="T152">
                        <a:pos x="T52" y="T53"/>
                      </a:cxn>
                      <a:cxn ang="T153">
                        <a:pos x="T54" y="T55"/>
                      </a:cxn>
                      <a:cxn ang="T154">
                        <a:pos x="T56" y="T57"/>
                      </a:cxn>
                      <a:cxn ang="T155">
                        <a:pos x="T58" y="T59"/>
                      </a:cxn>
                      <a:cxn ang="T156">
                        <a:pos x="T60" y="T61"/>
                      </a:cxn>
                      <a:cxn ang="T157">
                        <a:pos x="T62" y="T63"/>
                      </a:cxn>
                      <a:cxn ang="T158">
                        <a:pos x="T64" y="T65"/>
                      </a:cxn>
                      <a:cxn ang="T159">
                        <a:pos x="T66" y="T67"/>
                      </a:cxn>
                      <a:cxn ang="T160">
                        <a:pos x="T68" y="T69"/>
                      </a:cxn>
                      <a:cxn ang="T161">
                        <a:pos x="T70" y="T71"/>
                      </a:cxn>
                      <a:cxn ang="T162">
                        <a:pos x="T72" y="T73"/>
                      </a:cxn>
                      <a:cxn ang="T163">
                        <a:pos x="T74" y="T75"/>
                      </a:cxn>
                      <a:cxn ang="T164">
                        <a:pos x="T76" y="T77"/>
                      </a:cxn>
                      <a:cxn ang="T165">
                        <a:pos x="T78" y="T79"/>
                      </a:cxn>
                      <a:cxn ang="T166">
                        <a:pos x="T80" y="T81"/>
                      </a:cxn>
                      <a:cxn ang="T167">
                        <a:pos x="T82" y="T83"/>
                      </a:cxn>
                      <a:cxn ang="T168">
                        <a:pos x="T84" y="T85"/>
                      </a:cxn>
                      <a:cxn ang="T169">
                        <a:pos x="T86" y="T87"/>
                      </a:cxn>
                      <a:cxn ang="T170">
                        <a:pos x="T88" y="T89"/>
                      </a:cxn>
                      <a:cxn ang="T171">
                        <a:pos x="T90" y="T91"/>
                      </a:cxn>
                      <a:cxn ang="T172">
                        <a:pos x="T92" y="T93"/>
                      </a:cxn>
                      <a:cxn ang="T173">
                        <a:pos x="T94" y="T95"/>
                      </a:cxn>
                      <a:cxn ang="T174">
                        <a:pos x="T96" y="T97"/>
                      </a:cxn>
                      <a:cxn ang="T175">
                        <a:pos x="T98" y="T99"/>
                      </a:cxn>
                      <a:cxn ang="T176">
                        <a:pos x="T100" y="T101"/>
                      </a:cxn>
                      <a:cxn ang="T177">
                        <a:pos x="T102" y="T103"/>
                      </a:cxn>
                      <a:cxn ang="T178">
                        <a:pos x="T104" y="T105"/>
                      </a:cxn>
                      <a:cxn ang="T179">
                        <a:pos x="T106" y="T107"/>
                      </a:cxn>
                      <a:cxn ang="T180">
                        <a:pos x="T108" y="T109"/>
                      </a:cxn>
                      <a:cxn ang="T181">
                        <a:pos x="T110" y="T111"/>
                      </a:cxn>
                      <a:cxn ang="T182">
                        <a:pos x="T112" y="T113"/>
                      </a:cxn>
                      <a:cxn ang="T183">
                        <a:pos x="T114" y="T115"/>
                      </a:cxn>
                      <a:cxn ang="T184">
                        <a:pos x="T116" y="T117"/>
                      </a:cxn>
                      <a:cxn ang="T185">
                        <a:pos x="T118" y="T119"/>
                      </a:cxn>
                      <a:cxn ang="T186">
                        <a:pos x="T120" y="T121"/>
                      </a:cxn>
                      <a:cxn ang="T187">
                        <a:pos x="T122" y="T123"/>
                      </a:cxn>
                      <a:cxn ang="T188">
                        <a:pos x="T124" y="T125"/>
                      </a:cxn>
                    </a:cxnLst>
                    <a:rect l="T189" t="T190" r="T191" b="T192"/>
                    <a:pathLst>
                      <a:path w="1192" h="736">
                        <a:moveTo>
                          <a:pt x="1192" y="368"/>
                        </a:moveTo>
                        <a:lnTo>
                          <a:pt x="1192" y="387"/>
                        </a:lnTo>
                        <a:lnTo>
                          <a:pt x="1191" y="405"/>
                        </a:lnTo>
                        <a:lnTo>
                          <a:pt x="1190" y="424"/>
                        </a:lnTo>
                        <a:lnTo>
                          <a:pt x="1187" y="442"/>
                        </a:lnTo>
                        <a:lnTo>
                          <a:pt x="1184" y="460"/>
                        </a:lnTo>
                        <a:lnTo>
                          <a:pt x="1181" y="478"/>
                        </a:lnTo>
                        <a:lnTo>
                          <a:pt x="1176" y="495"/>
                        </a:lnTo>
                        <a:lnTo>
                          <a:pt x="1171" y="511"/>
                        </a:lnTo>
                        <a:lnTo>
                          <a:pt x="1164" y="528"/>
                        </a:lnTo>
                        <a:lnTo>
                          <a:pt x="1156" y="543"/>
                        </a:lnTo>
                        <a:lnTo>
                          <a:pt x="1147" y="559"/>
                        </a:lnTo>
                        <a:lnTo>
                          <a:pt x="1137" y="574"/>
                        </a:lnTo>
                        <a:lnTo>
                          <a:pt x="1126" y="588"/>
                        </a:lnTo>
                        <a:lnTo>
                          <a:pt x="1114" y="602"/>
                        </a:lnTo>
                        <a:lnTo>
                          <a:pt x="1101" y="616"/>
                        </a:lnTo>
                        <a:lnTo>
                          <a:pt x="1085" y="628"/>
                        </a:lnTo>
                        <a:lnTo>
                          <a:pt x="1068" y="640"/>
                        </a:lnTo>
                        <a:lnTo>
                          <a:pt x="1051" y="653"/>
                        </a:lnTo>
                        <a:lnTo>
                          <a:pt x="1031" y="664"/>
                        </a:lnTo>
                        <a:lnTo>
                          <a:pt x="1008" y="674"/>
                        </a:lnTo>
                        <a:lnTo>
                          <a:pt x="985" y="683"/>
                        </a:lnTo>
                        <a:lnTo>
                          <a:pt x="960" y="691"/>
                        </a:lnTo>
                        <a:lnTo>
                          <a:pt x="934" y="700"/>
                        </a:lnTo>
                        <a:lnTo>
                          <a:pt x="905" y="707"/>
                        </a:lnTo>
                        <a:lnTo>
                          <a:pt x="874" y="714"/>
                        </a:lnTo>
                        <a:lnTo>
                          <a:pt x="840" y="719"/>
                        </a:lnTo>
                        <a:lnTo>
                          <a:pt x="806" y="725"/>
                        </a:lnTo>
                        <a:lnTo>
                          <a:pt x="768" y="728"/>
                        </a:lnTo>
                        <a:lnTo>
                          <a:pt x="729" y="732"/>
                        </a:lnTo>
                        <a:lnTo>
                          <a:pt x="687" y="734"/>
                        </a:lnTo>
                        <a:lnTo>
                          <a:pt x="642" y="736"/>
                        </a:lnTo>
                        <a:lnTo>
                          <a:pt x="595" y="736"/>
                        </a:lnTo>
                        <a:lnTo>
                          <a:pt x="544" y="736"/>
                        </a:lnTo>
                        <a:lnTo>
                          <a:pt x="495" y="734"/>
                        </a:lnTo>
                        <a:lnTo>
                          <a:pt x="450" y="732"/>
                        </a:lnTo>
                        <a:lnTo>
                          <a:pt x="407" y="728"/>
                        </a:lnTo>
                        <a:lnTo>
                          <a:pt x="367" y="725"/>
                        </a:lnTo>
                        <a:lnTo>
                          <a:pt x="329" y="719"/>
                        </a:lnTo>
                        <a:lnTo>
                          <a:pt x="295" y="714"/>
                        </a:lnTo>
                        <a:lnTo>
                          <a:pt x="263" y="707"/>
                        </a:lnTo>
                        <a:lnTo>
                          <a:pt x="234" y="700"/>
                        </a:lnTo>
                        <a:lnTo>
                          <a:pt x="206" y="691"/>
                        </a:lnTo>
                        <a:lnTo>
                          <a:pt x="180" y="683"/>
                        </a:lnTo>
                        <a:lnTo>
                          <a:pt x="158" y="674"/>
                        </a:lnTo>
                        <a:lnTo>
                          <a:pt x="137" y="664"/>
                        </a:lnTo>
                        <a:lnTo>
                          <a:pt x="118" y="653"/>
                        </a:lnTo>
                        <a:lnTo>
                          <a:pt x="100" y="640"/>
                        </a:lnTo>
                        <a:lnTo>
                          <a:pt x="84" y="628"/>
                        </a:lnTo>
                        <a:lnTo>
                          <a:pt x="71" y="616"/>
                        </a:lnTo>
                        <a:lnTo>
                          <a:pt x="59" y="602"/>
                        </a:lnTo>
                        <a:lnTo>
                          <a:pt x="48" y="588"/>
                        </a:lnTo>
                        <a:lnTo>
                          <a:pt x="39" y="574"/>
                        </a:lnTo>
                        <a:lnTo>
                          <a:pt x="30" y="559"/>
                        </a:lnTo>
                        <a:lnTo>
                          <a:pt x="23" y="543"/>
                        </a:lnTo>
                        <a:lnTo>
                          <a:pt x="18" y="528"/>
                        </a:lnTo>
                        <a:lnTo>
                          <a:pt x="13" y="511"/>
                        </a:lnTo>
                        <a:lnTo>
                          <a:pt x="9" y="495"/>
                        </a:lnTo>
                        <a:lnTo>
                          <a:pt x="5" y="478"/>
                        </a:lnTo>
                        <a:lnTo>
                          <a:pt x="3" y="460"/>
                        </a:lnTo>
                        <a:lnTo>
                          <a:pt x="2" y="442"/>
                        </a:lnTo>
                        <a:lnTo>
                          <a:pt x="0" y="405"/>
                        </a:lnTo>
                        <a:lnTo>
                          <a:pt x="0" y="368"/>
                        </a:lnTo>
                        <a:lnTo>
                          <a:pt x="0" y="349"/>
                        </a:lnTo>
                        <a:lnTo>
                          <a:pt x="2" y="331"/>
                        </a:lnTo>
                        <a:lnTo>
                          <a:pt x="7" y="312"/>
                        </a:lnTo>
                        <a:lnTo>
                          <a:pt x="12" y="294"/>
                        </a:lnTo>
                        <a:lnTo>
                          <a:pt x="19" y="276"/>
                        </a:lnTo>
                        <a:lnTo>
                          <a:pt x="27" y="259"/>
                        </a:lnTo>
                        <a:lnTo>
                          <a:pt x="36" y="242"/>
                        </a:lnTo>
                        <a:lnTo>
                          <a:pt x="47" y="225"/>
                        </a:lnTo>
                        <a:lnTo>
                          <a:pt x="59" y="209"/>
                        </a:lnTo>
                        <a:lnTo>
                          <a:pt x="71" y="193"/>
                        </a:lnTo>
                        <a:lnTo>
                          <a:pt x="86" y="177"/>
                        </a:lnTo>
                        <a:lnTo>
                          <a:pt x="101" y="163"/>
                        </a:lnTo>
                        <a:lnTo>
                          <a:pt x="118" y="148"/>
                        </a:lnTo>
                        <a:lnTo>
                          <a:pt x="136" y="134"/>
                        </a:lnTo>
                        <a:lnTo>
                          <a:pt x="155" y="121"/>
                        </a:lnTo>
                        <a:lnTo>
                          <a:pt x="175" y="108"/>
                        </a:lnTo>
                        <a:lnTo>
                          <a:pt x="195" y="96"/>
                        </a:lnTo>
                        <a:lnTo>
                          <a:pt x="217" y="84"/>
                        </a:lnTo>
                        <a:lnTo>
                          <a:pt x="239" y="73"/>
                        </a:lnTo>
                        <a:lnTo>
                          <a:pt x="263" y="63"/>
                        </a:lnTo>
                        <a:lnTo>
                          <a:pt x="287" y="54"/>
                        </a:lnTo>
                        <a:lnTo>
                          <a:pt x="312" y="45"/>
                        </a:lnTo>
                        <a:lnTo>
                          <a:pt x="337" y="36"/>
                        </a:lnTo>
                        <a:lnTo>
                          <a:pt x="364" y="29"/>
                        </a:lnTo>
                        <a:lnTo>
                          <a:pt x="391" y="23"/>
                        </a:lnTo>
                        <a:lnTo>
                          <a:pt x="418" y="17"/>
                        </a:lnTo>
                        <a:lnTo>
                          <a:pt x="446" y="12"/>
                        </a:lnTo>
                        <a:lnTo>
                          <a:pt x="475" y="7"/>
                        </a:lnTo>
                        <a:lnTo>
                          <a:pt x="505" y="5"/>
                        </a:lnTo>
                        <a:lnTo>
                          <a:pt x="535" y="2"/>
                        </a:lnTo>
                        <a:lnTo>
                          <a:pt x="565" y="0"/>
                        </a:lnTo>
                        <a:lnTo>
                          <a:pt x="595" y="0"/>
                        </a:lnTo>
                        <a:lnTo>
                          <a:pt x="627" y="0"/>
                        </a:lnTo>
                        <a:lnTo>
                          <a:pt x="657" y="2"/>
                        </a:lnTo>
                        <a:lnTo>
                          <a:pt x="687" y="5"/>
                        </a:lnTo>
                        <a:lnTo>
                          <a:pt x="716" y="7"/>
                        </a:lnTo>
                        <a:lnTo>
                          <a:pt x="744" y="12"/>
                        </a:lnTo>
                        <a:lnTo>
                          <a:pt x="773" y="17"/>
                        </a:lnTo>
                        <a:lnTo>
                          <a:pt x="800" y="23"/>
                        </a:lnTo>
                        <a:lnTo>
                          <a:pt x="828" y="29"/>
                        </a:lnTo>
                        <a:lnTo>
                          <a:pt x="855" y="36"/>
                        </a:lnTo>
                        <a:lnTo>
                          <a:pt x="880" y="45"/>
                        </a:lnTo>
                        <a:lnTo>
                          <a:pt x="905" y="54"/>
                        </a:lnTo>
                        <a:lnTo>
                          <a:pt x="929" y="63"/>
                        </a:lnTo>
                        <a:lnTo>
                          <a:pt x="953" y="73"/>
                        </a:lnTo>
                        <a:lnTo>
                          <a:pt x="975" y="84"/>
                        </a:lnTo>
                        <a:lnTo>
                          <a:pt x="996" y="96"/>
                        </a:lnTo>
                        <a:lnTo>
                          <a:pt x="1017" y="108"/>
                        </a:lnTo>
                        <a:lnTo>
                          <a:pt x="1037" y="121"/>
                        </a:lnTo>
                        <a:lnTo>
                          <a:pt x="1056" y="134"/>
                        </a:lnTo>
                        <a:lnTo>
                          <a:pt x="1073" y="148"/>
                        </a:lnTo>
                        <a:lnTo>
                          <a:pt x="1090" y="163"/>
                        </a:lnTo>
                        <a:lnTo>
                          <a:pt x="1105" y="177"/>
                        </a:lnTo>
                        <a:lnTo>
                          <a:pt x="1120" y="193"/>
                        </a:lnTo>
                        <a:lnTo>
                          <a:pt x="1133" y="209"/>
                        </a:lnTo>
                        <a:lnTo>
                          <a:pt x="1145" y="225"/>
                        </a:lnTo>
                        <a:lnTo>
                          <a:pt x="1155" y="242"/>
                        </a:lnTo>
                        <a:lnTo>
                          <a:pt x="1165" y="259"/>
                        </a:lnTo>
                        <a:lnTo>
                          <a:pt x="1173" y="276"/>
                        </a:lnTo>
                        <a:lnTo>
                          <a:pt x="1180" y="294"/>
                        </a:lnTo>
                        <a:lnTo>
                          <a:pt x="1185" y="312"/>
                        </a:lnTo>
                        <a:lnTo>
                          <a:pt x="1189" y="331"/>
                        </a:lnTo>
                        <a:lnTo>
                          <a:pt x="1191" y="349"/>
                        </a:lnTo>
                        <a:lnTo>
                          <a:pt x="1192" y="368"/>
                        </a:lnTo>
                        <a:close/>
                      </a:path>
                    </a:pathLst>
                  </a:custGeom>
                  <a:solidFill>
                    <a:srgbClr val="273669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83" name="Freeform 172"/>
                  <p:cNvSpPr>
                    <a:spLocks/>
                  </p:cNvSpPr>
                  <p:nvPr/>
                </p:nvSpPr>
                <p:spPr bwMode="auto">
                  <a:xfrm>
                    <a:off x="3295" y="4059"/>
                    <a:ext cx="85" cy="29"/>
                  </a:xfrm>
                  <a:custGeom>
                    <a:avLst/>
                    <a:gdLst>
                      <a:gd name="T0" fmla="*/ 0 w 593"/>
                      <a:gd name="T1" fmla="*/ 0 h 194"/>
                      <a:gd name="T2" fmla="*/ 0 w 593"/>
                      <a:gd name="T3" fmla="*/ 0 h 194"/>
                      <a:gd name="T4" fmla="*/ 0 w 593"/>
                      <a:gd name="T5" fmla="*/ 0 h 194"/>
                      <a:gd name="T6" fmla="*/ 0 w 593"/>
                      <a:gd name="T7" fmla="*/ 0 h 194"/>
                      <a:gd name="T8" fmla="*/ 0 w 593"/>
                      <a:gd name="T9" fmla="*/ 0 h 194"/>
                      <a:gd name="T10" fmla="*/ 0 w 593"/>
                      <a:gd name="T11" fmla="*/ 0 h 194"/>
                      <a:gd name="T12" fmla="*/ 0 w 593"/>
                      <a:gd name="T13" fmla="*/ 0 h 194"/>
                      <a:gd name="T14" fmla="*/ 0 w 593"/>
                      <a:gd name="T15" fmla="*/ 0 h 194"/>
                      <a:gd name="T16" fmla="*/ 0 w 593"/>
                      <a:gd name="T17" fmla="*/ 0 h 194"/>
                      <a:gd name="T18" fmla="*/ 0 w 593"/>
                      <a:gd name="T19" fmla="*/ 0 h 194"/>
                      <a:gd name="T20" fmla="*/ 0 w 593"/>
                      <a:gd name="T21" fmla="*/ 0 h 194"/>
                      <a:gd name="T22" fmla="*/ 0 w 593"/>
                      <a:gd name="T23" fmla="*/ 0 h 194"/>
                      <a:gd name="T24" fmla="*/ 0 w 593"/>
                      <a:gd name="T25" fmla="*/ 0 h 194"/>
                      <a:gd name="T26" fmla="*/ 0 w 593"/>
                      <a:gd name="T27" fmla="*/ 0 h 194"/>
                      <a:gd name="T28" fmla="*/ 0 w 593"/>
                      <a:gd name="T29" fmla="*/ 0 h 194"/>
                      <a:gd name="T30" fmla="*/ 0 w 593"/>
                      <a:gd name="T31" fmla="*/ 0 h 194"/>
                      <a:gd name="T32" fmla="*/ 0 w 593"/>
                      <a:gd name="T33" fmla="*/ 0 h 194"/>
                      <a:gd name="T34" fmla="*/ 0 w 593"/>
                      <a:gd name="T35" fmla="*/ 0 h 194"/>
                      <a:gd name="T36" fmla="*/ 0 w 593"/>
                      <a:gd name="T37" fmla="*/ 0 h 194"/>
                      <a:gd name="T38" fmla="*/ 0 w 593"/>
                      <a:gd name="T39" fmla="*/ 0 h 194"/>
                      <a:gd name="T40" fmla="*/ 0 w 593"/>
                      <a:gd name="T41" fmla="*/ 0 h 194"/>
                      <a:gd name="T42" fmla="*/ 0 w 593"/>
                      <a:gd name="T43" fmla="*/ 0 h 194"/>
                      <a:gd name="T44" fmla="*/ 0 w 593"/>
                      <a:gd name="T45" fmla="*/ 0 h 194"/>
                      <a:gd name="T46" fmla="*/ 0 w 593"/>
                      <a:gd name="T47" fmla="*/ 0 h 194"/>
                      <a:gd name="T48" fmla="*/ 0 w 593"/>
                      <a:gd name="T49" fmla="*/ 0 h 194"/>
                      <a:gd name="T50" fmla="*/ 0 w 593"/>
                      <a:gd name="T51" fmla="*/ 0 h 194"/>
                      <a:gd name="T52" fmla="*/ 0 w 593"/>
                      <a:gd name="T53" fmla="*/ 0 h 194"/>
                      <a:gd name="T54" fmla="*/ 0 w 593"/>
                      <a:gd name="T55" fmla="*/ 0 h 194"/>
                      <a:gd name="T56" fmla="*/ 0 w 593"/>
                      <a:gd name="T57" fmla="*/ 0 h 194"/>
                      <a:gd name="T58" fmla="*/ 0 w 593"/>
                      <a:gd name="T59" fmla="*/ 0 h 194"/>
                      <a:gd name="T60" fmla="*/ 0 w 593"/>
                      <a:gd name="T61" fmla="*/ 0 h 194"/>
                      <a:gd name="T62" fmla="*/ 0 w 593"/>
                      <a:gd name="T63" fmla="*/ 0 h 194"/>
                      <a:gd name="T64" fmla="*/ 0 w 593"/>
                      <a:gd name="T65" fmla="*/ 0 h 194"/>
                      <a:gd name="T66" fmla="*/ 0 w 593"/>
                      <a:gd name="T67" fmla="*/ 0 h 194"/>
                      <a:gd name="T68" fmla="*/ 0 w 593"/>
                      <a:gd name="T69" fmla="*/ 0 h 194"/>
                      <a:gd name="T70" fmla="*/ 0 w 593"/>
                      <a:gd name="T71" fmla="*/ 0 h 194"/>
                      <a:gd name="T72" fmla="*/ 0 w 593"/>
                      <a:gd name="T73" fmla="*/ 0 h 194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w 593"/>
                      <a:gd name="T112" fmla="*/ 0 h 194"/>
                      <a:gd name="T113" fmla="*/ 593 w 593"/>
                      <a:gd name="T114" fmla="*/ 194 h 194"/>
                    </a:gdLst>
                    <a:ahLst/>
                    <a:cxnLst>
                      <a:cxn ang="T74">
                        <a:pos x="T0" y="T1"/>
                      </a:cxn>
                      <a:cxn ang="T75">
                        <a:pos x="T2" y="T3"/>
                      </a:cxn>
                      <a:cxn ang="T76">
                        <a:pos x="T4" y="T5"/>
                      </a:cxn>
                      <a:cxn ang="T77">
                        <a:pos x="T6" y="T7"/>
                      </a:cxn>
                      <a:cxn ang="T78">
                        <a:pos x="T8" y="T9"/>
                      </a:cxn>
                      <a:cxn ang="T79">
                        <a:pos x="T10" y="T11"/>
                      </a:cxn>
                      <a:cxn ang="T80">
                        <a:pos x="T12" y="T13"/>
                      </a:cxn>
                      <a:cxn ang="T81">
                        <a:pos x="T14" y="T15"/>
                      </a:cxn>
                      <a:cxn ang="T82">
                        <a:pos x="T16" y="T17"/>
                      </a:cxn>
                      <a:cxn ang="T83">
                        <a:pos x="T18" y="T19"/>
                      </a:cxn>
                      <a:cxn ang="T84">
                        <a:pos x="T20" y="T21"/>
                      </a:cxn>
                      <a:cxn ang="T85">
                        <a:pos x="T22" y="T23"/>
                      </a:cxn>
                      <a:cxn ang="T86">
                        <a:pos x="T24" y="T25"/>
                      </a:cxn>
                      <a:cxn ang="T87">
                        <a:pos x="T26" y="T27"/>
                      </a:cxn>
                      <a:cxn ang="T88">
                        <a:pos x="T28" y="T29"/>
                      </a:cxn>
                      <a:cxn ang="T89">
                        <a:pos x="T30" y="T31"/>
                      </a:cxn>
                      <a:cxn ang="T90">
                        <a:pos x="T32" y="T33"/>
                      </a:cxn>
                      <a:cxn ang="T91">
                        <a:pos x="T34" y="T35"/>
                      </a:cxn>
                      <a:cxn ang="T92">
                        <a:pos x="T36" y="T37"/>
                      </a:cxn>
                      <a:cxn ang="T93">
                        <a:pos x="T38" y="T39"/>
                      </a:cxn>
                      <a:cxn ang="T94">
                        <a:pos x="T40" y="T41"/>
                      </a:cxn>
                      <a:cxn ang="T95">
                        <a:pos x="T42" y="T43"/>
                      </a:cxn>
                      <a:cxn ang="T96">
                        <a:pos x="T44" y="T45"/>
                      </a:cxn>
                      <a:cxn ang="T97">
                        <a:pos x="T46" y="T47"/>
                      </a:cxn>
                      <a:cxn ang="T98">
                        <a:pos x="T48" y="T49"/>
                      </a:cxn>
                      <a:cxn ang="T99">
                        <a:pos x="T50" y="T51"/>
                      </a:cxn>
                      <a:cxn ang="T100">
                        <a:pos x="T52" y="T53"/>
                      </a:cxn>
                      <a:cxn ang="T101">
                        <a:pos x="T54" y="T55"/>
                      </a:cxn>
                      <a:cxn ang="T102">
                        <a:pos x="T56" y="T57"/>
                      </a:cxn>
                      <a:cxn ang="T103">
                        <a:pos x="T58" y="T59"/>
                      </a:cxn>
                      <a:cxn ang="T104">
                        <a:pos x="T60" y="T61"/>
                      </a:cxn>
                      <a:cxn ang="T105">
                        <a:pos x="T62" y="T63"/>
                      </a:cxn>
                      <a:cxn ang="T106">
                        <a:pos x="T64" y="T65"/>
                      </a:cxn>
                      <a:cxn ang="T107">
                        <a:pos x="T66" y="T67"/>
                      </a:cxn>
                      <a:cxn ang="T108">
                        <a:pos x="T68" y="T69"/>
                      </a:cxn>
                      <a:cxn ang="T109">
                        <a:pos x="T70" y="T71"/>
                      </a:cxn>
                      <a:cxn ang="T110">
                        <a:pos x="T72" y="T73"/>
                      </a:cxn>
                    </a:cxnLst>
                    <a:rect l="T111" t="T112" r="T113" b="T114"/>
                    <a:pathLst>
                      <a:path w="593" h="194">
                        <a:moveTo>
                          <a:pt x="593" y="98"/>
                        </a:moveTo>
                        <a:lnTo>
                          <a:pt x="593" y="102"/>
                        </a:lnTo>
                        <a:lnTo>
                          <a:pt x="592" y="108"/>
                        </a:lnTo>
                        <a:lnTo>
                          <a:pt x="590" y="112"/>
                        </a:lnTo>
                        <a:lnTo>
                          <a:pt x="588" y="117"/>
                        </a:lnTo>
                        <a:lnTo>
                          <a:pt x="580" y="127"/>
                        </a:lnTo>
                        <a:lnTo>
                          <a:pt x="570" y="136"/>
                        </a:lnTo>
                        <a:lnTo>
                          <a:pt x="558" y="143"/>
                        </a:lnTo>
                        <a:lnTo>
                          <a:pt x="543" y="152"/>
                        </a:lnTo>
                        <a:lnTo>
                          <a:pt x="525" y="159"/>
                        </a:lnTo>
                        <a:lnTo>
                          <a:pt x="506" y="167"/>
                        </a:lnTo>
                        <a:lnTo>
                          <a:pt x="485" y="172"/>
                        </a:lnTo>
                        <a:lnTo>
                          <a:pt x="463" y="178"/>
                        </a:lnTo>
                        <a:lnTo>
                          <a:pt x="438" y="183"/>
                        </a:lnTo>
                        <a:lnTo>
                          <a:pt x="412" y="187"/>
                        </a:lnTo>
                        <a:lnTo>
                          <a:pt x="385" y="190"/>
                        </a:lnTo>
                        <a:lnTo>
                          <a:pt x="356" y="192"/>
                        </a:lnTo>
                        <a:lnTo>
                          <a:pt x="327" y="194"/>
                        </a:lnTo>
                        <a:lnTo>
                          <a:pt x="297" y="194"/>
                        </a:lnTo>
                        <a:lnTo>
                          <a:pt x="266" y="194"/>
                        </a:lnTo>
                        <a:lnTo>
                          <a:pt x="237" y="192"/>
                        </a:lnTo>
                        <a:lnTo>
                          <a:pt x="208" y="190"/>
                        </a:lnTo>
                        <a:lnTo>
                          <a:pt x="181" y="187"/>
                        </a:lnTo>
                        <a:lnTo>
                          <a:pt x="156" y="183"/>
                        </a:lnTo>
                        <a:lnTo>
                          <a:pt x="131" y="178"/>
                        </a:lnTo>
                        <a:lnTo>
                          <a:pt x="108" y="172"/>
                        </a:lnTo>
                        <a:lnTo>
                          <a:pt x="87" y="167"/>
                        </a:lnTo>
                        <a:lnTo>
                          <a:pt x="68" y="159"/>
                        </a:lnTo>
                        <a:lnTo>
                          <a:pt x="51" y="152"/>
                        </a:lnTo>
                        <a:lnTo>
                          <a:pt x="36" y="143"/>
                        </a:lnTo>
                        <a:lnTo>
                          <a:pt x="23" y="136"/>
                        </a:lnTo>
                        <a:lnTo>
                          <a:pt x="18" y="131"/>
                        </a:lnTo>
                        <a:lnTo>
                          <a:pt x="13" y="127"/>
                        </a:lnTo>
                        <a:lnTo>
                          <a:pt x="9" y="122"/>
                        </a:lnTo>
                        <a:lnTo>
                          <a:pt x="5" y="117"/>
                        </a:lnTo>
                        <a:lnTo>
                          <a:pt x="3" y="112"/>
                        </a:lnTo>
                        <a:lnTo>
                          <a:pt x="1" y="108"/>
                        </a:lnTo>
                        <a:lnTo>
                          <a:pt x="0" y="102"/>
                        </a:lnTo>
                        <a:lnTo>
                          <a:pt x="0" y="98"/>
                        </a:lnTo>
                        <a:lnTo>
                          <a:pt x="0" y="92"/>
                        </a:lnTo>
                        <a:lnTo>
                          <a:pt x="1" y="88"/>
                        </a:lnTo>
                        <a:lnTo>
                          <a:pt x="3" y="82"/>
                        </a:lnTo>
                        <a:lnTo>
                          <a:pt x="5" y="78"/>
                        </a:lnTo>
                        <a:lnTo>
                          <a:pt x="13" y="69"/>
                        </a:lnTo>
                        <a:lnTo>
                          <a:pt x="23" y="60"/>
                        </a:lnTo>
                        <a:lnTo>
                          <a:pt x="36" y="51"/>
                        </a:lnTo>
                        <a:lnTo>
                          <a:pt x="51" y="43"/>
                        </a:lnTo>
                        <a:lnTo>
                          <a:pt x="68" y="35"/>
                        </a:lnTo>
                        <a:lnTo>
                          <a:pt x="87" y="29"/>
                        </a:lnTo>
                        <a:lnTo>
                          <a:pt x="108" y="22"/>
                        </a:lnTo>
                        <a:lnTo>
                          <a:pt x="131" y="16"/>
                        </a:lnTo>
                        <a:lnTo>
                          <a:pt x="156" y="12"/>
                        </a:lnTo>
                        <a:lnTo>
                          <a:pt x="181" y="8"/>
                        </a:lnTo>
                        <a:lnTo>
                          <a:pt x="208" y="4"/>
                        </a:lnTo>
                        <a:lnTo>
                          <a:pt x="237" y="2"/>
                        </a:lnTo>
                        <a:lnTo>
                          <a:pt x="266" y="1"/>
                        </a:lnTo>
                        <a:lnTo>
                          <a:pt x="297" y="0"/>
                        </a:lnTo>
                        <a:lnTo>
                          <a:pt x="327" y="1"/>
                        </a:lnTo>
                        <a:lnTo>
                          <a:pt x="356" y="2"/>
                        </a:lnTo>
                        <a:lnTo>
                          <a:pt x="385" y="4"/>
                        </a:lnTo>
                        <a:lnTo>
                          <a:pt x="412" y="8"/>
                        </a:lnTo>
                        <a:lnTo>
                          <a:pt x="438" y="12"/>
                        </a:lnTo>
                        <a:lnTo>
                          <a:pt x="463" y="16"/>
                        </a:lnTo>
                        <a:lnTo>
                          <a:pt x="485" y="22"/>
                        </a:lnTo>
                        <a:lnTo>
                          <a:pt x="506" y="29"/>
                        </a:lnTo>
                        <a:lnTo>
                          <a:pt x="525" y="35"/>
                        </a:lnTo>
                        <a:lnTo>
                          <a:pt x="543" y="43"/>
                        </a:lnTo>
                        <a:lnTo>
                          <a:pt x="558" y="51"/>
                        </a:lnTo>
                        <a:lnTo>
                          <a:pt x="570" y="60"/>
                        </a:lnTo>
                        <a:lnTo>
                          <a:pt x="580" y="69"/>
                        </a:lnTo>
                        <a:lnTo>
                          <a:pt x="588" y="78"/>
                        </a:lnTo>
                        <a:lnTo>
                          <a:pt x="590" y="82"/>
                        </a:lnTo>
                        <a:lnTo>
                          <a:pt x="592" y="88"/>
                        </a:lnTo>
                        <a:lnTo>
                          <a:pt x="593" y="92"/>
                        </a:lnTo>
                        <a:lnTo>
                          <a:pt x="593" y="98"/>
                        </a:lnTo>
                        <a:close/>
                      </a:path>
                    </a:pathLst>
                  </a:custGeom>
                  <a:solidFill>
                    <a:srgbClr val="2E5592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84" name="Freeform 173"/>
                  <p:cNvSpPr>
                    <a:spLocks/>
                  </p:cNvSpPr>
                  <p:nvPr/>
                </p:nvSpPr>
                <p:spPr bwMode="auto">
                  <a:xfrm>
                    <a:off x="3255" y="4078"/>
                    <a:ext cx="169" cy="86"/>
                  </a:xfrm>
                  <a:custGeom>
                    <a:avLst/>
                    <a:gdLst>
                      <a:gd name="T0" fmla="*/ 0 w 1184"/>
                      <a:gd name="T1" fmla="*/ 0 h 605"/>
                      <a:gd name="T2" fmla="*/ 0 w 1184"/>
                      <a:gd name="T3" fmla="*/ 0 h 605"/>
                      <a:gd name="T4" fmla="*/ 0 w 1184"/>
                      <a:gd name="T5" fmla="*/ 0 h 605"/>
                      <a:gd name="T6" fmla="*/ 0 w 1184"/>
                      <a:gd name="T7" fmla="*/ 0 h 605"/>
                      <a:gd name="T8" fmla="*/ 0 w 1184"/>
                      <a:gd name="T9" fmla="*/ 0 h 605"/>
                      <a:gd name="T10" fmla="*/ 0 w 1184"/>
                      <a:gd name="T11" fmla="*/ 0 h 605"/>
                      <a:gd name="T12" fmla="*/ 0 w 1184"/>
                      <a:gd name="T13" fmla="*/ 0 h 605"/>
                      <a:gd name="T14" fmla="*/ 0 w 1184"/>
                      <a:gd name="T15" fmla="*/ 0 h 605"/>
                      <a:gd name="T16" fmla="*/ 0 w 1184"/>
                      <a:gd name="T17" fmla="*/ 0 h 605"/>
                      <a:gd name="T18" fmla="*/ 0 w 1184"/>
                      <a:gd name="T19" fmla="*/ 0 h 605"/>
                      <a:gd name="T20" fmla="*/ 0 w 1184"/>
                      <a:gd name="T21" fmla="*/ 0 h 605"/>
                      <a:gd name="T22" fmla="*/ 0 w 1184"/>
                      <a:gd name="T23" fmla="*/ 0 h 605"/>
                      <a:gd name="T24" fmla="*/ 0 w 1184"/>
                      <a:gd name="T25" fmla="*/ 0 h 605"/>
                      <a:gd name="T26" fmla="*/ 0 w 1184"/>
                      <a:gd name="T27" fmla="*/ 0 h 605"/>
                      <a:gd name="T28" fmla="*/ 0 w 1184"/>
                      <a:gd name="T29" fmla="*/ 0 h 605"/>
                      <a:gd name="T30" fmla="*/ 0 w 1184"/>
                      <a:gd name="T31" fmla="*/ 0 h 605"/>
                      <a:gd name="T32" fmla="*/ 0 w 1184"/>
                      <a:gd name="T33" fmla="*/ 0 h 605"/>
                      <a:gd name="T34" fmla="*/ 0 w 1184"/>
                      <a:gd name="T35" fmla="*/ 0 h 605"/>
                      <a:gd name="T36" fmla="*/ 0 w 1184"/>
                      <a:gd name="T37" fmla="*/ 0 h 605"/>
                      <a:gd name="T38" fmla="*/ 0 w 1184"/>
                      <a:gd name="T39" fmla="*/ 0 h 605"/>
                      <a:gd name="T40" fmla="*/ 0 w 1184"/>
                      <a:gd name="T41" fmla="*/ 0 h 605"/>
                      <a:gd name="T42" fmla="*/ 0 w 1184"/>
                      <a:gd name="T43" fmla="*/ 0 h 605"/>
                      <a:gd name="T44" fmla="*/ 0 w 1184"/>
                      <a:gd name="T45" fmla="*/ 0 h 605"/>
                      <a:gd name="T46" fmla="*/ 0 w 1184"/>
                      <a:gd name="T47" fmla="*/ 0 h 605"/>
                      <a:gd name="T48" fmla="*/ 0 w 1184"/>
                      <a:gd name="T49" fmla="*/ 0 h 605"/>
                      <a:gd name="T50" fmla="*/ 0 w 1184"/>
                      <a:gd name="T51" fmla="*/ 0 h 605"/>
                      <a:gd name="T52" fmla="*/ 0 w 1184"/>
                      <a:gd name="T53" fmla="*/ 0 h 605"/>
                      <a:gd name="T54" fmla="*/ 0 w 1184"/>
                      <a:gd name="T55" fmla="*/ 0 h 605"/>
                      <a:gd name="T56" fmla="*/ 0 w 1184"/>
                      <a:gd name="T57" fmla="*/ 0 h 605"/>
                      <a:gd name="T58" fmla="*/ 0 w 1184"/>
                      <a:gd name="T59" fmla="*/ 0 h 605"/>
                      <a:gd name="T60" fmla="*/ 0 w 1184"/>
                      <a:gd name="T61" fmla="*/ 0 h 605"/>
                      <a:gd name="T62" fmla="*/ 0 w 1184"/>
                      <a:gd name="T63" fmla="*/ 0 h 605"/>
                      <a:gd name="T64" fmla="*/ 0 w 1184"/>
                      <a:gd name="T65" fmla="*/ 0 h 605"/>
                      <a:gd name="T66" fmla="*/ 0 w 1184"/>
                      <a:gd name="T67" fmla="*/ 0 h 605"/>
                      <a:gd name="T68" fmla="*/ 0 w 1184"/>
                      <a:gd name="T69" fmla="*/ 0 h 605"/>
                      <a:gd name="T70" fmla="*/ 0 w 1184"/>
                      <a:gd name="T71" fmla="*/ 0 h 605"/>
                      <a:gd name="T72" fmla="*/ 0 w 1184"/>
                      <a:gd name="T73" fmla="*/ 0 h 605"/>
                      <a:gd name="T74" fmla="*/ 0 w 1184"/>
                      <a:gd name="T75" fmla="*/ 0 h 605"/>
                      <a:gd name="T76" fmla="*/ 0 w 1184"/>
                      <a:gd name="T77" fmla="*/ 0 h 605"/>
                      <a:gd name="T78" fmla="*/ 0 w 1184"/>
                      <a:gd name="T79" fmla="*/ 0 h 605"/>
                      <a:gd name="T80" fmla="*/ 0 w 1184"/>
                      <a:gd name="T81" fmla="*/ 0 h 605"/>
                      <a:gd name="T82" fmla="*/ 0 w 1184"/>
                      <a:gd name="T83" fmla="*/ 0 h 605"/>
                      <a:gd name="T84" fmla="*/ 0 w 1184"/>
                      <a:gd name="T85" fmla="*/ 0 h 605"/>
                      <a:gd name="T86" fmla="*/ 0 w 1184"/>
                      <a:gd name="T87" fmla="*/ 0 h 605"/>
                      <a:gd name="T88" fmla="*/ 0 w 1184"/>
                      <a:gd name="T89" fmla="*/ 0 h 605"/>
                      <a:gd name="T90" fmla="*/ 0 w 1184"/>
                      <a:gd name="T91" fmla="*/ 0 h 605"/>
                      <a:gd name="T92" fmla="*/ 0 w 1184"/>
                      <a:gd name="T93" fmla="*/ 0 h 605"/>
                      <a:gd name="T94" fmla="*/ 0 w 1184"/>
                      <a:gd name="T95" fmla="*/ 0 h 605"/>
                      <a:gd name="T96" fmla="*/ 0 w 1184"/>
                      <a:gd name="T97" fmla="*/ 0 h 605"/>
                      <a:gd name="T98" fmla="*/ 0 w 1184"/>
                      <a:gd name="T99" fmla="*/ 0 h 605"/>
                      <a:gd name="T100" fmla="*/ 0 w 1184"/>
                      <a:gd name="T101" fmla="*/ 0 h 605"/>
                      <a:gd name="T102" fmla="*/ 0 w 1184"/>
                      <a:gd name="T103" fmla="*/ 0 h 605"/>
                      <a:gd name="T104" fmla="*/ 0 w 1184"/>
                      <a:gd name="T105" fmla="*/ 0 h 605"/>
                      <a:gd name="T106" fmla="*/ 0 w 1184"/>
                      <a:gd name="T107" fmla="*/ 0 h 605"/>
                      <a:gd name="T108" fmla="*/ 0 w 1184"/>
                      <a:gd name="T109" fmla="*/ 0 h 605"/>
                      <a:gd name="T110" fmla="*/ 0 w 1184"/>
                      <a:gd name="T111" fmla="*/ 0 h 605"/>
                      <a:gd name="T112" fmla="*/ 0 w 1184"/>
                      <a:gd name="T113" fmla="*/ 0 h 605"/>
                      <a:gd name="T114" fmla="*/ 0 w 1184"/>
                      <a:gd name="T115" fmla="*/ 0 h 605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w 1184"/>
                      <a:gd name="T175" fmla="*/ 0 h 605"/>
                      <a:gd name="T176" fmla="*/ 1184 w 1184"/>
                      <a:gd name="T177" fmla="*/ 605 h 605"/>
                    </a:gdLst>
                    <a:ahLst/>
                    <a:cxnLst>
                      <a:cxn ang="T116">
                        <a:pos x="T0" y="T1"/>
                      </a:cxn>
                      <a:cxn ang="T117">
                        <a:pos x="T2" y="T3"/>
                      </a:cxn>
                      <a:cxn ang="T118">
                        <a:pos x="T4" y="T5"/>
                      </a:cxn>
                      <a:cxn ang="T119">
                        <a:pos x="T6" y="T7"/>
                      </a:cxn>
                      <a:cxn ang="T120">
                        <a:pos x="T8" y="T9"/>
                      </a:cxn>
                      <a:cxn ang="T121">
                        <a:pos x="T10" y="T11"/>
                      </a:cxn>
                      <a:cxn ang="T122">
                        <a:pos x="T12" y="T13"/>
                      </a:cxn>
                      <a:cxn ang="T123">
                        <a:pos x="T14" y="T15"/>
                      </a:cxn>
                      <a:cxn ang="T124">
                        <a:pos x="T16" y="T17"/>
                      </a:cxn>
                      <a:cxn ang="T125">
                        <a:pos x="T18" y="T19"/>
                      </a:cxn>
                      <a:cxn ang="T126">
                        <a:pos x="T20" y="T21"/>
                      </a:cxn>
                      <a:cxn ang="T127">
                        <a:pos x="T22" y="T23"/>
                      </a:cxn>
                      <a:cxn ang="T128">
                        <a:pos x="T24" y="T25"/>
                      </a:cxn>
                      <a:cxn ang="T129">
                        <a:pos x="T26" y="T27"/>
                      </a:cxn>
                      <a:cxn ang="T130">
                        <a:pos x="T28" y="T29"/>
                      </a:cxn>
                      <a:cxn ang="T131">
                        <a:pos x="T30" y="T31"/>
                      </a:cxn>
                      <a:cxn ang="T132">
                        <a:pos x="T32" y="T33"/>
                      </a:cxn>
                      <a:cxn ang="T133">
                        <a:pos x="T34" y="T35"/>
                      </a:cxn>
                      <a:cxn ang="T134">
                        <a:pos x="T36" y="T37"/>
                      </a:cxn>
                      <a:cxn ang="T135">
                        <a:pos x="T38" y="T39"/>
                      </a:cxn>
                      <a:cxn ang="T136">
                        <a:pos x="T40" y="T41"/>
                      </a:cxn>
                      <a:cxn ang="T137">
                        <a:pos x="T42" y="T43"/>
                      </a:cxn>
                      <a:cxn ang="T138">
                        <a:pos x="T44" y="T45"/>
                      </a:cxn>
                      <a:cxn ang="T139">
                        <a:pos x="T46" y="T47"/>
                      </a:cxn>
                      <a:cxn ang="T140">
                        <a:pos x="T48" y="T49"/>
                      </a:cxn>
                      <a:cxn ang="T141">
                        <a:pos x="T50" y="T51"/>
                      </a:cxn>
                      <a:cxn ang="T142">
                        <a:pos x="T52" y="T53"/>
                      </a:cxn>
                      <a:cxn ang="T143">
                        <a:pos x="T54" y="T55"/>
                      </a:cxn>
                      <a:cxn ang="T144">
                        <a:pos x="T56" y="T57"/>
                      </a:cxn>
                      <a:cxn ang="T145">
                        <a:pos x="T58" y="T59"/>
                      </a:cxn>
                      <a:cxn ang="T146">
                        <a:pos x="T60" y="T61"/>
                      </a:cxn>
                      <a:cxn ang="T147">
                        <a:pos x="T62" y="T63"/>
                      </a:cxn>
                      <a:cxn ang="T148">
                        <a:pos x="T64" y="T65"/>
                      </a:cxn>
                      <a:cxn ang="T149">
                        <a:pos x="T66" y="T67"/>
                      </a:cxn>
                      <a:cxn ang="T150">
                        <a:pos x="T68" y="T69"/>
                      </a:cxn>
                      <a:cxn ang="T151">
                        <a:pos x="T70" y="T71"/>
                      </a:cxn>
                      <a:cxn ang="T152">
                        <a:pos x="T72" y="T73"/>
                      </a:cxn>
                      <a:cxn ang="T153">
                        <a:pos x="T74" y="T75"/>
                      </a:cxn>
                      <a:cxn ang="T154">
                        <a:pos x="T76" y="T77"/>
                      </a:cxn>
                      <a:cxn ang="T155">
                        <a:pos x="T78" y="T79"/>
                      </a:cxn>
                      <a:cxn ang="T156">
                        <a:pos x="T80" y="T81"/>
                      </a:cxn>
                      <a:cxn ang="T157">
                        <a:pos x="T82" y="T83"/>
                      </a:cxn>
                      <a:cxn ang="T158">
                        <a:pos x="T84" y="T85"/>
                      </a:cxn>
                      <a:cxn ang="T159">
                        <a:pos x="T86" y="T87"/>
                      </a:cxn>
                      <a:cxn ang="T160">
                        <a:pos x="T88" y="T89"/>
                      </a:cxn>
                      <a:cxn ang="T161">
                        <a:pos x="T90" y="T91"/>
                      </a:cxn>
                      <a:cxn ang="T162">
                        <a:pos x="T92" y="T93"/>
                      </a:cxn>
                      <a:cxn ang="T163">
                        <a:pos x="T94" y="T95"/>
                      </a:cxn>
                      <a:cxn ang="T164">
                        <a:pos x="T96" y="T97"/>
                      </a:cxn>
                      <a:cxn ang="T165">
                        <a:pos x="T98" y="T99"/>
                      </a:cxn>
                      <a:cxn ang="T166">
                        <a:pos x="T100" y="T101"/>
                      </a:cxn>
                      <a:cxn ang="T167">
                        <a:pos x="T102" y="T103"/>
                      </a:cxn>
                      <a:cxn ang="T168">
                        <a:pos x="T104" y="T105"/>
                      </a:cxn>
                      <a:cxn ang="T169">
                        <a:pos x="T106" y="T107"/>
                      </a:cxn>
                      <a:cxn ang="T170">
                        <a:pos x="T108" y="T109"/>
                      </a:cxn>
                      <a:cxn ang="T171">
                        <a:pos x="T110" y="T111"/>
                      </a:cxn>
                      <a:cxn ang="T172">
                        <a:pos x="T112" y="T113"/>
                      </a:cxn>
                      <a:cxn ang="T173">
                        <a:pos x="T114" y="T115"/>
                      </a:cxn>
                    </a:cxnLst>
                    <a:rect l="T174" t="T175" r="T176" b="T177"/>
                    <a:pathLst>
                      <a:path w="1184" h="605">
                        <a:moveTo>
                          <a:pt x="1079" y="0"/>
                        </a:moveTo>
                        <a:lnTo>
                          <a:pt x="1086" y="20"/>
                        </a:lnTo>
                        <a:lnTo>
                          <a:pt x="1092" y="40"/>
                        </a:lnTo>
                        <a:lnTo>
                          <a:pt x="1096" y="57"/>
                        </a:lnTo>
                        <a:lnTo>
                          <a:pt x="1098" y="75"/>
                        </a:lnTo>
                        <a:lnTo>
                          <a:pt x="1099" y="92"/>
                        </a:lnTo>
                        <a:lnTo>
                          <a:pt x="1099" y="106"/>
                        </a:lnTo>
                        <a:lnTo>
                          <a:pt x="1097" y="121"/>
                        </a:lnTo>
                        <a:lnTo>
                          <a:pt x="1095" y="134"/>
                        </a:lnTo>
                        <a:lnTo>
                          <a:pt x="1090" y="148"/>
                        </a:lnTo>
                        <a:lnTo>
                          <a:pt x="1085" y="159"/>
                        </a:lnTo>
                        <a:lnTo>
                          <a:pt x="1078" y="170"/>
                        </a:lnTo>
                        <a:lnTo>
                          <a:pt x="1071" y="181"/>
                        </a:lnTo>
                        <a:lnTo>
                          <a:pt x="1063" y="191"/>
                        </a:lnTo>
                        <a:lnTo>
                          <a:pt x="1054" y="200"/>
                        </a:lnTo>
                        <a:lnTo>
                          <a:pt x="1044" y="209"/>
                        </a:lnTo>
                        <a:lnTo>
                          <a:pt x="1033" y="217"/>
                        </a:lnTo>
                        <a:lnTo>
                          <a:pt x="1020" y="224"/>
                        </a:lnTo>
                        <a:lnTo>
                          <a:pt x="1008" y="231"/>
                        </a:lnTo>
                        <a:lnTo>
                          <a:pt x="995" y="239"/>
                        </a:lnTo>
                        <a:lnTo>
                          <a:pt x="981" y="246"/>
                        </a:lnTo>
                        <a:lnTo>
                          <a:pt x="952" y="258"/>
                        </a:lnTo>
                        <a:lnTo>
                          <a:pt x="921" y="269"/>
                        </a:lnTo>
                        <a:lnTo>
                          <a:pt x="857" y="292"/>
                        </a:lnTo>
                        <a:lnTo>
                          <a:pt x="790" y="316"/>
                        </a:lnTo>
                        <a:lnTo>
                          <a:pt x="770" y="323"/>
                        </a:lnTo>
                        <a:lnTo>
                          <a:pt x="749" y="330"/>
                        </a:lnTo>
                        <a:lnTo>
                          <a:pt x="728" y="337"/>
                        </a:lnTo>
                        <a:lnTo>
                          <a:pt x="705" y="342"/>
                        </a:lnTo>
                        <a:lnTo>
                          <a:pt x="659" y="353"/>
                        </a:lnTo>
                        <a:lnTo>
                          <a:pt x="608" y="362"/>
                        </a:lnTo>
                        <a:lnTo>
                          <a:pt x="557" y="369"/>
                        </a:lnTo>
                        <a:lnTo>
                          <a:pt x="505" y="375"/>
                        </a:lnTo>
                        <a:lnTo>
                          <a:pt x="450" y="379"/>
                        </a:lnTo>
                        <a:lnTo>
                          <a:pt x="397" y="381"/>
                        </a:lnTo>
                        <a:lnTo>
                          <a:pt x="342" y="382"/>
                        </a:lnTo>
                        <a:lnTo>
                          <a:pt x="288" y="382"/>
                        </a:lnTo>
                        <a:lnTo>
                          <a:pt x="236" y="381"/>
                        </a:lnTo>
                        <a:lnTo>
                          <a:pt x="183" y="379"/>
                        </a:lnTo>
                        <a:lnTo>
                          <a:pt x="133" y="376"/>
                        </a:lnTo>
                        <a:lnTo>
                          <a:pt x="86" y="370"/>
                        </a:lnTo>
                        <a:lnTo>
                          <a:pt x="42" y="366"/>
                        </a:lnTo>
                        <a:lnTo>
                          <a:pt x="0" y="359"/>
                        </a:lnTo>
                        <a:lnTo>
                          <a:pt x="3" y="372"/>
                        </a:lnTo>
                        <a:lnTo>
                          <a:pt x="6" y="386"/>
                        </a:lnTo>
                        <a:lnTo>
                          <a:pt x="10" y="398"/>
                        </a:lnTo>
                        <a:lnTo>
                          <a:pt x="15" y="410"/>
                        </a:lnTo>
                        <a:lnTo>
                          <a:pt x="20" y="422"/>
                        </a:lnTo>
                        <a:lnTo>
                          <a:pt x="26" y="435"/>
                        </a:lnTo>
                        <a:lnTo>
                          <a:pt x="33" y="447"/>
                        </a:lnTo>
                        <a:lnTo>
                          <a:pt x="41" y="458"/>
                        </a:lnTo>
                        <a:lnTo>
                          <a:pt x="49" y="469"/>
                        </a:lnTo>
                        <a:lnTo>
                          <a:pt x="58" y="479"/>
                        </a:lnTo>
                        <a:lnTo>
                          <a:pt x="69" y="490"/>
                        </a:lnTo>
                        <a:lnTo>
                          <a:pt x="80" y="500"/>
                        </a:lnTo>
                        <a:lnTo>
                          <a:pt x="92" y="509"/>
                        </a:lnTo>
                        <a:lnTo>
                          <a:pt x="105" y="518"/>
                        </a:lnTo>
                        <a:lnTo>
                          <a:pt x="120" y="527"/>
                        </a:lnTo>
                        <a:lnTo>
                          <a:pt x="135" y="536"/>
                        </a:lnTo>
                        <a:lnTo>
                          <a:pt x="153" y="544"/>
                        </a:lnTo>
                        <a:lnTo>
                          <a:pt x="171" y="552"/>
                        </a:lnTo>
                        <a:lnTo>
                          <a:pt x="191" y="558"/>
                        </a:lnTo>
                        <a:lnTo>
                          <a:pt x="212" y="565"/>
                        </a:lnTo>
                        <a:lnTo>
                          <a:pt x="235" y="572"/>
                        </a:lnTo>
                        <a:lnTo>
                          <a:pt x="258" y="577"/>
                        </a:lnTo>
                        <a:lnTo>
                          <a:pt x="283" y="583"/>
                        </a:lnTo>
                        <a:lnTo>
                          <a:pt x="310" y="587"/>
                        </a:lnTo>
                        <a:lnTo>
                          <a:pt x="339" y="592"/>
                        </a:lnTo>
                        <a:lnTo>
                          <a:pt x="369" y="595"/>
                        </a:lnTo>
                        <a:lnTo>
                          <a:pt x="401" y="598"/>
                        </a:lnTo>
                        <a:lnTo>
                          <a:pt x="435" y="601"/>
                        </a:lnTo>
                        <a:lnTo>
                          <a:pt x="470" y="603"/>
                        </a:lnTo>
                        <a:lnTo>
                          <a:pt x="507" y="604"/>
                        </a:lnTo>
                        <a:lnTo>
                          <a:pt x="546" y="605"/>
                        </a:lnTo>
                        <a:lnTo>
                          <a:pt x="587" y="605"/>
                        </a:lnTo>
                        <a:lnTo>
                          <a:pt x="634" y="605"/>
                        </a:lnTo>
                        <a:lnTo>
                          <a:pt x="679" y="603"/>
                        </a:lnTo>
                        <a:lnTo>
                          <a:pt x="721" y="601"/>
                        </a:lnTo>
                        <a:lnTo>
                          <a:pt x="760" y="597"/>
                        </a:lnTo>
                        <a:lnTo>
                          <a:pt x="798" y="594"/>
                        </a:lnTo>
                        <a:lnTo>
                          <a:pt x="832" y="588"/>
                        </a:lnTo>
                        <a:lnTo>
                          <a:pt x="866" y="583"/>
                        </a:lnTo>
                        <a:lnTo>
                          <a:pt x="897" y="576"/>
                        </a:lnTo>
                        <a:lnTo>
                          <a:pt x="926" y="569"/>
                        </a:lnTo>
                        <a:lnTo>
                          <a:pt x="952" y="560"/>
                        </a:lnTo>
                        <a:lnTo>
                          <a:pt x="977" y="552"/>
                        </a:lnTo>
                        <a:lnTo>
                          <a:pt x="1000" y="543"/>
                        </a:lnTo>
                        <a:lnTo>
                          <a:pt x="1023" y="533"/>
                        </a:lnTo>
                        <a:lnTo>
                          <a:pt x="1043" y="522"/>
                        </a:lnTo>
                        <a:lnTo>
                          <a:pt x="1060" y="509"/>
                        </a:lnTo>
                        <a:lnTo>
                          <a:pt x="1077" y="497"/>
                        </a:lnTo>
                        <a:lnTo>
                          <a:pt x="1093" y="485"/>
                        </a:lnTo>
                        <a:lnTo>
                          <a:pt x="1106" y="471"/>
                        </a:lnTo>
                        <a:lnTo>
                          <a:pt x="1118" y="457"/>
                        </a:lnTo>
                        <a:lnTo>
                          <a:pt x="1129" y="443"/>
                        </a:lnTo>
                        <a:lnTo>
                          <a:pt x="1139" y="428"/>
                        </a:lnTo>
                        <a:lnTo>
                          <a:pt x="1148" y="412"/>
                        </a:lnTo>
                        <a:lnTo>
                          <a:pt x="1156" y="397"/>
                        </a:lnTo>
                        <a:lnTo>
                          <a:pt x="1163" y="380"/>
                        </a:lnTo>
                        <a:lnTo>
                          <a:pt x="1168" y="364"/>
                        </a:lnTo>
                        <a:lnTo>
                          <a:pt x="1173" y="347"/>
                        </a:lnTo>
                        <a:lnTo>
                          <a:pt x="1176" y="329"/>
                        </a:lnTo>
                        <a:lnTo>
                          <a:pt x="1179" y="311"/>
                        </a:lnTo>
                        <a:lnTo>
                          <a:pt x="1182" y="293"/>
                        </a:lnTo>
                        <a:lnTo>
                          <a:pt x="1183" y="274"/>
                        </a:lnTo>
                        <a:lnTo>
                          <a:pt x="1184" y="256"/>
                        </a:lnTo>
                        <a:lnTo>
                          <a:pt x="1184" y="237"/>
                        </a:lnTo>
                        <a:lnTo>
                          <a:pt x="1183" y="226"/>
                        </a:lnTo>
                        <a:lnTo>
                          <a:pt x="1181" y="212"/>
                        </a:lnTo>
                        <a:lnTo>
                          <a:pt x="1177" y="198"/>
                        </a:lnTo>
                        <a:lnTo>
                          <a:pt x="1173" y="182"/>
                        </a:lnTo>
                        <a:lnTo>
                          <a:pt x="1161" y="150"/>
                        </a:lnTo>
                        <a:lnTo>
                          <a:pt x="1146" y="115"/>
                        </a:lnTo>
                        <a:lnTo>
                          <a:pt x="1129" y="81"/>
                        </a:lnTo>
                        <a:lnTo>
                          <a:pt x="1112" y="49"/>
                        </a:lnTo>
                        <a:lnTo>
                          <a:pt x="1095" y="21"/>
                        </a:lnTo>
                        <a:lnTo>
                          <a:pt x="1079" y="0"/>
                        </a:lnTo>
                        <a:close/>
                      </a:path>
                    </a:pathLst>
                  </a:custGeom>
                  <a:solidFill>
                    <a:srgbClr val="242B53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85" name="Freeform 174"/>
                  <p:cNvSpPr>
                    <a:spLocks/>
                  </p:cNvSpPr>
                  <p:nvPr/>
                </p:nvSpPr>
                <p:spPr bwMode="auto">
                  <a:xfrm>
                    <a:off x="3255" y="4127"/>
                    <a:ext cx="168" cy="38"/>
                  </a:xfrm>
                  <a:custGeom>
                    <a:avLst/>
                    <a:gdLst>
                      <a:gd name="T0" fmla="*/ 0 w 1173"/>
                      <a:gd name="T1" fmla="*/ 0 h 264"/>
                      <a:gd name="T2" fmla="*/ 0 w 1173"/>
                      <a:gd name="T3" fmla="*/ 0 h 264"/>
                      <a:gd name="T4" fmla="*/ 0 w 1173"/>
                      <a:gd name="T5" fmla="*/ 0 h 264"/>
                      <a:gd name="T6" fmla="*/ 0 w 1173"/>
                      <a:gd name="T7" fmla="*/ 0 h 264"/>
                      <a:gd name="T8" fmla="*/ 0 w 1173"/>
                      <a:gd name="T9" fmla="*/ 0 h 264"/>
                      <a:gd name="T10" fmla="*/ 0 w 1173"/>
                      <a:gd name="T11" fmla="*/ 0 h 264"/>
                      <a:gd name="T12" fmla="*/ 0 w 1173"/>
                      <a:gd name="T13" fmla="*/ 0 h 264"/>
                      <a:gd name="T14" fmla="*/ 0 w 1173"/>
                      <a:gd name="T15" fmla="*/ 0 h 264"/>
                      <a:gd name="T16" fmla="*/ 0 w 1173"/>
                      <a:gd name="T17" fmla="*/ 0 h 264"/>
                      <a:gd name="T18" fmla="*/ 0 w 1173"/>
                      <a:gd name="T19" fmla="*/ 0 h 264"/>
                      <a:gd name="T20" fmla="*/ 0 w 1173"/>
                      <a:gd name="T21" fmla="*/ 0 h 264"/>
                      <a:gd name="T22" fmla="*/ 0 w 1173"/>
                      <a:gd name="T23" fmla="*/ 0 h 264"/>
                      <a:gd name="T24" fmla="*/ 0 w 1173"/>
                      <a:gd name="T25" fmla="*/ 0 h 264"/>
                      <a:gd name="T26" fmla="*/ 0 w 1173"/>
                      <a:gd name="T27" fmla="*/ 0 h 264"/>
                      <a:gd name="T28" fmla="*/ 0 w 1173"/>
                      <a:gd name="T29" fmla="*/ 0 h 264"/>
                      <a:gd name="T30" fmla="*/ 0 w 1173"/>
                      <a:gd name="T31" fmla="*/ 0 h 264"/>
                      <a:gd name="T32" fmla="*/ 0 w 1173"/>
                      <a:gd name="T33" fmla="*/ 0 h 264"/>
                      <a:gd name="T34" fmla="*/ 0 w 1173"/>
                      <a:gd name="T35" fmla="*/ 0 h 264"/>
                      <a:gd name="T36" fmla="*/ 0 w 1173"/>
                      <a:gd name="T37" fmla="*/ 0 h 264"/>
                      <a:gd name="T38" fmla="*/ 0 w 1173"/>
                      <a:gd name="T39" fmla="*/ 0 h 264"/>
                      <a:gd name="T40" fmla="*/ 0 w 1173"/>
                      <a:gd name="T41" fmla="*/ 0 h 264"/>
                      <a:gd name="T42" fmla="*/ 0 w 1173"/>
                      <a:gd name="T43" fmla="*/ 0 h 264"/>
                      <a:gd name="T44" fmla="*/ 0 w 1173"/>
                      <a:gd name="T45" fmla="*/ 0 h 264"/>
                      <a:gd name="T46" fmla="*/ 0 w 1173"/>
                      <a:gd name="T47" fmla="*/ 0 h 264"/>
                      <a:gd name="T48" fmla="*/ 0 w 1173"/>
                      <a:gd name="T49" fmla="*/ 0 h 264"/>
                      <a:gd name="T50" fmla="*/ 0 w 1173"/>
                      <a:gd name="T51" fmla="*/ 0 h 264"/>
                      <a:gd name="T52" fmla="*/ 0 w 1173"/>
                      <a:gd name="T53" fmla="*/ 0 h 264"/>
                      <a:gd name="T54" fmla="*/ 0 w 1173"/>
                      <a:gd name="T55" fmla="*/ 0 h 264"/>
                      <a:gd name="T56" fmla="*/ 0 w 1173"/>
                      <a:gd name="T57" fmla="*/ 0 h 264"/>
                      <a:gd name="T58" fmla="*/ 0 w 1173"/>
                      <a:gd name="T59" fmla="*/ 0 h 264"/>
                      <a:gd name="T60" fmla="*/ 0 w 1173"/>
                      <a:gd name="T61" fmla="*/ 0 h 264"/>
                      <a:gd name="T62" fmla="*/ 0 w 1173"/>
                      <a:gd name="T63" fmla="*/ 0 h 264"/>
                      <a:gd name="T64" fmla="*/ 0 w 1173"/>
                      <a:gd name="T65" fmla="*/ 0 h 264"/>
                      <a:gd name="T66" fmla="*/ 0 w 1173"/>
                      <a:gd name="T67" fmla="*/ 0 h 264"/>
                      <a:gd name="T68" fmla="*/ 0 w 1173"/>
                      <a:gd name="T69" fmla="*/ 0 h 264"/>
                      <a:gd name="T70" fmla="*/ 0 w 1173"/>
                      <a:gd name="T71" fmla="*/ 0 h 264"/>
                      <a:gd name="T72" fmla="*/ 0 w 1173"/>
                      <a:gd name="T73" fmla="*/ 0 h 264"/>
                      <a:gd name="T74" fmla="*/ 0 w 1173"/>
                      <a:gd name="T75" fmla="*/ 0 h 264"/>
                      <a:gd name="T76" fmla="*/ 0 w 1173"/>
                      <a:gd name="T77" fmla="*/ 0 h 264"/>
                      <a:gd name="T78" fmla="*/ 0 w 1173"/>
                      <a:gd name="T79" fmla="*/ 0 h 264"/>
                      <a:gd name="T80" fmla="*/ 0 w 1173"/>
                      <a:gd name="T81" fmla="*/ 0 h 264"/>
                      <a:gd name="T82" fmla="*/ 0 w 1173"/>
                      <a:gd name="T83" fmla="*/ 0 h 264"/>
                      <a:gd name="T84" fmla="*/ 0 w 1173"/>
                      <a:gd name="T85" fmla="*/ 0 h 264"/>
                      <a:gd name="T86" fmla="*/ 0 w 1173"/>
                      <a:gd name="T87" fmla="*/ 0 h 264"/>
                      <a:gd name="T88" fmla="*/ 0 w 1173"/>
                      <a:gd name="T89" fmla="*/ 0 h 264"/>
                      <a:gd name="T90" fmla="*/ 0 w 1173"/>
                      <a:gd name="T91" fmla="*/ 0 h 264"/>
                      <a:gd name="T92" fmla="*/ 0 w 1173"/>
                      <a:gd name="T93" fmla="*/ 0 h 264"/>
                      <a:gd name="T94" fmla="*/ 0 w 1173"/>
                      <a:gd name="T95" fmla="*/ 0 h 264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w 1173"/>
                      <a:gd name="T145" fmla="*/ 0 h 264"/>
                      <a:gd name="T146" fmla="*/ 1173 w 1173"/>
                      <a:gd name="T147" fmla="*/ 264 h 264"/>
                    </a:gdLst>
                    <a:ahLst/>
                    <a:cxnLst>
                      <a:cxn ang="T96">
                        <a:pos x="T0" y="T1"/>
                      </a:cxn>
                      <a:cxn ang="T97">
                        <a:pos x="T2" y="T3"/>
                      </a:cxn>
                      <a:cxn ang="T98">
                        <a:pos x="T4" y="T5"/>
                      </a:cxn>
                      <a:cxn ang="T99">
                        <a:pos x="T6" y="T7"/>
                      </a:cxn>
                      <a:cxn ang="T100">
                        <a:pos x="T8" y="T9"/>
                      </a:cxn>
                      <a:cxn ang="T101">
                        <a:pos x="T10" y="T11"/>
                      </a:cxn>
                      <a:cxn ang="T102">
                        <a:pos x="T12" y="T13"/>
                      </a:cxn>
                      <a:cxn ang="T103">
                        <a:pos x="T14" y="T15"/>
                      </a:cxn>
                      <a:cxn ang="T104">
                        <a:pos x="T16" y="T17"/>
                      </a:cxn>
                      <a:cxn ang="T105">
                        <a:pos x="T18" y="T19"/>
                      </a:cxn>
                      <a:cxn ang="T106">
                        <a:pos x="T20" y="T21"/>
                      </a:cxn>
                      <a:cxn ang="T107">
                        <a:pos x="T22" y="T23"/>
                      </a:cxn>
                      <a:cxn ang="T108">
                        <a:pos x="T24" y="T25"/>
                      </a:cxn>
                      <a:cxn ang="T109">
                        <a:pos x="T26" y="T27"/>
                      </a:cxn>
                      <a:cxn ang="T110">
                        <a:pos x="T28" y="T29"/>
                      </a:cxn>
                      <a:cxn ang="T111">
                        <a:pos x="T30" y="T31"/>
                      </a:cxn>
                      <a:cxn ang="T112">
                        <a:pos x="T32" y="T33"/>
                      </a:cxn>
                      <a:cxn ang="T113">
                        <a:pos x="T34" y="T35"/>
                      </a:cxn>
                      <a:cxn ang="T114">
                        <a:pos x="T36" y="T37"/>
                      </a:cxn>
                      <a:cxn ang="T115">
                        <a:pos x="T38" y="T39"/>
                      </a:cxn>
                      <a:cxn ang="T116">
                        <a:pos x="T40" y="T41"/>
                      </a:cxn>
                      <a:cxn ang="T117">
                        <a:pos x="T42" y="T43"/>
                      </a:cxn>
                      <a:cxn ang="T118">
                        <a:pos x="T44" y="T45"/>
                      </a:cxn>
                      <a:cxn ang="T119">
                        <a:pos x="T46" y="T47"/>
                      </a:cxn>
                      <a:cxn ang="T120">
                        <a:pos x="T48" y="T49"/>
                      </a:cxn>
                      <a:cxn ang="T121">
                        <a:pos x="T50" y="T51"/>
                      </a:cxn>
                      <a:cxn ang="T122">
                        <a:pos x="T52" y="T53"/>
                      </a:cxn>
                      <a:cxn ang="T123">
                        <a:pos x="T54" y="T55"/>
                      </a:cxn>
                      <a:cxn ang="T124">
                        <a:pos x="T56" y="T57"/>
                      </a:cxn>
                      <a:cxn ang="T125">
                        <a:pos x="T58" y="T59"/>
                      </a:cxn>
                      <a:cxn ang="T126">
                        <a:pos x="T60" y="T61"/>
                      </a:cxn>
                      <a:cxn ang="T127">
                        <a:pos x="T62" y="T63"/>
                      </a:cxn>
                      <a:cxn ang="T128">
                        <a:pos x="T64" y="T65"/>
                      </a:cxn>
                      <a:cxn ang="T129">
                        <a:pos x="T66" y="T67"/>
                      </a:cxn>
                      <a:cxn ang="T130">
                        <a:pos x="T68" y="T69"/>
                      </a:cxn>
                      <a:cxn ang="T131">
                        <a:pos x="T70" y="T71"/>
                      </a:cxn>
                      <a:cxn ang="T132">
                        <a:pos x="T72" y="T73"/>
                      </a:cxn>
                      <a:cxn ang="T133">
                        <a:pos x="T74" y="T75"/>
                      </a:cxn>
                      <a:cxn ang="T134">
                        <a:pos x="T76" y="T77"/>
                      </a:cxn>
                      <a:cxn ang="T135">
                        <a:pos x="T78" y="T79"/>
                      </a:cxn>
                      <a:cxn ang="T136">
                        <a:pos x="T80" y="T81"/>
                      </a:cxn>
                      <a:cxn ang="T137">
                        <a:pos x="T82" y="T83"/>
                      </a:cxn>
                      <a:cxn ang="T138">
                        <a:pos x="T84" y="T85"/>
                      </a:cxn>
                      <a:cxn ang="T139">
                        <a:pos x="T86" y="T87"/>
                      </a:cxn>
                      <a:cxn ang="T140">
                        <a:pos x="T88" y="T89"/>
                      </a:cxn>
                      <a:cxn ang="T141">
                        <a:pos x="T90" y="T91"/>
                      </a:cxn>
                      <a:cxn ang="T142">
                        <a:pos x="T92" y="T93"/>
                      </a:cxn>
                      <a:cxn ang="T143">
                        <a:pos x="T94" y="T95"/>
                      </a:cxn>
                    </a:cxnLst>
                    <a:rect l="T144" t="T145" r="T146" b="T147"/>
                    <a:pathLst>
                      <a:path w="1173" h="264">
                        <a:moveTo>
                          <a:pt x="586" y="142"/>
                        </a:moveTo>
                        <a:lnTo>
                          <a:pt x="525" y="142"/>
                        </a:lnTo>
                        <a:lnTo>
                          <a:pt x="467" y="139"/>
                        </a:lnTo>
                        <a:lnTo>
                          <a:pt x="414" y="137"/>
                        </a:lnTo>
                        <a:lnTo>
                          <a:pt x="364" y="133"/>
                        </a:lnTo>
                        <a:lnTo>
                          <a:pt x="316" y="128"/>
                        </a:lnTo>
                        <a:lnTo>
                          <a:pt x="274" y="123"/>
                        </a:lnTo>
                        <a:lnTo>
                          <a:pt x="234" y="116"/>
                        </a:lnTo>
                        <a:lnTo>
                          <a:pt x="197" y="108"/>
                        </a:lnTo>
                        <a:lnTo>
                          <a:pt x="162" y="100"/>
                        </a:lnTo>
                        <a:lnTo>
                          <a:pt x="131" y="90"/>
                        </a:lnTo>
                        <a:lnTo>
                          <a:pt x="103" y="80"/>
                        </a:lnTo>
                        <a:lnTo>
                          <a:pt x="78" y="70"/>
                        </a:lnTo>
                        <a:lnTo>
                          <a:pt x="54" y="58"/>
                        </a:lnTo>
                        <a:lnTo>
                          <a:pt x="34" y="46"/>
                        </a:lnTo>
                        <a:lnTo>
                          <a:pt x="15" y="33"/>
                        </a:lnTo>
                        <a:lnTo>
                          <a:pt x="0" y="19"/>
                        </a:lnTo>
                        <a:lnTo>
                          <a:pt x="2" y="33"/>
                        </a:lnTo>
                        <a:lnTo>
                          <a:pt x="5" y="46"/>
                        </a:lnTo>
                        <a:lnTo>
                          <a:pt x="10" y="58"/>
                        </a:lnTo>
                        <a:lnTo>
                          <a:pt x="14" y="70"/>
                        </a:lnTo>
                        <a:lnTo>
                          <a:pt x="20" y="83"/>
                        </a:lnTo>
                        <a:lnTo>
                          <a:pt x="25" y="95"/>
                        </a:lnTo>
                        <a:lnTo>
                          <a:pt x="32" y="106"/>
                        </a:lnTo>
                        <a:lnTo>
                          <a:pt x="40" y="117"/>
                        </a:lnTo>
                        <a:lnTo>
                          <a:pt x="48" y="128"/>
                        </a:lnTo>
                        <a:lnTo>
                          <a:pt x="58" y="139"/>
                        </a:lnTo>
                        <a:lnTo>
                          <a:pt x="68" y="149"/>
                        </a:lnTo>
                        <a:lnTo>
                          <a:pt x="79" y="159"/>
                        </a:lnTo>
                        <a:lnTo>
                          <a:pt x="91" y="169"/>
                        </a:lnTo>
                        <a:lnTo>
                          <a:pt x="106" y="178"/>
                        </a:lnTo>
                        <a:lnTo>
                          <a:pt x="120" y="187"/>
                        </a:lnTo>
                        <a:lnTo>
                          <a:pt x="136" y="195"/>
                        </a:lnTo>
                        <a:lnTo>
                          <a:pt x="152" y="203"/>
                        </a:lnTo>
                        <a:lnTo>
                          <a:pt x="171" y="211"/>
                        </a:lnTo>
                        <a:lnTo>
                          <a:pt x="190" y="218"/>
                        </a:lnTo>
                        <a:lnTo>
                          <a:pt x="211" y="224"/>
                        </a:lnTo>
                        <a:lnTo>
                          <a:pt x="234" y="231"/>
                        </a:lnTo>
                        <a:lnTo>
                          <a:pt x="258" y="236"/>
                        </a:lnTo>
                        <a:lnTo>
                          <a:pt x="284" y="242"/>
                        </a:lnTo>
                        <a:lnTo>
                          <a:pt x="310" y="246"/>
                        </a:lnTo>
                        <a:lnTo>
                          <a:pt x="338" y="251"/>
                        </a:lnTo>
                        <a:lnTo>
                          <a:pt x="368" y="254"/>
                        </a:lnTo>
                        <a:lnTo>
                          <a:pt x="400" y="257"/>
                        </a:lnTo>
                        <a:lnTo>
                          <a:pt x="434" y="260"/>
                        </a:lnTo>
                        <a:lnTo>
                          <a:pt x="469" y="262"/>
                        </a:lnTo>
                        <a:lnTo>
                          <a:pt x="506" y="263"/>
                        </a:lnTo>
                        <a:lnTo>
                          <a:pt x="545" y="264"/>
                        </a:lnTo>
                        <a:lnTo>
                          <a:pt x="586" y="264"/>
                        </a:lnTo>
                        <a:lnTo>
                          <a:pt x="625" y="264"/>
                        </a:lnTo>
                        <a:lnTo>
                          <a:pt x="662" y="263"/>
                        </a:lnTo>
                        <a:lnTo>
                          <a:pt x="698" y="262"/>
                        </a:lnTo>
                        <a:lnTo>
                          <a:pt x="731" y="260"/>
                        </a:lnTo>
                        <a:lnTo>
                          <a:pt x="763" y="256"/>
                        </a:lnTo>
                        <a:lnTo>
                          <a:pt x="793" y="253"/>
                        </a:lnTo>
                        <a:lnTo>
                          <a:pt x="823" y="250"/>
                        </a:lnTo>
                        <a:lnTo>
                          <a:pt x="851" y="245"/>
                        </a:lnTo>
                        <a:lnTo>
                          <a:pt x="877" y="240"/>
                        </a:lnTo>
                        <a:lnTo>
                          <a:pt x="902" y="234"/>
                        </a:lnTo>
                        <a:lnTo>
                          <a:pt x="926" y="227"/>
                        </a:lnTo>
                        <a:lnTo>
                          <a:pt x="948" y="221"/>
                        </a:lnTo>
                        <a:lnTo>
                          <a:pt x="969" y="214"/>
                        </a:lnTo>
                        <a:lnTo>
                          <a:pt x="988" y="206"/>
                        </a:lnTo>
                        <a:lnTo>
                          <a:pt x="1007" y="198"/>
                        </a:lnTo>
                        <a:lnTo>
                          <a:pt x="1025" y="189"/>
                        </a:lnTo>
                        <a:lnTo>
                          <a:pt x="1040" y="181"/>
                        </a:lnTo>
                        <a:lnTo>
                          <a:pt x="1056" y="172"/>
                        </a:lnTo>
                        <a:lnTo>
                          <a:pt x="1070" y="162"/>
                        </a:lnTo>
                        <a:lnTo>
                          <a:pt x="1083" y="150"/>
                        </a:lnTo>
                        <a:lnTo>
                          <a:pt x="1095" y="140"/>
                        </a:lnTo>
                        <a:lnTo>
                          <a:pt x="1106" y="129"/>
                        </a:lnTo>
                        <a:lnTo>
                          <a:pt x="1116" y="118"/>
                        </a:lnTo>
                        <a:lnTo>
                          <a:pt x="1126" y="106"/>
                        </a:lnTo>
                        <a:lnTo>
                          <a:pt x="1134" y="94"/>
                        </a:lnTo>
                        <a:lnTo>
                          <a:pt x="1142" y="81"/>
                        </a:lnTo>
                        <a:lnTo>
                          <a:pt x="1148" y="68"/>
                        </a:lnTo>
                        <a:lnTo>
                          <a:pt x="1155" y="56"/>
                        </a:lnTo>
                        <a:lnTo>
                          <a:pt x="1161" y="43"/>
                        </a:lnTo>
                        <a:lnTo>
                          <a:pt x="1165" y="28"/>
                        </a:lnTo>
                        <a:lnTo>
                          <a:pt x="1170" y="15"/>
                        </a:lnTo>
                        <a:lnTo>
                          <a:pt x="1173" y="0"/>
                        </a:lnTo>
                        <a:lnTo>
                          <a:pt x="1156" y="16"/>
                        </a:lnTo>
                        <a:lnTo>
                          <a:pt x="1136" y="31"/>
                        </a:lnTo>
                        <a:lnTo>
                          <a:pt x="1115" y="45"/>
                        </a:lnTo>
                        <a:lnTo>
                          <a:pt x="1092" y="58"/>
                        </a:lnTo>
                        <a:lnTo>
                          <a:pt x="1066" y="71"/>
                        </a:lnTo>
                        <a:lnTo>
                          <a:pt x="1037" y="83"/>
                        </a:lnTo>
                        <a:lnTo>
                          <a:pt x="1006" y="94"/>
                        </a:lnTo>
                        <a:lnTo>
                          <a:pt x="971" y="103"/>
                        </a:lnTo>
                        <a:lnTo>
                          <a:pt x="935" y="112"/>
                        </a:lnTo>
                        <a:lnTo>
                          <a:pt x="895" y="119"/>
                        </a:lnTo>
                        <a:lnTo>
                          <a:pt x="851" y="126"/>
                        </a:lnTo>
                        <a:lnTo>
                          <a:pt x="806" y="132"/>
                        </a:lnTo>
                        <a:lnTo>
                          <a:pt x="757" y="136"/>
                        </a:lnTo>
                        <a:lnTo>
                          <a:pt x="703" y="139"/>
                        </a:lnTo>
                        <a:lnTo>
                          <a:pt x="646" y="140"/>
                        </a:lnTo>
                        <a:lnTo>
                          <a:pt x="586" y="142"/>
                        </a:lnTo>
                        <a:close/>
                      </a:path>
                    </a:pathLst>
                  </a:custGeom>
                  <a:solidFill>
                    <a:srgbClr val="1F1A17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86" name="Freeform 175"/>
                  <p:cNvSpPr>
                    <a:spLocks/>
                  </p:cNvSpPr>
                  <p:nvPr/>
                </p:nvSpPr>
                <p:spPr bwMode="auto">
                  <a:xfrm>
                    <a:off x="3437" y="3975"/>
                    <a:ext cx="138" cy="177"/>
                  </a:xfrm>
                  <a:custGeom>
                    <a:avLst/>
                    <a:gdLst>
                      <a:gd name="T0" fmla="*/ 0 w 955"/>
                      <a:gd name="T1" fmla="*/ 0 h 1249"/>
                      <a:gd name="T2" fmla="*/ 0 w 955"/>
                      <a:gd name="T3" fmla="*/ 0 h 1249"/>
                      <a:gd name="T4" fmla="*/ 0 w 955"/>
                      <a:gd name="T5" fmla="*/ 0 h 1249"/>
                      <a:gd name="T6" fmla="*/ 0 w 955"/>
                      <a:gd name="T7" fmla="*/ 0 h 1249"/>
                      <a:gd name="T8" fmla="*/ 0 w 955"/>
                      <a:gd name="T9" fmla="*/ 0 h 1249"/>
                      <a:gd name="T10" fmla="*/ 0 w 955"/>
                      <a:gd name="T11" fmla="*/ 0 h 1249"/>
                      <a:gd name="T12" fmla="*/ 0 w 955"/>
                      <a:gd name="T13" fmla="*/ 0 h 1249"/>
                      <a:gd name="T14" fmla="*/ 0 w 955"/>
                      <a:gd name="T15" fmla="*/ 0 h 1249"/>
                      <a:gd name="T16" fmla="*/ 0 w 955"/>
                      <a:gd name="T17" fmla="*/ 0 h 1249"/>
                      <a:gd name="T18" fmla="*/ 0 w 955"/>
                      <a:gd name="T19" fmla="*/ 0 h 1249"/>
                      <a:gd name="T20" fmla="*/ 0 w 955"/>
                      <a:gd name="T21" fmla="*/ 0 h 1249"/>
                      <a:gd name="T22" fmla="*/ 0 w 955"/>
                      <a:gd name="T23" fmla="*/ 0 h 1249"/>
                      <a:gd name="T24" fmla="*/ 0 w 955"/>
                      <a:gd name="T25" fmla="*/ 0 h 1249"/>
                      <a:gd name="T26" fmla="*/ 0 w 955"/>
                      <a:gd name="T27" fmla="*/ 0 h 1249"/>
                      <a:gd name="T28" fmla="*/ 0 w 955"/>
                      <a:gd name="T29" fmla="*/ 0 h 1249"/>
                      <a:gd name="T30" fmla="*/ 0 w 955"/>
                      <a:gd name="T31" fmla="*/ 0 h 1249"/>
                      <a:gd name="T32" fmla="*/ 0 w 955"/>
                      <a:gd name="T33" fmla="*/ 0 h 1249"/>
                      <a:gd name="T34" fmla="*/ 0 w 955"/>
                      <a:gd name="T35" fmla="*/ 0 h 1249"/>
                      <a:gd name="T36" fmla="*/ 0 w 955"/>
                      <a:gd name="T37" fmla="*/ 0 h 1249"/>
                      <a:gd name="T38" fmla="*/ 0 w 955"/>
                      <a:gd name="T39" fmla="*/ 0 h 1249"/>
                      <a:gd name="T40" fmla="*/ 0 w 955"/>
                      <a:gd name="T41" fmla="*/ 0 h 1249"/>
                      <a:gd name="T42" fmla="*/ 0 w 955"/>
                      <a:gd name="T43" fmla="*/ 0 h 1249"/>
                      <a:gd name="T44" fmla="*/ 0 w 955"/>
                      <a:gd name="T45" fmla="*/ 0 h 1249"/>
                      <a:gd name="T46" fmla="*/ 0 w 955"/>
                      <a:gd name="T47" fmla="*/ 0 h 1249"/>
                      <a:gd name="T48" fmla="*/ 0 w 955"/>
                      <a:gd name="T49" fmla="*/ 0 h 1249"/>
                      <a:gd name="T50" fmla="*/ 0 w 955"/>
                      <a:gd name="T51" fmla="*/ 0 h 1249"/>
                      <a:gd name="T52" fmla="*/ 0 w 955"/>
                      <a:gd name="T53" fmla="*/ 0 h 1249"/>
                      <a:gd name="T54" fmla="*/ 0 w 955"/>
                      <a:gd name="T55" fmla="*/ 0 h 1249"/>
                      <a:gd name="T56" fmla="*/ 0 w 955"/>
                      <a:gd name="T57" fmla="*/ 0 h 1249"/>
                      <a:gd name="T58" fmla="*/ 0 w 955"/>
                      <a:gd name="T59" fmla="*/ 0 h 1249"/>
                      <a:gd name="T60" fmla="*/ 0 w 955"/>
                      <a:gd name="T61" fmla="*/ 0 h 1249"/>
                      <a:gd name="T62" fmla="*/ 0 w 955"/>
                      <a:gd name="T63" fmla="*/ 0 h 1249"/>
                      <a:gd name="T64" fmla="*/ 0 w 955"/>
                      <a:gd name="T65" fmla="*/ 0 h 1249"/>
                      <a:gd name="T66" fmla="*/ 0 w 955"/>
                      <a:gd name="T67" fmla="*/ 0 h 1249"/>
                      <a:gd name="T68" fmla="*/ 0 w 955"/>
                      <a:gd name="T69" fmla="*/ 0 h 1249"/>
                      <a:gd name="T70" fmla="*/ 0 w 955"/>
                      <a:gd name="T71" fmla="*/ 0 h 1249"/>
                      <a:gd name="T72" fmla="*/ 0 w 955"/>
                      <a:gd name="T73" fmla="*/ 0 h 1249"/>
                      <a:gd name="T74" fmla="*/ 0 w 955"/>
                      <a:gd name="T75" fmla="*/ 0 h 1249"/>
                      <a:gd name="T76" fmla="*/ 0 w 955"/>
                      <a:gd name="T77" fmla="*/ 0 h 1249"/>
                      <a:gd name="T78" fmla="*/ 0 w 955"/>
                      <a:gd name="T79" fmla="*/ 0 h 1249"/>
                      <a:gd name="T80" fmla="*/ 0 w 955"/>
                      <a:gd name="T81" fmla="*/ 0 h 1249"/>
                      <a:gd name="T82" fmla="*/ 0 w 955"/>
                      <a:gd name="T83" fmla="*/ 0 h 1249"/>
                      <a:gd name="T84" fmla="*/ 0 w 955"/>
                      <a:gd name="T85" fmla="*/ 0 h 1249"/>
                      <a:gd name="T86" fmla="*/ 0 w 955"/>
                      <a:gd name="T87" fmla="*/ 0 h 1249"/>
                      <a:gd name="T88" fmla="*/ 0 w 955"/>
                      <a:gd name="T89" fmla="*/ 0 h 1249"/>
                      <a:gd name="T90" fmla="*/ 0 w 955"/>
                      <a:gd name="T91" fmla="*/ 0 h 1249"/>
                      <a:gd name="T92" fmla="*/ 0 w 955"/>
                      <a:gd name="T93" fmla="*/ 0 h 1249"/>
                      <a:gd name="T94" fmla="*/ 0 w 955"/>
                      <a:gd name="T95" fmla="*/ 0 h 1249"/>
                      <a:gd name="T96" fmla="*/ 0 w 955"/>
                      <a:gd name="T97" fmla="*/ 0 h 1249"/>
                      <a:gd name="T98" fmla="*/ 0 w 955"/>
                      <a:gd name="T99" fmla="*/ 0 h 1249"/>
                      <a:gd name="T100" fmla="*/ 0 w 955"/>
                      <a:gd name="T101" fmla="*/ 0 h 1249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w 955"/>
                      <a:gd name="T154" fmla="*/ 0 h 1249"/>
                      <a:gd name="T155" fmla="*/ 955 w 955"/>
                      <a:gd name="T156" fmla="*/ 1249 h 1249"/>
                    </a:gdLst>
                    <a:ahLst/>
                    <a:cxnLst>
                      <a:cxn ang="T102">
                        <a:pos x="T0" y="T1"/>
                      </a:cxn>
                      <a:cxn ang="T103">
                        <a:pos x="T2" y="T3"/>
                      </a:cxn>
                      <a:cxn ang="T104">
                        <a:pos x="T4" y="T5"/>
                      </a:cxn>
                      <a:cxn ang="T105">
                        <a:pos x="T6" y="T7"/>
                      </a:cxn>
                      <a:cxn ang="T106">
                        <a:pos x="T8" y="T9"/>
                      </a:cxn>
                      <a:cxn ang="T107">
                        <a:pos x="T10" y="T11"/>
                      </a:cxn>
                      <a:cxn ang="T108">
                        <a:pos x="T12" y="T13"/>
                      </a:cxn>
                      <a:cxn ang="T109">
                        <a:pos x="T14" y="T15"/>
                      </a:cxn>
                      <a:cxn ang="T110">
                        <a:pos x="T16" y="T17"/>
                      </a:cxn>
                      <a:cxn ang="T111">
                        <a:pos x="T18" y="T19"/>
                      </a:cxn>
                      <a:cxn ang="T112">
                        <a:pos x="T20" y="T21"/>
                      </a:cxn>
                      <a:cxn ang="T113">
                        <a:pos x="T22" y="T23"/>
                      </a:cxn>
                      <a:cxn ang="T114">
                        <a:pos x="T24" y="T25"/>
                      </a:cxn>
                      <a:cxn ang="T115">
                        <a:pos x="T26" y="T27"/>
                      </a:cxn>
                      <a:cxn ang="T116">
                        <a:pos x="T28" y="T29"/>
                      </a:cxn>
                      <a:cxn ang="T117">
                        <a:pos x="T30" y="T31"/>
                      </a:cxn>
                      <a:cxn ang="T118">
                        <a:pos x="T32" y="T33"/>
                      </a:cxn>
                      <a:cxn ang="T119">
                        <a:pos x="T34" y="T35"/>
                      </a:cxn>
                      <a:cxn ang="T120">
                        <a:pos x="T36" y="T37"/>
                      </a:cxn>
                      <a:cxn ang="T121">
                        <a:pos x="T38" y="T39"/>
                      </a:cxn>
                      <a:cxn ang="T122">
                        <a:pos x="T40" y="T41"/>
                      </a:cxn>
                      <a:cxn ang="T123">
                        <a:pos x="T42" y="T43"/>
                      </a:cxn>
                      <a:cxn ang="T124">
                        <a:pos x="T44" y="T45"/>
                      </a:cxn>
                      <a:cxn ang="T125">
                        <a:pos x="T46" y="T47"/>
                      </a:cxn>
                      <a:cxn ang="T126">
                        <a:pos x="T48" y="T49"/>
                      </a:cxn>
                      <a:cxn ang="T127">
                        <a:pos x="T50" y="T51"/>
                      </a:cxn>
                      <a:cxn ang="T128">
                        <a:pos x="T52" y="T53"/>
                      </a:cxn>
                      <a:cxn ang="T129">
                        <a:pos x="T54" y="T55"/>
                      </a:cxn>
                      <a:cxn ang="T130">
                        <a:pos x="T56" y="T57"/>
                      </a:cxn>
                      <a:cxn ang="T131">
                        <a:pos x="T58" y="T59"/>
                      </a:cxn>
                      <a:cxn ang="T132">
                        <a:pos x="T60" y="T61"/>
                      </a:cxn>
                      <a:cxn ang="T133">
                        <a:pos x="T62" y="T63"/>
                      </a:cxn>
                      <a:cxn ang="T134">
                        <a:pos x="T64" y="T65"/>
                      </a:cxn>
                      <a:cxn ang="T135">
                        <a:pos x="T66" y="T67"/>
                      </a:cxn>
                      <a:cxn ang="T136">
                        <a:pos x="T68" y="T69"/>
                      </a:cxn>
                      <a:cxn ang="T137">
                        <a:pos x="T70" y="T71"/>
                      </a:cxn>
                      <a:cxn ang="T138">
                        <a:pos x="T72" y="T73"/>
                      </a:cxn>
                      <a:cxn ang="T139">
                        <a:pos x="T74" y="T75"/>
                      </a:cxn>
                      <a:cxn ang="T140">
                        <a:pos x="T76" y="T77"/>
                      </a:cxn>
                      <a:cxn ang="T141">
                        <a:pos x="T78" y="T79"/>
                      </a:cxn>
                      <a:cxn ang="T142">
                        <a:pos x="T80" y="T81"/>
                      </a:cxn>
                      <a:cxn ang="T143">
                        <a:pos x="T82" y="T83"/>
                      </a:cxn>
                      <a:cxn ang="T144">
                        <a:pos x="T84" y="T85"/>
                      </a:cxn>
                      <a:cxn ang="T145">
                        <a:pos x="T86" y="T87"/>
                      </a:cxn>
                      <a:cxn ang="T146">
                        <a:pos x="T88" y="T89"/>
                      </a:cxn>
                      <a:cxn ang="T147">
                        <a:pos x="T90" y="T91"/>
                      </a:cxn>
                      <a:cxn ang="T148">
                        <a:pos x="T92" y="T93"/>
                      </a:cxn>
                      <a:cxn ang="T149">
                        <a:pos x="T94" y="T95"/>
                      </a:cxn>
                      <a:cxn ang="T150">
                        <a:pos x="T96" y="T97"/>
                      </a:cxn>
                      <a:cxn ang="T151">
                        <a:pos x="T98" y="T99"/>
                      </a:cxn>
                      <a:cxn ang="T152">
                        <a:pos x="T100" y="T101"/>
                      </a:cxn>
                    </a:cxnLst>
                    <a:rect l="T153" t="T154" r="T155" b="T156"/>
                    <a:pathLst>
                      <a:path w="955" h="1249">
                        <a:moveTo>
                          <a:pt x="1" y="531"/>
                        </a:moveTo>
                        <a:lnTo>
                          <a:pt x="0" y="463"/>
                        </a:lnTo>
                        <a:lnTo>
                          <a:pt x="3" y="401"/>
                        </a:lnTo>
                        <a:lnTo>
                          <a:pt x="12" y="344"/>
                        </a:lnTo>
                        <a:lnTo>
                          <a:pt x="25" y="292"/>
                        </a:lnTo>
                        <a:lnTo>
                          <a:pt x="43" y="245"/>
                        </a:lnTo>
                        <a:lnTo>
                          <a:pt x="66" y="202"/>
                        </a:lnTo>
                        <a:lnTo>
                          <a:pt x="91" y="164"/>
                        </a:lnTo>
                        <a:lnTo>
                          <a:pt x="120" y="130"/>
                        </a:lnTo>
                        <a:lnTo>
                          <a:pt x="152" y="100"/>
                        </a:lnTo>
                        <a:lnTo>
                          <a:pt x="187" y="75"/>
                        </a:lnTo>
                        <a:lnTo>
                          <a:pt x="224" y="54"/>
                        </a:lnTo>
                        <a:lnTo>
                          <a:pt x="263" y="36"/>
                        </a:lnTo>
                        <a:lnTo>
                          <a:pt x="303" y="23"/>
                        </a:lnTo>
                        <a:lnTo>
                          <a:pt x="345" y="11"/>
                        </a:lnTo>
                        <a:lnTo>
                          <a:pt x="387" y="5"/>
                        </a:lnTo>
                        <a:lnTo>
                          <a:pt x="431" y="0"/>
                        </a:lnTo>
                        <a:lnTo>
                          <a:pt x="474" y="0"/>
                        </a:lnTo>
                        <a:lnTo>
                          <a:pt x="517" y="2"/>
                        </a:lnTo>
                        <a:lnTo>
                          <a:pt x="560" y="7"/>
                        </a:lnTo>
                        <a:lnTo>
                          <a:pt x="602" y="15"/>
                        </a:lnTo>
                        <a:lnTo>
                          <a:pt x="643" y="25"/>
                        </a:lnTo>
                        <a:lnTo>
                          <a:pt x="683" y="37"/>
                        </a:lnTo>
                        <a:lnTo>
                          <a:pt x="720" y="53"/>
                        </a:lnTo>
                        <a:lnTo>
                          <a:pt x="756" y="69"/>
                        </a:lnTo>
                        <a:lnTo>
                          <a:pt x="789" y="88"/>
                        </a:lnTo>
                        <a:lnTo>
                          <a:pt x="819" y="109"/>
                        </a:lnTo>
                        <a:lnTo>
                          <a:pt x="846" y="132"/>
                        </a:lnTo>
                        <a:lnTo>
                          <a:pt x="869" y="155"/>
                        </a:lnTo>
                        <a:lnTo>
                          <a:pt x="888" y="181"/>
                        </a:lnTo>
                        <a:lnTo>
                          <a:pt x="904" y="207"/>
                        </a:lnTo>
                        <a:lnTo>
                          <a:pt x="914" y="235"/>
                        </a:lnTo>
                        <a:lnTo>
                          <a:pt x="919" y="264"/>
                        </a:lnTo>
                        <a:lnTo>
                          <a:pt x="929" y="352"/>
                        </a:lnTo>
                        <a:lnTo>
                          <a:pt x="940" y="448"/>
                        </a:lnTo>
                        <a:lnTo>
                          <a:pt x="945" y="497"/>
                        </a:lnTo>
                        <a:lnTo>
                          <a:pt x="949" y="547"/>
                        </a:lnTo>
                        <a:lnTo>
                          <a:pt x="953" y="596"/>
                        </a:lnTo>
                        <a:lnTo>
                          <a:pt x="954" y="645"/>
                        </a:lnTo>
                        <a:lnTo>
                          <a:pt x="955" y="692"/>
                        </a:lnTo>
                        <a:lnTo>
                          <a:pt x="953" y="738"/>
                        </a:lnTo>
                        <a:lnTo>
                          <a:pt x="951" y="760"/>
                        </a:lnTo>
                        <a:lnTo>
                          <a:pt x="949" y="781"/>
                        </a:lnTo>
                        <a:lnTo>
                          <a:pt x="946" y="803"/>
                        </a:lnTo>
                        <a:lnTo>
                          <a:pt x="943" y="823"/>
                        </a:lnTo>
                        <a:lnTo>
                          <a:pt x="939" y="843"/>
                        </a:lnTo>
                        <a:lnTo>
                          <a:pt x="934" y="860"/>
                        </a:lnTo>
                        <a:lnTo>
                          <a:pt x="928" y="878"/>
                        </a:lnTo>
                        <a:lnTo>
                          <a:pt x="923" y="895"/>
                        </a:lnTo>
                        <a:lnTo>
                          <a:pt x="915" y="911"/>
                        </a:lnTo>
                        <a:lnTo>
                          <a:pt x="907" y="926"/>
                        </a:lnTo>
                        <a:lnTo>
                          <a:pt x="898" y="939"/>
                        </a:lnTo>
                        <a:lnTo>
                          <a:pt x="888" y="952"/>
                        </a:lnTo>
                        <a:lnTo>
                          <a:pt x="877" y="963"/>
                        </a:lnTo>
                        <a:lnTo>
                          <a:pt x="864" y="975"/>
                        </a:lnTo>
                        <a:lnTo>
                          <a:pt x="850" y="987"/>
                        </a:lnTo>
                        <a:lnTo>
                          <a:pt x="835" y="1001"/>
                        </a:lnTo>
                        <a:lnTo>
                          <a:pt x="801" y="1026"/>
                        </a:lnTo>
                        <a:lnTo>
                          <a:pt x="764" y="1052"/>
                        </a:lnTo>
                        <a:lnTo>
                          <a:pt x="723" y="1079"/>
                        </a:lnTo>
                        <a:lnTo>
                          <a:pt x="680" y="1104"/>
                        </a:lnTo>
                        <a:lnTo>
                          <a:pt x="634" y="1129"/>
                        </a:lnTo>
                        <a:lnTo>
                          <a:pt x="586" y="1152"/>
                        </a:lnTo>
                        <a:lnTo>
                          <a:pt x="539" y="1174"/>
                        </a:lnTo>
                        <a:lnTo>
                          <a:pt x="490" y="1194"/>
                        </a:lnTo>
                        <a:lnTo>
                          <a:pt x="464" y="1203"/>
                        </a:lnTo>
                        <a:lnTo>
                          <a:pt x="441" y="1212"/>
                        </a:lnTo>
                        <a:lnTo>
                          <a:pt x="416" y="1220"/>
                        </a:lnTo>
                        <a:lnTo>
                          <a:pt x="392" y="1227"/>
                        </a:lnTo>
                        <a:lnTo>
                          <a:pt x="368" y="1232"/>
                        </a:lnTo>
                        <a:lnTo>
                          <a:pt x="345" y="1238"/>
                        </a:lnTo>
                        <a:lnTo>
                          <a:pt x="322" y="1242"/>
                        </a:lnTo>
                        <a:lnTo>
                          <a:pt x="299" y="1246"/>
                        </a:lnTo>
                        <a:lnTo>
                          <a:pt x="278" y="1248"/>
                        </a:lnTo>
                        <a:lnTo>
                          <a:pt x="257" y="1249"/>
                        </a:lnTo>
                        <a:lnTo>
                          <a:pt x="237" y="1249"/>
                        </a:lnTo>
                        <a:lnTo>
                          <a:pt x="217" y="1248"/>
                        </a:lnTo>
                        <a:lnTo>
                          <a:pt x="192" y="1244"/>
                        </a:lnTo>
                        <a:lnTo>
                          <a:pt x="170" y="1239"/>
                        </a:lnTo>
                        <a:lnTo>
                          <a:pt x="149" y="1231"/>
                        </a:lnTo>
                        <a:lnTo>
                          <a:pt x="130" y="1221"/>
                        </a:lnTo>
                        <a:lnTo>
                          <a:pt x="112" y="1210"/>
                        </a:lnTo>
                        <a:lnTo>
                          <a:pt x="97" y="1197"/>
                        </a:lnTo>
                        <a:lnTo>
                          <a:pt x="83" y="1181"/>
                        </a:lnTo>
                        <a:lnTo>
                          <a:pt x="71" y="1164"/>
                        </a:lnTo>
                        <a:lnTo>
                          <a:pt x="60" y="1146"/>
                        </a:lnTo>
                        <a:lnTo>
                          <a:pt x="50" y="1126"/>
                        </a:lnTo>
                        <a:lnTo>
                          <a:pt x="41" y="1105"/>
                        </a:lnTo>
                        <a:lnTo>
                          <a:pt x="33" y="1083"/>
                        </a:lnTo>
                        <a:lnTo>
                          <a:pt x="27" y="1060"/>
                        </a:lnTo>
                        <a:lnTo>
                          <a:pt x="22" y="1035"/>
                        </a:lnTo>
                        <a:lnTo>
                          <a:pt x="17" y="1010"/>
                        </a:lnTo>
                        <a:lnTo>
                          <a:pt x="13" y="984"/>
                        </a:lnTo>
                        <a:lnTo>
                          <a:pt x="11" y="957"/>
                        </a:lnTo>
                        <a:lnTo>
                          <a:pt x="8" y="929"/>
                        </a:lnTo>
                        <a:lnTo>
                          <a:pt x="7" y="902"/>
                        </a:lnTo>
                        <a:lnTo>
                          <a:pt x="5" y="873"/>
                        </a:lnTo>
                        <a:lnTo>
                          <a:pt x="4" y="815"/>
                        </a:lnTo>
                        <a:lnTo>
                          <a:pt x="4" y="756"/>
                        </a:lnTo>
                        <a:lnTo>
                          <a:pt x="4" y="698"/>
                        </a:lnTo>
                        <a:lnTo>
                          <a:pt x="4" y="640"/>
                        </a:lnTo>
                        <a:lnTo>
                          <a:pt x="3" y="584"/>
                        </a:lnTo>
                        <a:lnTo>
                          <a:pt x="1" y="531"/>
                        </a:lnTo>
                        <a:close/>
                      </a:path>
                    </a:pathLst>
                  </a:custGeom>
                  <a:solidFill>
                    <a:srgbClr val="273669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87" name="Freeform 176"/>
                  <p:cNvSpPr>
                    <a:spLocks/>
                  </p:cNvSpPr>
                  <p:nvPr/>
                </p:nvSpPr>
                <p:spPr bwMode="auto">
                  <a:xfrm>
                    <a:off x="3437" y="3975"/>
                    <a:ext cx="74" cy="138"/>
                  </a:xfrm>
                  <a:custGeom>
                    <a:avLst/>
                    <a:gdLst>
                      <a:gd name="T0" fmla="*/ 0 w 502"/>
                      <a:gd name="T1" fmla="*/ 0 h 967"/>
                      <a:gd name="T2" fmla="*/ 0 w 502"/>
                      <a:gd name="T3" fmla="*/ 0 h 967"/>
                      <a:gd name="T4" fmla="*/ 0 w 502"/>
                      <a:gd name="T5" fmla="*/ 0 h 967"/>
                      <a:gd name="T6" fmla="*/ 0 w 502"/>
                      <a:gd name="T7" fmla="*/ 0 h 967"/>
                      <a:gd name="T8" fmla="*/ 0 w 502"/>
                      <a:gd name="T9" fmla="*/ 0 h 967"/>
                      <a:gd name="T10" fmla="*/ 0 w 502"/>
                      <a:gd name="T11" fmla="*/ 0 h 967"/>
                      <a:gd name="T12" fmla="*/ 0 w 502"/>
                      <a:gd name="T13" fmla="*/ 0 h 967"/>
                      <a:gd name="T14" fmla="*/ 0 w 502"/>
                      <a:gd name="T15" fmla="*/ 0 h 967"/>
                      <a:gd name="T16" fmla="*/ 0 w 502"/>
                      <a:gd name="T17" fmla="*/ 0 h 967"/>
                      <a:gd name="T18" fmla="*/ 0 w 502"/>
                      <a:gd name="T19" fmla="*/ 0 h 967"/>
                      <a:gd name="T20" fmla="*/ 0 w 502"/>
                      <a:gd name="T21" fmla="*/ 0 h 967"/>
                      <a:gd name="T22" fmla="*/ 0 w 502"/>
                      <a:gd name="T23" fmla="*/ 0 h 967"/>
                      <a:gd name="T24" fmla="*/ 0 w 502"/>
                      <a:gd name="T25" fmla="*/ 0 h 967"/>
                      <a:gd name="T26" fmla="*/ 0 w 502"/>
                      <a:gd name="T27" fmla="*/ 0 h 967"/>
                      <a:gd name="T28" fmla="*/ 0 w 502"/>
                      <a:gd name="T29" fmla="*/ 0 h 967"/>
                      <a:gd name="T30" fmla="*/ 0 w 502"/>
                      <a:gd name="T31" fmla="*/ 0 h 967"/>
                      <a:gd name="T32" fmla="*/ 0 w 502"/>
                      <a:gd name="T33" fmla="*/ 0 h 967"/>
                      <a:gd name="T34" fmla="*/ 0 w 502"/>
                      <a:gd name="T35" fmla="*/ 0 h 967"/>
                      <a:gd name="T36" fmla="*/ 0 w 502"/>
                      <a:gd name="T37" fmla="*/ 0 h 967"/>
                      <a:gd name="T38" fmla="*/ 0 w 502"/>
                      <a:gd name="T39" fmla="*/ 0 h 967"/>
                      <a:gd name="T40" fmla="*/ 0 w 502"/>
                      <a:gd name="T41" fmla="*/ 0 h 967"/>
                      <a:gd name="T42" fmla="*/ 0 w 502"/>
                      <a:gd name="T43" fmla="*/ 0 h 967"/>
                      <a:gd name="T44" fmla="*/ 0 w 502"/>
                      <a:gd name="T45" fmla="*/ 0 h 967"/>
                      <a:gd name="T46" fmla="*/ 0 w 502"/>
                      <a:gd name="T47" fmla="*/ 0 h 967"/>
                      <a:gd name="T48" fmla="*/ 0 w 502"/>
                      <a:gd name="T49" fmla="*/ 0 h 967"/>
                      <a:gd name="T50" fmla="*/ 0 w 502"/>
                      <a:gd name="T51" fmla="*/ 0 h 967"/>
                      <a:gd name="T52" fmla="*/ 0 w 502"/>
                      <a:gd name="T53" fmla="*/ 0 h 967"/>
                      <a:gd name="T54" fmla="*/ 0 w 502"/>
                      <a:gd name="T55" fmla="*/ 0 h 967"/>
                      <a:gd name="T56" fmla="*/ 0 w 502"/>
                      <a:gd name="T57" fmla="*/ 0 h 967"/>
                      <a:gd name="T58" fmla="*/ 0 w 502"/>
                      <a:gd name="T59" fmla="*/ 0 h 967"/>
                      <a:gd name="T60" fmla="*/ 0 w 502"/>
                      <a:gd name="T61" fmla="*/ 0 h 967"/>
                      <a:gd name="T62" fmla="*/ 0 w 502"/>
                      <a:gd name="T63" fmla="*/ 0 h 967"/>
                      <a:gd name="T64" fmla="*/ 0 w 502"/>
                      <a:gd name="T65" fmla="*/ 0 h 967"/>
                      <a:gd name="T66" fmla="*/ 0 w 502"/>
                      <a:gd name="T67" fmla="*/ 0 h 967"/>
                      <a:gd name="T68" fmla="*/ 0 w 502"/>
                      <a:gd name="T69" fmla="*/ 0 h 967"/>
                      <a:gd name="T70" fmla="*/ 0 w 502"/>
                      <a:gd name="T71" fmla="*/ 0 h 967"/>
                      <a:gd name="T72" fmla="*/ 0 w 502"/>
                      <a:gd name="T73" fmla="*/ 0 h 967"/>
                      <a:gd name="T74" fmla="*/ 0 w 502"/>
                      <a:gd name="T75" fmla="*/ 0 h 967"/>
                      <a:gd name="T76" fmla="*/ 0 w 502"/>
                      <a:gd name="T77" fmla="*/ 0 h 967"/>
                      <a:gd name="T78" fmla="*/ 0 w 502"/>
                      <a:gd name="T79" fmla="*/ 0 h 967"/>
                      <a:gd name="T80" fmla="*/ 0 w 502"/>
                      <a:gd name="T81" fmla="*/ 0 h 967"/>
                      <a:gd name="T82" fmla="*/ 0 w 502"/>
                      <a:gd name="T83" fmla="*/ 0 h 967"/>
                      <a:gd name="T84" fmla="*/ 0 w 502"/>
                      <a:gd name="T85" fmla="*/ 0 h 967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w 502"/>
                      <a:gd name="T130" fmla="*/ 0 h 967"/>
                      <a:gd name="T131" fmla="*/ 502 w 502"/>
                      <a:gd name="T132" fmla="*/ 967 h 967"/>
                    </a:gdLst>
                    <a:ahLst/>
                    <a:cxnLst>
                      <a:cxn ang="T86">
                        <a:pos x="T0" y="T1"/>
                      </a:cxn>
                      <a:cxn ang="T87">
                        <a:pos x="T2" y="T3"/>
                      </a:cxn>
                      <a:cxn ang="T88">
                        <a:pos x="T4" y="T5"/>
                      </a:cxn>
                      <a:cxn ang="T89">
                        <a:pos x="T6" y="T7"/>
                      </a:cxn>
                      <a:cxn ang="T90">
                        <a:pos x="T8" y="T9"/>
                      </a:cxn>
                      <a:cxn ang="T91">
                        <a:pos x="T10" y="T11"/>
                      </a:cxn>
                      <a:cxn ang="T92">
                        <a:pos x="T12" y="T13"/>
                      </a:cxn>
                      <a:cxn ang="T93">
                        <a:pos x="T14" y="T15"/>
                      </a:cxn>
                      <a:cxn ang="T94">
                        <a:pos x="T16" y="T17"/>
                      </a:cxn>
                      <a:cxn ang="T95">
                        <a:pos x="T18" y="T19"/>
                      </a:cxn>
                      <a:cxn ang="T96">
                        <a:pos x="T20" y="T21"/>
                      </a:cxn>
                      <a:cxn ang="T97">
                        <a:pos x="T22" y="T23"/>
                      </a:cxn>
                      <a:cxn ang="T98">
                        <a:pos x="T24" y="T25"/>
                      </a:cxn>
                      <a:cxn ang="T99">
                        <a:pos x="T26" y="T27"/>
                      </a:cxn>
                      <a:cxn ang="T100">
                        <a:pos x="T28" y="T29"/>
                      </a:cxn>
                      <a:cxn ang="T101">
                        <a:pos x="T30" y="T31"/>
                      </a:cxn>
                      <a:cxn ang="T102">
                        <a:pos x="T32" y="T33"/>
                      </a:cxn>
                      <a:cxn ang="T103">
                        <a:pos x="T34" y="T35"/>
                      </a:cxn>
                      <a:cxn ang="T104">
                        <a:pos x="T36" y="T37"/>
                      </a:cxn>
                      <a:cxn ang="T105">
                        <a:pos x="T38" y="T39"/>
                      </a:cxn>
                      <a:cxn ang="T106">
                        <a:pos x="T40" y="T41"/>
                      </a:cxn>
                      <a:cxn ang="T107">
                        <a:pos x="T42" y="T43"/>
                      </a:cxn>
                      <a:cxn ang="T108">
                        <a:pos x="T44" y="T45"/>
                      </a:cxn>
                      <a:cxn ang="T109">
                        <a:pos x="T46" y="T47"/>
                      </a:cxn>
                      <a:cxn ang="T110">
                        <a:pos x="T48" y="T49"/>
                      </a:cxn>
                      <a:cxn ang="T111">
                        <a:pos x="T50" y="T51"/>
                      </a:cxn>
                      <a:cxn ang="T112">
                        <a:pos x="T52" y="T53"/>
                      </a:cxn>
                      <a:cxn ang="T113">
                        <a:pos x="T54" y="T55"/>
                      </a:cxn>
                      <a:cxn ang="T114">
                        <a:pos x="T56" y="T57"/>
                      </a:cxn>
                      <a:cxn ang="T115">
                        <a:pos x="T58" y="T59"/>
                      </a:cxn>
                      <a:cxn ang="T116">
                        <a:pos x="T60" y="T61"/>
                      </a:cxn>
                      <a:cxn ang="T117">
                        <a:pos x="T62" y="T63"/>
                      </a:cxn>
                      <a:cxn ang="T118">
                        <a:pos x="T64" y="T65"/>
                      </a:cxn>
                      <a:cxn ang="T119">
                        <a:pos x="T66" y="T67"/>
                      </a:cxn>
                      <a:cxn ang="T120">
                        <a:pos x="T68" y="T69"/>
                      </a:cxn>
                      <a:cxn ang="T121">
                        <a:pos x="T70" y="T71"/>
                      </a:cxn>
                      <a:cxn ang="T122">
                        <a:pos x="T72" y="T73"/>
                      </a:cxn>
                      <a:cxn ang="T123">
                        <a:pos x="T74" y="T75"/>
                      </a:cxn>
                      <a:cxn ang="T124">
                        <a:pos x="T76" y="T77"/>
                      </a:cxn>
                      <a:cxn ang="T125">
                        <a:pos x="T78" y="T79"/>
                      </a:cxn>
                      <a:cxn ang="T126">
                        <a:pos x="T80" y="T81"/>
                      </a:cxn>
                      <a:cxn ang="T127">
                        <a:pos x="T82" y="T83"/>
                      </a:cxn>
                      <a:cxn ang="T128">
                        <a:pos x="T84" y="T85"/>
                      </a:cxn>
                    </a:cxnLst>
                    <a:rect l="T129" t="T130" r="T131" b="T132"/>
                    <a:pathLst>
                      <a:path w="502" h="967">
                        <a:moveTo>
                          <a:pt x="2" y="379"/>
                        </a:moveTo>
                        <a:lnTo>
                          <a:pt x="5" y="358"/>
                        </a:lnTo>
                        <a:lnTo>
                          <a:pt x="10" y="337"/>
                        </a:lnTo>
                        <a:lnTo>
                          <a:pt x="16" y="315"/>
                        </a:lnTo>
                        <a:lnTo>
                          <a:pt x="23" y="291"/>
                        </a:lnTo>
                        <a:lnTo>
                          <a:pt x="32" y="269"/>
                        </a:lnTo>
                        <a:lnTo>
                          <a:pt x="43" y="246"/>
                        </a:lnTo>
                        <a:lnTo>
                          <a:pt x="54" y="224"/>
                        </a:lnTo>
                        <a:lnTo>
                          <a:pt x="68" y="200"/>
                        </a:lnTo>
                        <a:lnTo>
                          <a:pt x="81" y="179"/>
                        </a:lnTo>
                        <a:lnTo>
                          <a:pt x="97" y="157"/>
                        </a:lnTo>
                        <a:lnTo>
                          <a:pt x="112" y="137"/>
                        </a:lnTo>
                        <a:lnTo>
                          <a:pt x="129" y="118"/>
                        </a:lnTo>
                        <a:lnTo>
                          <a:pt x="147" y="100"/>
                        </a:lnTo>
                        <a:lnTo>
                          <a:pt x="164" y="83"/>
                        </a:lnTo>
                        <a:lnTo>
                          <a:pt x="183" y="69"/>
                        </a:lnTo>
                        <a:lnTo>
                          <a:pt x="203" y="55"/>
                        </a:lnTo>
                        <a:lnTo>
                          <a:pt x="213" y="50"/>
                        </a:lnTo>
                        <a:lnTo>
                          <a:pt x="229" y="43"/>
                        </a:lnTo>
                        <a:lnTo>
                          <a:pt x="247" y="37"/>
                        </a:lnTo>
                        <a:lnTo>
                          <a:pt x="268" y="30"/>
                        </a:lnTo>
                        <a:lnTo>
                          <a:pt x="291" y="22"/>
                        </a:lnTo>
                        <a:lnTo>
                          <a:pt x="316" y="15"/>
                        </a:lnTo>
                        <a:lnTo>
                          <a:pt x="341" y="10"/>
                        </a:lnTo>
                        <a:lnTo>
                          <a:pt x="367" y="5"/>
                        </a:lnTo>
                        <a:lnTo>
                          <a:pt x="392" y="2"/>
                        </a:lnTo>
                        <a:lnTo>
                          <a:pt x="415" y="0"/>
                        </a:lnTo>
                        <a:lnTo>
                          <a:pt x="426" y="0"/>
                        </a:lnTo>
                        <a:lnTo>
                          <a:pt x="436" y="1"/>
                        </a:lnTo>
                        <a:lnTo>
                          <a:pt x="446" y="2"/>
                        </a:lnTo>
                        <a:lnTo>
                          <a:pt x="455" y="3"/>
                        </a:lnTo>
                        <a:lnTo>
                          <a:pt x="463" y="5"/>
                        </a:lnTo>
                        <a:lnTo>
                          <a:pt x="471" y="9"/>
                        </a:lnTo>
                        <a:lnTo>
                          <a:pt x="476" y="13"/>
                        </a:lnTo>
                        <a:lnTo>
                          <a:pt x="481" y="18"/>
                        </a:lnTo>
                        <a:lnTo>
                          <a:pt x="484" y="23"/>
                        </a:lnTo>
                        <a:lnTo>
                          <a:pt x="487" y="30"/>
                        </a:lnTo>
                        <a:lnTo>
                          <a:pt x="487" y="38"/>
                        </a:lnTo>
                        <a:lnTo>
                          <a:pt x="487" y="45"/>
                        </a:lnTo>
                        <a:lnTo>
                          <a:pt x="487" y="62"/>
                        </a:lnTo>
                        <a:lnTo>
                          <a:pt x="488" y="107"/>
                        </a:lnTo>
                        <a:lnTo>
                          <a:pt x="491" y="172"/>
                        </a:lnTo>
                        <a:lnTo>
                          <a:pt x="492" y="252"/>
                        </a:lnTo>
                        <a:lnTo>
                          <a:pt x="494" y="341"/>
                        </a:lnTo>
                        <a:lnTo>
                          <a:pt x="495" y="433"/>
                        </a:lnTo>
                        <a:lnTo>
                          <a:pt x="496" y="520"/>
                        </a:lnTo>
                        <a:lnTo>
                          <a:pt x="496" y="596"/>
                        </a:lnTo>
                        <a:lnTo>
                          <a:pt x="497" y="630"/>
                        </a:lnTo>
                        <a:lnTo>
                          <a:pt x="499" y="664"/>
                        </a:lnTo>
                        <a:lnTo>
                          <a:pt x="502" y="700"/>
                        </a:lnTo>
                        <a:lnTo>
                          <a:pt x="502" y="737"/>
                        </a:lnTo>
                        <a:lnTo>
                          <a:pt x="501" y="754"/>
                        </a:lnTo>
                        <a:lnTo>
                          <a:pt x="498" y="771"/>
                        </a:lnTo>
                        <a:lnTo>
                          <a:pt x="495" y="788"/>
                        </a:lnTo>
                        <a:lnTo>
                          <a:pt x="491" y="803"/>
                        </a:lnTo>
                        <a:lnTo>
                          <a:pt x="484" y="819"/>
                        </a:lnTo>
                        <a:lnTo>
                          <a:pt x="476" y="833"/>
                        </a:lnTo>
                        <a:lnTo>
                          <a:pt x="472" y="840"/>
                        </a:lnTo>
                        <a:lnTo>
                          <a:pt x="466" y="847"/>
                        </a:lnTo>
                        <a:lnTo>
                          <a:pt x="461" y="853"/>
                        </a:lnTo>
                        <a:lnTo>
                          <a:pt x="454" y="859"/>
                        </a:lnTo>
                        <a:lnTo>
                          <a:pt x="445" y="867"/>
                        </a:lnTo>
                        <a:lnTo>
                          <a:pt x="434" y="875"/>
                        </a:lnTo>
                        <a:lnTo>
                          <a:pt x="424" y="882"/>
                        </a:lnTo>
                        <a:lnTo>
                          <a:pt x="412" y="888"/>
                        </a:lnTo>
                        <a:lnTo>
                          <a:pt x="388" y="900"/>
                        </a:lnTo>
                        <a:lnTo>
                          <a:pt x="361" y="910"/>
                        </a:lnTo>
                        <a:lnTo>
                          <a:pt x="335" y="919"/>
                        </a:lnTo>
                        <a:lnTo>
                          <a:pt x="306" y="927"/>
                        </a:lnTo>
                        <a:lnTo>
                          <a:pt x="277" y="933"/>
                        </a:lnTo>
                        <a:lnTo>
                          <a:pt x="247" y="939"/>
                        </a:lnTo>
                        <a:lnTo>
                          <a:pt x="186" y="947"/>
                        </a:lnTo>
                        <a:lnTo>
                          <a:pt x="126" y="954"/>
                        </a:lnTo>
                        <a:lnTo>
                          <a:pt x="69" y="960"/>
                        </a:lnTo>
                        <a:lnTo>
                          <a:pt x="16" y="967"/>
                        </a:lnTo>
                        <a:lnTo>
                          <a:pt x="19" y="946"/>
                        </a:lnTo>
                        <a:lnTo>
                          <a:pt x="20" y="918"/>
                        </a:lnTo>
                        <a:lnTo>
                          <a:pt x="20" y="886"/>
                        </a:lnTo>
                        <a:lnTo>
                          <a:pt x="19" y="850"/>
                        </a:lnTo>
                        <a:lnTo>
                          <a:pt x="15" y="768"/>
                        </a:lnTo>
                        <a:lnTo>
                          <a:pt x="10" y="679"/>
                        </a:lnTo>
                        <a:lnTo>
                          <a:pt x="5" y="589"/>
                        </a:lnTo>
                        <a:lnTo>
                          <a:pt x="2" y="505"/>
                        </a:lnTo>
                        <a:lnTo>
                          <a:pt x="1" y="467"/>
                        </a:lnTo>
                        <a:lnTo>
                          <a:pt x="0" y="433"/>
                        </a:lnTo>
                        <a:lnTo>
                          <a:pt x="1" y="404"/>
                        </a:lnTo>
                        <a:lnTo>
                          <a:pt x="2" y="379"/>
                        </a:lnTo>
                        <a:close/>
                      </a:path>
                    </a:pathLst>
                  </a:custGeom>
                  <a:solidFill>
                    <a:srgbClr val="242B53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88" name="Freeform 177"/>
                  <p:cNvSpPr>
                    <a:spLocks/>
                  </p:cNvSpPr>
                  <p:nvPr/>
                </p:nvSpPr>
                <p:spPr bwMode="auto">
                  <a:xfrm>
                    <a:off x="3442" y="4059"/>
                    <a:ext cx="170" cy="105"/>
                  </a:xfrm>
                  <a:custGeom>
                    <a:avLst/>
                    <a:gdLst>
                      <a:gd name="T0" fmla="*/ 0 w 1192"/>
                      <a:gd name="T1" fmla="*/ 0 h 736"/>
                      <a:gd name="T2" fmla="*/ 0 w 1192"/>
                      <a:gd name="T3" fmla="*/ 0 h 736"/>
                      <a:gd name="T4" fmla="*/ 0 w 1192"/>
                      <a:gd name="T5" fmla="*/ 0 h 736"/>
                      <a:gd name="T6" fmla="*/ 0 w 1192"/>
                      <a:gd name="T7" fmla="*/ 0 h 736"/>
                      <a:gd name="T8" fmla="*/ 0 w 1192"/>
                      <a:gd name="T9" fmla="*/ 0 h 736"/>
                      <a:gd name="T10" fmla="*/ 0 w 1192"/>
                      <a:gd name="T11" fmla="*/ 0 h 736"/>
                      <a:gd name="T12" fmla="*/ 0 w 1192"/>
                      <a:gd name="T13" fmla="*/ 0 h 736"/>
                      <a:gd name="T14" fmla="*/ 0 w 1192"/>
                      <a:gd name="T15" fmla="*/ 0 h 736"/>
                      <a:gd name="T16" fmla="*/ 0 w 1192"/>
                      <a:gd name="T17" fmla="*/ 0 h 736"/>
                      <a:gd name="T18" fmla="*/ 0 w 1192"/>
                      <a:gd name="T19" fmla="*/ 0 h 736"/>
                      <a:gd name="T20" fmla="*/ 0 w 1192"/>
                      <a:gd name="T21" fmla="*/ 0 h 736"/>
                      <a:gd name="T22" fmla="*/ 0 w 1192"/>
                      <a:gd name="T23" fmla="*/ 0 h 736"/>
                      <a:gd name="T24" fmla="*/ 0 w 1192"/>
                      <a:gd name="T25" fmla="*/ 0 h 736"/>
                      <a:gd name="T26" fmla="*/ 0 w 1192"/>
                      <a:gd name="T27" fmla="*/ 0 h 736"/>
                      <a:gd name="T28" fmla="*/ 0 w 1192"/>
                      <a:gd name="T29" fmla="*/ 0 h 736"/>
                      <a:gd name="T30" fmla="*/ 0 w 1192"/>
                      <a:gd name="T31" fmla="*/ 0 h 736"/>
                      <a:gd name="T32" fmla="*/ 0 w 1192"/>
                      <a:gd name="T33" fmla="*/ 0 h 736"/>
                      <a:gd name="T34" fmla="*/ 0 w 1192"/>
                      <a:gd name="T35" fmla="*/ 0 h 736"/>
                      <a:gd name="T36" fmla="*/ 0 w 1192"/>
                      <a:gd name="T37" fmla="*/ 0 h 736"/>
                      <a:gd name="T38" fmla="*/ 0 w 1192"/>
                      <a:gd name="T39" fmla="*/ 0 h 736"/>
                      <a:gd name="T40" fmla="*/ 0 w 1192"/>
                      <a:gd name="T41" fmla="*/ 0 h 736"/>
                      <a:gd name="T42" fmla="*/ 0 w 1192"/>
                      <a:gd name="T43" fmla="*/ 0 h 736"/>
                      <a:gd name="T44" fmla="*/ 0 w 1192"/>
                      <a:gd name="T45" fmla="*/ 0 h 736"/>
                      <a:gd name="T46" fmla="*/ 0 w 1192"/>
                      <a:gd name="T47" fmla="*/ 0 h 736"/>
                      <a:gd name="T48" fmla="*/ 0 w 1192"/>
                      <a:gd name="T49" fmla="*/ 0 h 736"/>
                      <a:gd name="T50" fmla="*/ 0 w 1192"/>
                      <a:gd name="T51" fmla="*/ 0 h 736"/>
                      <a:gd name="T52" fmla="*/ 0 w 1192"/>
                      <a:gd name="T53" fmla="*/ 0 h 736"/>
                      <a:gd name="T54" fmla="*/ 0 w 1192"/>
                      <a:gd name="T55" fmla="*/ 0 h 736"/>
                      <a:gd name="T56" fmla="*/ 0 w 1192"/>
                      <a:gd name="T57" fmla="*/ 0 h 736"/>
                      <a:gd name="T58" fmla="*/ 0 w 1192"/>
                      <a:gd name="T59" fmla="*/ 0 h 736"/>
                      <a:gd name="T60" fmla="*/ 0 w 1192"/>
                      <a:gd name="T61" fmla="*/ 0 h 736"/>
                      <a:gd name="T62" fmla="*/ 0 w 1192"/>
                      <a:gd name="T63" fmla="*/ 0 h 736"/>
                      <a:gd name="T64" fmla="*/ 0 w 1192"/>
                      <a:gd name="T65" fmla="*/ 0 h 736"/>
                      <a:gd name="T66" fmla="*/ 0 w 1192"/>
                      <a:gd name="T67" fmla="*/ 0 h 736"/>
                      <a:gd name="T68" fmla="*/ 0 w 1192"/>
                      <a:gd name="T69" fmla="*/ 0 h 736"/>
                      <a:gd name="T70" fmla="*/ 0 w 1192"/>
                      <a:gd name="T71" fmla="*/ 0 h 736"/>
                      <a:gd name="T72" fmla="*/ 0 w 1192"/>
                      <a:gd name="T73" fmla="*/ 0 h 736"/>
                      <a:gd name="T74" fmla="*/ 0 w 1192"/>
                      <a:gd name="T75" fmla="*/ 0 h 736"/>
                      <a:gd name="T76" fmla="*/ 0 w 1192"/>
                      <a:gd name="T77" fmla="*/ 0 h 736"/>
                      <a:gd name="T78" fmla="*/ 0 w 1192"/>
                      <a:gd name="T79" fmla="*/ 0 h 736"/>
                      <a:gd name="T80" fmla="*/ 0 w 1192"/>
                      <a:gd name="T81" fmla="*/ 0 h 736"/>
                      <a:gd name="T82" fmla="*/ 0 w 1192"/>
                      <a:gd name="T83" fmla="*/ 0 h 736"/>
                      <a:gd name="T84" fmla="*/ 0 w 1192"/>
                      <a:gd name="T85" fmla="*/ 0 h 736"/>
                      <a:gd name="T86" fmla="*/ 0 w 1192"/>
                      <a:gd name="T87" fmla="*/ 0 h 736"/>
                      <a:gd name="T88" fmla="*/ 0 w 1192"/>
                      <a:gd name="T89" fmla="*/ 0 h 736"/>
                      <a:gd name="T90" fmla="*/ 0 w 1192"/>
                      <a:gd name="T91" fmla="*/ 0 h 736"/>
                      <a:gd name="T92" fmla="*/ 0 w 1192"/>
                      <a:gd name="T93" fmla="*/ 0 h 736"/>
                      <a:gd name="T94" fmla="*/ 0 w 1192"/>
                      <a:gd name="T95" fmla="*/ 0 h 736"/>
                      <a:gd name="T96" fmla="*/ 0 w 1192"/>
                      <a:gd name="T97" fmla="*/ 0 h 736"/>
                      <a:gd name="T98" fmla="*/ 0 w 1192"/>
                      <a:gd name="T99" fmla="*/ 0 h 736"/>
                      <a:gd name="T100" fmla="*/ 0 w 1192"/>
                      <a:gd name="T101" fmla="*/ 0 h 736"/>
                      <a:gd name="T102" fmla="*/ 0 w 1192"/>
                      <a:gd name="T103" fmla="*/ 0 h 736"/>
                      <a:gd name="T104" fmla="*/ 0 w 1192"/>
                      <a:gd name="T105" fmla="*/ 0 h 736"/>
                      <a:gd name="T106" fmla="*/ 0 w 1192"/>
                      <a:gd name="T107" fmla="*/ 0 h 736"/>
                      <a:gd name="T108" fmla="*/ 0 w 1192"/>
                      <a:gd name="T109" fmla="*/ 0 h 736"/>
                      <a:gd name="T110" fmla="*/ 0 w 1192"/>
                      <a:gd name="T111" fmla="*/ 0 h 736"/>
                      <a:gd name="T112" fmla="*/ 0 w 1192"/>
                      <a:gd name="T113" fmla="*/ 0 h 736"/>
                      <a:gd name="T114" fmla="*/ 0 w 1192"/>
                      <a:gd name="T115" fmla="*/ 0 h 736"/>
                      <a:gd name="T116" fmla="*/ 0 w 1192"/>
                      <a:gd name="T117" fmla="*/ 0 h 736"/>
                      <a:gd name="T118" fmla="*/ 0 w 1192"/>
                      <a:gd name="T119" fmla="*/ 0 h 736"/>
                      <a:gd name="T120" fmla="*/ 0 w 1192"/>
                      <a:gd name="T121" fmla="*/ 0 h 736"/>
                      <a:gd name="T122" fmla="*/ 0 w 1192"/>
                      <a:gd name="T123" fmla="*/ 0 h 736"/>
                      <a:gd name="T124" fmla="*/ 0 w 1192"/>
                      <a:gd name="T125" fmla="*/ 0 h 7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60000 65536"/>
                      <a:gd name="T178" fmla="*/ 0 60000 65536"/>
                      <a:gd name="T179" fmla="*/ 0 60000 65536"/>
                      <a:gd name="T180" fmla="*/ 0 60000 65536"/>
                      <a:gd name="T181" fmla="*/ 0 60000 65536"/>
                      <a:gd name="T182" fmla="*/ 0 60000 65536"/>
                      <a:gd name="T183" fmla="*/ 0 60000 65536"/>
                      <a:gd name="T184" fmla="*/ 0 60000 65536"/>
                      <a:gd name="T185" fmla="*/ 0 60000 65536"/>
                      <a:gd name="T186" fmla="*/ 0 60000 65536"/>
                      <a:gd name="T187" fmla="*/ 0 60000 65536"/>
                      <a:gd name="T188" fmla="*/ 0 60000 65536"/>
                      <a:gd name="T189" fmla="*/ 0 w 1192"/>
                      <a:gd name="T190" fmla="*/ 0 h 736"/>
                      <a:gd name="T191" fmla="*/ 1192 w 1192"/>
                      <a:gd name="T192" fmla="*/ 736 h 736"/>
                    </a:gdLst>
                    <a:ahLst/>
                    <a:cxnLst>
                      <a:cxn ang="T126">
                        <a:pos x="T0" y="T1"/>
                      </a:cxn>
                      <a:cxn ang="T127">
                        <a:pos x="T2" y="T3"/>
                      </a:cxn>
                      <a:cxn ang="T128">
                        <a:pos x="T4" y="T5"/>
                      </a:cxn>
                      <a:cxn ang="T129">
                        <a:pos x="T6" y="T7"/>
                      </a:cxn>
                      <a:cxn ang="T130">
                        <a:pos x="T8" y="T9"/>
                      </a:cxn>
                      <a:cxn ang="T131">
                        <a:pos x="T10" y="T11"/>
                      </a:cxn>
                      <a:cxn ang="T132">
                        <a:pos x="T12" y="T13"/>
                      </a:cxn>
                      <a:cxn ang="T133">
                        <a:pos x="T14" y="T15"/>
                      </a:cxn>
                      <a:cxn ang="T134">
                        <a:pos x="T16" y="T17"/>
                      </a:cxn>
                      <a:cxn ang="T135">
                        <a:pos x="T18" y="T19"/>
                      </a:cxn>
                      <a:cxn ang="T136">
                        <a:pos x="T20" y="T21"/>
                      </a:cxn>
                      <a:cxn ang="T137">
                        <a:pos x="T22" y="T23"/>
                      </a:cxn>
                      <a:cxn ang="T138">
                        <a:pos x="T24" y="T25"/>
                      </a:cxn>
                      <a:cxn ang="T139">
                        <a:pos x="T26" y="T27"/>
                      </a:cxn>
                      <a:cxn ang="T140">
                        <a:pos x="T28" y="T29"/>
                      </a:cxn>
                      <a:cxn ang="T141">
                        <a:pos x="T30" y="T31"/>
                      </a:cxn>
                      <a:cxn ang="T142">
                        <a:pos x="T32" y="T33"/>
                      </a:cxn>
                      <a:cxn ang="T143">
                        <a:pos x="T34" y="T35"/>
                      </a:cxn>
                      <a:cxn ang="T144">
                        <a:pos x="T36" y="T37"/>
                      </a:cxn>
                      <a:cxn ang="T145">
                        <a:pos x="T38" y="T39"/>
                      </a:cxn>
                      <a:cxn ang="T146">
                        <a:pos x="T40" y="T41"/>
                      </a:cxn>
                      <a:cxn ang="T147">
                        <a:pos x="T42" y="T43"/>
                      </a:cxn>
                      <a:cxn ang="T148">
                        <a:pos x="T44" y="T45"/>
                      </a:cxn>
                      <a:cxn ang="T149">
                        <a:pos x="T46" y="T47"/>
                      </a:cxn>
                      <a:cxn ang="T150">
                        <a:pos x="T48" y="T49"/>
                      </a:cxn>
                      <a:cxn ang="T151">
                        <a:pos x="T50" y="T51"/>
                      </a:cxn>
                      <a:cxn ang="T152">
                        <a:pos x="T52" y="T53"/>
                      </a:cxn>
                      <a:cxn ang="T153">
                        <a:pos x="T54" y="T55"/>
                      </a:cxn>
                      <a:cxn ang="T154">
                        <a:pos x="T56" y="T57"/>
                      </a:cxn>
                      <a:cxn ang="T155">
                        <a:pos x="T58" y="T59"/>
                      </a:cxn>
                      <a:cxn ang="T156">
                        <a:pos x="T60" y="T61"/>
                      </a:cxn>
                      <a:cxn ang="T157">
                        <a:pos x="T62" y="T63"/>
                      </a:cxn>
                      <a:cxn ang="T158">
                        <a:pos x="T64" y="T65"/>
                      </a:cxn>
                      <a:cxn ang="T159">
                        <a:pos x="T66" y="T67"/>
                      </a:cxn>
                      <a:cxn ang="T160">
                        <a:pos x="T68" y="T69"/>
                      </a:cxn>
                      <a:cxn ang="T161">
                        <a:pos x="T70" y="T71"/>
                      </a:cxn>
                      <a:cxn ang="T162">
                        <a:pos x="T72" y="T73"/>
                      </a:cxn>
                      <a:cxn ang="T163">
                        <a:pos x="T74" y="T75"/>
                      </a:cxn>
                      <a:cxn ang="T164">
                        <a:pos x="T76" y="T77"/>
                      </a:cxn>
                      <a:cxn ang="T165">
                        <a:pos x="T78" y="T79"/>
                      </a:cxn>
                      <a:cxn ang="T166">
                        <a:pos x="T80" y="T81"/>
                      </a:cxn>
                      <a:cxn ang="T167">
                        <a:pos x="T82" y="T83"/>
                      </a:cxn>
                      <a:cxn ang="T168">
                        <a:pos x="T84" y="T85"/>
                      </a:cxn>
                      <a:cxn ang="T169">
                        <a:pos x="T86" y="T87"/>
                      </a:cxn>
                      <a:cxn ang="T170">
                        <a:pos x="T88" y="T89"/>
                      </a:cxn>
                      <a:cxn ang="T171">
                        <a:pos x="T90" y="T91"/>
                      </a:cxn>
                      <a:cxn ang="T172">
                        <a:pos x="T92" y="T93"/>
                      </a:cxn>
                      <a:cxn ang="T173">
                        <a:pos x="T94" y="T95"/>
                      </a:cxn>
                      <a:cxn ang="T174">
                        <a:pos x="T96" y="T97"/>
                      </a:cxn>
                      <a:cxn ang="T175">
                        <a:pos x="T98" y="T99"/>
                      </a:cxn>
                      <a:cxn ang="T176">
                        <a:pos x="T100" y="T101"/>
                      </a:cxn>
                      <a:cxn ang="T177">
                        <a:pos x="T102" y="T103"/>
                      </a:cxn>
                      <a:cxn ang="T178">
                        <a:pos x="T104" y="T105"/>
                      </a:cxn>
                      <a:cxn ang="T179">
                        <a:pos x="T106" y="T107"/>
                      </a:cxn>
                      <a:cxn ang="T180">
                        <a:pos x="T108" y="T109"/>
                      </a:cxn>
                      <a:cxn ang="T181">
                        <a:pos x="T110" y="T111"/>
                      </a:cxn>
                      <a:cxn ang="T182">
                        <a:pos x="T112" y="T113"/>
                      </a:cxn>
                      <a:cxn ang="T183">
                        <a:pos x="T114" y="T115"/>
                      </a:cxn>
                      <a:cxn ang="T184">
                        <a:pos x="T116" y="T117"/>
                      </a:cxn>
                      <a:cxn ang="T185">
                        <a:pos x="T118" y="T119"/>
                      </a:cxn>
                      <a:cxn ang="T186">
                        <a:pos x="T120" y="T121"/>
                      </a:cxn>
                      <a:cxn ang="T187">
                        <a:pos x="T122" y="T123"/>
                      </a:cxn>
                      <a:cxn ang="T188">
                        <a:pos x="T124" y="T125"/>
                      </a:cxn>
                    </a:cxnLst>
                    <a:rect l="T189" t="T190" r="T191" b="T192"/>
                    <a:pathLst>
                      <a:path w="1192" h="736">
                        <a:moveTo>
                          <a:pt x="0" y="368"/>
                        </a:moveTo>
                        <a:lnTo>
                          <a:pt x="0" y="387"/>
                        </a:lnTo>
                        <a:lnTo>
                          <a:pt x="2" y="405"/>
                        </a:lnTo>
                        <a:lnTo>
                          <a:pt x="3" y="424"/>
                        </a:lnTo>
                        <a:lnTo>
                          <a:pt x="5" y="442"/>
                        </a:lnTo>
                        <a:lnTo>
                          <a:pt x="8" y="460"/>
                        </a:lnTo>
                        <a:lnTo>
                          <a:pt x="12" y="478"/>
                        </a:lnTo>
                        <a:lnTo>
                          <a:pt x="16" y="495"/>
                        </a:lnTo>
                        <a:lnTo>
                          <a:pt x="22" y="511"/>
                        </a:lnTo>
                        <a:lnTo>
                          <a:pt x="28" y="528"/>
                        </a:lnTo>
                        <a:lnTo>
                          <a:pt x="36" y="543"/>
                        </a:lnTo>
                        <a:lnTo>
                          <a:pt x="45" y="559"/>
                        </a:lnTo>
                        <a:lnTo>
                          <a:pt x="55" y="574"/>
                        </a:lnTo>
                        <a:lnTo>
                          <a:pt x="66" y="588"/>
                        </a:lnTo>
                        <a:lnTo>
                          <a:pt x="78" y="602"/>
                        </a:lnTo>
                        <a:lnTo>
                          <a:pt x="92" y="616"/>
                        </a:lnTo>
                        <a:lnTo>
                          <a:pt x="107" y="628"/>
                        </a:lnTo>
                        <a:lnTo>
                          <a:pt x="124" y="640"/>
                        </a:lnTo>
                        <a:lnTo>
                          <a:pt x="142" y="653"/>
                        </a:lnTo>
                        <a:lnTo>
                          <a:pt x="162" y="664"/>
                        </a:lnTo>
                        <a:lnTo>
                          <a:pt x="184" y="674"/>
                        </a:lnTo>
                        <a:lnTo>
                          <a:pt x="206" y="683"/>
                        </a:lnTo>
                        <a:lnTo>
                          <a:pt x="232" y="691"/>
                        </a:lnTo>
                        <a:lnTo>
                          <a:pt x="259" y="700"/>
                        </a:lnTo>
                        <a:lnTo>
                          <a:pt x="288" y="707"/>
                        </a:lnTo>
                        <a:lnTo>
                          <a:pt x="319" y="714"/>
                        </a:lnTo>
                        <a:lnTo>
                          <a:pt x="352" y="719"/>
                        </a:lnTo>
                        <a:lnTo>
                          <a:pt x="387" y="725"/>
                        </a:lnTo>
                        <a:lnTo>
                          <a:pt x="425" y="728"/>
                        </a:lnTo>
                        <a:lnTo>
                          <a:pt x="463" y="732"/>
                        </a:lnTo>
                        <a:lnTo>
                          <a:pt x="506" y="734"/>
                        </a:lnTo>
                        <a:lnTo>
                          <a:pt x="550" y="736"/>
                        </a:lnTo>
                        <a:lnTo>
                          <a:pt x="597" y="736"/>
                        </a:lnTo>
                        <a:lnTo>
                          <a:pt x="648" y="736"/>
                        </a:lnTo>
                        <a:lnTo>
                          <a:pt x="697" y="734"/>
                        </a:lnTo>
                        <a:lnTo>
                          <a:pt x="743" y="732"/>
                        </a:lnTo>
                        <a:lnTo>
                          <a:pt x="785" y="728"/>
                        </a:lnTo>
                        <a:lnTo>
                          <a:pt x="825" y="725"/>
                        </a:lnTo>
                        <a:lnTo>
                          <a:pt x="863" y="719"/>
                        </a:lnTo>
                        <a:lnTo>
                          <a:pt x="898" y="714"/>
                        </a:lnTo>
                        <a:lnTo>
                          <a:pt x="930" y="707"/>
                        </a:lnTo>
                        <a:lnTo>
                          <a:pt x="959" y="700"/>
                        </a:lnTo>
                        <a:lnTo>
                          <a:pt x="987" y="691"/>
                        </a:lnTo>
                        <a:lnTo>
                          <a:pt x="1012" y="683"/>
                        </a:lnTo>
                        <a:lnTo>
                          <a:pt x="1034" y="674"/>
                        </a:lnTo>
                        <a:lnTo>
                          <a:pt x="1056" y="664"/>
                        </a:lnTo>
                        <a:lnTo>
                          <a:pt x="1075" y="653"/>
                        </a:lnTo>
                        <a:lnTo>
                          <a:pt x="1092" y="640"/>
                        </a:lnTo>
                        <a:lnTo>
                          <a:pt x="1108" y="628"/>
                        </a:lnTo>
                        <a:lnTo>
                          <a:pt x="1121" y="616"/>
                        </a:lnTo>
                        <a:lnTo>
                          <a:pt x="1133" y="602"/>
                        </a:lnTo>
                        <a:lnTo>
                          <a:pt x="1145" y="588"/>
                        </a:lnTo>
                        <a:lnTo>
                          <a:pt x="1154" y="574"/>
                        </a:lnTo>
                        <a:lnTo>
                          <a:pt x="1162" y="559"/>
                        </a:lnTo>
                        <a:lnTo>
                          <a:pt x="1169" y="543"/>
                        </a:lnTo>
                        <a:lnTo>
                          <a:pt x="1175" y="528"/>
                        </a:lnTo>
                        <a:lnTo>
                          <a:pt x="1179" y="511"/>
                        </a:lnTo>
                        <a:lnTo>
                          <a:pt x="1184" y="495"/>
                        </a:lnTo>
                        <a:lnTo>
                          <a:pt x="1187" y="478"/>
                        </a:lnTo>
                        <a:lnTo>
                          <a:pt x="1189" y="460"/>
                        </a:lnTo>
                        <a:lnTo>
                          <a:pt x="1190" y="442"/>
                        </a:lnTo>
                        <a:lnTo>
                          <a:pt x="1192" y="405"/>
                        </a:lnTo>
                        <a:lnTo>
                          <a:pt x="1192" y="368"/>
                        </a:lnTo>
                        <a:lnTo>
                          <a:pt x="1192" y="349"/>
                        </a:lnTo>
                        <a:lnTo>
                          <a:pt x="1190" y="331"/>
                        </a:lnTo>
                        <a:lnTo>
                          <a:pt x="1186" y="312"/>
                        </a:lnTo>
                        <a:lnTo>
                          <a:pt x="1180" y="294"/>
                        </a:lnTo>
                        <a:lnTo>
                          <a:pt x="1174" y="276"/>
                        </a:lnTo>
                        <a:lnTo>
                          <a:pt x="1166" y="259"/>
                        </a:lnTo>
                        <a:lnTo>
                          <a:pt x="1157" y="242"/>
                        </a:lnTo>
                        <a:lnTo>
                          <a:pt x="1146" y="225"/>
                        </a:lnTo>
                        <a:lnTo>
                          <a:pt x="1133" y="209"/>
                        </a:lnTo>
                        <a:lnTo>
                          <a:pt x="1121" y="193"/>
                        </a:lnTo>
                        <a:lnTo>
                          <a:pt x="1107" y="177"/>
                        </a:lnTo>
                        <a:lnTo>
                          <a:pt x="1091" y="163"/>
                        </a:lnTo>
                        <a:lnTo>
                          <a:pt x="1075" y="148"/>
                        </a:lnTo>
                        <a:lnTo>
                          <a:pt x="1057" y="134"/>
                        </a:lnTo>
                        <a:lnTo>
                          <a:pt x="1038" y="121"/>
                        </a:lnTo>
                        <a:lnTo>
                          <a:pt x="1018" y="108"/>
                        </a:lnTo>
                        <a:lnTo>
                          <a:pt x="998" y="96"/>
                        </a:lnTo>
                        <a:lnTo>
                          <a:pt x="975" y="84"/>
                        </a:lnTo>
                        <a:lnTo>
                          <a:pt x="953" y="73"/>
                        </a:lnTo>
                        <a:lnTo>
                          <a:pt x="930" y="63"/>
                        </a:lnTo>
                        <a:lnTo>
                          <a:pt x="905" y="54"/>
                        </a:lnTo>
                        <a:lnTo>
                          <a:pt x="881" y="45"/>
                        </a:lnTo>
                        <a:lnTo>
                          <a:pt x="855" y="36"/>
                        </a:lnTo>
                        <a:lnTo>
                          <a:pt x="829" y="29"/>
                        </a:lnTo>
                        <a:lnTo>
                          <a:pt x="802" y="23"/>
                        </a:lnTo>
                        <a:lnTo>
                          <a:pt x="774" y="17"/>
                        </a:lnTo>
                        <a:lnTo>
                          <a:pt x="746" y="12"/>
                        </a:lnTo>
                        <a:lnTo>
                          <a:pt x="717" y="7"/>
                        </a:lnTo>
                        <a:lnTo>
                          <a:pt x="687" y="5"/>
                        </a:lnTo>
                        <a:lnTo>
                          <a:pt x="658" y="2"/>
                        </a:lnTo>
                        <a:lnTo>
                          <a:pt x="627" y="0"/>
                        </a:lnTo>
                        <a:lnTo>
                          <a:pt x="597" y="0"/>
                        </a:lnTo>
                        <a:lnTo>
                          <a:pt x="566" y="0"/>
                        </a:lnTo>
                        <a:lnTo>
                          <a:pt x="536" y="2"/>
                        </a:lnTo>
                        <a:lnTo>
                          <a:pt x="506" y="5"/>
                        </a:lnTo>
                        <a:lnTo>
                          <a:pt x="477" y="7"/>
                        </a:lnTo>
                        <a:lnTo>
                          <a:pt x="448" y="12"/>
                        </a:lnTo>
                        <a:lnTo>
                          <a:pt x="419" y="17"/>
                        </a:lnTo>
                        <a:lnTo>
                          <a:pt x="392" y="23"/>
                        </a:lnTo>
                        <a:lnTo>
                          <a:pt x="364" y="29"/>
                        </a:lnTo>
                        <a:lnTo>
                          <a:pt x="339" y="36"/>
                        </a:lnTo>
                        <a:lnTo>
                          <a:pt x="312" y="45"/>
                        </a:lnTo>
                        <a:lnTo>
                          <a:pt x="288" y="54"/>
                        </a:lnTo>
                        <a:lnTo>
                          <a:pt x="263" y="63"/>
                        </a:lnTo>
                        <a:lnTo>
                          <a:pt x="240" y="73"/>
                        </a:lnTo>
                        <a:lnTo>
                          <a:pt x="217" y="84"/>
                        </a:lnTo>
                        <a:lnTo>
                          <a:pt x="196" y="96"/>
                        </a:lnTo>
                        <a:lnTo>
                          <a:pt x="175" y="108"/>
                        </a:lnTo>
                        <a:lnTo>
                          <a:pt x="155" y="121"/>
                        </a:lnTo>
                        <a:lnTo>
                          <a:pt x="136" y="134"/>
                        </a:lnTo>
                        <a:lnTo>
                          <a:pt x="120" y="148"/>
                        </a:lnTo>
                        <a:lnTo>
                          <a:pt x="103" y="163"/>
                        </a:lnTo>
                        <a:lnTo>
                          <a:pt x="87" y="177"/>
                        </a:lnTo>
                        <a:lnTo>
                          <a:pt x="73" y="193"/>
                        </a:lnTo>
                        <a:lnTo>
                          <a:pt x="59" y="209"/>
                        </a:lnTo>
                        <a:lnTo>
                          <a:pt x="47" y="225"/>
                        </a:lnTo>
                        <a:lnTo>
                          <a:pt x="37" y="242"/>
                        </a:lnTo>
                        <a:lnTo>
                          <a:pt x="27" y="259"/>
                        </a:lnTo>
                        <a:lnTo>
                          <a:pt x="19" y="276"/>
                        </a:lnTo>
                        <a:lnTo>
                          <a:pt x="13" y="294"/>
                        </a:lnTo>
                        <a:lnTo>
                          <a:pt x="7" y="312"/>
                        </a:lnTo>
                        <a:lnTo>
                          <a:pt x="4" y="331"/>
                        </a:lnTo>
                        <a:lnTo>
                          <a:pt x="2" y="349"/>
                        </a:lnTo>
                        <a:lnTo>
                          <a:pt x="0" y="368"/>
                        </a:lnTo>
                        <a:close/>
                      </a:path>
                    </a:pathLst>
                  </a:custGeom>
                  <a:solidFill>
                    <a:srgbClr val="273669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89" name="Freeform 178"/>
                  <p:cNvSpPr>
                    <a:spLocks/>
                  </p:cNvSpPr>
                  <p:nvPr/>
                </p:nvSpPr>
                <p:spPr bwMode="auto">
                  <a:xfrm>
                    <a:off x="3487" y="4059"/>
                    <a:ext cx="84" cy="29"/>
                  </a:xfrm>
                  <a:custGeom>
                    <a:avLst/>
                    <a:gdLst>
                      <a:gd name="T0" fmla="*/ 0 w 593"/>
                      <a:gd name="T1" fmla="*/ 0 h 194"/>
                      <a:gd name="T2" fmla="*/ 0 w 593"/>
                      <a:gd name="T3" fmla="*/ 0 h 194"/>
                      <a:gd name="T4" fmla="*/ 0 w 593"/>
                      <a:gd name="T5" fmla="*/ 0 h 194"/>
                      <a:gd name="T6" fmla="*/ 0 w 593"/>
                      <a:gd name="T7" fmla="*/ 0 h 194"/>
                      <a:gd name="T8" fmla="*/ 0 w 593"/>
                      <a:gd name="T9" fmla="*/ 0 h 194"/>
                      <a:gd name="T10" fmla="*/ 0 w 593"/>
                      <a:gd name="T11" fmla="*/ 0 h 194"/>
                      <a:gd name="T12" fmla="*/ 0 w 593"/>
                      <a:gd name="T13" fmla="*/ 0 h 194"/>
                      <a:gd name="T14" fmla="*/ 0 w 593"/>
                      <a:gd name="T15" fmla="*/ 0 h 194"/>
                      <a:gd name="T16" fmla="*/ 0 w 593"/>
                      <a:gd name="T17" fmla="*/ 0 h 194"/>
                      <a:gd name="T18" fmla="*/ 0 w 593"/>
                      <a:gd name="T19" fmla="*/ 0 h 194"/>
                      <a:gd name="T20" fmla="*/ 0 w 593"/>
                      <a:gd name="T21" fmla="*/ 0 h 194"/>
                      <a:gd name="T22" fmla="*/ 0 w 593"/>
                      <a:gd name="T23" fmla="*/ 0 h 194"/>
                      <a:gd name="T24" fmla="*/ 0 w 593"/>
                      <a:gd name="T25" fmla="*/ 0 h 194"/>
                      <a:gd name="T26" fmla="*/ 0 w 593"/>
                      <a:gd name="T27" fmla="*/ 0 h 194"/>
                      <a:gd name="T28" fmla="*/ 0 w 593"/>
                      <a:gd name="T29" fmla="*/ 0 h 194"/>
                      <a:gd name="T30" fmla="*/ 0 w 593"/>
                      <a:gd name="T31" fmla="*/ 0 h 194"/>
                      <a:gd name="T32" fmla="*/ 0 w 593"/>
                      <a:gd name="T33" fmla="*/ 0 h 194"/>
                      <a:gd name="T34" fmla="*/ 0 w 593"/>
                      <a:gd name="T35" fmla="*/ 0 h 194"/>
                      <a:gd name="T36" fmla="*/ 0 w 593"/>
                      <a:gd name="T37" fmla="*/ 0 h 194"/>
                      <a:gd name="T38" fmla="*/ 0 w 593"/>
                      <a:gd name="T39" fmla="*/ 0 h 194"/>
                      <a:gd name="T40" fmla="*/ 0 w 593"/>
                      <a:gd name="T41" fmla="*/ 0 h 194"/>
                      <a:gd name="T42" fmla="*/ 0 w 593"/>
                      <a:gd name="T43" fmla="*/ 0 h 194"/>
                      <a:gd name="T44" fmla="*/ 0 w 593"/>
                      <a:gd name="T45" fmla="*/ 0 h 194"/>
                      <a:gd name="T46" fmla="*/ 0 w 593"/>
                      <a:gd name="T47" fmla="*/ 0 h 194"/>
                      <a:gd name="T48" fmla="*/ 0 w 593"/>
                      <a:gd name="T49" fmla="*/ 0 h 194"/>
                      <a:gd name="T50" fmla="*/ 0 w 593"/>
                      <a:gd name="T51" fmla="*/ 0 h 194"/>
                      <a:gd name="T52" fmla="*/ 0 w 593"/>
                      <a:gd name="T53" fmla="*/ 0 h 194"/>
                      <a:gd name="T54" fmla="*/ 0 w 593"/>
                      <a:gd name="T55" fmla="*/ 0 h 194"/>
                      <a:gd name="T56" fmla="*/ 0 w 593"/>
                      <a:gd name="T57" fmla="*/ 0 h 194"/>
                      <a:gd name="T58" fmla="*/ 0 w 593"/>
                      <a:gd name="T59" fmla="*/ 0 h 194"/>
                      <a:gd name="T60" fmla="*/ 0 w 593"/>
                      <a:gd name="T61" fmla="*/ 0 h 194"/>
                      <a:gd name="T62" fmla="*/ 0 w 593"/>
                      <a:gd name="T63" fmla="*/ 0 h 194"/>
                      <a:gd name="T64" fmla="*/ 0 w 593"/>
                      <a:gd name="T65" fmla="*/ 0 h 194"/>
                      <a:gd name="T66" fmla="*/ 0 w 593"/>
                      <a:gd name="T67" fmla="*/ 0 h 194"/>
                      <a:gd name="T68" fmla="*/ 0 w 593"/>
                      <a:gd name="T69" fmla="*/ 0 h 194"/>
                      <a:gd name="T70" fmla="*/ 0 w 593"/>
                      <a:gd name="T71" fmla="*/ 0 h 194"/>
                      <a:gd name="T72" fmla="*/ 0 w 593"/>
                      <a:gd name="T73" fmla="*/ 0 h 194"/>
                      <a:gd name="T74" fmla="*/ 0 w 593"/>
                      <a:gd name="T75" fmla="*/ 0 h 194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w 593"/>
                      <a:gd name="T115" fmla="*/ 0 h 194"/>
                      <a:gd name="T116" fmla="*/ 593 w 593"/>
                      <a:gd name="T117" fmla="*/ 194 h 194"/>
                    </a:gdLst>
                    <a:ahLst/>
                    <a:cxnLst>
                      <a:cxn ang="T76">
                        <a:pos x="T0" y="T1"/>
                      </a:cxn>
                      <a:cxn ang="T77">
                        <a:pos x="T2" y="T3"/>
                      </a:cxn>
                      <a:cxn ang="T78">
                        <a:pos x="T4" y="T5"/>
                      </a:cxn>
                      <a:cxn ang="T79">
                        <a:pos x="T6" y="T7"/>
                      </a:cxn>
                      <a:cxn ang="T80">
                        <a:pos x="T8" y="T9"/>
                      </a:cxn>
                      <a:cxn ang="T81">
                        <a:pos x="T10" y="T11"/>
                      </a:cxn>
                      <a:cxn ang="T82">
                        <a:pos x="T12" y="T13"/>
                      </a:cxn>
                      <a:cxn ang="T83">
                        <a:pos x="T14" y="T15"/>
                      </a:cxn>
                      <a:cxn ang="T84">
                        <a:pos x="T16" y="T17"/>
                      </a:cxn>
                      <a:cxn ang="T85">
                        <a:pos x="T18" y="T19"/>
                      </a:cxn>
                      <a:cxn ang="T86">
                        <a:pos x="T20" y="T21"/>
                      </a:cxn>
                      <a:cxn ang="T87">
                        <a:pos x="T22" y="T23"/>
                      </a:cxn>
                      <a:cxn ang="T88">
                        <a:pos x="T24" y="T25"/>
                      </a:cxn>
                      <a:cxn ang="T89">
                        <a:pos x="T26" y="T27"/>
                      </a:cxn>
                      <a:cxn ang="T90">
                        <a:pos x="T28" y="T29"/>
                      </a:cxn>
                      <a:cxn ang="T91">
                        <a:pos x="T30" y="T31"/>
                      </a:cxn>
                      <a:cxn ang="T92">
                        <a:pos x="T32" y="T33"/>
                      </a:cxn>
                      <a:cxn ang="T93">
                        <a:pos x="T34" y="T35"/>
                      </a:cxn>
                      <a:cxn ang="T94">
                        <a:pos x="T36" y="T37"/>
                      </a:cxn>
                      <a:cxn ang="T95">
                        <a:pos x="T38" y="T39"/>
                      </a:cxn>
                      <a:cxn ang="T96">
                        <a:pos x="T40" y="T41"/>
                      </a:cxn>
                      <a:cxn ang="T97">
                        <a:pos x="T42" y="T43"/>
                      </a:cxn>
                      <a:cxn ang="T98">
                        <a:pos x="T44" y="T45"/>
                      </a:cxn>
                      <a:cxn ang="T99">
                        <a:pos x="T46" y="T47"/>
                      </a:cxn>
                      <a:cxn ang="T100">
                        <a:pos x="T48" y="T49"/>
                      </a:cxn>
                      <a:cxn ang="T101">
                        <a:pos x="T50" y="T51"/>
                      </a:cxn>
                      <a:cxn ang="T102">
                        <a:pos x="T52" y="T53"/>
                      </a:cxn>
                      <a:cxn ang="T103">
                        <a:pos x="T54" y="T55"/>
                      </a:cxn>
                      <a:cxn ang="T104">
                        <a:pos x="T56" y="T57"/>
                      </a:cxn>
                      <a:cxn ang="T105">
                        <a:pos x="T58" y="T59"/>
                      </a:cxn>
                      <a:cxn ang="T106">
                        <a:pos x="T60" y="T61"/>
                      </a:cxn>
                      <a:cxn ang="T107">
                        <a:pos x="T62" y="T63"/>
                      </a:cxn>
                      <a:cxn ang="T108">
                        <a:pos x="T64" y="T65"/>
                      </a:cxn>
                      <a:cxn ang="T109">
                        <a:pos x="T66" y="T67"/>
                      </a:cxn>
                      <a:cxn ang="T110">
                        <a:pos x="T68" y="T69"/>
                      </a:cxn>
                      <a:cxn ang="T111">
                        <a:pos x="T70" y="T71"/>
                      </a:cxn>
                      <a:cxn ang="T112">
                        <a:pos x="T72" y="T73"/>
                      </a:cxn>
                      <a:cxn ang="T113">
                        <a:pos x="T74" y="T75"/>
                      </a:cxn>
                    </a:cxnLst>
                    <a:rect l="T114" t="T115" r="T116" b="T117"/>
                    <a:pathLst>
                      <a:path w="593" h="194">
                        <a:moveTo>
                          <a:pt x="0" y="98"/>
                        </a:moveTo>
                        <a:lnTo>
                          <a:pt x="0" y="102"/>
                        </a:lnTo>
                        <a:lnTo>
                          <a:pt x="1" y="108"/>
                        </a:lnTo>
                        <a:lnTo>
                          <a:pt x="4" y="112"/>
                        </a:lnTo>
                        <a:lnTo>
                          <a:pt x="6" y="117"/>
                        </a:lnTo>
                        <a:lnTo>
                          <a:pt x="9" y="122"/>
                        </a:lnTo>
                        <a:lnTo>
                          <a:pt x="14" y="127"/>
                        </a:lnTo>
                        <a:lnTo>
                          <a:pt x="18" y="131"/>
                        </a:lnTo>
                        <a:lnTo>
                          <a:pt x="24" y="136"/>
                        </a:lnTo>
                        <a:lnTo>
                          <a:pt x="36" y="143"/>
                        </a:lnTo>
                        <a:lnTo>
                          <a:pt x="50" y="152"/>
                        </a:lnTo>
                        <a:lnTo>
                          <a:pt x="68" y="159"/>
                        </a:lnTo>
                        <a:lnTo>
                          <a:pt x="87" y="167"/>
                        </a:lnTo>
                        <a:lnTo>
                          <a:pt x="108" y="172"/>
                        </a:lnTo>
                        <a:lnTo>
                          <a:pt x="130" y="178"/>
                        </a:lnTo>
                        <a:lnTo>
                          <a:pt x="155" y="183"/>
                        </a:lnTo>
                        <a:lnTo>
                          <a:pt x="182" y="187"/>
                        </a:lnTo>
                        <a:lnTo>
                          <a:pt x="208" y="190"/>
                        </a:lnTo>
                        <a:lnTo>
                          <a:pt x="237" y="192"/>
                        </a:lnTo>
                        <a:lnTo>
                          <a:pt x="266" y="194"/>
                        </a:lnTo>
                        <a:lnTo>
                          <a:pt x="296" y="194"/>
                        </a:lnTo>
                        <a:lnTo>
                          <a:pt x="327" y="194"/>
                        </a:lnTo>
                        <a:lnTo>
                          <a:pt x="356" y="192"/>
                        </a:lnTo>
                        <a:lnTo>
                          <a:pt x="385" y="190"/>
                        </a:lnTo>
                        <a:lnTo>
                          <a:pt x="412" y="187"/>
                        </a:lnTo>
                        <a:lnTo>
                          <a:pt x="438" y="183"/>
                        </a:lnTo>
                        <a:lnTo>
                          <a:pt x="462" y="178"/>
                        </a:lnTo>
                        <a:lnTo>
                          <a:pt x="485" y="172"/>
                        </a:lnTo>
                        <a:lnTo>
                          <a:pt x="507" y="167"/>
                        </a:lnTo>
                        <a:lnTo>
                          <a:pt x="526" y="159"/>
                        </a:lnTo>
                        <a:lnTo>
                          <a:pt x="542" y="152"/>
                        </a:lnTo>
                        <a:lnTo>
                          <a:pt x="558" y="143"/>
                        </a:lnTo>
                        <a:lnTo>
                          <a:pt x="570" y="136"/>
                        </a:lnTo>
                        <a:lnTo>
                          <a:pt x="576" y="131"/>
                        </a:lnTo>
                        <a:lnTo>
                          <a:pt x="580" y="127"/>
                        </a:lnTo>
                        <a:lnTo>
                          <a:pt x="585" y="122"/>
                        </a:lnTo>
                        <a:lnTo>
                          <a:pt x="588" y="117"/>
                        </a:lnTo>
                        <a:lnTo>
                          <a:pt x="590" y="112"/>
                        </a:lnTo>
                        <a:lnTo>
                          <a:pt x="592" y="108"/>
                        </a:lnTo>
                        <a:lnTo>
                          <a:pt x="593" y="102"/>
                        </a:lnTo>
                        <a:lnTo>
                          <a:pt x="593" y="98"/>
                        </a:lnTo>
                        <a:lnTo>
                          <a:pt x="593" y="92"/>
                        </a:lnTo>
                        <a:lnTo>
                          <a:pt x="592" y="88"/>
                        </a:lnTo>
                        <a:lnTo>
                          <a:pt x="590" y="82"/>
                        </a:lnTo>
                        <a:lnTo>
                          <a:pt x="588" y="78"/>
                        </a:lnTo>
                        <a:lnTo>
                          <a:pt x="580" y="69"/>
                        </a:lnTo>
                        <a:lnTo>
                          <a:pt x="570" y="60"/>
                        </a:lnTo>
                        <a:lnTo>
                          <a:pt x="558" y="51"/>
                        </a:lnTo>
                        <a:lnTo>
                          <a:pt x="542" y="43"/>
                        </a:lnTo>
                        <a:lnTo>
                          <a:pt x="526" y="35"/>
                        </a:lnTo>
                        <a:lnTo>
                          <a:pt x="507" y="29"/>
                        </a:lnTo>
                        <a:lnTo>
                          <a:pt x="485" y="22"/>
                        </a:lnTo>
                        <a:lnTo>
                          <a:pt x="462" y="16"/>
                        </a:lnTo>
                        <a:lnTo>
                          <a:pt x="438" y="12"/>
                        </a:lnTo>
                        <a:lnTo>
                          <a:pt x="412" y="8"/>
                        </a:lnTo>
                        <a:lnTo>
                          <a:pt x="385" y="4"/>
                        </a:lnTo>
                        <a:lnTo>
                          <a:pt x="356" y="2"/>
                        </a:lnTo>
                        <a:lnTo>
                          <a:pt x="327" y="1"/>
                        </a:lnTo>
                        <a:lnTo>
                          <a:pt x="296" y="0"/>
                        </a:lnTo>
                        <a:lnTo>
                          <a:pt x="266" y="1"/>
                        </a:lnTo>
                        <a:lnTo>
                          <a:pt x="237" y="2"/>
                        </a:lnTo>
                        <a:lnTo>
                          <a:pt x="208" y="4"/>
                        </a:lnTo>
                        <a:lnTo>
                          <a:pt x="182" y="8"/>
                        </a:lnTo>
                        <a:lnTo>
                          <a:pt x="155" y="12"/>
                        </a:lnTo>
                        <a:lnTo>
                          <a:pt x="130" y="16"/>
                        </a:lnTo>
                        <a:lnTo>
                          <a:pt x="108" y="22"/>
                        </a:lnTo>
                        <a:lnTo>
                          <a:pt x="87" y="29"/>
                        </a:lnTo>
                        <a:lnTo>
                          <a:pt x="68" y="35"/>
                        </a:lnTo>
                        <a:lnTo>
                          <a:pt x="50" y="43"/>
                        </a:lnTo>
                        <a:lnTo>
                          <a:pt x="36" y="51"/>
                        </a:lnTo>
                        <a:lnTo>
                          <a:pt x="24" y="60"/>
                        </a:lnTo>
                        <a:lnTo>
                          <a:pt x="14" y="69"/>
                        </a:lnTo>
                        <a:lnTo>
                          <a:pt x="6" y="78"/>
                        </a:lnTo>
                        <a:lnTo>
                          <a:pt x="4" y="82"/>
                        </a:lnTo>
                        <a:lnTo>
                          <a:pt x="1" y="88"/>
                        </a:lnTo>
                        <a:lnTo>
                          <a:pt x="0" y="92"/>
                        </a:lnTo>
                        <a:lnTo>
                          <a:pt x="0" y="98"/>
                        </a:lnTo>
                        <a:close/>
                      </a:path>
                    </a:pathLst>
                  </a:custGeom>
                  <a:solidFill>
                    <a:srgbClr val="2E5592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90" name="Freeform 179"/>
                  <p:cNvSpPr>
                    <a:spLocks/>
                  </p:cNvSpPr>
                  <p:nvPr/>
                </p:nvSpPr>
                <p:spPr bwMode="auto">
                  <a:xfrm>
                    <a:off x="3442" y="4078"/>
                    <a:ext cx="169" cy="86"/>
                  </a:xfrm>
                  <a:custGeom>
                    <a:avLst/>
                    <a:gdLst>
                      <a:gd name="T0" fmla="*/ 0 w 1185"/>
                      <a:gd name="T1" fmla="*/ 0 h 605"/>
                      <a:gd name="T2" fmla="*/ 0 w 1185"/>
                      <a:gd name="T3" fmla="*/ 0 h 605"/>
                      <a:gd name="T4" fmla="*/ 0 w 1185"/>
                      <a:gd name="T5" fmla="*/ 0 h 605"/>
                      <a:gd name="T6" fmla="*/ 0 w 1185"/>
                      <a:gd name="T7" fmla="*/ 0 h 605"/>
                      <a:gd name="T8" fmla="*/ 0 w 1185"/>
                      <a:gd name="T9" fmla="*/ 0 h 605"/>
                      <a:gd name="T10" fmla="*/ 0 w 1185"/>
                      <a:gd name="T11" fmla="*/ 0 h 605"/>
                      <a:gd name="T12" fmla="*/ 0 w 1185"/>
                      <a:gd name="T13" fmla="*/ 0 h 605"/>
                      <a:gd name="T14" fmla="*/ 0 w 1185"/>
                      <a:gd name="T15" fmla="*/ 0 h 605"/>
                      <a:gd name="T16" fmla="*/ 0 w 1185"/>
                      <a:gd name="T17" fmla="*/ 0 h 605"/>
                      <a:gd name="T18" fmla="*/ 0 w 1185"/>
                      <a:gd name="T19" fmla="*/ 0 h 605"/>
                      <a:gd name="T20" fmla="*/ 0 w 1185"/>
                      <a:gd name="T21" fmla="*/ 0 h 605"/>
                      <a:gd name="T22" fmla="*/ 0 w 1185"/>
                      <a:gd name="T23" fmla="*/ 0 h 605"/>
                      <a:gd name="T24" fmla="*/ 0 w 1185"/>
                      <a:gd name="T25" fmla="*/ 0 h 605"/>
                      <a:gd name="T26" fmla="*/ 0 w 1185"/>
                      <a:gd name="T27" fmla="*/ 0 h 605"/>
                      <a:gd name="T28" fmla="*/ 0 w 1185"/>
                      <a:gd name="T29" fmla="*/ 0 h 605"/>
                      <a:gd name="T30" fmla="*/ 0 w 1185"/>
                      <a:gd name="T31" fmla="*/ 0 h 605"/>
                      <a:gd name="T32" fmla="*/ 0 w 1185"/>
                      <a:gd name="T33" fmla="*/ 0 h 605"/>
                      <a:gd name="T34" fmla="*/ 0 w 1185"/>
                      <a:gd name="T35" fmla="*/ 0 h 605"/>
                      <a:gd name="T36" fmla="*/ 0 w 1185"/>
                      <a:gd name="T37" fmla="*/ 0 h 605"/>
                      <a:gd name="T38" fmla="*/ 0 w 1185"/>
                      <a:gd name="T39" fmla="*/ 0 h 605"/>
                      <a:gd name="T40" fmla="*/ 0 w 1185"/>
                      <a:gd name="T41" fmla="*/ 0 h 605"/>
                      <a:gd name="T42" fmla="*/ 0 w 1185"/>
                      <a:gd name="T43" fmla="*/ 0 h 605"/>
                      <a:gd name="T44" fmla="*/ 0 w 1185"/>
                      <a:gd name="T45" fmla="*/ 0 h 605"/>
                      <a:gd name="T46" fmla="*/ 0 w 1185"/>
                      <a:gd name="T47" fmla="*/ 0 h 605"/>
                      <a:gd name="T48" fmla="*/ 0 w 1185"/>
                      <a:gd name="T49" fmla="*/ 0 h 605"/>
                      <a:gd name="T50" fmla="*/ 0 w 1185"/>
                      <a:gd name="T51" fmla="*/ 0 h 605"/>
                      <a:gd name="T52" fmla="*/ 0 w 1185"/>
                      <a:gd name="T53" fmla="*/ 0 h 605"/>
                      <a:gd name="T54" fmla="*/ 0 w 1185"/>
                      <a:gd name="T55" fmla="*/ 0 h 605"/>
                      <a:gd name="T56" fmla="*/ 0 w 1185"/>
                      <a:gd name="T57" fmla="*/ 0 h 605"/>
                      <a:gd name="T58" fmla="*/ 0 w 1185"/>
                      <a:gd name="T59" fmla="*/ 0 h 605"/>
                      <a:gd name="T60" fmla="*/ 0 w 1185"/>
                      <a:gd name="T61" fmla="*/ 0 h 605"/>
                      <a:gd name="T62" fmla="*/ 0 w 1185"/>
                      <a:gd name="T63" fmla="*/ 0 h 605"/>
                      <a:gd name="T64" fmla="*/ 0 w 1185"/>
                      <a:gd name="T65" fmla="*/ 0 h 605"/>
                      <a:gd name="T66" fmla="*/ 0 w 1185"/>
                      <a:gd name="T67" fmla="*/ 0 h 605"/>
                      <a:gd name="T68" fmla="*/ 0 w 1185"/>
                      <a:gd name="T69" fmla="*/ 0 h 605"/>
                      <a:gd name="T70" fmla="*/ 0 w 1185"/>
                      <a:gd name="T71" fmla="*/ 0 h 605"/>
                      <a:gd name="T72" fmla="*/ 0 w 1185"/>
                      <a:gd name="T73" fmla="*/ 0 h 605"/>
                      <a:gd name="T74" fmla="*/ 0 w 1185"/>
                      <a:gd name="T75" fmla="*/ 0 h 605"/>
                      <a:gd name="T76" fmla="*/ 0 w 1185"/>
                      <a:gd name="T77" fmla="*/ 0 h 605"/>
                      <a:gd name="T78" fmla="*/ 0 w 1185"/>
                      <a:gd name="T79" fmla="*/ 0 h 605"/>
                      <a:gd name="T80" fmla="*/ 0 w 1185"/>
                      <a:gd name="T81" fmla="*/ 0 h 605"/>
                      <a:gd name="T82" fmla="*/ 0 w 1185"/>
                      <a:gd name="T83" fmla="*/ 0 h 605"/>
                      <a:gd name="T84" fmla="*/ 0 w 1185"/>
                      <a:gd name="T85" fmla="*/ 0 h 605"/>
                      <a:gd name="T86" fmla="*/ 0 w 1185"/>
                      <a:gd name="T87" fmla="*/ 0 h 605"/>
                      <a:gd name="T88" fmla="*/ 0 w 1185"/>
                      <a:gd name="T89" fmla="*/ 0 h 605"/>
                      <a:gd name="T90" fmla="*/ 0 w 1185"/>
                      <a:gd name="T91" fmla="*/ 0 h 605"/>
                      <a:gd name="T92" fmla="*/ 0 w 1185"/>
                      <a:gd name="T93" fmla="*/ 0 h 605"/>
                      <a:gd name="T94" fmla="*/ 0 w 1185"/>
                      <a:gd name="T95" fmla="*/ 0 h 605"/>
                      <a:gd name="T96" fmla="*/ 0 w 1185"/>
                      <a:gd name="T97" fmla="*/ 0 h 605"/>
                      <a:gd name="T98" fmla="*/ 0 w 1185"/>
                      <a:gd name="T99" fmla="*/ 0 h 605"/>
                      <a:gd name="T100" fmla="*/ 0 w 1185"/>
                      <a:gd name="T101" fmla="*/ 0 h 605"/>
                      <a:gd name="T102" fmla="*/ 0 w 1185"/>
                      <a:gd name="T103" fmla="*/ 0 h 605"/>
                      <a:gd name="T104" fmla="*/ 0 w 1185"/>
                      <a:gd name="T105" fmla="*/ 0 h 605"/>
                      <a:gd name="T106" fmla="*/ 0 w 1185"/>
                      <a:gd name="T107" fmla="*/ 0 h 605"/>
                      <a:gd name="T108" fmla="*/ 0 w 1185"/>
                      <a:gd name="T109" fmla="*/ 0 h 605"/>
                      <a:gd name="T110" fmla="*/ 0 w 1185"/>
                      <a:gd name="T111" fmla="*/ 0 h 605"/>
                      <a:gd name="T112" fmla="*/ 0 w 1185"/>
                      <a:gd name="T113" fmla="*/ 0 h 605"/>
                      <a:gd name="T114" fmla="*/ 0 w 1185"/>
                      <a:gd name="T115" fmla="*/ 0 h 605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w 1185"/>
                      <a:gd name="T175" fmla="*/ 0 h 605"/>
                      <a:gd name="T176" fmla="*/ 1185 w 1185"/>
                      <a:gd name="T177" fmla="*/ 605 h 605"/>
                    </a:gdLst>
                    <a:ahLst/>
                    <a:cxnLst>
                      <a:cxn ang="T116">
                        <a:pos x="T0" y="T1"/>
                      </a:cxn>
                      <a:cxn ang="T117">
                        <a:pos x="T2" y="T3"/>
                      </a:cxn>
                      <a:cxn ang="T118">
                        <a:pos x="T4" y="T5"/>
                      </a:cxn>
                      <a:cxn ang="T119">
                        <a:pos x="T6" y="T7"/>
                      </a:cxn>
                      <a:cxn ang="T120">
                        <a:pos x="T8" y="T9"/>
                      </a:cxn>
                      <a:cxn ang="T121">
                        <a:pos x="T10" y="T11"/>
                      </a:cxn>
                      <a:cxn ang="T122">
                        <a:pos x="T12" y="T13"/>
                      </a:cxn>
                      <a:cxn ang="T123">
                        <a:pos x="T14" y="T15"/>
                      </a:cxn>
                      <a:cxn ang="T124">
                        <a:pos x="T16" y="T17"/>
                      </a:cxn>
                      <a:cxn ang="T125">
                        <a:pos x="T18" y="T19"/>
                      </a:cxn>
                      <a:cxn ang="T126">
                        <a:pos x="T20" y="T21"/>
                      </a:cxn>
                      <a:cxn ang="T127">
                        <a:pos x="T22" y="T23"/>
                      </a:cxn>
                      <a:cxn ang="T128">
                        <a:pos x="T24" y="T25"/>
                      </a:cxn>
                      <a:cxn ang="T129">
                        <a:pos x="T26" y="T27"/>
                      </a:cxn>
                      <a:cxn ang="T130">
                        <a:pos x="T28" y="T29"/>
                      </a:cxn>
                      <a:cxn ang="T131">
                        <a:pos x="T30" y="T31"/>
                      </a:cxn>
                      <a:cxn ang="T132">
                        <a:pos x="T32" y="T33"/>
                      </a:cxn>
                      <a:cxn ang="T133">
                        <a:pos x="T34" y="T35"/>
                      </a:cxn>
                      <a:cxn ang="T134">
                        <a:pos x="T36" y="T37"/>
                      </a:cxn>
                      <a:cxn ang="T135">
                        <a:pos x="T38" y="T39"/>
                      </a:cxn>
                      <a:cxn ang="T136">
                        <a:pos x="T40" y="T41"/>
                      </a:cxn>
                      <a:cxn ang="T137">
                        <a:pos x="T42" y="T43"/>
                      </a:cxn>
                      <a:cxn ang="T138">
                        <a:pos x="T44" y="T45"/>
                      </a:cxn>
                      <a:cxn ang="T139">
                        <a:pos x="T46" y="T47"/>
                      </a:cxn>
                      <a:cxn ang="T140">
                        <a:pos x="T48" y="T49"/>
                      </a:cxn>
                      <a:cxn ang="T141">
                        <a:pos x="T50" y="T51"/>
                      </a:cxn>
                      <a:cxn ang="T142">
                        <a:pos x="T52" y="T53"/>
                      </a:cxn>
                      <a:cxn ang="T143">
                        <a:pos x="T54" y="T55"/>
                      </a:cxn>
                      <a:cxn ang="T144">
                        <a:pos x="T56" y="T57"/>
                      </a:cxn>
                      <a:cxn ang="T145">
                        <a:pos x="T58" y="T59"/>
                      </a:cxn>
                      <a:cxn ang="T146">
                        <a:pos x="T60" y="T61"/>
                      </a:cxn>
                      <a:cxn ang="T147">
                        <a:pos x="T62" y="T63"/>
                      </a:cxn>
                      <a:cxn ang="T148">
                        <a:pos x="T64" y="T65"/>
                      </a:cxn>
                      <a:cxn ang="T149">
                        <a:pos x="T66" y="T67"/>
                      </a:cxn>
                      <a:cxn ang="T150">
                        <a:pos x="T68" y="T69"/>
                      </a:cxn>
                      <a:cxn ang="T151">
                        <a:pos x="T70" y="T71"/>
                      </a:cxn>
                      <a:cxn ang="T152">
                        <a:pos x="T72" y="T73"/>
                      </a:cxn>
                      <a:cxn ang="T153">
                        <a:pos x="T74" y="T75"/>
                      </a:cxn>
                      <a:cxn ang="T154">
                        <a:pos x="T76" y="T77"/>
                      </a:cxn>
                      <a:cxn ang="T155">
                        <a:pos x="T78" y="T79"/>
                      </a:cxn>
                      <a:cxn ang="T156">
                        <a:pos x="T80" y="T81"/>
                      </a:cxn>
                      <a:cxn ang="T157">
                        <a:pos x="T82" y="T83"/>
                      </a:cxn>
                      <a:cxn ang="T158">
                        <a:pos x="T84" y="T85"/>
                      </a:cxn>
                      <a:cxn ang="T159">
                        <a:pos x="T86" y="T87"/>
                      </a:cxn>
                      <a:cxn ang="T160">
                        <a:pos x="T88" y="T89"/>
                      </a:cxn>
                      <a:cxn ang="T161">
                        <a:pos x="T90" y="T91"/>
                      </a:cxn>
                      <a:cxn ang="T162">
                        <a:pos x="T92" y="T93"/>
                      </a:cxn>
                      <a:cxn ang="T163">
                        <a:pos x="T94" y="T95"/>
                      </a:cxn>
                      <a:cxn ang="T164">
                        <a:pos x="T96" y="T97"/>
                      </a:cxn>
                      <a:cxn ang="T165">
                        <a:pos x="T98" y="T99"/>
                      </a:cxn>
                      <a:cxn ang="T166">
                        <a:pos x="T100" y="T101"/>
                      </a:cxn>
                      <a:cxn ang="T167">
                        <a:pos x="T102" y="T103"/>
                      </a:cxn>
                      <a:cxn ang="T168">
                        <a:pos x="T104" y="T105"/>
                      </a:cxn>
                      <a:cxn ang="T169">
                        <a:pos x="T106" y="T107"/>
                      </a:cxn>
                      <a:cxn ang="T170">
                        <a:pos x="T108" y="T109"/>
                      </a:cxn>
                      <a:cxn ang="T171">
                        <a:pos x="T110" y="T111"/>
                      </a:cxn>
                      <a:cxn ang="T172">
                        <a:pos x="T112" y="T113"/>
                      </a:cxn>
                      <a:cxn ang="T173">
                        <a:pos x="T114" y="T115"/>
                      </a:cxn>
                    </a:cxnLst>
                    <a:rect l="T174" t="T175" r="T176" b="T177"/>
                    <a:pathLst>
                      <a:path w="1185" h="605">
                        <a:moveTo>
                          <a:pt x="105" y="0"/>
                        </a:moveTo>
                        <a:lnTo>
                          <a:pt x="98" y="20"/>
                        </a:lnTo>
                        <a:lnTo>
                          <a:pt x="93" y="40"/>
                        </a:lnTo>
                        <a:lnTo>
                          <a:pt x="88" y="57"/>
                        </a:lnTo>
                        <a:lnTo>
                          <a:pt x="86" y="75"/>
                        </a:lnTo>
                        <a:lnTo>
                          <a:pt x="85" y="92"/>
                        </a:lnTo>
                        <a:lnTo>
                          <a:pt x="85" y="106"/>
                        </a:lnTo>
                        <a:lnTo>
                          <a:pt x="87" y="121"/>
                        </a:lnTo>
                        <a:lnTo>
                          <a:pt x="89" y="134"/>
                        </a:lnTo>
                        <a:lnTo>
                          <a:pt x="94" y="148"/>
                        </a:lnTo>
                        <a:lnTo>
                          <a:pt x="100" y="159"/>
                        </a:lnTo>
                        <a:lnTo>
                          <a:pt x="106" y="170"/>
                        </a:lnTo>
                        <a:lnTo>
                          <a:pt x="113" y="181"/>
                        </a:lnTo>
                        <a:lnTo>
                          <a:pt x="122" y="191"/>
                        </a:lnTo>
                        <a:lnTo>
                          <a:pt x="131" y="200"/>
                        </a:lnTo>
                        <a:lnTo>
                          <a:pt x="141" y="209"/>
                        </a:lnTo>
                        <a:lnTo>
                          <a:pt x="152" y="217"/>
                        </a:lnTo>
                        <a:lnTo>
                          <a:pt x="164" y="224"/>
                        </a:lnTo>
                        <a:lnTo>
                          <a:pt x="176" y="231"/>
                        </a:lnTo>
                        <a:lnTo>
                          <a:pt x="190" y="239"/>
                        </a:lnTo>
                        <a:lnTo>
                          <a:pt x="203" y="246"/>
                        </a:lnTo>
                        <a:lnTo>
                          <a:pt x="232" y="258"/>
                        </a:lnTo>
                        <a:lnTo>
                          <a:pt x="263" y="269"/>
                        </a:lnTo>
                        <a:lnTo>
                          <a:pt x="328" y="292"/>
                        </a:lnTo>
                        <a:lnTo>
                          <a:pt x="394" y="316"/>
                        </a:lnTo>
                        <a:lnTo>
                          <a:pt x="414" y="323"/>
                        </a:lnTo>
                        <a:lnTo>
                          <a:pt x="436" y="330"/>
                        </a:lnTo>
                        <a:lnTo>
                          <a:pt x="457" y="337"/>
                        </a:lnTo>
                        <a:lnTo>
                          <a:pt x="479" y="342"/>
                        </a:lnTo>
                        <a:lnTo>
                          <a:pt x="526" y="353"/>
                        </a:lnTo>
                        <a:lnTo>
                          <a:pt x="576" y="362"/>
                        </a:lnTo>
                        <a:lnTo>
                          <a:pt x="627" y="369"/>
                        </a:lnTo>
                        <a:lnTo>
                          <a:pt x="679" y="375"/>
                        </a:lnTo>
                        <a:lnTo>
                          <a:pt x="734" y="379"/>
                        </a:lnTo>
                        <a:lnTo>
                          <a:pt x="787" y="381"/>
                        </a:lnTo>
                        <a:lnTo>
                          <a:pt x="842" y="382"/>
                        </a:lnTo>
                        <a:lnTo>
                          <a:pt x="896" y="382"/>
                        </a:lnTo>
                        <a:lnTo>
                          <a:pt x="949" y="381"/>
                        </a:lnTo>
                        <a:lnTo>
                          <a:pt x="1001" y="379"/>
                        </a:lnTo>
                        <a:lnTo>
                          <a:pt x="1051" y="376"/>
                        </a:lnTo>
                        <a:lnTo>
                          <a:pt x="1098" y="370"/>
                        </a:lnTo>
                        <a:lnTo>
                          <a:pt x="1142" y="366"/>
                        </a:lnTo>
                        <a:lnTo>
                          <a:pt x="1185" y="359"/>
                        </a:lnTo>
                        <a:lnTo>
                          <a:pt x="1181" y="372"/>
                        </a:lnTo>
                        <a:lnTo>
                          <a:pt x="1178" y="386"/>
                        </a:lnTo>
                        <a:lnTo>
                          <a:pt x="1175" y="398"/>
                        </a:lnTo>
                        <a:lnTo>
                          <a:pt x="1169" y="410"/>
                        </a:lnTo>
                        <a:lnTo>
                          <a:pt x="1165" y="422"/>
                        </a:lnTo>
                        <a:lnTo>
                          <a:pt x="1158" y="435"/>
                        </a:lnTo>
                        <a:lnTo>
                          <a:pt x="1151" y="447"/>
                        </a:lnTo>
                        <a:lnTo>
                          <a:pt x="1145" y="458"/>
                        </a:lnTo>
                        <a:lnTo>
                          <a:pt x="1136" y="469"/>
                        </a:lnTo>
                        <a:lnTo>
                          <a:pt x="1127" y="479"/>
                        </a:lnTo>
                        <a:lnTo>
                          <a:pt x="1116" y="490"/>
                        </a:lnTo>
                        <a:lnTo>
                          <a:pt x="1105" y="500"/>
                        </a:lnTo>
                        <a:lnTo>
                          <a:pt x="1092" y="509"/>
                        </a:lnTo>
                        <a:lnTo>
                          <a:pt x="1079" y="518"/>
                        </a:lnTo>
                        <a:lnTo>
                          <a:pt x="1064" y="527"/>
                        </a:lnTo>
                        <a:lnTo>
                          <a:pt x="1049" y="536"/>
                        </a:lnTo>
                        <a:lnTo>
                          <a:pt x="1031" y="544"/>
                        </a:lnTo>
                        <a:lnTo>
                          <a:pt x="1013" y="552"/>
                        </a:lnTo>
                        <a:lnTo>
                          <a:pt x="993" y="558"/>
                        </a:lnTo>
                        <a:lnTo>
                          <a:pt x="972" y="565"/>
                        </a:lnTo>
                        <a:lnTo>
                          <a:pt x="950" y="572"/>
                        </a:lnTo>
                        <a:lnTo>
                          <a:pt x="926" y="577"/>
                        </a:lnTo>
                        <a:lnTo>
                          <a:pt x="901" y="583"/>
                        </a:lnTo>
                        <a:lnTo>
                          <a:pt x="874" y="587"/>
                        </a:lnTo>
                        <a:lnTo>
                          <a:pt x="845" y="592"/>
                        </a:lnTo>
                        <a:lnTo>
                          <a:pt x="815" y="595"/>
                        </a:lnTo>
                        <a:lnTo>
                          <a:pt x="783" y="598"/>
                        </a:lnTo>
                        <a:lnTo>
                          <a:pt x="750" y="601"/>
                        </a:lnTo>
                        <a:lnTo>
                          <a:pt x="714" y="603"/>
                        </a:lnTo>
                        <a:lnTo>
                          <a:pt x="677" y="604"/>
                        </a:lnTo>
                        <a:lnTo>
                          <a:pt x="638" y="605"/>
                        </a:lnTo>
                        <a:lnTo>
                          <a:pt x="597" y="605"/>
                        </a:lnTo>
                        <a:lnTo>
                          <a:pt x="550" y="605"/>
                        </a:lnTo>
                        <a:lnTo>
                          <a:pt x="506" y="603"/>
                        </a:lnTo>
                        <a:lnTo>
                          <a:pt x="463" y="601"/>
                        </a:lnTo>
                        <a:lnTo>
                          <a:pt x="425" y="597"/>
                        </a:lnTo>
                        <a:lnTo>
                          <a:pt x="387" y="594"/>
                        </a:lnTo>
                        <a:lnTo>
                          <a:pt x="352" y="588"/>
                        </a:lnTo>
                        <a:lnTo>
                          <a:pt x="319" y="583"/>
                        </a:lnTo>
                        <a:lnTo>
                          <a:pt x="288" y="576"/>
                        </a:lnTo>
                        <a:lnTo>
                          <a:pt x="259" y="569"/>
                        </a:lnTo>
                        <a:lnTo>
                          <a:pt x="232" y="560"/>
                        </a:lnTo>
                        <a:lnTo>
                          <a:pt x="206" y="552"/>
                        </a:lnTo>
                        <a:lnTo>
                          <a:pt x="184" y="543"/>
                        </a:lnTo>
                        <a:lnTo>
                          <a:pt x="162" y="533"/>
                        </a:lnTo>
                        <a:lnTo>
                          <a:pt x="142" y="522"/>
                        </a:lnTo>
                        <a:lnTo>
                          <a:pt x="124" y="509"/>
                        </a:lnTo>
                        <a:lnTo>
                          <a:pt x="107" y="497"/>
                        </a:lnTo>
                        <a:lnTo>
                          <a:pt x="92" y="485"/>
                        </a:lnTo>
                        <a:lnTo>
                          <a:pt x="78" y="471"/>
                        </a:lnTo>
                        <a:lnTo>
                          <a:pt x="66" y="457"/>
                        </a:lnTo>
                        <a:lnTo>
                          <a:pt x="55" y="443"/>
                        </a:lnTo>
                        <a:lnTo>
                          <a:pt x="45" y="428"/>
                        </a:lnTo>
                        <a:lnTo>
                          <a:pt x="36" y="412"/>
                        </a:lnTo>
                        <a:lnTo>
                          <a:pt x="28" y="397"/>
                        </a:lnTo>
                        <a:lnTo>
                          <a:pt x="22" y="380"/>
                        </a:lnTo>
                        <a:lnTo>
                          <a:pt x="16" y="364"/>
                        </a:lnTo>
                        <a:lnTo>
                          <a:pt x="12" y="347"/>
                        </a:lnTo>
                        <a:lnTo>
                          <a:pt x="8" y="329"/>
                        </a:lnTo>
                        <a:lnTo>
                          <a:pt x="5" y="311"/>
                        </a:lnTo>
                        <a:lnTo>
                          <a:pt x="3" y="293"/>
                        </a:lnTo>
                        <a:lnTo>
                          <a:pt x="2" y="274"/>
                        </a:lnTo>
                        <a:lnTo>
                          <a:pt x="0" y="256"/>
                        </a:lnTo>
                        <a:lnTo>
                          <a:pt x="0" y="237"/>
                        </a:lnTo>
                        <a:lnTo>
                          <a:pt x="2" y="226"/>
                        </a:lnTo>
                        <a:lnTo>
                          <a:pt x="4" y="212"/>
                        </a:lnTo>
                        <a:lnTo>
                          <a:pt x="7" y="198"/>
                        </a:lnTo>
                        <a:lnTo>
                          <a:pt x="12" y="182"/>
                        </a:lnTo>
                        <a:lnTo>
                          <a:pt x="24" y="150"/>
                        </a:lnTo>
                        <a:lnTo>
                          <a:pt x="38" y="115"/>
                        </a:lnTo>
                        <a:lnTo>
                          <a:pt x="55" y="81"/>
                        </a:lnTo>
                        <a:lnTo>
                          <a:pt x="73" y="49"/>
                        </a:lnTo>
                        <a:lnTo>
                          <a:pt x="89" y="21"/>
                        </a:lnTo>
                        <a:lnTo>
                          <a:pt x="105" y="0"/>
                        </a:lnTo>
                        <a:close/>
                      </a:path>
                    </a:pathLst>
                  </a:custGeom>
                  <a:solidFill>
                    <a:srgbClr val="242B53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91" name="Freeform 180"/>
                  <p:cNvSpPr>
                    <a:spLocks/>
                  </p:cNvSpPr>
                  <p:nvPr/>
                </p:nvSpPr>
                <p:spPr bwMode="auto">
                  <a:xfrm>
                    <a:off x="3443" y="4127"/>
                    <a:ext cx="168" cy="38"/>
                  </a:xfrm>
                  <a:custGeom>
                    <a:avLst/>
                    <a:gdLst>
                      <a:gd name="T0" fmla="*/ 0 w 1174"/>
                      <a:gd name="T1" fmla="*/ 0 h 264"/>
                      <a:gd name="T2" fmla="*/ 0 w 1174"/>
                      <a:gd name="T3" fmla="*/ 0 h 264"/>
                      <a:gd name="T4" fmla="*/ 0 w 1174"/>
                      <a:gd name="T5" fmla="*/ 0 h 264"/>
                      <a:gd name="T6" fmla="*/ 0 w 1174"/>
                      <a:gd name="T7" fmla="*/ 0 h 264"/>
                      <a:gd name="T8" fmla="*/ 0 w 1174"/>
                      <a:gd name="T9" fmla="*/ 0 h 264"/>
                      <a:gd name="T10" fmla="*/ 0 w 1174"/>
                      <a:gd name="T11" fmla="*/ 0 h 264"/>
                      <a:gd name="T12" fmla="*/ 0 w 1174"/>
                      <a:gd name="T13" fmla="*/ 0 h 264"/>
                      <a:gd name="T14" fmla="*/ 0 w 1174"/>
                      <a:gd name="T15" fmla="*/ 0 h 264"/>
                      <a:gd name="T16" fmla="*/ 0 w 1174"/>
                      <a:gd name="T17" fmla="*/ 0 h 264"/>
                      <a:gd name="T18" fmla="*/ 0 w 1174"/>
                      <a:gd name="T19" fmla="*/ 0 h 264"/>
                      <a:gd name="T20" fmla="*/ 0 w 1174"/>
                      <a:gd name="T21" fmla="*/ 0 h 264"/>
                      <a:gd name="T22" fmla="*/ 0 w 1174"/>
                      <a:gd name="T23" fmla="*/ 0 h 264"/>
                      <a:gd name="T24" fmla="*/ 0 w 1174"/>
                      <a:gd name="T25" fmla="*/ 0 h 264"/>
                      <a:gd name="T26" fmla="*/ 0 w 1174"/>
                      <a:gd name="T27" fmla="*/ 0 h 264"/>
                      <a:gd name="T28" fmla="*/ 0 w 1174"/>
                      <a:gd name="T29" fmla="*/ 0 h 264"/>
                      <a:gd name="T30" fmla="*/ 0 w 1174"/>
                      <a:gd name="T31" fmla="*/ 0 h 264"/>
                      <a:gd name="T32" fmla="*/ 0 w 1174"/>
                      <a:gd name="T33" fmla="*/ 0 h 264"/>
                      <a:gd name="T34" fmla="*/ 0 w 1174"/>
                      <a:gd name="T35" fmla="*/ 0 h 264"/>
                      <a:gd name="T36" fmla="*/ 0 w 1174"/>
                      <a:gd name="T37" fmla="*/ 0 h 264"/>
                      <a:gd name="T38" fmla="*/ 0 w 1174"/>
                      <a:gd name="T39" fmla="*/ 0 h 264"/>
                      <a:gd name="T40" fmla="*/ 0 w 1174"/>
                      <a:gd name="T41" fmla="*/ 0 h 264"/>
                      <a:gd name="T42" fmla="*/ 0 w 1174"/>
                      <a:gd name="T43" fmla="*/ 0 h 264"/>
                      <a:gd name="T44" fmla="*/ 0 w 1174"/>
                      <a:gd name="T45" fmla="*/ 0 h 264"/>
                      <a:gd name="T46" fmla="*/ 0 w 1174"/>
                      <a:gd name="T47" fmla="*/ 0 h 264"/>
                      <a:gd name="T48" fmla="*/ 0 w 1174"/>
                      <a:gd name="T49" fmla="*/ 0 h 264"/>
                      <a:gd name="T50" fmla="*/ 0 w 1174"/>
                      <a:gd name="T51" fmla="*/ 0 h 264"/>
                      <a:gd name="T52" fmla="*/ 0 w 1174"/>
                      <a:gd name="T53" fmla="*/ 0 h 264"/>
                      <a:gd name="T54" fmla="*/ 0 w 1174"/>
                      <a:gd name="T55" fmla="*/ 0 h 264"/>
                      <a:gd name="T56" fmla="*/ 0 w 1174"/>
                      <a:gd name="T57" fmla="*/ 0 h 264"/>
                      <a:gd name="T58" fmla="*/ 0 w 1174"/>
                      <a:gd name="T59" fmla="*/ 0 h 264"/>
                      <a:gd name="T60" fmla="*/ 0 w 1174"/>
                      <a:gd name="T61" fmla="*/ 0 h 264"/>
                      <a:gd name="T62" fmla="*/ 0 w 1174"/>
                      <a:gd name="T63" fmla="*/ 0 h 264"/>
                      <a:gd name="T64" fmla="*/ 0 w 1174"/>
                      <a:gd name="T65" fmla="*/ 0 h 264"/>
                      <a:gd name="T66" fmla="*/ 0 w 1174"/>
                      <a:gd name="T67" fmla="*/ 0 h 264"/>
                      <a:gd name="T68" fmla="*/ 0 w 1174"/>
                      <a:gd name="T69" fmla="*/ 0 h 264"/>
                      <a:gd name="T70" fmla="*/ 0 w 1174"/>
                      <a:gd name="T71" fmla="*/ 0 h 264"/>
                      <a:gd name="T72" fmla="*/ 0 w 1174"/>
                      <a:gd name="T73" fmla="*/ 0 h 264"/>
                      <a:gd name="T74" fmla="*/ 0 w 1174"/>
                      <a:gd name="T75" fmla="*/ 0 h 264"/>
                      <a:gd name="T76" fmla="*/ 0 w 1174"/>
                      <a:gd name="T77" fmla="*/ 0 h 264"/>
                      <a:gd name="T78" fmla="*/ 0 w 1174"/>
                      <a:gd name="T79" fmla="*/ 0 h 264"/>
                      <a:gd name="T80" fmla="*/ 0 w 1174"/>
                      <a:gd name="T81" fmla="*/ 0 h 264"/>
                      <a:gd name="T82" fmla="*/ 0 w 1174"/>
                      <a:gd name="T83" fmla="*/ 0 h 264"/>
                      <a:gd name="T84" fmla="*/ 0 w 1174"/>
                      <a:gd name="T85" fmla="*/ 0 h 264"/>
                      <a:gd name="T86" fmla="*/ 0 w 1174"/>
                      <a:gd name="T87" fmla="*/ 0 h 264"/>
                      <a:gd name="T88" fmla="*/ 0 w 1174"/>
                      <a:gd name="T89" fmla="*/ 0 h 264"/>
                      <a:gd name="T90" fmla="*/ 0 w 1174"/>
                      <a:gd name="T91" fmla="*/ 0 h 264"/>
                      <a:gd name="T92" fmla="*/ 0 w 1174"/>
                      <a:gd name="T93" fmla="*/ 0 h 264"/>
                      <a:gd name="T94" fmla="*/ 0 w 1174"/>
                      <a:gd name="T95" fmla="*/ 0 h 264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w 1174"/>
                      <a:gd name="T145" fmla="*/ 0 h 264"/>
                      <a:gd name="T146" fmla="*/ 1174 w 1174"/>
                      <a:gd name="T147" fmla="*/ 264 h 264"/>
                    </a:gdLst>
                    <a:ahLst/>
                    <a:cxnLst>
                      <a:cxn ang="T96">
                        <a:pos x="T0" y="T1"/>
                      </a:cxn>
                      <a:cxn ang="T97">
                        <a:pos x="T2" y="T3"/>
                      </a:cxn>
                      <a:cxn ang="T98">
                        <a:pos x="T4" y="T5"/>
                      </a:cxn>
                      <a:cxn ang="T99">
                        <a:pos x="T6" y="T7"/>
                      </a:cxn>
                      <a:cxn ang="T100">
                        <a:pos x="T8" y="T9"/>
                      </a:cxn>
                      <a:cxn ang="T101">
                        <a:pos x="T10" y="T11"/>
                      </a:cxn>
                      <a:cxn ang="T102">
                        <a:pos x="T12" y="T13"/>
                      </a:cxn>
                      <a:cxn ang="T103">
                        <a:pos x="T14" y="T15"/>
                      </a:cxn>
                      <a:cxn ang="T104">
                        <a:pos x="T16" y="T17"/>
                      </a:cxn>
                      <a:cxn ang="T105">
                        <a:pos x="T18" y="T19"/>
                      </a:cxn>
                      <a:cxn ang="T106">
                        <a:pos x="T20" y="T21"/>
                      </a:cxn>
                      <a:cxn ang="T107">
                        <a:pos x="T22" y="T23"/>
                      </a:cxn>
                      <a:cxn ang="T108">
                        <a:pos x="T24" y="T25"/>
                      </a:cxn>
                      <a:cxn ang="T109">
                        <a:pos x="T26" y="T27"/>
                      </a:cxn>
                      <a:cxn ang="T110">
                        <a:pos x="T28" y="T29"/>
                      </a:cxn>
                      <a:cxn ang="T111">
                        <a:pos x="T30" y="T31"/>
                      </a:cxn>
                      <a:cxn ang="T112">
                        <a:pos x="T32" y="T33"/>
                      </a:cxn>
                      <a:cxn ang="T113">
                        <a:pos x="T34" y="T35"/>
                      </a:cxn>
                      <a:cxn ang="T114">
                        <a:pos x="T36" y="T37"/>
                      </a:cxn>
                      <a:cxn ang="T115">
                        <a:pos x="T38" y="T39"/>
                      </a:cxn>
                      <a:cxn ang="T116">
                        <a:pos x="T40" y="T41"/>
                      </a:cxn>
                      <a:cxn ang="T117">
                        <a:pos x="T42" y="T43"/>
                      </a:cxn>
                      <a:cxn ang="T118">
                        <a:pos x="T44" y="T45"/>
                      </a:cxn>
                      <a:cxn ang="T119">
                        <a:pos x="T46" y="T47"/>
                      </a:cxn>
                      <a:cxn ang="T120">
                        <a:pos x="T48" y="T49"/>
                      </a:cxn>
                      <a:cxn ang="T121">
                        <a:pos x="T50" y="T51"/>
                      </a:cxn>
                      <a:cxn ang="T122">
                        <a:pos x="T52" y="T53"/>
                      </a:cxn>
                      <a:cxn ang="T123">
                        <a:pos x="T54" y="T55"/>
                      </a:cxn>
                      <a:cxn ang="T124">
                        <a:pos x="T56" y="T57"/>
                      </a:cxn>
                      <a:cxn ang="T125">
                        <a:pos x="T58" y="T59"/>
                      </a:cxn>
                      <a:cxn ang="T126">
                        <a:pos x="T60" y="T61"/>
                      </a:cxn>
                      <a:cxn ang="T127">
                        <a:pos x="T62" y="T63"/>
                      </a:cxn>
                      <a:cxn ang="T128">
                        <a:pos x="T64" y="T65"/>
                      </a:cxn>
                      <a:cxn ang="T129">
                        <a:pos x="T66" y="T67"/>
                      </a:cxn>
                      <a:cxn ang="T130">
                        <a:pos x="T68" y="T69"/>
                      </a:cxn>
                      <a:cxn ang="T131">
                        <a:pos x="T70" y="T71"/>
                      </a:cxn>
                      <a:cxn ang="T132">
                        <a:pos x="T72" y="T73"/>
                      </a:cxn>
                      <a:cxn ang="T133">
                        <a:pos x="T74" y="T75"/>
                      </a:cxn>
                      <a:cxn ang="T134">
                        <a:pos x="T76" y="T77"/>
                      </a:cxn>
                      <a:cxn ang="T135">
                        <a:pos x="T78" y="T79"/>
                      </a:cxn>
                      <a:cxn ang="T136">
                        <a:pos x="T80" y="T81"/>
                      </a:cxn>
                      <a:cxn ang="T137">
                        <a:pos x="T82" y="T83"/>
                      </a:cxn>
                      <a:cxn ang="T138">
                        <a:pos x="T84" y="T85"/>
                      </a:cxn>
                      <a:cxn ang="T139">
                        <a:pos x="T86" y="T87"/>
                      </a:cxn>
                      <a:cxn ang="T140">
                        <a:pos x="T88" y="T89"/>
                      </a:cxn>
                      <a:cxn ang="T141">
                        <a:pos x="T90" y="T91"/>
                      </a:cxn>
                      <a:cxn ang="T142">
                        <a:pos x="T92" y="T93"/>
                      </a:cxn>
                      <a:cxn ang="T143">
                        <a:pos x="T94" y="T95"/>
                      </a:cxn>
                    </a:cxnLst>
                    <a:rect l="T144" t="T145" r="T146" b="T147"/>
                    <a:pathLst>
                      <a:path w="1174" h="264">
                        <a:moveTo>
                          <a:pt x="587" y="142"/>
                        </a:moveTo>
                        <a:lnTo>
                          <a:pt x="648" y="142"/>
                        </a:lnTo>
                        <a:lnTo>
                          <a:pt x="706" y="139"/>
                        </a:lnTo>
                        <a:lnTo>
                          <a:pt x="760" y="137"/>
                        </a:lnTo>
                        <a:lnTo>
                          <a:pt x="811" y="133"/>
                        </a:lnTo>
                        <a:lnTo>
                          <a:pt x="857" y="128"/>
                        </a:lnTo>
                        <a:lnTo>
                          <a:pt x="900" y="123"/>
                        </a:lnTo>
                        <a:lnTo>
                          <a:pt x="940" y="116"/>
                        </a:lnTo>
                        <a:lnTo>
                          <a:pt x="978" y="108"/>
                        </a:lnTo>
                        <a:lnTo>
                          <a:pt x="1011" y="100"/>
                        </a:lnTo>
                        <a:lnTo>
                          <a:pt x="1042" y="90"/>
                        </a:lnTo>
                        <a:lnTo>
                          <a:pt x="1070" y="80"/>
                        </a:lnTo>
                        <a:lnTo>
                          <a:pt x="1096" y="70"/>
                        </a:lnTo>
                        <a:lnTo>
                          <a:pt x="1119" y="58"/>
                        </a:lnTo>
                        <a:lnTo>
                          <a:pt x="1139" y="46"/>
                        </a:lnTo>
                        <a:lnTo>
                          <a:pt x="1158" y="33"/>
                        </a:lnTo>
                        <a:lnTo>
                          <a:pt x="1174" y="19"/>
                        </a:lnTo>
                        <a:lnTo>
                          <a:pt x="1171" y="33"/>
                        </a:lnTo>
                        <a:lnTo>
                          <a:pt x="1168" y="46"/>
                        </a:lnTo>
                        <a:lnTo>
                          <a:pt x="1164" y="58"/>
                        </a:lnTo>
                        <a:lnTo>
                          <a:pt x="1159" y="70"/>
                        </a:lnTo>
                        <a:lnTo>
                          <a:pt x="1154" y="83"/>
                        </a:lnTo>
                        <a:lnTo>
                          <a:pt x="1148" y="95"/>
                        </a:lnTo>
                        <a:lnTo>
                          <a:pt x="1141" y="106"/>
                        </a:lnTo>
                        <a:lnTo>
                          <a:pt x="1134" y="117"/>
                        </a:lnTo>
                        <a:lnTo>
                          <a:pt x="1125" y="128"/>
                        </a:lnTo>
                        <a:lnTo>
                          <a:pt x="1116" y="139"/>
                        </a:lnTo>
                        <a:lnTo>
                          <a:pt x="1106" y="149"/>
                        </a:lnTo>
                        <a:lnTo>
                          <a:pt x="1095" y="159"/>
                        </a:lnTo>
                        <a:lnTo>
                          <a:pt x="1081" y="169"/>
                        </a:lnTo>
                        <a:lnTo>
                          <a:pt x="1068" y="178"/>
                        </a:lnTo>
                        <a:lnTo>
                          <a:pt x="1053" y="187"/>
                        </a:lnTo>
                        <a:lnTo>
                          <a:pt x="1038" y="195"/>
                        </a:lnTo>
                        <a:lnTo>
                          <a:pt x="1021" y="203"/>
                        </a:lnTo>
                        <a:lnTo>
                          <a:pt x="1002" y="211"/>
                        </a:lnTo>
                        <a:lnTo>
                          <a:pt x="983" y="218"/>
                        </a:lnTo>
                        <a:lnTo>
                          <a:pt x="962" y="224"/>
                        </a:lnTo>
                        <a:lnTo>
                          <a:pt x="940" y="231"/>
                        </a:lnTo>
                        <a:lnTo>
                          <a:pt x="915" y="236"/>
                        </a:lnTo>
                        <a:lnTo>
                          <a:pt x="890" y="242"/>
                        </a:lnTo>
                        <a:lnTo>
                          <a:pt x="863" y="246"/>
                        </a:lnTo>
                        <a:lnTo>
                          <a:pt x="835" y="251"/>
                        </a:lnTo>
                        <a:lnTo>
                          <a:pt x="805" y="254"/>
                        </a:lnTo>
                        <a:lnTo>
                          <a:pt x="773" y="257"/>
                        </a:lnTo>
                        <a:lnTo>
                          <a:pt x="740" y="260"/>
                        </a:lnTo>
                        <a:lnTo>
                          <a:pt x="704" y="262"/>
                        </a:lnTo>
                        <a:lnTo>
                          <a:pt x="667" y="263"/>
                        </a:lnTo>
                        <a:lnTo>
                          <a:pt x="628" y="264"/>
                        </a:lnTo>
                        <a:lnTo>
                          <a:pt x="587" y="264"/>
                        </a:lnTo>
                        <a:lnTo>
                          <a:pt x="548" y="264"/>
                        </a:lnTo>
                        <a:lnTo>
                          <a:pt x="511" y="263"/>
                        </a:lnTo>
                        <a:lnTo>
                          <a:pt x="476" y="262"/>
                        </a:lnTo>
                        <a:lnTo>
                          <a:pt x="442" y="260"/>
                        </a:lnTo>
                        <a:lnTo>
                          <a:pt x="410" y="256"/>
                        </a:lnTo>
                        <a:lnTo>
                          <a:pt x="380" y="253"/>
                        </a:lnTo>
                        <a:lnTo>
                          <a:pt x="350" y="250"/>
                        </a:lnTo>
                        <a:lnTo>
                          <a:pt x="323" y="245"/>
                        </a:lnTo>
                        <a:lnTo>
                          <a:pt x="297" y="240"/>
                        </a:lnTo>
                        <a:lnTo>
                          <a:pt x="271" y="234"/>
                        </a:lnTo>
                        <a:lnTo>
                          <a:pt x="248" y="227"/>
                        </a:lnTo>
                        <a:lnTo>
                          <a:pt x="225" y="221"/>
                        </a:lnTo>
                        <a:lnTo>
                          <a:pt x="204" y="214"/>
                        </a:lnTo>
                        <a:lnTo>
                          <a:pt x="185" y="206"/>
                        </a:lnTo>
                        <a:lnTo>
                          <a:pt x="166" y="198"/>
                        </a:lnTo>
                        <a:lnTo>
                          <a:pt x="149" y="189"/>
                        </a:lnTo>
                        <a:lnTo>
                          <a:pt x="133" y="181"/>
                        </a:lnTo>
                        <a:lnTo>
                          <a:pt x="117" y="172"/>
                        </a:lnTo>
                        <a:lnTo>
                          <a:pt x="103" y="162"/>
                        </a:lnTo>
                        <a:lnTo>
                          <a:pt x="91" y="150"/>
                        </a:lnTo>
                        <a:lnTo>
                          <a:pt x="78" y="140"/>
                        </a:lnTo>
                        <a:lnTo>
                          <a:pt x="67" y="129"/>
                        </a:lnTo>
                        <a:lnTo>
                          <a:pt x="57" y="118"/>
                        </a:lnTo>
                        <a:lnTo>
                          <a:pt x="47" y="106"/>
                        </a:lnTo>
                        <a:lnTo>
                          <a:pt x="39" y="94"/>
                        </a:lnTo>
                        <a:lnTo>
                          <a:pt x="32" y="81"/>
                        </a:lnTo>
                        <a:lnTo>
                          <a:pt x="25" y="68"/>
                        </a:lnTo>
                        <a:lnTo>
                          <a:pt x="18" y="56"/>
                        </a:lnTo>
                        <a:lnTo>
                          <a:pt x="13" y="43"/>
                        </a:lnTo>
                        <a:lnTo>
                          <a:pt x="8" y="28"/>
                        </a:lnTo>
                        <a:lnTo>
                          <a:pt x="4" y="15"/>
                        </a:lnTo>
                        <a:lnTo>
                          <a:pt x="0" y="0"/>
                        </a:lnTo>
                        <a:lnTo>
                          <a:pt x="18" y="16"/>
                        </a:lnTo>
                        <a:lnTo>
                          <a:pt x="37" y="31"/>
                        </a:lnTo>
                        <a:lnTo>
                          <a:pt x="58" y="45"/>
                        </a:lnTo>
                        <a:lnTo>
                          <a:pt x="82" y="58"/>
                        </a:lnTo>
                        <a:lnTo>
                          <a:pt x="107" y="71"/>
                        </a:lnTo>
                        <a:lnTo>
                          <a:pt x="136" y="83"/>
                        </a:lnTo>
                        <a:lnTo>
                          <a:pt x="167" y="94"/>
                        </a:lnTo>
                        <a:lnTo>
                          <a:pt x="202" y="103"/>
                        </a:lnTo>
                        <a:lnTo>
                          <a:pt x="239" y="112"/>
                        </a:lnTo>
                        <a:lnTo>
                          <a:pt x="279" y="119"/>
                        </a:lnTo>
                        <a:lnTo>
                          <a:pt x="322" y="126"/>
                        </a:lnTo>
                        <a:lnTo>
                          <a:pt x="368" y="132"/>
                        </a:lnTo>
                        <a:lnTo>
                          <a:pt x="418" y="136"/>
                        </a:lnTo>
                        <a:lnTo>
                          <a:pt x="470" y="139"/>
                        </a:lnTo>
                        <a:lnTo>
                          <a:pt x="527" y="140"/>
                        </a:lnTo>
                        <a:lnTo>
                          <a:pt x="587" y="142"/>
                        </a:lnTo>
                        <a:close/>
                      </a:path>
                    </a:pathLst>
                  </a:custGeom>
                  <a:solidFill>
                    <a:srgbClr val="1F1A17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92" name="Freeform 181"/>
                  <p:cNvSpPr>
                    <a:spLocks/>
                  </p:cNvSpPr>
                  <p:nvPr/>
                </p:nvSpPr>
                <p:spPr bwMode="auto">
                  <a:xfrm>
                    <a:off x="3160" y="3573"/>
                    <a:ext cx="570" cy="481"/>
                  </a:xfrm>
                  <a:custGeom>
                    <a:avLst/>
                    <a:gdLst>
                      <a:gd name="T0" fmla="*/ 0 w 3992"/>
                      <a:gd name="T1" fmla="*/ 0 h 3371"/>
                      <a:gd name="T2" fmla="*/ 0 w 3992"/>
                      <a:gd name="T3" fmla="*/ 0 h 3371"/>
                      <a:gd name="T4" fmla="*/ 0 w 3992"/>
                      <a:gd name="T5" fmla="*/ 0 h 3371"/>
                      <a:gd name="T6" fmla="*/ 0 w 3992"/>
                      <a:gd name="T7" fmla="*/ 0 h 3371"/>
                      <a:gd name="T8" fmla="*/ 0 w 3992"/>
                      <a:gd name="T9" fmla="*/ 0 h 3371"/>
                      <a:gd name="T10" fmla="*/ 0 w 3992"/>
                      <a:gd name="T11" fmla="*/ 0 h 3371"/>
                      <a:gd name="T12" fmla="*/ 0 w 3992"/>
                      <a:gd name="T13" fmla="*/ 0 h 3371"/>
                      <a:gd name="T14" fmla="*/ 0 w 3992"/>
                      <a:gd name="T15" fmla="*/ 0 h 3371"/>
                      <a:gd name="T16" fmla="*/ 0 w 3992"/>
                      <a:gd name="T17" fmla="*/ 0 h 3371"/>
                      <a:gd name="T18" fmla="*/ 0 w 3992"/>
                      <a:gd name="T19" fmla="*/ 0 h 3371"/>
                      <a:gd name="T20" fmla="*/ 0 w 3992"/>
                      <a:gd name="T21" fmla="*/ 0 h 3371"/>
                      <a:gd name="T22" fmla="*/ 0 w 3992"/>
                      <a:gd name="T23" fmla="*/ 0 h 3371"/>
                      <a:gd name="T24" fmla="*/ 0 w 3992"/>
                      <a:gd name="T25" fmla="*/ 0 h 3371"/>
                      <a:gd name="T26" fmla="*/ 0 w 3992"/>
                      <a:gd name="T27" fmla="*/ 0 h 3371"/>
                      <a:gd name="T28" fmla="*/ 0 w 3992"/>
                      <a:gd name="T29" fmla="*/ 0 h 3371"/>
                      <a:gd name="T30" fmla="*/ 0 w 3992"/>
                      <a:gd name="T31" fmla="*/ 0 h 3371"/>
                      <a:gd name="T32" fmla="*/ 0 w 3992"/>
                      <a:gd name="T33" fmla="*/ 0 h 3371"/>
                      <a:gd name="T34" fmla="*/ 0 w 3992"/>
                      <a:gd name="T35" fmla="*/ 0 h 3371"/>
                      <a:gd name="T36" fmla="*/ 0 w 3992"/>
                      <a:gd name="T37" fmla="*/ 0 h 3371"/>
                      <a:gd name="T38" fmla="*/ 0 w 3992"/>
                      <a:gd name="T39" fmla="*/ 0 h 3371"/>
                      <a:gd name="T40" fmla="*/ 0 w 3992"/>
                      <a:gd name="T41" fmla="*/ 0 h 3371"/>
                      <a:gd name="T42" fmla="*/ 0 w 3992"/>
                      <a:gd name="T43" fmla="*/ 0 h 3371"/>
                      <a:gd name="T44" fmla="*/ 0 w 3992"/>
                      <a:gd name="T45" fmla="*/ 0 h 3371"/>
                      <a:gd name="T46" fmla="*/ 0 w 3992"/>
                      <a:gd name="T47" fmla="*/ 0 h 3371"/>
                      <a:gd name="T48" fmla="*/ 0 w 3992"/>
                      <a:gd name="T49" fmla="*/ 0 h 3371"/>
                      <a:gd name="T50" fmla="*/ 0 w 3992"/>
                      <a:gd name="T51" fmla="*/ 0 h 3371"/>
                      <a:gd name="T52" fmla="*/ 0 w 3992"/>
                      <a:gd name="T53" fmla="*/ 0 h 3371"/>
                      <a:gd name="T54" fmla="*/ 0 w 3992"/>
                      <a:gd name="T55" fmla="*/ 0 h 3371"/>
                      <a:gd name="T56" fmla="*/ 0 w 3992"/>
                      <a:gd name="T57" fmla="*/ 0 h 3371"/>
                      <a:gd name="T58" fmla="*/ 0 w 3992"/>
                      <a:gd name="T59" fmla="*/ 0 h 3371"/>
                      <a:gd name="T60" fmla="*/ 0 w 3992"/>
                      <a:gd name="T61" fmla="*/ 0 h 3371"/>
                      <a:gd name="T62" fmla="*/ 0 w 3992"/>
                      <a:gd name="T63" fmla="*/ 0 h 3371"/>
                      <a:gd name="T64" fmla="*/ 0 w 3992"/>
                      <a:gd name="T65" fmla="*/ 0 h 3371"/>
                      <a:gd name="T66" fmla="*/ 0 w 3992"/>
                      <a:gd name="T67" fmla="*/ 0 h 3371"/>
                      <a:gd name="T68" fmla="*/ 0 w 3992"/>
                      <a:gd name="T69" fmla="*/ 0 h 3371"/>
                      <a:gd name="T70" fmla="*/ 0 w 3992"/>
                      <a:gd name="T71" fmla="*/ 0 h 3371"/>
                      <a:gd name="T72" fmla="*/ 0 w 3992"/>
                      <a:gd name="T73" fmla="*/ 0 h 3371"/>
                      <a:gd name="T74" fmla="*/ 0 w 3992"/>
                      <a:gd name="T75" fmla="*/ 0 h 3371"/>
                      <a:gd name="T76" fmla="*/ 0 w 3992"/>
                      <a:gd name="T77" fmla="*/ 0 h 3371"/>
                      <a:gd name="T78" fmla="*/ 0 w 3992"/>
                      <a:gd name="T79" fmla="*/ 0 h 3371"/>
                      <a:gd name="T80" fmla="*/ 0 w 3992"/>
                      <a:gd name="T81" fmla="*/ 0 h 3371"/>
                      <a:gd name="T82" fmla="*/ 0 w 3992"/>
                      <a:gd name="T83" fmla="*/ 0 h 3371"/>
                      <a:gd name="T84" fmla="*/ 0 w 3992"/>
                      <a:gd name="T85" fmla="*/ 0 h 3371"/>
                      <a:gd name="T86" fmla="*/ 0 w 3992"/>
                      <a:gd name="T87" fmla="*/ 0 h 3371"/>
                      <a:gd name="T88" fmla="*/ 0 w 3992"/>
                      <a:gd name="T89" fmla="*/ 0 h 3371"/>
                      <a:gd name="T90" fmla="*/ 0 w 3992"/>
                      <a:gd name="T91" fmla="*/ 0 h 3371"/>
                      <a:gd name="T92" fmla="*/ 0 w 3992"/>
                      <a:gd name="T93" fmla="*/ 0 h 3371"/>
                      <a:gd name="T94" fmla="*/ 0 w 3992"/>
                      <a:gd name="T95" fmla="*/ 0 h 3371"/>
                      <a:gd name="T96" fmla="*/ 0 w 3992"/>
                      <a:gd name="T97" fmla="*/ 0 h 3371"/>
                      <a:gd name="T98" fmla="*/ 0 w 3992"/>
                      <a:gd name="T99" fmla="*/ 0 h 3371"/>
                      <a:gd name="T100" fmla="*/ 0 w 3992"/>
                      <a:gd name="T101" fmla="*/ 0 h 3371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w 3992"/>
                      <a:gd name="T154" fmla="*/ 0 h 3371"/>
                      <a:gd name="T155" fmla="*/ 3992 w 3992"/>
                      <a:gd name="T156" fmla="*/ 3371 h 3371"/>
                    </a:gdLst>
                    <a:ahLst/>
                    <a:cxnLst>
                      <a:cxn ang="T102">
                        <a:pos x="T0" y="T1"/>
                      </a:cxn>
                      <a:cxn ang="T103">
                        <a:pos x="T2" y="T3"/>
                      </a:cxn>
                      <a:cxn ang="T104">
                        <a:pos x="T4" y="T5"/>
                      </a:cxn>
                      <a:cxn ang="T105">
                        <a:pos x="T6" y="T7"/>
                      </a:cxn>
                      <a:cxn ang="T106">
                        <a:pos x="T8" y="T9"/>
                      </a:cxn>
                      <a:cxn ang="T107">
                        <a:pos x="T10" y="T11"/>
                      </a:cxn>
                      <a:cxn ang="T108">
                        <a:pos x="T12" y="T13"/>
                      </a:cxn>
                      <a:cxn ang="T109">
                        <a:pos x="T14" y="T15"/>
                      </a:cxn>
                      <a:cxn ang="T110">
                        <a:pos x="T16" y="T17"/>
                      </a:cxn>
                      <a:cxn ang="T111">
                        <a:pos x="T18" y="T19"/>
                      </a:cxn>
                      <a:cxn ang="T112">
                        <a:pos x="T20" y="T21"/>
                      </a:cxn>
                      <a:cxn ang="T113">
                        <a:pos x="T22" y="T23"/>
                      </a:cxn>
                      <a:cxn ang="T114">
                        <a:pos x="T24" y="T25"/>
                      </a:cxn>
                      <a:cxn ang="T115">
                        <a:pos x="T26" y="T27"/>
                      </a:cxn>
                      <a:cxn ang="T116">
                        <a:pos x="T28" y="T29"/>
                      </a:cxn>
                      <a:cxn ang="T117">
                        <a:pos x="T30" y="T31"/>
                      </a:cxn>
                      <a:cxn ang="T118">
                        <a:pos x="T32" y="T33"/>
                      </a:cxn>
                      <a:cxn ang="T119">
                        <a:pos x="T34" y="T35"/>
                      </a:cxn>
                      <a:cxn ang="T120">
                        <a:pos x="T36" y="T37"/>
                      </a:cxn>
                      <a:cxn ang="T121">
                        <a:pos x="T38" y="T39"/>
                      </a:cxn>
                      <a:cxn ang="T122">
                        <a:pos x="T40" y="T41"/>
                      </a:cxn>
                      <a:cxn ang="T123">
                        <a:pos x="T42" y="T43"/>
                      </a:cxn>
                      <a:cxn ang="T124">
                        <a:pos x="T44" y="T45"/>
                      </a:cxn>
                      <a:cxn ang="T125">
                        <a:pos x="T46" y="T47"/>
                      </a:cxn>
                      <a:cxn ang="T126">
                        <a:pos x="T48" y="T49"/>
                      </a:cxn>
                      <a:cxn ang="T127">
                        <a:pos x="T50" y="T51"/>
                      </a:cxn>
                      <a:cxn ang="T128">
                        <a:pos x="T52" y="T53"/>
                      </a:cxn>
                      <a:cxn ang="T129">
                        <a:pos x="T54" y="T55"/>
                      </a:cxn>
                      <a:cxn ang="T130">
                        <a:pos x="T56" y="T57"/>
                      </a:cxn>
                      <a:cxn ang="T131">
                        <a:pos x="T58" y="T59"/>
                      </a:cxn>
                      <a:cxn ang="T132">
                        <a:pos x="T60" y="T61"/>
                      </a:cxn>
                      <a:cxn ang="T133">
                        <a:pos x="T62" y="T63"/>
                      </a:cxn>
                      <a:cxn ang="T134">
                        <a:pos x="T64" y="T65"/>
                      </a:cxn>
                      <a:cxn ang="T135">
                        <a:pos x="T66" y="T67"/>
                      </a:cxn>
                      <a:cxn ang="T136">
                        <a:pos x="T68" y="T69"/>
                      </a:cxn>
                      <a:cxn ang="T137">
                        <a:pos x="T70" y="T71"/>
                      </a:cxn>
                      <a:cxn ang="T138">
                        <a:pos x="T72" y="T73"/>
                      </a:cxn>
                      <a:cxn ang="T139">
                        <a:pos x="T74" y="T75"/>
                      </a:cxn>
                      <a:cxn ang="T140">
                        <a:pos x="T76" y="T77"/>
                      </a:cxn>
                      <a:cxn ang="T141">
                        <a:pos x="T78" y="T79"/>
                      </a:cxn>
                      <a:cxn ang="T142">
                        <a:pos x="T80" y="T81"/>
                      </a:cxn>
                      <a:cxn ang="T143">
                        <a:pos x="T82" y="T83"/>
                      </a:cxn>
                      <a:cxn ang="T144">
                        <a:pos x="T84" y="T85"/>
                      </a:cxn>
                      <a:cxn ang="T145">
                        <a:pos x="T86" y="T87"/>
                      </a:cxn>
                      <a:cxn ang="T146">
                        <a:pos x="T88" y="T89"/>
                      </a:cxn>
                      <a:cxn ang="T147">
                        <a:pos x="T90" y="T91"/>
                      </a:cxn>
                      <a:cxn ang="T148">
                        <a:pos x="T92" y="T93"/>
                      </a:cxn>
                      <a:cxn ang="T149">
                        <a:pos x="T94" y="T95"/>
                      </a:cxn>
                      <a:cxn ang="T150">
                        <a:pos x="T96" y="T97"/>
                      </a:cxn>
                      <a:cxn ang="T151">
                        <a:pos x="T98" y="T99"/>
                      </a:cxn>
                      <a:cxn ang="T152">
                        <a:pos x="T100" y="T101"/>
                      </a:cxn>
                    </a:cxnLst>
                    <a:rect l="T153" t="T154" r="T155" b="T156"/>
                    <a:pathLst>
                      <a:path w="3992" h="3371">
                        <a:moveTo>
                          <a:pt x="2681" y="32"/>
                        </a:moveTo>
                        <a:lnTo>
                          <a:pt x="2664" y="27"/>
                        </a:lnTo>
                        <a:lnTo>
                          <a:pt x="2647" y="21"/>
                        </a:lnTo>
                        <a:lnTo>
                          <a:pt x="2629" y="17"/>
                        </a:lnTo>
                        <a:lnTo>
                          <a:pt x="2611" y="12"/>
                        </a:lnTo>
                        <a:lnTo>
                          <a:pt x="2574" y="7"/>
                        </a:lnTo>
                        <a:lnTo>
                          <a:pt x="2539" y="3"/>
                        </a:lnTo>
                        <a:lnTo>
                          <a:pt x="2502" y="1"/>
                        </a:lnTo>
                        <a:lnTo>
                          <a:pt x="2464" y="0"/>
                        </a:lnTo>
                        <a:lnTo>
                          <a:pt x="2428" y="1"/>
                        </a:lnTo>
                        <a:lnTo>
                          <a:pt x="2390" y="3"/>
                        </a:lnTo>
                        <a:lnTo>
                          <a:pt x="2315" y="8"/>
                        </a:lnTo>
                        <a:lnTo>
                          <a:pt x="2241" y="13"/>
                        </a:lnTo>
                        <a:lnTo>
                          <a:pt x="2204" y="16"/>
                        </a:lnTo>
                        <a:lnTo>
                          <a:pt x="2166" y="17"/>
                        </a:lnTo>
                        <a:lnTo>
                          <a:pt x="2129" y="17"/>
                        </a:lnTo>
                        <a:lnTo>
                          <a:pt x="2094" y="16"/>
                        </a:lnTo>
                        <a:lnTo>
                          <a:pt x="2027" y="12"/>
                        </a:lnTo>
                        <a:lnTo>
                          <a:pt x="1961" y="9"/>
                        </a:lnTo>
                        <a:lnTo>
                          <a:pt x="1894" y="7"/>
                        </a:lnTo>
                        <a:lnTo>
                          <a:pt x="1829" y="6"/>
                        </a:lnTo>
                        <a:lnTo>
                          <a:pt x="1763" y="7"/>
                        </a:lnTo>
                        <a:lnTo>
                          <a:pt x="1696" y="9"/>
                        </a:lnTo>
                        <a:lnTo>
                          <a:pt x="1664" y="11"/>
                        </a:lnTo>
                        <a:lnTo>
                          <a:pt x="1631" y="14"/>
                        </a:lnTo>
                        <a:lnTo>
                          <a:pt x="1598" y="18"/>
                        </a:lnTo>
                        <a:lnTo>
                          <a:pt x="1566" y="22"/>
                        </a:lnTo>
                        <a:lnTo>
                          <a:pt x="1534" y="27"/>
                        </a:lnTo>
                        <a:lnTo>
                          <a:pt x="1502" y="32"/>
                        </a:lnTo>
                        <a:lnTo>
                          <a:pt x="1469" y="39"/>
                        </a:lnTo>
                        <a:lnTo>
                          <a:pt x="1437" y="46"/>
                        </a:lnTo>
                        <a:lnTo>
                          <a:pt x="1405" y="55"/>
                        </a:lnTo>
                        <a:lnTo>
                          <a:pt x="1374" y="63"/>
                        </a:lnTo>
                        <a:lnTo>
                          <a:pt x="1342" y="73"/>
                        </a:lnTo>
                        <a:lnTo>
                          <a:pt x="1311" y="85"/>
                        </a:lnTo>
                        <a:lnTo>
                          <a:pt x="1280" y="97"/>
                        </a:lnTo>
                        <a:lnTo>
                          <a:pt x="1249" y="110"/>
                        </a:lnTo>
                        <a:lnTo>
                          <a:pt x="1219" y="125"/>
                        </a:lnTo>
                        <a:lnTo>
                          <a:pt x="1189" y="140"/>
                        </a:lnTo>
                        <a:lnTo>
                          <a:pt x="1159" y="157"/>
                        </a:lnTo>
                        <a:lnTo>
                          <a:pt x="1129" y="175"/>
                        </a:lnTo>
                        <a:lnTo>
                          <a:pt x="1100" y="194"/>
                        </a:lnTo>
                        <a:lnTo>
                          <a:pt x="1071" y="215"/>
                        </a:lnTo>
                        <a:lnTo>
                          <a:pt x="990" y="278"/>
                        </a:lnTo>
                        <a:lnTo>
                          <a:pt x="913" y="348"/>
                        </a:lnTo>
                        <a:lnTo>
                          <a:pt x="839" y="422"/>
                        </a:lnTo>
                        <a:lnTo>
                          <a:pt x="769" y="501"/>
                        </a:lnTo>
                        <a:lnTo>
                          <a:pt x="702" y="583"/>
                        </a:lnTo>
                        <a:lnTo>
                          <a:pt x="640" y="669"/>
                        </a:lnTo>
                        <a:lnTo>
                          <a:pt x="580" y="758"/>
                        </a:lnTo>
                        <a:lnTo>
                          <a:pt x="524" y="849"/>
                        </a:lnTo>
                        <a:lnTo>
                          <a:pt x="471" y="943"/>
                        </a:lnTo>
                        <a:lnTo>
                          <a:pt x="422" y="1038"/>
                        </a:lnTo>
                        <a:lnTo>
                          <a:pt x="375" y="1134"/>
                        </a:lnTo>
                        <a:lnTo>
                          <a:pt x="332" y="1232"/>
                        </a:lnTo>
                        <a:lnTo>
                          <a:pt x="291" y="1329"/>
                        </a:lnTo>
                        <a:lnTo>
                          <a:pt x="254" y="1427"/>
                        </a:lnTo>
                        <a:lnTo>
                          <a:pt x="219" y="1522"/>
                        </a:lnTo>
                        <a:lnTo>
                          <a:pt x="187" y="1618"/>
                        </a:lnTo>
                        <a:lnTo>
                          <a:pt x="158" y="1713"/>
                        </a:lnTo>
                        <a:lnTo>
                          <a:pt x="131" y="1804"/>
                        </a:lnTo>
                        <a:lnTo>
                          <a:pt x="108" y="1894"/>
                        </a:lnTo>
                        <a:lnTo>
                          <a:pt x="87" y="1981"/>
                        </a:lnTo>
                        <a:lnTo>
                          <a:pt x="68" y="2063"/>
                        </a:lnTo>
                        <a:lnTo>
                          <a:pt x="51" y="2143"/>
                        </a:lnTo>
                        <a:lnTo>
                          <a:pt x="38" y="2218"/>
                        </a:lnTo>
                        <a:lnTo>
                          <a:pt x="26" y="2288"/>
                        </a:lnTo>
                        <a:lnTo>
                          <a:pt x="17" y="2354"/>
                        </a:lnTo>
                        <a:lnTo>
                          <a:pt x="9" y="2413"/>
                        </a:lnTo>
                        <a:lnTo>
                          <a:pt x="5" y="2466"/>
                        </a:lnTo>
                        <a:lnTo>
                          <a:pt x="1" y="2513"/>
                        </a:lnTo>
                        <a:lnTo>
                          <a:pt x="0" y="2553"/>
                        </a:lnTo>
                        <a:lnTo>
                          <a:pt x="0" y="2585"/>
                        </a:lnTo>
                        <a:lnTo>
                          <a:pt x="2" y="2610"/>
                        </a:lnTo>
                        <a:lnTo>
                          <a:pt x="7" y="2625"/>
                        </a:lnTo>
                        <a:lnTo>
                          <a:pt x="20" y="2652"/>
                        </a:lnTo>
                        <a:lnTo>
                          <a:pt x="32" y="2679"/>
                        </a:lnTo>
                        <a:lnTo>
                          <a:pt x="46" y="2704"/>
                        </a:lnTo>
                        <a:lnTo>
                          <a:pt x="60" y="2729"/>
                        </a:lnTo>
                        <a:lnTo>
                          <a:pt x="75" y="2752"/>
                        </a:lnTo>
                        <a:lnTo>
                          <a:pt x="89" y="2774"/>
                        </a:lnTo>
                        <a:lnTo>
                          <a:pt x="105" y="2797"/>
                        </a:lnTo>
                        <a:lnTo>
                          <a:pt x="120" y="2817"/>
                        </a:lnTo>
                        <a:lnTo>
                          <a:pt x="136" y="2837"/>
                        </a:lnTo>
                        <a:lnTo>
                          <a:pt x="153" y="2856"/>
                        </a:lnTo>
                        <a:lnTo>
                          <a:pt x="169" y="2873"/>
                        </a:lnTo>
                        <a:lnTo>
                          <a:pt x="186" y="2891"/>
                        </a:lnTo>
                        <a:lnTo>
                          <a:pt x="203" y="2908"/>
                        </a:lnTo>
                        <a:lnTo>
                          <a:pt x="219" y="2923"/>
                        </a:lnTo>
                        <a:lnTo>
                          <a:pt x="236" y="2938"/>
                        </a:lnTo>
                        <a:lnTo>
                          <a:pt x="254" y="2952"/>
                        </a:lnTo>
                        <a:lnTo>
                          <a:pt x="271" y="2966"/>
                        </a:lnTo>
                        <a:lnTo>
                          <a:pt x="288" y="2979"/>
                        </a:lnTo>
                        <a:lnTo>
                          <a:pt x="305" y="2991"/>
                        </a:lnTo>
                        <a:lnTo>
                          <a:pt x="323" y="3002"/>
                        </a:lnTo>
                        <a:lnTo>
                          <a:pt x="357" y="3022"/>
                        </a:lnTo>
                        <a:lnTo>
                          <a:pt x="391" y="3041"/>
                        </a:lnTo>
                        <a:lnTo>
                          <a:pt x="424" y="3057"/>
                        </a:lnTo>
                        <a:lnTo>
                          <a:pt x="456" y="3070"/>
                        </a:lnTo>
                        <a:lnTo>
                          <a:pt x="486" y="3081"/>
                        </a:lnTo>
                        <a:lnTo>
                          <a:pt x="517" y="3090"/>
                        </a:lnTo>
                        <a:lnTo>
                          <a:pt x="550" y="3100"/>
                        </a:lnTo>
                        <a:lnTo>
                          <a:pt x="586" y="3111"/>
                        </a:lnTo>
                        <a:lnTo>
                          <a:pt x="622" y="3125"/>
                        </a:lnTo>
                        <a:lnTo>
                          <a:pt x="660" y="3138"/>
                        </a:lnTo>
                        <a:lnTo>
                          <a:pt x="740" y="3169"/>
                        </a:lnTo>
                        <a:lnTo>
                          <a:pt x="825" y="3201"/>
                        </a:lnTo>
                        <a:lnTo>
                          <a:pt x="868" y="3216"/>
                        </a:lnTo>
                        <a:lnTo>
                          <a:pt x="913" y="3232"/>
                        </a:lnTo>
                        <a:lnTo>
                          <a:pt x="957" y="3246"/>
                        </a:lnTo>
                        <a:lnTo>
                          <a:pt x="1003" y="3260"/>
                        </a:lnTo>
                        <a:lnTo>
                          <a:pt x="1049" y="3272"/>
                        </a:lnTo>
                        <a:lnTo>
                          <a:pt x="1094" y="3282"/>
                        </a:lnTo>
                        <a:lnTo>
                          <a:pt x="1140" y="3291"/>
                        </a:lnTo>
                        <a:lnTo>
                          <a:pt x="1185" y="3296"/>
                        </a:lnTo>
                        <a:lnTo>
                          <a:pt x="1264" y="3306"/>
                        </a:lnTo>
                        <a:lnTo>
                          <a:pt x="1350" y="3316"/>
                        </a:lnTo>
                        <a:lnTo>
                          <a:pt x="1439" y="3327"/>
                        </a:lnTo>
                        <a:lnTo>
                          <a:pt x="1532" y="3339"/>
                        </a:lnTo>
                        <a:lnTo>
                          <a:pt x="1624" y="3350"/>
                        </a:lnTo>
                        <a:lnTo>
                          <a:pt x="1716" y="3359"/>
                        </a:lnTo>
                        <a:lnTo>
                          <a:pt x="1761" y="3363"/>
                        </a:lnTo>
                        <a:lnTo>
                          <a:pt x="1805" y="3366"/>
                        </a:lnTo>
                        <a:lnTo>
                          <a:pt x="1849" y="3369"/>
                        </a:lnTo>
                        <a:lnTo>
                          <a:pt x="1890" y="3371"/>
                        </a:lnTo>
                        <a:lnTo>
                          <a:pt x="1933" y="3371"/>
                        </a:lnTo>
                        <a:lnTo>
                          <a:pt x="1978" y="3370"/>
                        </a:lnTo>
                        <a:lnTo>
                          <a:pt x="2021" y="3367"/>
                        </a:lnTo>
                        <a:lnTo>
                          <a:pt x="2065" y="3364"/>
                        </a:lnTo>
                        <a:lnTo>
                          <a:pt x="2108" y="3359"/>
                        </a:lnTo>
                        <a:lnTo>
                          <a:pt x="2152" y="3353"/>
                        </a:lnTo>
                        <a:lnTo>
                          <a:pt x="2195" y="3346"/>
                        </a:lnTo>
                        <a:lnTo>
                          <a:pt x="2238" y="3340"/>
                        </a:lnTo>
                        <a:lnTo>
                          <a:pt x="2324" y="3325"/>
                        </a:lnTo>
                        <a:lnTo>
                          <a:pt x="2410" y="3313"/>
                        </a:lnTo>
                        <a:lnTo>
                          <a:pt x="2452" y="3307"/>
                        </a:lnTo>
                        <a:lnTo>
                          <a:pt x="2494" y="3302"/>
                        </a:lnTo>
                        <a:lnTo>
                          <a:pt x="2536" y="3298"/>
                        </a:lnTo>
                        <a:lnTo>
                          <a:pt x="2578" y="3296"/>
                        </a:lnTo>
                        <a:lnTo>
                          <a:pt x="2615" y="3294"/>
                        </a:lnTo>
                        <a:lnTo>
                          <a:pt x="2655" y="3291"/>
                        </a:lnTo>
                        <a:lnTo>
                          <a:pt x="2698" y="3285"/>
                        </a:lnTo>
                        <a:lnTo>
                          <a:pt x="2745" y="3278"/>
                        </a:lnTo>
                        <a:lnTo>
                          <a:pt x="2793" y="3270"/>
                        </a:lnTo>
                        <a:lnTo>
                          <a:pt x="2842" y="3261"/>
                        </a:lnTo>
                        <a:lnTo>
                          <a:pt x="2892" y="3251"/>
                        </a:lnTo>
                        <a:lnTo>
                          <a:pt x="2942" y="3239"/>
                        </a:lnTo>
                        <a:lnTo>
                          <a:pt x="3040" y="3218"/>
                        </a:lnTo>
                        <a:lnTo>
                          <a:pt x="3133" y="3196"/>
                        </a:lnTo>
                        <a:lnTo>
                          <a:pt x="3214" y="3175"/>
                        </a:lnTo>
                        <a:lnTo>
                          <a:pt x="3282" y="3158"/>
                        </a:lnTo>
                        <a:lnTo>
                          <a:pt x="3327" y="3146"/>
                        </a:lnTo>
                        <a:lnTo>
                          <a:pt x="3375" y="3132"/>
                        </a:lnTo>
                        <a:lnTo>
                          <a:pt x="3425" y="3115"/>
                        </a:lnTo>
                        <a:lnTo>
                          <a:pt x="3477" y="3096"/>
                        </a:lnTo>
                        <a:lnTo>
                          <a:pt x="3531" y="3075"/>
                        </a:lnTo>
                        <a:lnTo>
                          <a:pt x="3584" y="3053"/>
                        </a:lnTo>
                        <a:lnTo>
                          <a:pt x="3637" y="3027"/>
                        </a:lnTo>
                        <a:lnTo>
                          <a:pt x="3689" y="3000"/>
                        </a:lnTo>
                        <a:lnTo>
                          <a:pt x="3714" y="2986"/>
                        </a:lnTo>
                        <a:lnTo>
                          <a:pt x="3740" y="2971"/>
                        </a:lnTo>
                        <a:lnTo>
                          <a:pt x="3764" y="2957"/>
                        </a:lnTo>
                        <a:lnTo>
                          <a:pt x="3788" y="2941"/>
                        </a:lnTo>
                        <a:lnTo>
                          <a:pt x="3810" y="2926"/>
                        </a:lnTo>
                        <a:lnTo>
                          <a:pt x="3832" y="2909"/>
                        </a:lnTo>
                        <a:lnTo>
                          <a:pt x="3853" y="2892"/>
                        </a:lnTo>
                        <a:lnTo>
                          <a:pt x="3873" y="2874"/>
                        </a:lnTo>
                        <a:lnTo>
                          <a:pt x="3892" y="2858"/>
                        </a:lnTo>
                        <a:lnTo>
                          <a:pt x="3910" y="2840"/>
                        </a:lnTo>
                        <a:lnTo>
                          <a:pt x="3927" y="2821"/>
                        </a:lnTo>
                        <a:lnTo>
                          <a:pt x="3941" y="2802"/>
                        </a:lnTo>
                        <a:lnTo>
                          <a:pt x="3955" y="2783"/>
                        </a:lnTo>
                        <a:lnTo>
                          <a:pt x="3967" y="2764"/>
                        </a:lnTo>
                        <a:lnTo>
                          <a:pt x="3977" y="2744"/>
                        </a:lnTo>
                        <a:lnTo>
                          <a:pt x="3986" y="2724"/>
                        </a:lnTo>
                        <a:lnTo>
                          <a:pt x="3990" y="2703"/>
                        </a:lnTo>
                        <a:lnTo>
                          <a:pt x="3992" y="2671"/>
                        </a:lnTo>
                        <a:lnTo>
                          <a:pt x="3991" y="2627"/>
                        </a:lnTo>
                        <a:lnTo>
                          <a:pt x="3988" y="2575"/>
                        </a:lnTo>
                        <a:lnTo>
                          <a:pt x="3982" y="2514"/>
                        </a:lnTo>
                        <a:lnTo>
                          <a:pt x="3974" y="2445"/>
                        </a:lnTo>
                        <a:lnTo>
                          <a:pt x="3962" y="2368"/>
                        </a:lnTo>
                        <a:lnTo>
                          <a:pt x="3948" y="2284"/>
                        </a:lnTo>
                        <a:lnTo>
                          <a:pt x="3931" y="2195"/>
                        </a:lnTo>
                        <a:lnTo>
                          <a:pt x="3911" y="2099"/>
                        </a:lnTo>
                        <a:lnTo>
                          <a:pt x="3888" y="1999"/>
                        </a:lnTo>
                        <a:lnTo>
                          <a:pt x="3862" y="1894"/>
                        </a:lnTo>
                        <a:lnTo>
                          <a:pt x="3833" y="1787"/>
                        </a:lnTo>
                        <a:lnTo>
                          <a:pt x="3802" y="1677"/>
                        </a:lnTo>
                        <a:lnTo>
                          <a:pt x="3768" y="1565"/>
                        </a:lnTo>
                        <a:lnTo>
                          <a:pt x="3730" y="1451"/>
                        </a:lnTo>
                        <a:lnTo>
                          <a:pt x="3689" y="1338"/>
                        </a:lnTo>
                        <a:lnTo>
                          <a:pt x="3644" y="1223"/>
                        </a:lnTo>
                        <a:lnTo>
                          <a:pt x="3597" y="1111"/>
                        </a:lnTo>
                        <a:lnTo>
                          <a:pt x="3547" y="999"/>
                        </a:lnTo>
                        <a:lnTo>
                          <a:pt x="3494" y="889"/>
                        </a:lnTo>
                        <a:lnTo>
                          <a:pt x="3437" y="783"/>
                        </a:lnTo>
                        <a:lnTo>
                          <a:pt x="3377" y="680"/>
                        </a:lnTo>
                        <a:lnTo>
                          <a:pt x="3314" y="582"/>
                        </a:lnTo>
                        <a:lnTo>
                          <a:pt x="3247" y="489"/>
                        </a:lnTo>
                        <a:lnTo>
                          <a:pt x="3175" y="401"/>
                        </a:lnTo>
                        <a:lnTo>
                          <a:pt x="3102" y="319"/>
                        </a:lnTo>
                        <a:lnTo>
                          <a:pt x="3025" y="245"/>
                        </a:lnTo>
                        <a:lnTo>
                          <a:pt x="2945" y="178"/>
                        </a:lnTo>
                        <a:lnTo>
                          <a:pt x="2861" y="120"/>
                        </a:lnTo>
                        <a:lnTo>
                          <a:pt x="2773" y="71"/>
                        </a:lnTo>
                        <a:lnTo>
                          <a:pt x="2681" y="32"/>
                        </a:lnTo>
                        <a:close/>
                      </a:path>
                    </a:pathLst>
                  </a:custGeom>
                  <a:solidFill>
                    <a:srgbClr val="311F74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93" name="Freeform 182"/>
                  <p:cNvSpPr>
                    <a:spLocks noEditPoints="1"/>
                  </p:cNvSpPr>
                  <p:nvPr/>
                </p:nvSpPr>
                <p:spPr bwMode="auto">
                  <a:xfrm>
                    <a:off x="3333" y="3710"/>
                    <a:ext cx="230" cy="174"/>
                  </a:xfrm>
                  <a:custGeom>
                    <a:avLst/>
                    <a:gdLst>
                      <a:gd name="T0" fmla="*/ 0 w 1608"/>
                      <a:gd name="T1" fmla="*/ 0 h 1215"/>
                      <a:gd name="T2" fmla="*/ 0 w 1608"/>
                      <a:gd name="T3" fmla="*/ 0 h 1215"/>
                      <a:gd name="T4" fmla="*/ 0 w 1608"/>
                      <a:gd name="T5" fmla="*/ 0 h 1215"/>
                      <a:gd name="T6" fmla="*/ 0 w 1608"/>
                      <a:gd name="T7" fmla="*/ 0 h 1215"/>
                      <a:gd name="T8" fmla="*/ 0 w 1608"/>
                      <a:gd name="T9" fmla="*/ 0 h 1215"/>
                      <a:gd name="T10" fmla="*/ 0 w 1608"/>
                      <a:gd name="T11" fmla="*/ 0 h 1215"/>
                      <a:gd name="T12" fmla="*/ 0 w 1608"/>
                      <a:gd name="T13" fmla="*/ 0 h 1215"/>
                      <a:gd name="T14" fmla="*/ 0 w 1608"/>
                      <a:gd name="T15" fmla="*/ 0 h 1215"/>
                      <a:gd name="T16" fmla="*/ 0 w 1608"/>
                      <a:gd name="T17" fmla="*/ 0 h 1215"/>
                      <a:gd name="T18" fmla="*/ 0 w 1608"/>
                      <a:gd name="T19" fmla="*/ 0 h 1215"/>
                      <a:gd name="T20" fmla="*/ 0 w 1608"/>
                      <a:gd name="T21" fmla="*/ 0 h 1215"/>
                      <a:gd name="T22" fmla="*/ 0 w 1608"/>
                      <a:gd name="T23" fmla="*/ 0 h 1215"/>
                      <a:gd name="T24" fmla="*/ 0 w 1608"/>
                      <a:gd name="T25" fmla="*/ 0 h 1215"/>
                      <a:gd name="T26" fmla="*/ 0 w 1608"/>
                      <a:gd name="T27" fmla="*/ 0 h 1215"/>
                      <a:gd name="T28" fmla="*/ 0 w 1608"/>
                      <a:gd name="T29" fmla="*/ 0 h 1215"/>
                      <a:gd name="T30" fmla="*/ 0 w 1608"/>
                      <a:gd name="T31" fmla="*/ 0 h 1215"/>
                      <a:gd name="T32" fmla="*/ 0 w 1608"/>
                      <a:gd name="T33" fmla="*/ 0 h 1215"/>
                      <a:gd name="T34" fmla="*/ 0 w 1608"/>
                      <a:gd name="T35" fmla="*/ 0 h 1215"/>
                      <a:gd name="T36" fmla="*/ 0 w 1608"/>
                      <a:gd name="T37" fmla="*/ 0 h 1215"/>
                      <a:gd name="T38" fmla="*/ 0 w 1608"/>
                      <a:gd name="T39" fmla="*/ 0 h 1215"/>
                      <a:gd name="T40" fmla="*/ 0 w 1608"/>
                      <a:gd name="T41" fmla="*/ 0 h 1215"/>
                      <a:gd name="T42" fmla="*/ 0 w 1608"/>
                      <a:gd name="T43" fmla="*/ 0 h 1215"/>
                      <a:gd name="T44" fmla="*/ 0 w 1608"/>
                      <a:gd name="T45" fmla="*/ 0 h 1215"/>
                      <a:gd name="T46" fmla="*/ 0 w 1608"/>
                      <a:gd name="T47" fmla="*/ 0 h 1215"/>
                      <a:gd name="T48" fmla="*/ 0 w 1608"/>
                      <a:gd name="T49" fmla="*/ 0 h 1215"/>
                      <a:gd name="T50" fmla="*/ 0 w 1608"/>
                      <a:gd name="T51" fmla="*/ 0 h 1215"/>
                      <a:gd name="T52" fmla="*/ 0 w 1608"/>
                      <a:gd name="T53" fmla="*/ 0 h 1215"/>
                      <a:gd name="T54" fmla="*/ 0 w 1608"/>
                      <a:gd name="T55" fmla="*/ 0 h 1215"/>
                      <a:gd name="T56" fmla="*/ 0 w 1608"/>
                      <a:gd name="T57" fmla="*/ 0 h 1215"/>
                      <a:gd name="T58" fmla="*/ 0 w 1608"/>
                      <a:gd name="T59" fmla="*/ 0 h 1215"/>
                      <a:gd name="T60" fmla="*/ 0 w 1608"/>
                      <a:gd name="T61" fmla="*/ 0 h 1215"/>
                      <a:gd name="T62" fmla="*/ 0 w 1608"/>
                      <a:gd name="T63" fmla="*/ 0 h 1215"/>
                      <a:gd name="T64" fmla="*/ 0 w 1608"/>
                      <a:gd name="T65" fmla="*/ 0 h 1215"/>
                      <a:gd name="T66" fmla="*/ 0 w 1608"/>
                      <a:gd name="T67" fmla="*/ 0 h 1215"/>
                      <a:gd name="T68" fmla="*/ 0 w 1608"/>
                      <a:gd name="T69" fmla="*/ 0 h 1215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w 1608"/>
                      <a:gd name="T106" fmla="*/ 0 h 1215"/>
                      <a:gd name="T107" fmla="*/ 1608 w 1608"/>
                      <a:gd name="T108" fmla="*/ 1215 h 1215"/>
                    </a:gdLst>
                    <a:ahLst/>
                    <a:cxnLst>
                      <a:cxn ang="T70">
                        <a:pos x="T0" y="T1"/>
                      </a:cxn>
                      <a:cxn ang="T71">
                        <a:pos x="T2" y="T3"/>
                      </a:cxn>
                      <a:cxn ang="T72">
                        <a:pos x="T4" y="T5"/>
                      </a:cxn>
                      <a:cxn ang="T73">
                        <a:pos x="T6" y="T7"/>
                      </a:cxn>
                      <a:cxn ang="T74">
                        <a:pos x="T8" y="T9"/>
                      </a:cxn>
                      <a:cxn ang="T75">
                        <a:pos x="T10" y="T11"/>
                      </a:cxn>
                      <a:cxn ang="T76">
                        <a:pos x="T12" y="T13"/>
                      </a:cxn>
                      <a:cxn ang="T77">
                        <a:pos x="T14" y="T15"/>
                      </a:cxn>
                      <a:cxn ang="T78">
                        <a:pos x="T16" y="T17"/>
                      </a:cxn>
                      <a:cxn ang="T79">
                        <a:pos x="T18" y="T19"/>
                      </a:cxn>
                      <a:cxn ang="T80">
                        <a:pos x="T20" y="T21"/>
                      </a:cxn>
                      <a:cxn ang="T81">
                        <a:pos x="T22" y="T23"/>
                      </a:cxn>
                      <a:cxn ang="T82">
                        <a:pos x="T24" y="T25"/>
                      </a:cxn>
                      <a:cxn ang="T83">
                        <a:pos x="T26" y="T27"/>
                      </a:cxn>
                      <a:cxn ang="T84">
                        <a:pos x="T28" y="T29"/>
                      </a:cxn>
                      <a:cxn ang="T85">
                        <a:pos x="T30" y="T31"/>
                      </a:cxn>
                      <a:cxn ang="T86">
                        <a:pos x="T32" y="T33"/>
                      </a:cxn>
                      <a:cxn ang="T87">
                        <a:pos x="T34" y="T35"/>
                      </a:cxn>
                      <a:cxn ang="T88">
                        <a:pos x="T36" y="T37"/>
                      </a:cxn>
                      <a:cxn ang="T89">
                        <a:pos x="T38" y="T39"/>
                      </a:cxn>
                      <a:cxn ang="T90">
                        <a:pos x="T40" y="T41"/>
                      </a:cxn>
                      <a:cxn ang="T91">
                        <a:pos x="T42" y="T43"/>
                      </a:cxn>
                      <a:cxn ang="T92">
                        <a:pos x="T44" y="T45"/>
                      </a:cxn>
                      <a:cxn ang="T93">
                        <a:pos x="T46" y="T47"/>
                      </a:cxn>
                      <a:cxn ang="T94">
                        <a:pos x="T48" y="T49"/>
                      </a:cxn>
                      <a:cxn ang="T95">
                        <a:pos x="T50" y="T51"/>
                      </a:cxn>
                      <a:cxn ang="T96">
                        <a:pos x="T52" y="T53"/>
                      </a:cxn>
                      <a:cxn ang="T97">
                        <a:pos x="T54" y="T55"/>
                      </a:cxn>
                      <a:cxn ang="T98">
                        <a:pos x="T56" y="T57"/>
                      </a:cxn>
                      <a:cxn ang="T99">
                        <a:pos x="T58" y="T59"/>
                      </a:cxn>
                      <a:cxn ang="T100">
                        <a:pos x="T60" y="T61"/>
                      </a:cxn>
                      <a:cxn ang="T101">
                        <a:pos x="T62" y="T63"/>
                      </a:cxn>
                      <a:cxn ang="T102">
                        <a:pos x="T64" y="T65"/>
                      </a:cxn>
                      <a:cxn ang="T103">
                        <a:pos x="T66" y="T67"/>
                      </a:cxn>
                      <a:cxn ang="T104">
                        <a:pos x="T68" y="T69"/>
                      </a:cxn>
                    </a:cxnLst>
                    <a:rect l="T105" t="T106" r="T107" b="T108"/>
                    <a:pathLst>
                      <a:path w="1608" h="1215">
                        <a:moveTo>
                          <a:pt x="1573" y="0"/>
                        </a:moveTo>
                        <a:lnTo>
                          <a:pt x="0" y="0"/>
                        </a:lnTo>
                        <a:lnTo>
                          <a:pt x="1" y="1215"/>
                        </a:lnTo>
                        <a:lnTo>
                          <a:pt x="1596" y="1215"/>
                        </a:lnTo>
                        <a:lnTo>
                          <a:pt x="1608" y="0"/>
                        </a:lnTo>
                        <a:lnTo>
                          <a:pt x="1573" y="0"/>
                        </a:lnTo>
                        <a:close/>
                        <a:moveTo>
                          <a:pt x="1537" y="54"/>
                        </a:moveTo>
                        <a:lnTo>
                          <a:pt x="1537" y="75"/>
                        </a:lnTo>
                        <a:lnTo>
                          <a:pt x="1537" y="115"/>
                        </a:lnTo>
                        <a:lnTo>
                          <a:pt x="1536" y="171"/>
                        </a:lnTo>
                        <a:lnTo>
                          <a:pt x="1535" y="241"/>
                        </a:lnTo>
                        <a:lnTo>
                          <a:pt x="1535" y="324"/>
                        </a:lnTo>
                        <a:lnTo>
                          <a:pt x="1534" y="414"/>
                        </a:lnTo>
                        <a:lnTo>
                          <a:pt x="1533" y="510"/>
                        </a:lnTo>
                        <a:lnTo>
                          <a:pt x="1532" y="609"/>
                        </a:lnTo>
                        <a:lnTo>
                          <a:pt x="1530" y="708"/>
                        </a:lnTo>
                        <a:lnTo>
                          <a:pt x="1529" y="803"/>
                        </a:lnTo>
                        <a:lnTo>
                          <a:pt x="1529" y="894"/>
                        </a:lnTo>
                        <a:lnTo>
                          <a:pt x="1528" y="975"/>
                        </a:lnTo>
                        <a:lnTo>
                          <a:pt x="1527" y="1046"/>
                        </a:lnTo>
                        <a:lnTo>
                          <a:pt x="1527" y="1103"/>
                        </a:lnTo>
                        <a:lnTo>
                          <a:pt x="1526" y="1142"/>
                        </a:lnTo>
                        <a:lnTo>
                          <a:pt x="1526" y="1162"/>
                        </a:lnTo>
                        <a:lnTo>
                          <a:pt x="1500" y="1162"/>
                        </a:lnTo>
                        <a:lnTo>
                          <a:pt x="1448" y="1162"/>
                        </a:lnTo>
                        <a:lnTo>
                          <a:pt x="1373" y="1162"/>
                        </a:lnTo>
                        <a:lnTo>
                          <a:pt x="1281" y="1162"/>
                        </a:lnTo>
                        <a:lnTo>
                          <a:pt x="1173" y="1162"/>
                        </a:lnTo>
                        <a:lnTo>
                          <a:pt x="1054" y="1162"/>
                        </a:lnTo>
                        <a:lnTo>
                          <a:pt x="928" y="1162"/>
                        </a:lnTo>
                        <a:lnTo>
                          <a:pt x="799" y="1162"/>
                        </a:lnTo>
                        <a:lnTo>
                          <a:pt x="669" y="1162"/>
                        </a:lnTo>
                        <a:lnTo>
                          <a:pt x="543" y="1162"/>
                        </a:lnTo>
                        <a:lnTo>
                          <a:pt x="425" y="1162"/>
                        </a:lnTo>
                        <a:lnTo>
                          <a:pt x="317" y="1162"/>
                        </a:lnTo>
                        <a:lnTo>
                          <a:pt x="225" y="1162"/>
                        </a:lnTo>
                        <a:lnTo>
                          <a:pt x="150" y="1162"/>
                        </a:lnTo>
                        <a:lnTo>
                          <a:pt x="98" y="1162"/>
                        </a:lnTo>
                        <a:lnTo>
                          <a:pt x="71" y="1162"/>
                        </a:lnTo>
                        <a:lnTo>
                          <a:pt x="71" y="1142"/>
                        </a:lnTo>
                        <a:lnTo>
                          <a:pt x="71" y="1103"/>
                        </a:lnTo>
                        <a:lnTo>
                          <a:pt x="71" y="1046"/>
                        </a:lnTo>
                        <a:lnTo>
                          <a:pt x="71" y="975"/>
                        </a:lnTo>
                        <a:lnTo>
                          <a:pt x="71" y="894"/>
                        </a:lnTo>
                        <a:lnTo>
                          <a:pt x="71" y="803"/>
                        </a:lnTo>
                        <a:lnTo>
                          <a:pt x="71" y="708"/>
                        </a:lnTo>
                        <a:lnTo>
                          <a:pt x="71" y="609"/>
                        </a:lnTo>
                        <a:lnTo>
                          <a:pt x="71" y="510"/>
                        </a:lnTo>
                        <a:lnTo>
                          <a:pt x="71" y="414"/>
                        </a:lnTo>
                        <a:lnTo>
                          <a:pt x="71" y="324"/>
                        </a:lnTo>
                        <a:lnTo>
                          <a:pt x="71" y="241"/>
                        </a:lnTo>
                        <a:lnTo>
                          <a:pt x="71" y="171"/>
                        </a:lnTo>
                        <a:lnTo>
                          <a:pt x="71" y="115"/>
                        </a:lnTo>
                        <a:lnTo>
                          <a:pt x="71" y="75"/>
                        </a:lnTo>
                        <a:lnTo>
                          <a:pt x="71" y="54"/>
                        </a:lnTo>
                        <a:lnTo>
                          <a:pt x="98" y="54"/>
                        </a:lnTo>
                        <a:lnTo>
                          <a:pt x="150" y="54"/>
                        </a:lnTo>
                        <a:lnTo>
                          <a:pt x="225" y="54"/>
                        </a:lnTo>
                        <a:lnTo>
                          <a:pt x="318" y="54"/>
                        </a:lnTo>
                        <a:lnTo>
                          <a:pt x="427" y="54"/>
                        </a:lnTo>
                        <a:lnTo>
                          <a:pt x="547" y="54"/>
                        </a:lnTo>
                        <a:lnTo>
                          <a:pt x="673" y="54"/>
                        </a:lnTo>
                        <a:lnTo>
                          <a:pt x="804" y="54"/>
                        </a:lnTo>
                        <a:lnTo>
                          <a:pt x="935" y="54"/>
                        </a:lnTo>
                        <a:lnTo>
                          <a:pt x="1062" y="54"/>
                        </a:lnTo>
                        <a:lnTo>
                          <a:pt x="1181" y="54"/>
                        </a:lnTo>
                        <a:lnTo>
                          <a:pt x="1289" y="54"/>
                        </a:lnTo>
                        <a:lnTo>
                          <a:pt x="1382" y="54"/>
                        </a:lnTo>
                        <a:lnTo>
                          <a:pt x="1458" y="54"/>
                        </a:lnTo>
                        <a:lnTo>
                          <a:pt x="1510" y="54"/>
                        </a:lnTo>
                        <a:lnTo>
                          <a:pt x="1537" y="54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94" name="Freeform 183"/>
                  <p:cNvSpPr>
                    <a:spLocks noEditPoints="1"/>
                  </p:cNvSpPr>
                  <p:nvPr/>
                </p:nvSpPr>
                <p:spPr bwMode="auto">
                  <a:xfrm>
                    <a:off x="3359" y="3730"/>
                    <a:ext cx="178" cy="134"/>
                  </a:xfrm>
                  <a:custGeom>
                    <a:avLst/>
                    <a:gdLst>
                      <a:gd name="T0" fmla="*/ 0 w 1245"/>
                      <a:gd name="T1" fmla="*/ 0 h 941"/>
                      <a:gd name="T2" fmla="*/ 0 w 1245"/>
                      <a:gd name="T3" fmla="*/ 0 h 941"/>
                      <a:gd name="T4" fmla="*/ 0 w 1245"/>
                      <a:gd name="T5" fmla="*/ 0 h 941"/>
                      <a:gd name="T6" fmla="*/ 0 w 1245"/>
                      <a:gd name="T7" fmla="*/ 0 h 941"/>
                      <a:gd name="T8" fmla="*/ 0 w 1245"/>
                      <a:gd name="T9" fmla="*/ 0 h 941"/>
                      <a:gd name="T10" fmla="*/ 0 w 1245"/>
                      <a:gd name="T11" fmla="*/ 0 h 941"/>
                      <a:gd name="T12" fmla="*/ 0 w 1245"/>
                      <a:gd name="T13" fmla="*/ 0 h 941"/>
                      <a:gd name="T14" fmla="*/ 0 w 1245"/>
                      <a:gd name="T15" fmla="*/ 0 h 941"/>
                      <a:gd name="T16" fmla="*/ 0 w 1245"/>
                      <a:gd name="T17" fmla="*/ 0 h 941"/>
                      <a:gd name="T18" fmla="*/ 0 w 1245"/>
                      <a:gd name="T19" fmla="*/ 0 h 941"/>
                      <a:gd name="T20" fmla="*/ 0 w 1245"/>
                      <a:gd name="T21" fmla="*/ 0 h 941"/>
                      <a:gd name="T22" fmla="*/ 0 w 1245"/>
                      <a:gd name="T23" fmla="*/ 0 h 941"/>
                      <a:gd name="T24" fmla="*/ 0 w 1245"/>
                      <a:gd name="T25" fmla="*/ 0 h 941"/>
                      <a:gd name="T26" fmla="*/ 0 w 1245"/>
                      <a:gd name="T27" fmla="*/ 0 h 941"/>
                      <a:gd name="T28" fmla="*/ 0 w 1245"/>
                      <a:gd name="T29" fmla="*/ 0 h 941"/>
                      <a:gd name="T30" fmla="*/ 0 w 1245"/>
                      <a:gd name="T31" fmla="*/ 0 h 941"/>
                      <a:gd name="T32" fmla="*/ 0 w 1245"/>
                      <a:gd name="T33" fmla="*/ 0 h 941"/>
                      <a:gd name="T34" fmla="*/ 0 w 1245"/>
                      <a:gd name="T35" fmla="*/ 0 h 941"/>
                      <a:gd name="T36" fmla="*/ 0 w 1245"/>
                      <a:gd name="T37" fmla="*/ 0 h 941"/>
                      <a:gd name="T38" fmla="*/ 0 w 1245"/>
                      <a:gd name="T39" fmla="*/ 0 h 941"/>
                      <a:gd name="T40" fmla="*/ 0 w 1245"/>
                      <a:gd name="T41" fmla="*/ 0 h 941"/>
                      <a:gd name="T42" fmla="*/ 0 w 1245"/>
                      <a:gd name="T43" fmla="*/ 0 h 941"/>
                      <a:gd name="T44" fmla="*/ 0 w 1245"/>
                      <a:gd name="T45" fmla="*/ 0 h 941"/>
                      <a:gd name="T46" fmla="*/ 0 w 1245"/>
                      <a:gd name="T47" fmla="*/ 0 h 941"/>
                      <a:gd name="T48" fmla="*/ 0 w 1245"/>
                      <a:gd name="T49" fmla="*/ 0 h 941"/>
                      <a:gd name="T50" fmla="*/ 0 w 1245"/>
                      <a:gd name="T51" fmla="*/ 0 h 941"/>
                      <a:gd name="T52" fmla="*/ 0 w 1245"/>
                      <a:gd name="T53" fmla="*/ 0 h 941"/>
                      <a:gd name="T54" fmla="*/ 0 w 1245"/>
                      <a:gd name="T55" fmla="*/ 0 h 941"/>
                      <a:gd name="T56" fmla="*/ 0 w 1245"/>
                      <a:gd name="T57" fmla="*/ 0 h 941"/>
                      <a:gd name="T58" fmla="*/ 0 w 1245"/>
                      <a:gd name="T59" fmla="*/ 0 h 941"/>
                      <a:gd name="T60" fmla="*/ 0 w 1245"/>
                      <a:gd name="T61" fmla="*/ 0 h 941"/>
                      <a:gd name="T62" fmla="*/ 0 w 1245"/>
                      <a:gd name="T63" fmla="*/ 0 h 941"/>
                      <a:gd name="T64" fmla="*/ 0 w 1245"/>
                      <a:gd name="T65" fmla="*/ 0 h 941"/>
                      <a:gd name="T66" fmla="*/ 0 w 1245"/>
                      <a:gd name="T67" fmla="*/ 0 h 941"/>
                      <a:gd name="T68" fmla="*/ 0 w 1245"/>
                      <a:gd name="T69" fmla="*/ 0 h 941"/>
                      <a:gd name="T70" fmla="*/ 0 60000 65536"/>
                      <a:gd name="T71" fmla="*/ 0 60000 65536"/>
                      <a:gd name="T72" fmla="*/ 0 60000 65536"/>
                      <a:gd name="T73" fmla="*/ 0 60000 65536"/>
                      <a:gd name="T74" fmla="*/ 0 60000 65536"/>
                      <a:gd name="T75" fmla="*/ 0 60000 65536"/>
                      <a:gd name="T76" fmla="*/ 0 60000 65536"/>
                      <a:gd name="T77" fmla="*/ 0 60000 65536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w 1245"/>
                      <a:gd name="T106" fmla="*/ 0 h 941"/>
                      <a:gd name="T107" fmla="*/ 1245 w 1245"/>
                      <a:gd name="T108" fmla="*/ 941 h 941"/>
                    </a:gdLst>
                    <a:ahLst/>
                    <a:cxnLst>
                      <a:cxn ang="T70">
                        <a:pos x="T0" y="T1"/>
                      </a:cxn>
                      <a:cxn ang="T71">
                        <a:pos x="T2" y="T3"/>
                      </a:cxn>
                      <a:cxn ang="T72">
                        <a:pos x="T4" y="T5"/>
                      </a:cxn>
                      <a:cxn ang="T73">
                        <a:pos x="T6" y="T7"/>
                      </a:cxn>
                      <a:cxn ang="T74">
                        <a:pos x="T8" y="T9"/>
                      </a:cxn>
                      <a:cxn ang="T75">
                        <a:pos x="T10" y="T11"/>
                      </a:cxn>
                      <a:cxn ang="T76">
                        <a:pos x="T12" y="T13"/>
                      </a:cxn>
                      <a:cxn ang="T77">
                        <a:pos x="T14" y="T15"/>
                      </a:cxn>
                      <a:cxn ang="T78">
                        <a:pos x="T16" y="T17"/>
                      </a:cxn>
                      <a:cxn ang="T79">
                        <a:pos x="T18" y="T19"/>
                      </a:cxn>
                      <a:cxn ang="T80">
                        <a:pos x="T20" y="T21"/>
                      </a:cxn>
                      <a:cxn ang="T81">
                        <a:pos x="T22" y="T23"/>
                      </a:cxn>
                      <a:cxn ang="T82">
                        <a:pos x="T24" y="T25"/>
                      </a:cxn>
                      <a:cxn ang="T83">
                        <a:pos x="T26" y="T27"/>
                      </a:cxn>
                      <a:cxn ang="T84">
                        <a:pos x="T28" y="T29"/>
                      </a:cxn>
                      <a:cxn ang="T85">
                        <a:pos x="T30" y="T31"/>
                      </a:cxn>
                      <a:cxn ang="T86">
                        <a:pos x="T32" y="T33"/>
                      </a:cxn>
                      <a:cxn ang="T87">
                        <a:pos x="T34" y="T35"/>
                      </a:cxn>
                      <a:cxn ang="T88">
                        <a:pos x="T36" y="T37"/>
                      </a:cxn>
                      <a:cxn ang="T89">
                        <a:pos x="T38" y="T39"/>
                      </a:cxn>
                      <a:cxn ang="T90">
                        <a:pos x="T40" y="T41"/>
                      </a:cxn>
                      <a:cxn ang="T91">
                        <a:pos x="T42" y="T43"/>
                      </a:cxn>
                      <a:cxn ang="T92">
                        <a:pos x="T44" y="T45"/>
                      </a:cxn>
                      <a:cxn ang="T93">
                        <a:pos x="T46" y="T47"/>
                      </a:cxn>
                      <a:cxn ang="T94">
                        <a:pos x="T48" y="T49"/>
                      </a:cxn>
                      <a:cxn ang="T95">
                        <a:pos x="T50" y="T51"/>
                      </a:cxn>
                      <a:cxn ang="T96">
                        <a:pos x="T52" y="T53"/>
                      </a:cxn>
                      <a:cxn ang="T97">
                        <a:pos x="T54" y="T55"/>
                      </a:cxn>
                      <a:cxn ang="T98">
                        <a:pos x="T56" y="T57"/>
                      </a:cxn>
                      <a:cxn ang="T99">
                        <a:pos x="T58" y="T59"/>
                      </a:cxn>
                      <a:cxn ang="T100">
                        <a:pos x="T60" y="T61"/>
                      </a:cxn>
                      <a:cxn ang="T101">
                        <a:pos x="T62" y="T63"/>
                      </a:cxn>
                      <a:cxn ang="T102">
                        <a:pos x="T64" y="T65"/>
                      </a:cxn>
                      <a:cxn ang="T103">
                        <a:pos x="T66" y="T67"/>
                      </a:cxn>
                      <a:cxn ang="T104">
                        <a:pos x="T68" y="T69"/>
                      </a:cxn>
                    </a:cxnLst>
                    <a:rect l="T105" t="T106" r="T107" b="T108"/>
                    <a:pathLst>
                      <a:path w="1245" h="941">
                        <a:moveTo>
                          <a:pt x="1210" y="0"/>
                        </a:moveTo>
                        <a:lnTo>
                          <a:pt x="0" y="0"/>
                        </a:lnTo>
                        <a:lnTo>
                          <a:pt x="0" y="941"/>
                        </a:lnTo>
                        <a:lnTo>
                          <a:pt x="1237" y="941"/>
                        </a:lnTo>
                        <a:lnTo>
                          <a:pt x="1245" y="0"/>
                        </a:lnTo>
                        <a:lnTo>
                          <a:pt x="1210" y="0"/>
                        </a:lnTo>
                        <a:close/>
                        <a:moveTo>
                          <a:pt x="1174" y="54"/>
                        </a:moveTo>
                        <a:lnTo>
                          <a:pt x="1174" y="71"/>
                        </a:lnTo>
                        <a:lnTo>
                          <a:pt x="1174" y="102"/>
                        </a:lnTo>
                        <a:lnTo>
                          <a:pt x="1174" y="145"/>
                        </a:lnTo>
                        <a:lnTo>
                          <a:pt x="1172" y="198"/>
                        </a:lnTo>
                        <a:lnTo>
                          <a:pt x="1172" y="259"/>
                        </a:lnTo>
                        <a:lnTo>
                          <a:pt x="1171" y="327"/>
                        </a:lnTo>
                        <a:lnTo>
                          <a:pt x="1171" y="398"/>
                        </a:lnTo>
                        <a:lnTo>
                          <a:pt x="1170" y="472"/>
                        </a:lnTo>
                        <a:lnTo>
                          <a:pt x="1170" y="545"/>
                        </a:lnTo>
                        <a:lnTo>
                          <a:pt x="1169" y="616"/>
                        </a:lnTo>
                        <a:lnTo>
                          <a:pt x="1168" y="683"/>
                        </a:lnTo>
                        <a:lnTo>
                          <a:pt x="1168" y="744"/>
                        </a:lnTo>
                        <a:lnTo>
                          <a:pt x="1168" y="798"/>
                        </a:lnTo>
                        <a:lnTo>
                          <a:pt x="1167" y="840"/>
                        </a:lnTo>
                        <a:lnTo>
                          <a:pt x="1167" y="871"/>
                        </a:lnTo>
                        <a:lnTo>
                          <a:pt x="1167" y="888"/>
                        </a:lnTo>
                        <a:lnTo>
                          <a:pt x="1146" y="888"/>
                        </a:lnTo>
                        <a:lnTo>
                          <a:pt x="1106" y="888"/>
                        </a:lnTo>
                        <a:lnTo>
                          <a:pt x="1049" y="888"/>
                        </a:lnTo>
                        <a:lnTo>
                          <a:pt x="980" y="888"/>
                        </a:lnTo>
                        <a:lnTo>
                          <a:pt x="900" y="888"/>
                        </a:lnTo>
                        <a:lnTo>
                          <a:pt x="812" y="888"/>
                        </a:lnTo>
                        <a:lnTo>
                          <a:pt x="718" y="888"/>
                        </a:lnTo>
                        <a:lnTo>
                          <a:pt x="623" y="888"/>
                        </a:lnTo>
                        <a:lnTo>
                          <a:pt x="526" y="888"/>
                        </a:lnTo>
                        <a:lnTo>
                          <a:pt x="432" y="888"/>
                        </a:lnTo>
                        <a:lnTo>
                          <a:pt x="343" y="888"/>
                        </a:lnTo>
                        <a:lnTo>
                          <a:pt x="262" y="888"/>
                        </a:lnTo>
                        <a:lnTo>
                          <a:pt x="192" y="888"/>
                        </a:lnTo>
                        <a:lnTo>
                          <a:pt x="135" y="888"/>
                        </a:lnTo>
                        <a:lnTo>
                          <a:pt x="94" y="888"/>
                        </a:lnTo>
                        <a:lnTo>
                          <a:pt x="71" y="888"/>
                        </a:lnTo>
                        <a:lnTo>
                          <a:pt x="71" y="871"/>
                        </a:lnTo>
                        <a:lnTo>
                          <a:pt x="71" y="840"/>
                        </a:lnTo>
                        <a:lnTo>
                          <a:pt x="71" y="798"/>
                        </a:lnTo>
                        <a:lnTo>
                          <a:pt x="71" y="744"/>
                        </a:lnTo>
                        <a:lnTo>
                          <a:pt x="71" y="683"/>
                        </a:lnTo>
                        <a:lnTo>
                          <a:pt x="71" y="615"/>
                        </a:lnTo>
                        <a:lnTo>
                          <a:pt x="71" y="544"/>
                        </a:lnTo>
                        <a:lnTo>
                          <a:pt x="71" y="472"/>
                        </a:lnTo>
                        <a:lnTo>
                          <a:pt x="71" y="398"/>
                        </a:lnTo>
                        <a:lnTo>
                          <a:pt x="71" y="327"/>
                        </a:lnTo>
                        <a:lnTo>
                          <a:pt x="71" y="259"/>
                        </a:lnTo>
                        <a:lnTo>
                          <a:pt x="71" y="198"/>
                        </a:lnTo>
                        <a:lnTo>
                          <a:pt x="71" y="145"/>
                        </a:lnTo>
                        <a:lnTo>
                          <a:pt x="72" y="102"/>
                        </a:lnTo>
                        <a:lnTo>
                          <a:pt x="72" y="71"/>
                        </a:lnTo>
                        <a:lnTo>
                          <a:pt x="72" y="53"/>
                        </a:lnTo>
                        <a:lnTo>
                          <a:pt x="94" y="53"/>
                        </a:lnTo>
                        <a:lnTo>
                          <a:pt x="134" y="53"/>
                        </a:lnTo>
                        <a:lnTo>
                          <a:pt x="192" y="53"/>
                        </a:lnTo>
                        <a:lnTo>
                          <a:pt x="262" y="53"/>
                        </a:lnTo>
                        <a:lnTo>
                          <a:pt x="342" y="53"/>
                        </a:lnTo>
                        <a:lnTo>
                          <a:pt x="431" y="53"/>
                        </a:lnTo>
                        <a:lnTo>
                          <a:pt x="526" y="53"/>
                        </a:lnTo>
                        <a:lnTo>
                          <a:pt x="623" y="53"/>
                        </a:lnTo>
                        <a:lnTo>
                          <a:pt x="719" y="53"/>
                        </a:lnTo>
                        <a:lnTo>
                          <a:pt x="814" y="53"/>
                        </a:lnTo>
                        <a:lnTo>
                          <a:pt x="902" y="53"/>
                        </a:lnTo>
                        <a:lnTo>
                          <a:pt x="983" y="53"/>
                        </a:lnTo>
                        <a:lnTo>
                          <a:pt x="1053" y="54"/>
                        </a:lnTo>
                        <a:lnTo>
                          <a:pt x="1110" y="54"/>
                        </a:lnTo>
                        <a:lnTo>
                          <a:pt x="1151" y="54"/>
                        </a:lnTo>
                        <a:lnTo>
                          <a:pt x="1174" y="54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95" name="Freeform 184"/>
                  <p:cNvSpPr>
                    <a:spLocks noEditPoints="1"/>
                  </p:cNvSpPr>
                  <p:nvPr/>
                </p:nvSpPr>
                <p:spPr bwMode="auto">
                  <a:xfrm>
                    <a:off x="3382" y="3748"/>
                    <a:ext cx="132" cy="103"/>
                  </a:xfrm>
                  <a:custGeom>
                    <a:avLst/>
                    <a:gdLst>
                      <a:gd name="T0" fmla="*/ 0 w 926"/>
                      <a:gd name="T1" fmla="*/ 0 h 700"/>
                      <a:gd name="T2" fmla="*/ 0 w 926"/>
                      <a:gd name="T3" fmla="*/ 0 h 700"/>
                      <a:gd name="T4" fmla="*/ 0 w 926"/>
                      <a:gd name="T5" fmla="*/ 0 h 700"/>
                      <a:gd name="T6" fmla="*/ 0 w 926"/>
                      <a:gd name="T7" fmla="*/ 0 h 700"/>
                      <a:gd name="T8" fmla="*/ 0 w 926"/>
                      <a:gd name="T9" fmla="*/ 0 h 700"/>
                      <a:gd name="T10" fmla="*/ 0 w 926"/>
                      <a:gd name="T11" fmla="*/ 0 h 700"/>
                      <a:gd name="T12" fmla="*/ 0 w 926"/>
                      <a:gd name="T13" fmla="*/ 0 h 700"/>
                      <a:gd name="T14" fmla="*/ 0 w 926"/>
                      <a:gd name="T15" fmla="*/ 0 h 700"/>
                      <a:gd name="T16" fmla="*/ 0 w 926"/>
                      <a:gd name="T17" fmla="*/ 0 h 700"/>
                      <a:gd name="T18" fmla="*/ 0 w 926"/>
                      <a:gd name="T19" fmla="*/ 0 h 700"/>
                      <a:gd name="T20" fmla="*/ 0 w 926"/>
                      <a:gd name="T21" fmla="*/ 0 h 700"/>
                      <a:gd name="T22" fmla="*/ 0 w 926"/>
                      <a:gd name="T23" fmla="*/ 0 h 700"/>
                      <a:gd name="T24" fmla="*/ 0 w 926"/>
                      <a:gd name="T25" fmla="*/ 0 h 700"/>
                      <a:gd name="T26" fmla="*/ 0 w 926"/>
                      <a:gd name="T27" fmla="*/ 0 h 700"/>
                      <a:gd name="T28" fmla="*/ 0 w 926"/>
                      <a:gd name="T29" fmla="*/ 0 h 700"/>
                      <a:gd name="T30" fmla="*/ 0 w 926"/>
                      <a:gd name="T31" fmla="*/ 0 h 700"/>
                      <a:gd name="T32" fmla="*/ 0 w 926"/>
                      <a:gd name="T33" fmla="*/ 0 h 700"/>
                      <a:gd name="T34" fmla="*/ 0 w 926"/>
                      <a:gd name="T35" fmla="*/ 0 h 700"/>
                      <a:gd name="T36" fmla="*/ 0 w 926"/>
                      <a:gd name="T37" fmla="*/ 0 h 700"/>
                      <a:gd name="T38" fmla="*/ 0 w 926"/>
                      <a:gd name="T39" fmla="*/ 0 h 700"/>
                      <a:gd name="T40" fmla="*/ 0 w 926"/>
                      <a:gd name="T41" fmla="*/ 0 h 700"/>
                      <a:gd name="T42" fmla="*/ 0 w 926"/>
                      <a:gd name="T43" fmla="*/ 0 h 700"/>
                      <a:gd name="T44" fmla="*/ 0 w 926"/>
                      <a:gd name="T45" fmla="*/ 0 h 700"/>
                      <a:gd name="T46" fmla="*/ 0 w 926"/>
                      <a:gd name="T47" fmla="*/ 0 h 700"/>
                      <a:gd name="T48" fmla="*/ 0 w 926"/>
                      <a:gd name="T49" fmla="*/ 0 h 700"/>
                      <a:gd name="T50" fmla="*/ 0 w 926"/>
                      <a:gd name="T51" fmla="*/ 0 h 700"/>
                      <a:gd name="T52" fmla="*/ 0 w 926"/>
                      <a:gd name="T53" fmla="*/ 0 h 700"/>
                      <a:gd name="T54" fmla="*/ 0 w 926"/>
                      <a:gd name="T55" fmla="*/ 0 h 700"/>
                      <a:gd name="T56" fmla="*/ 0 w 926"/>
                      <a:gd name="T57" fmla="*/ 0 h 700"/>
                      <a:gd name="T58" fmla="*/ 0 w 926"/>
                      <a:gd name="T59" fmla="*/ 0 h 700"/>
                      <a:gd name="T60" fmla="*/ 0 w 926"/>
                      <a:gd name="T61" fmla="*/ 0 h 700"/>
                      <a:gd name="T62" fmla="*/ 0 w 926"/>
                      <a:gd name="T63" fmla="*/ 0 h 700"/>
                      <a:gd name="T64" fmla="*/ 0 w 926"/>
                      <a:gd name="T65" fmla="*/ 0 h 700"/>
                      <a:gd name="T66" fmla="*/ 0 w 926"/>
                      <a:gd name="T67" fmla="*/ 0 h 700"/>
                      <a:gd name="T68" fmla="*/ 0 w 926"/>
                      <a:gd name="T69" fmla="*/ 0 h 700"/>
                      <a:gd name="T70" fmla="*/ 0 w 926"/>
                      <a:gd name="T71" fmla="*/ 0 h 700"/>
                      <a:gd name="T72" fmla="*/ 0 w 926"/>
                      <a:gd name="T73" fmla="*/ 0 h 700"/>
                      <a:gd name="T74" fmla="*/ 0 w 926"/>
                      <a:gd name="T75" fmla="*/ 0 h 700"/>
                      <a:gd name="T76" fmla="*/ 0 w 926"/>
                      <a:gd name="T77" fmla="*/ 0 h 700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w 926"/>
                      <a:gd name="T118" fmla="*/ 0 h 700"/>
                      <a:gd name="T119" fmla="*/ 926 w 926"/>
                      <a:gd name="T120" fmla="*/ 700 h 700"/>
                    </a:gdLst>
                    <a:ahLst/>
                    <a:cxnLst>
                      <a:cxn ang="T78">
                        <a:pos x="T0" y="T1"/>
                      </a:cxn>
                      <a:cxn ang="T79">
                        <a:pos x="T2" y="T3"/>
                      </a:cxn>
                      <a:cxn ang="T80">
                        <a:pos x="T4" y="T5"/>
                      </a:cxn>
                      <a:cxn ang="T81">
                        <a:pos x="T6" y="T7"/>
                      </a:cxn>
                      <a:cxn ang="T82">
                        <a:pos x="T8" y="T9"/>
                      </a:cxn>
                      <a:cxn ang="T83">
                        <a:pos x="T10" y="T11"/>
                      </a:cxn>
                      <a:cxn ang="T84">
                        <a:pos x="T12" y="T13"/>
                      </a:cxn>
                      <a:cxn ang="T85">
                        <a:pos x="T14" y="T15"/>
                      </a:cxn>
                      <a:cxn ang="T86">
                        <a:pos x="T16" y="T17"/>
                      </a:cxn>
                      <a:cxn ang="T87">
                        <a:pos x="T18" y="T19"/>
                      </a:cxn>
                      <a:cxn ang="T88">
                        <a:pos x="T20" y="T21"/>
                      </a:cxn>
                      <a:cxn ang="T89">
                        <a:pos x="T22" y="T23"/>
                      </a:cxn>
                      <a:cxn ang="T90">
                        <a:pos x="T24" y="T25"/>
                      </a:cxn>
                      <a:cxn ang="T91">
                        <a:pos x="T26" y="T27"/>
                      </a:cxn>
                      <a:cxn ang="T92">
                        <a:pos x="T28" y="T29"/>
                      </a:cxn>
                      <a:cxn ang="T93">
                        <a:pos x="T30" y="T31"/>
                      </a:cxn>
                      <a:cxn ang="T94">
                        <a:pos x="T32" y="T33"/>
                      </a:cxn>
                      <a:cxn ang="T95">
                        <a:pos x="T34" y="T35"/>
                      </a:cxn>
                      <a:cxn ang="T96">
                        <a:pos x="T36" y="T37"/>
                      </a:cxn>
                      <a:cxn ang="T97">
                        <a:pos x="T38" y="T39"/>
                      </a:cxn>
                      <a:cxn ang="T98">
                        <a:pos x="T40" y="T41"/>
                      </a:cxn>
                      <a:cxn ang="T99">
                        <a:pos x="T42" y="T43"/>
                      </a:cxn>
                      <a:cxn ang="T100">
                        <a:pos x="T44" y="T45"/>
                      </a:cxn>
                      <a:cxn ang="T101">
                        <a:pos x="T46" y="T47"/>
                      </a:cxn>
                      <a:cxn ang="T102">
                        <a:pos x="T48" y="T49"/>
                      </a:cxn>
                      <a:cxn ang="T103">
                        <a:pos x="T50" y="T51"/>
                      </a:cxn>
                      <a:cxn ang="T104">
                        <a:pos x="T52" y="T53"/>
                      </a:cxn>
                      <a:cxn ang="T105">
                        <a:pos x="T54" y="T55"/>
                      </a:cxn>
                      <a:cxn ang="T106">
                        <a:pos x="T56" y="T57"/>
                      </a:cxn>
                      <a:cxn ang="T107">
                        <a:pos x="T58" y="T59"/>
                      </a:cxn>
                      <a:cxn ang="T108">
                        <a:pos x="T60" y="T61"/>
                      </a:cxn>
                      <a:cxn ang="T109">
                        <a:pos x="T62" y="T63"/>
                      </a:cxn>
                      <a:cxn ang="T110">
                        <a:pos x="T64" y="T65"/>
                      </a:cxn>
                      <a:cxn ang="T111">
                        <a:pos x="T66" y="T67"/>
                      </a:cxn>
                      <a:cxn ang="T112">
                        <a:pos x="T68" y="T69"/>
                      </a:cxn>
                      <a:cxn ang="T113">
                        <a:pos x="T70" y="T71"/>
                      </a:cxn>
                      <a:cxn ang="T114">
                        <a:pos x="T72" y="T73"/>
                      </a:cxn>
                      <a:cxn ang="T115">
                        <a:pos x="T74" y="T75"/>
                      </a:cxn>
                      <a:cxn ang="T116">
                        <a:pos x="T76" y="T77"/>
                      </a:cxn>
                    </a:cxnLst>
                    <a:rect l="T117" t="T118" r="T119" b="T120"/>
                    <a:pathLst>
                      <a:path w="926" h="700">
                        <a:moveTo>
                          <a:pt x="890" y="0"/>
                        </a:moveTo>
                        <a:lnTo>
                          <a:pt x="1" y="0"/>
                        </a:lnTo>
                        <a:lnTo>
                          <a:pt x="0" y="700"/>
                        </a:lnTo>
                        <a:lnTo>
                          <a:pt x="920" y="700"/>
                        </a:lnTo>
                        <a:lnTo>
                          <a:pt x="926" y="0"/>
                        </a:lnTo>
                        <a:lnTo>
                          <a:pt x="890" y="0"/>
                        </a:lnTo>
                        <a:close/>
                        <a:moveTo>
                          <a:pt x="854" y="54"/>
                        </a:moveTo>
                        <a:lnTo>
                          <a:pt x="854" y="91"/>
                        </a:lnTo>
                        <a:lnTo>
                          <a:pt x="853" y="160"/>
                        </a:lnTo>
                        <a:lnTo>
                          <a:pt x="853" y="251"/>
                        </a:lnTo>
                        <a:lnTo>
                          <a:pt x="852" y="351"/>
                        </a:lnTo>
                        <a:lnTo>
                          <a:pt x="852" y="451"/>
                        </a:lnTo>
                        <a:lnTo>
                          <a:pt x="851" y="541"/>
                        </a:lnTo>
                        <a:lnTo>
                          <a:pt x="851" y="610"/>
                        </a:lnTo>
                        <a:lnTo>
                          <a:pt x="850" y="647"/>
                        </a:lnTo>
                        <a:lnTo>
                          <a:pt x="801" y="647"/>
                        </a:lnTo>
                        <a:lnTo>
                          <a:pt x="711" y="647"/>
                        </a:lnTo>
                        <a:lnTo>
                          <a:pt x="593" y="647"/>
                        </a:lnTo>
                        <a:lnTo>
                          <a:pt x="460" y="647"/>
                        </a:lnTo>
                        <a:lnTo>
                          <a:pt x="328" y="647"/>
                        </a:lnTo>
                        <a:lnTo>
                          <a:pt x="210" y="647"/>
                        </a:lnTo>
                        <a:lnTo>
                          <a:pt x="119" y="647"/>
                        </a:lnTo>
                        <a:lnTo>
                          <a:pt x="71" y="647"/>
                        </a:lnTo>
                        <a:lnTo>
                          <a:pt x="71" y="610"/>
                        </a:lnTo>
                        <a:lnTo>
                          <a:pt x="71" y="541"/>
                        </a:lnTo>
                        <a:lnTo>
                          <a:pt x="71" y="451"/>
                        </a:lnTo>
                        <a:lnTo>
                          <a:pt x="71" y="351"/>
                        </a:lnTo>
                        <a:lnTo>
                          <a:pt x="71" y="251"/>
                        </a:lnTo>
                        <a:lnTo>
                          <a:pt x="71" y="160"/>
                        </a:lnTo>
                        <a:lnTo>
                          <a:pt x="72" y="91"/>
                        </a:lnTo>
                        <a:lnTo>
                          <a:pt x="72" y="54"/>
                        </a:lnTo>
                        <a:lnTo>
                          <a:pt x="121" y="54"/>
                        </a:lnTo>
                        <a:lnTo>
                          <a:pt x="211" y="54"/>
                        </a:lnTo>
                        <a:lnTo>
                          <a:pt x="330" y="54"/>
                        </a:lnTo>
                        <a:lnTo>
                          <a:pt x="463" y="54"/>
                        </a:lnTo>
                        <a:lnTo>
                          <a:pt x="596" y="54"/>
                        </a:lnTo>
                        <a:lnTo>
                          <a:pt x="714" y="54"/>
                        </a:lnTo>
                        <a:lnTo>
                          <a:pt x="805" y="54"/>
                        </a:lnTo>
                        <a:lnTo>
                          <a:pt x="854" y="54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96" name="Freeform 185"/>
                  <p:cNvSpPr>
                    <a:spLocks noEditPoints="1"/>
                  </p:cNvSpPr>
                  <p:nvPr/>
                </p:nvSpPr>
                <p:spPr bwMode="auto">
                  <a:xfrm>
                    <a:off x="3403" y="3763"/>
                    <a:ext cx="89" cy="68"/>
                  </a:xfrm>
                  <a:custGeom>
                    <a:avLst/>
                    <a:gdLst>
                      <a:gd name="T0" fmla="*/ 0 w 624"/>
                      <a:gd name="T1" fmla="*/ 0 h 472"/>
                      <a:gd name="T2" fmla="*/ 0 w 624"/>
                      <a:gd name="T3" fmla="*/ 0 h 472"/>
                      <a:gd name="T4" fmla="*/ 0 w 624"/>
                      <a:gd name="T5" fmla="*/ 0 h 472"/>
                      <a:gd name="T6" fmla="*/ 0 w 624"/>
                      <a:gd name="T7" fmla="*/ 0 h 472"/>
                      <a:gd name="T8" fmla="*/ 0 w 624"/>
                      <a:gd name="T9" fmla="*/ 0 h 472"/>
                      <a:gd name="T10" fmla="*/ 0 w 624"/>
                      <a:gd name="T11" fmla="*/ 0 h 472"/>
                      <a:gd name="T12" fmla="*/ 0 w 624"/>
                      <a:gd name="T13" fmla="*/ 0 h 472"/>
                      <a:gd name="T14" fmla="*/ 0 w 624"/>
                      <a:gd name="T15" fmla="*/ 0 h 472"/>
                      <a:gd name="T16" fmla="*/ 0 w 624"/>
                      <a:gd name="T17" fmla="*/ 0 h 472"/>
                      <a:gd name="T18" fmla="*/ 0 w 624"/>
                      <a:gd name="T19" fmla="*/ 0 h 472"/>
                      <a:gd name="T20" fmla="*/ 0 w 624"/>
                      <a:gd name="T21" fmla="*/ 0 h 472"/>
                      <a:gd name="T22" fmla="*/ 0 w 624"/>
                      <a:gd name="T23" fmla="*/ 0 h 472"/>
                      <a:gd name="T24" fmla="*/ 0 w 624"/>
                      <a:gd name="T25" fmla="*/ 0 h 472"/>
                      <a:gd name="T26" fmla="*/ 0 w 624"/>
                      <a:gd name="T27" fmla="*/ 0 h 472"/>
                      <a:gd name="T28" fmla="*/ 0 w 624"/>
                      <a:gd name="T29" fmla="*/ 0 h 472"/>
                      <a:gd name="T30" fmla="*/ 0 w 624"/>
                      <a:gd name="T31" fmla="*/ 0 h 472"/>
                      <a:gd name="T32" fmla="*/ 0 w 624"/>
                      <a:gd name="T33" fmla="*/ 0 h 472"/>
                      <a:gd name="T34" fmla="*/ 0 w 624"/>
                      <a:gd name="T35" fmla="*/ 0 h 472"/>
                      <a:gd name="T36" fmla="*/ 0 w 624"/>
                      <a:gd name="T37" fmla="*/ 0 h 472"/>
                      <a:gd name="T38" fmla="*/ 0 w 624"/>
                      <a:gd name="T39" fmla="*/ 0 h 472"/>
                      <a:gd name="T40" fmla="*/ 0 w 624"/>
                      <a:gd name="T41" fmla="*/ 0 h 472"/>
                      <a:gd name="T42" fmla="*/ 0 w 624"/>
                      <a:gd name="T43" fmla="*/ 0 h 472"/>
                      <a:gd name="T44" fmla="*/ 0 w 624"/>
                      <a:gd name="T45" fmla="*/ 0 h 472"/>
                      <a:gd name="T46" fmla="*/ 0 w 624"/>
                      <a:gd name="T47" fmla="*/ 0 h 472"/>
                      <a:gd name="T48" fmla="*/ 0 w 624"/>
                      <a:gd name="T49" fmla="*/ 0 h 472"/>
                      <a:gd name="T50" fmla="*/ 0 w 624"/>
                      <a:gd name="T51" fmla="*/ 0 h 472"/>
                      <a:gd name="T52" fmla="*/ 0 w 624"/>
                      <a:gd name="T53" fmla="*/ 0 h 472"/>
                      <a:gd name="T54" fmla="*/ 0 w 624"/>
                      <a:gd name="T55" fmla="*/ 0 h 472"/>
                      <a:gd name="T56" fmla="*/ 0 w 624"/>
                      <a:gd name="T57" fmla="*/ 0 h 472"/>
                      <a:gd name="T58" fmla="*/ 0 w 624"/>
                      <a:gd name="T59" fmla="*/ 0 h 472"/>
                      <a:gd name="T60" fmla="*/ 0 w 624"/>
                      <a:gd name="T61" fmla="*/ 0 h 472"/>
                      <a:gd name="T62" fmla="*/ 0 w 624"/>
                      <a:gd name="T63" fmla="*/ 0 h 472"/>
                      <a:gd name="T64" fmla="*/ 0 w 624"/>
                      <a:gd name="T65" fmla="*/ 0 h 472"/>
                      <a:gd name="T66" fmla="*/ 0 w 624"/>
                      <a:gd name="T67" fmla="*/ 0 h 472"/>
                      <a:gd name="T68" fmla="*/ 0 w 624"/>
                      <a:gd name="T69" fmla="*/ 0 h 472"/>
                      <a:gd name="T70" fmla="*/ 0 w 624"/>
                      <a:gd name="T71" fmla="*/ 0 h 472"/>
                      <a:gd name="T72" fmla="*/ 0 w 624"/>
                      <a:gd name="T73" fmla="*/ 0 h 472"/>
                      <a:gd name="T74" fmla="*/ 0 w 624"/>
                      <a:gd name="T75" fmla="*/ 0 h 472"/>
                      <a:gd name="T76" fmla="*/ 0 w 624"/>
                      <a:gd name="T77" fmla="*/ 0 h 472"/>
                      <a:gd name="T78" fmla="*/ 0 60000 65536"/>
                      <a:gd name="T79" fmla="*/ 0 60000 65536"/>
                      <a:gd name="T80" fmla="*/ 0 60000 65536"/>
                      <a:gd name="T81" fmla="*/ 0 60000 65536"/>
                      <a:gd name="T82" fmla="*/ 0 60000 65536"/>
                      <a:gd name="T83" fmla="*/ 0 60000 65536"/>
                      <a:gd name="T84" fmla="*/ 0 60000 65536"/>
                      <a:gd name="T85" fmla="*/ 0 60000 65536"/>
                      <a:gd name="T86" fmla="*/ 0 60000 65536"/>
                      <a:gd name="T87" fmla="*/ 0 60000 65536"/>
                      <a:gd name="T88" fmla="*/ 0 60000 65536"/>
                      <a:gd name="T89" fmla="*/ 0 60000 65536"/>
                      <a:gd name="T90" fmla="*/ 0 60000 65536"/>
                      <a:gd name="T91" fmla="*/ 0 60000 65536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w 624"/>
                      <a:gd name="T118" fmla="*/ 0 h 472"/>
                      <a:gd name="T119" fmla="*/ 624 w 624"/>
                      <a:gd name="T120" fmla="*/ 472 h 472"/>
                    </a:gdLst>
                    <a:ahLst/>
                    <a:cxnLst>
                      <a:cxn ang="T78">
                        <a:pos x="T0" y="T1"/>
                      </a:cxn>
                      <a:cxn ang="T79">
                        <a:pos x="T2" y="T3"/>
                      </a:cxn>
                      <a:cxn ang="T80">
                        <a:pos x="T4" y="T5"/>
                      </a:cxn>
                      <a:cxn ang="T81">
                        <a:pos x="T6" y="T7"/>
                      </a:cxn>
                      <a:cxn ang="T82">
                        <a:pos x="T8" y="T9"/>
                      </a:cxn>
                      <a:cxn ang="T83">
                        <a:pos x="T10" y="T11"/>
                      </a:cxn>
                      <a:cxn ang="T84">
                        <a:pos x="T12" y="T13"/>
                      </a:cxn>
                      <a:cxn ang="T85">
                        <a:pos x="T14" y="T15"/>
                      </a:cxn>
                      <a:cxn ang="T86">
                        <a:pos x="T16" y="T17"/>
                      </a:cxn>
                      <a:cxn ang="T87">
                        <a:pos x="T18" y="T19"/>
                      </a:cxn>
                      <a:cxn ang="T88">
                        <a:pos x="T20" y="T21"/>
                      </a:cxn>
                      <a:cxn ang="T89">
                        <a:pos x="T22" y="T23"/>
                      </a:cxn>
                      <a:cxn ang="T90">
                        <a:pos x="T24" y="T25"/>
                      </a:cxn>
                      <a:cxn ang="T91">
                        <a:pos x="T26" y="T27"/>
                      </a:cxn>
                      <a:cxn ang="T92">
                        <a:pos x="T28" y="T29"/>
                      </a:cxn>
                      <a:cxn ang="T93">
                        <a:pos x="T30" y="T31"/>
                      </a:cxn>
                      <a:cxn ang="T94">
                        <a:pos x="T32" y="T33"/>
                      </a:cxn>
                      <a:cxn ang="T95">
                        <a:pos x="T34" y="T35"/>
                      </a:cxn>
                      <a:cxn ang="T96">
                        <a:pos x="T36" y="T37"/>
                      </a:cxn>
                      <a:cxn ang="T97">
                        <a:pos x="T38" y="T39"/>
                      </a:cxn>
                      <a:cxn ang="T98">
                        <a:pos x="T40" y="T41"/>
                      </a:cxn>
                      <a:cxn ang="T99">
                        <a:pos x="T42" y="T43"/>
                      </a:cxn>
                      <a:cxn ang="T100">
                        <a:pos x="T44" y="T45"/>
                      </a:cxn>
                      <a:cxn ang="T101">
                        <a:pos x="T46" y="T47"/>
                      </a:cxn>
                      <a:cxn ang="T102">
                        <a:pos x="T48" y="T49"/>
                      </a:cxn>
                      <a:cxn ang="T103">
                        <a:pos x="T50" y="T51"/>
                      </a:cxn>
                      <a:cxn ang="T104">
                        <a:pos x="T52" y="T53"/>
                      </a:cxn>
                      <a:cxn ang="T105">
                        <a:pos x="T54" y="T55"/>
                      </a:cxn>
                      <a:cxn ang="T106">
                        <a:pos x="T56" y="T57"/>
                      </a:cxn>
                      <a:cxn ang="T107">
                        <a:pos x="T58" y="T59"/>
                      </a:cxn>
                      <a:cxn ang="T108">
                        <a:pos x="T60" y="T61"/>
                      </a:cxn>
                      <a:cxn ang="T109">
                        <a:pos x="T62" y="T63"/>
                      </a:cxn>
                      <a:cxn ang="T110">
                        <a:pos x="T64" y="T65"/>
                      </a:cxn>
                      <a:cxn ang="T111">
                        <a:pos x="T66" y="T67"/>
                      </a:cxn>
                      <a:cxn ang="T112">
                        <a:pos x="T68" y="T69"/>
                      </a:cxn>
                      <a:cxn ang="T113">
                        <a:pos x="T70" y="T71"/>
                      </a:cxn>
                      <a:cxn ang="T114">
                        <a:pos x="T72" y="T73"/>
                      </a:cxn>
                      <a:cxn ang="T115">
                        <a:pos x="T74" y="T75"/>
                      </a:cxn>
                      <a:cxn ang="T116">
                        <a:pos x="T76" y="T77"/>
                      </a:cxn>
                    </a:cxnLst>
                    <a:rect l="T117" t="T118" r="T119" b="T120"/>
                    <a:pathLst>
                      <a:path w="624" h="472">
                        <a:moveTo>
                          <a:pt x="589" y="0"/>
                        </a:moveTo>
                        <a:lnTo>
                          <a:pt x="1" y="0"/>
                        </a:lnTo>
                        <a:lnTo>
                          <a:pt x="0" y="472"/>
                        </a:lnTo>
                        <a:lnTo>
                          <a:pt x="621" y="472"/>
                        </a:lnTo>
                        <a:lnTo>
                          <a:pt x="624" y="0"/>
                        </a:lnTo>
                        <a:lnTo>
                          <a:pt x="589" y="0"/>
                        </a:lnTo>
                        <a:close/>
                        <a:moveTo>
                          <a:pt x="553" y="53"/>
                        </a:moveTo>
                        <a:lnTo>
                          <a:pt x="553" y="80"/>
                        </a:lnTo>
                        <a:lnTo>
                          <a:pt x="553" y="123"/>
                        </a:lnTo>
                        <a:lnTo>
                          <a:pt x="552" y="177"/>
                        </a:lnTo>
                        <a:lnTo>
                          <a:pt x="552" y="236"/>
                        </a:lnTo>
                        <a:lnTo>
                          <a:pt x="552" y="296"/>
                        </a:lnTo>
                        <a:lnTo>
                          <a:pt x="552" y="349"/>
                        </a:lnTo>
                        <a:lnTo>
                          <a:pt x="551" y="392"/>
                        </a:lnTo>
                        <a:lnTo>
                          <a:pt x="551" y="418"/>
                        </a:lnTo>
                        <a:lnTo>
                          <a:pt x="516" y="418"/>
                        </a:lnTo>
                        <a:lnTo>
                          <a:pt x="459" y="418"/>
                        </a:lnTo>
                        <a:lnTo>
                          <a:pt x="388" y="418"/>
                        </a:lnTo>
                        <a:lnTo>
                          <a:pt x="310" y="418"/>
                        </a:lnTo>
                        <a:lnTo>
                          <a:pt x="232" y="418"/>
                        </a:lnTo>
                        <a:lnTo>
                          <a:pt x="162" y="418"/>
                        </a:lnTo>
                        <a:lnTo>
                          <a:pt x="106" y="418"/>
                        </a:lnTo>
                        <a:lnTo>
                          <a:pt x="71" y="418"/>
                        </a:lnTo>
                        <a:lnTo>
                          <a:pt x="71" y="392"/>
                        </a:lnTo>
                        <a:lnTo>
                          <a:pt x="71" y="349"/>
                        </a:lnTo>
                        <a:lnTo>
                          <a:pt x="71" y="296"/>
                        </a:lnTo>
                        <a:lnTo>
                          <a:pt x="71" y="236"/>
                        </a:lnTo>
                        <a:lnTo>
                          <a:pt x="71" y="177"/>
                        </a:lnTo>
                        <a:lnTo>
                          <a:pt x="72" y="123"/>
                        </a:lnTo>
                        <a:lnTo>
                          <a:pt x="72" y="80"/>
                        </a:lnTo>
                        <a:lnTo>
                          <a:pt x="72" y="53"/>
                        </a:lnTo>
                        <a:lnTo>
                          <a:pt x="107" y="53"/>
                        </a:lnTo>
                        <a:lnTo>
                          <a:pt x="163" y="53"/>
                        </a:lnTo>
                        <a:lnTo>
                          <a:pt x="235" y="53"/>
                        </a:lnTo>
                        <a:lnTo>
                          <a:pt x="313" y="53"/>
                        </a:lnTo>
                        <a:lnTo>
                          <a:pt x="390" y="53"/>
                        </a:lnTo>
                        <a:lnTo>
                          <a:pt x="462" y="53"/>
                        </a:lnTo>
                        <a:lnTo>
                          <a:pt x="518" y="53"/>
                        </a:lnTo>
                        <a:lnTo>
                          <a:pt x="553" y="53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97" name="Freeform 186"/>
                  <p:cNvSpPr>
                    <a:spLocks/>
                  </p:cNvSpPr>
                  <p:nvPr/>
                </p:nvSpPr>
                <p:spPr bwMode="auto">
                  <a:xfrm>
                    <a:off x="3408" y="3768"/>
                    <a:ext cx="79" cy="62"/>
                  </a:xfrm>
                  <a:custGeom>
                    <a:avLst/>
                    <a:gdLst>
                      <a:gd name="T0" fmla="*/ 0 w 556"/>
                      <a:gd name="T1" fmla="*/ 0 h 421"/>
                      <a:gd name="T2" fmla="*/ 0 w 556"/>
                      <a:gd name="T3" fmla="*/ 0 h 421"/>
                      <a:gd name="T4" fmla="*/ 0 w 556"/>
                      <a:gd name="T5" fmla="*/ 0 h 421"/>
                      <a:gd name="T6" fmla="*/ 0 w 556"/>
                      <a:gd name="T7" fmla="*/ 0 h 421"/>
                      <a:gd name="T8" fmla="*/ 0 w 556"/>
                      <a:gd name="T9" fmla="*/ 0 h 421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556"/>
                      <a:gd name="T16" fmla="*/ 0 h 421"/>
                      <a:gd name="T17" fmla="*/ 556 w 556"/>
                      <a:gd name="T18" fmla="*/ 421 h 421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556" h="421">
                        <a:moveTo>
                          <a:pt x="0" y="421"/>
                        </a:moveTo>
                        <a:lnTo>
                          <a:pt x="1" y="0"/>
                        </a:lnTo>
                        <a:lnTo>
                          <a:pt x="556" y="0"/>
                        </a:lnTo>
                        <a:lnTo>
                          <a:pt x="553" y="421"/>
                        </a:lnTo>
                        <a:lnTo>
                          <a:pt x="0" y="421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98" name="Freeform 187"/>
                  <p:cNvSpPr>
                    <a:spLocks/>
                  </p:cNvSpPr>
                  <p:nvPr/>
                </p:nvSpPr>
                <p:spPr bwMode="auto">
                  <a:xfrm>
                    <a:off x="3189" y="3727"/>
                    <a:ext cx="508" cy="134"/>
                  </a:xfrm>
                  <a:custGeom>
                    <a:avLst/>
                    <a:gdLst>
                      <a:gd name="T0" fmla="*/ 0 w 3561"/>
                      <a:gd name="T1" fmla="*/ 0 h 941"/>
                      <a:gd name="T2" fmla="*/ 0 w 3561"/>
                      <a:gd name="T3" fmla="*/ 0 h 941"/>
                      <a:gd name="T4" fmla="*/ 0 w 3561"/>
                      <a:gd name="T5" fmla="*/ 0 h 941"/>
                      <a:gd name="T6" fmla="*/ 0 w 3561"/>
                      <a:gd name="T7" fmla="*/ 0 h 941"/>
                      <a:gd name="T8" fmla="*/ 0 w 3561"/>
                      <a:gd name="T9" fmla="*/ 0 h 941"/>
                      <a:gd name="T10" fmla="*/ 0 w 3561"/>
                      <a:gd name="T11" fmla="*/ 0 h 941"/>
                      <a:gd name="T12" fmla="*/ 0 w 3561"/>
                      <a:gd name="T13" fmla="*/ 0 h 941"/>
                      <a:gd name="T14" fmla="*/ 0 w 3561"/>
                      <a:gd name="T15" fmla="*/ 0 h 941"/>
                      <a:gd name="T16" fmla="*/ 0 w 3561"/>
                      <a:gd name="T17" fmla="*/ 0 h 941"/>
                      <a:gd name="T18" fmla="*/ 0 w 3561"/>
                      <a:gd name="T19" fmla="*/ 0 h 941"/>
                      <a:gd name="T20" fmla="*/ 0 w 3561"/>
                      <a:gd name="T21" fmla="*/ 0 h 941"/>
                      <a:gd name="T22" fmla="*/ 0 w 3561"/>
                      <a:gd name="T23" fmla="*/ 0 h 941"/>
                      <a:gd name="T24" fmla="*/ 0 w 3561"/>
                      <a:gd name="T25" fmla="*/ 0 h 941"/>
                      <a:gd name="T26" fmla="*/ 0 w 3561"/>
                      <a:gd name="T27" fmla="*/ 0 h 941"/>
                      <a:gd name="T28" fmla="*/ 0 w 3561"/>
                      <a:gd name="T29" fmla="*/ 0 h 941"/>
                      <a:gd name="T30" fmla="*/ 0 w 3561"/>
                      <a:gd name="T31" fmla="*/ 0 h 941"/>
                      <a:gd name="T32" fmla="*/ 0 w 3561"/>
                      <a:gd name="T33" fmla="*/ 0 h 941"/>
                      <a:gd name="T34" fmla="*/ 0 w 3561"/>
                      <a:gd name="T35" fmla="*/ 0 h 941"/>
                      <a:gd name="T36" fmla="*/ 0 w 3561"/>
                      <a:gd name="T37" fmla="*/ 0 h 941"/>
                      <a:gd name="T38" fmla="*/ 0 w 3561"/>
                      <a:gd name="T39" fmla="*/ 0 h 941"/>
                      <a:gd name="T40" fmla="*/ 0 w 3561"/>
                      <a:gd name="T41" fmla="*/ 0 h 941"/>
                      <a:gd name="T42" fmla="*/ 0 w 3561"/>
                      <a:gd name="T43" fmla="*/ 0 h 941"/>
                      <a:gd name="T44" fmla="*/ 0 w 3561"/>
                      <a:gd name="T45" fmla="*/ 0 h 941"/>
                      <a:gd name="T46" fmla="*/ 0 w 3561"/>
                      <a:gd name="T47" fmla="*/ 0 h 941"/>
                      <a:gd name="T48" fmla="*/ 0 w 3561"/>
                      <a:gd name="T49" fmla="*/ 0 h 941"/>
                      <a:gd name="T50" fmla="*/ 0 w 3561"/>
                      <a:gd name="T51" fmla="*/ 0 h 941"/>
                      <a:gd name="T52" fmla="*/ 0 w 3561"/>
                      <a:gd name="T53" fmla="*/ 0 h 941"/>
                      <a:gd name="T54" fmla="*/ 0 w 3561"/>
                      <a:gd name="T55" fmla="*/ 0 h 941"/>
                      <a:gd name="T56" fmla="*/ 0 w 3561"/>
                      <a:gd name="T57" fmla="*/ 0 h 941"/>
                      <a:gd name="T58" fmla="*/ 0 w 3561"/>
                      <a:gd name="T59" fmla="*/ 0 h 941"/>
                      <a:gd name="T60" fmla="*/ 0 w 3561"/>
                      <a:gd name="T61" fmla="*/ 0 h 941"/>
                      <a:gd name="T62" fmla="*/ 0 w 3561"/>
                      <a:gd name="T63" fmla="*/ 0 h 941"/>
                      <a:gd name="T64" fmla="*/ 0 w 3561"/>
                      <a:gd name="T65" fmla="*/ 0 h 941"/>
                      <a:gd name="T66" fmla="*/ 0 w 3561"/>
                      <a:gd name="T67" fmla="*/ 0 h 941"/>
                      <a:gd name="T68" fmla="*/ 0 w 3561"/>
                      <a:gd name="T69" fmla="*/ 0 h 941"/>
                      <a:gd name="T70" fmla="*/ 0 w 3561"/>
                      <a:gd name="T71" fmla="*/ 0 h 941"/>
                      <a:gd name="T72" fmla="*/ 0 w 3561"/>
                      <a:gd name="T73" fmla="*/ 0 h 941"/>
                      <a:gd name="T74" fmla="*/ 0 w 3561"/>
                      <a:gd name="T75" fmla="*/ 0 h 941"/>
                      <a:gd name="T76" fmla="*/ 0 w 3561"/>
                      <a:gd name="T77" fmla="*/ 0 h 941"/>
                      <a:gd name="T78" fmla="*/ 0 w 3561"/>
                      <a:gd name="T79" fmla="*/ 0 h 941"/>
                      <a:gd name="T80" fmla="*/ 0 w 3561"/>
                      <a:gd name="T81" fmla="*/ 0 h 941"/>
                      <a:gd name="T82" fmla="*/ 0 w 3561"/>
                      <a:gd name="T83" fmla="*/ 0 h 941"/>
                      <a:gd name="T84" fmla="*/ 0 w 3561"/>
                      <a:gd name="T85" fmla="*/ 0 h 941"/>
                      <a:gd name="T86" fmla="*/ 0 w 3561"/>
                      <a:gd name="T87" fmla="*/ 0 h 941"/>
                      <a:gd name="T88" fmla="*/ 0 w 3561"/>
                      <a:gd name="T89" fmla="*/ 0 h 941"/>
                      <a:gd name="T90" fmla="*/ 0 w 3561"/>
                      <a:gd name="T91" fmla="*/ 0 h 941"/>
                      <a:gd name="T92" fmla="*/ 0 w 3561"/>
                      <a:gd name="T93" fmla="*/ 0 h 941"/>
                      <a:gd name="T94" fmla="*/ 0 w 3561"/>
                      <a:gd name="T95" fmla="*/ 0 h 941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w 3561"/>
                      <a:gd name="T145" fmla="*/ 0 h 941"/>
                      <a:gd name="T146" fmla="*/ 3561 w 3561"/>
                      <a:gd name="T147" fmla="*/ 941 h 941"/>
                    </a:gdLst>
                    <a:ahLst/>
                    <a:cxnLst>
                      <a:cxn ang="T96">
                        <a:pos x="T0" y="T1"/>
                      </a:cxn>
                      <a:cxn ang="T97">
                        <a:pos x="T2" y="T3"/>
                      </a:cxn>
                      <a:cxn ang="T98">
                        <a:pos x="T4" y="T5"/>
                      </a:cxn>
                      <a:cxn ang="T99">
                        <a:pos x="T6" y="T7"/>
                      </a:cxn>
                      <a:cxn ang="T100">
                        <a:pos x="T8" y="T9"/>
                      </a:cxn>
                      <a:cxn ang="T101">
                        <a:pos x="T10" y="T11"/>
                      </a:cxn>
                      <a:cxn ang="T102">
                        <a:pos x="T12" y="T13"/>
                      </a:cxn>
                      <a:cxn ang="T103">
                        <a:pos x="T14" y="T15"/>
                      </a:cxn>
                      <a:cxn ang="T104">
                        <a:pos x="T16" y="T17"/>
                      </a:cxn>
                      <a:cxn ang="T105">
                        <a:pos x="T18" y="T19"/>
                      </a:cxn>
                      <a:cxn ang="T106">
                        <a:pos x="T20" y="T21"/>
                      </a:cxn>
                      <a:cxn ang="T107">
                        <a:pos x="T22" y="T23"/>
                      </a:cxn>
                      <a:cxn ang="T108">
                        <a:pos x="T24" y="T25"/>
                      </a:cxn>
                      <a:cxn ang="T109">
                        <a:pos x="T26" y="T27"/>
                      </a:cxn>
                      <a:cxn ang="T110">
                        <a:pos x="T28" y="T29"/>
                      </a:cxn>
                      <a:cxn ang="T111">
                        <a:pos x="T30" y="T31"/>
                      </a:cxn>
                      <a:cxn ang="T112">
                        <a:pos x="T32" y="T33"/>
                      </a:cxn>
                      <a:cxn ang="T113">
                        <a:pos x="T34" y="T35"/>
                      </a:cxn>
                      <a:cxn ang="T114">
                        <a:pos x="T36" y="T37"/>
                      </a:cxn>
                      <a:cxn ang="T115">
                        <a:pos x="T38" y="T39"/>
                      </a:cxn>
                      <a:cxn ang="T116">
                        <a:pos x="T40" y="T41"/>
                      </a:cxn>
                      <a:cxn ang="T117">
                        <a:pos x="T42" y="T43"/>
                      </a:cxn>
                      <a:cxn ang="T118">
                        <a:pos x="T44" y="T45"/>
                      </a:cxn>
                      <a:cxn ang="T119">
                        <a:pos x="T46" y="T47"/>
                      </a:cxn>
                      <a:cxn ang="T120">
                        <a:pos x="T48" y="T49"/>
                      </a:cxn>
                      <a:cxn ang="T121">
                        <a:pos x="T50" y="T51"/>
                      </a:cxn>
                      <a:cxn ang="T122">
                        <a:pos x="T52" y="T53"/>
                      </a:cxn>
                      <a:cxn ang="T123">
                        <a:pos x="T54" y="T55"/>
                      </a:cxn>
                      <a:cxn ang="T124">
                        <a:pos x="T56" y="T57"/>
                      </a:cxn>
                      <a:cxn ang="T125">
                        <a:pos x="T58" y="T59"/>
                      </a:cxn>
                      <a:cxn ang="T126">
                        <a:pos x="T60" y="T61"/>
                      </a:cxn>
                      <a:cxn ang="T127">
                        <a:pos x="T62" y="T63"/>
                      </a:cxn>
                      <a:cxn ang="T128">
                        <a:pos x="T64" y="T65"/>
                      </a:cxn>
                      <a:cxn ang="T129">
                        <a:pos x="T66" y="T67"/>
                      </a:cxn>
                      <a:cxn ang="T130">
                        <a:pos x="T68" y="T69"/>
                      </a:cxn>
                      <a:cxn ang="T131">
                        <a:pos x="T70" y="T71"/>
                      </a:cxn>
                      <a:cxn ang="T132">
                        <a:pos x="T72" y="T73"/>
                      </a:cxn>
                      <a:cxn ang="T133">
                        <a:pos x="T74" y="T75"/>
                      </a:cxn>
                      <a:cxn ang="T134">
                        <a:pos x="T76" y="T77"/>
                      </a:cxn>
                      <a:cxn ang="T135">
                        <a:pos x="T78" y="T79"/>
                      </a:cxn>
                      <a:cxn ang="T136">
                        <a:pos x="T80" y="T81"/>
                      </a:cxn>
                      <a:cxn ang="T137">
                        <a:pos x="T82" y="T83"/>
                      </a:cxn>
                      <a:cxn ang="T138">
                        <a:pos x="T84" y="T85"/>
                      </a:cxn>
                      <a:cxn ang="T139">
                        <a:pos x="T86" y="T87"/>
                      </a:cxn>
                      <a:cxn ang="T140">
                        <a:pos x="T88" y="T89"/>
                      </a:cxn>
                      <a:cxn ang="T141">
                        <a:pos x="T90" y="T91"/>
                      </a:cxn>
                      <a:cxn ang="T142">
                        <a:pos x="T92" y="T93"/>
                      </a:cxn>
                      <a:cxn ang="T143">
                        <a:pos x="T94" y="T95"/>
                      </a:cxn>
                    </a:cxnLst>
                    <a:rect l="T144" t="T145" r="T146" b="T147"/>
                    <a:pathLst>
                      <a:path w="3561" h="941">
                        <a:moveTo>
                          <a:pt x="3519" y="41"/>
                        </a:moveTo>
                        <a:lnTo>
                          <a:pt x="3462" y="83"/>
                        </a:lnTo>
                        <a:lnTo>
                          <a:pt x="3404" y="123"/>
                        </a:lnTo>
                        <a:lnTo>
                          <a:pt x="3347" y="160"/>
                        </a:lnTo>
                        <a:lnTo>
                          <a:pt x="3289" y="194"/>
                        </a:lnTo>
                        <a:lnTo>
                          <a:pt x="3231" y="226"/>
                        </a:lnTo>
                        <a:lnTo>
                          <a:pt x="3172" y="255"/>
                        </a:lnTo>
                        <a:lnTo>
                          <a:pt x="3115" y="283"/>
                        </a:lnTo>
                        <a:lnTo>
                          <a:pt x="3056" y="308"/>
                        </a:lnTo>
                        <a:lnTo>
                          <a:pt x="2997" y="330"/>
                        </a:lnTo>
                        <a:lnTo>
                          <a:pt x="2936" y="351"/>
                        </a:lnTo>
                        <a:lnTo>
                          <a:pt x="2876" y="370"/>
                        </a:lnTo>
                        <a:lnTo>
                          <a:pt x="2816" y="387"/>
                        </a:lnTo>
                        <a:lnTo>
                          <a:pt x="2756" y="401"/>
                        </a:lnTo>
                        <a:lnTo>
                          <a:pt x="2695" y="414"/>
                        </a:lnTo>
                        <a:lnTo>
                          <a:pt x="2635" y="427"/>
                        </a:lnTo>
                        <a:lnTo>
                          <a:pt x="2572" y="437"/>
                        </a:lnTo>
                        <a:lnTo>
                          <a:pt x="2511" y="446"/>
                        </a:lnTo>
                        <a:lnTo>
                          <a:pt x="2449" y="453"/>
                        </a:lnTo>
                        <a:lnTo>
                          <a:pt x="2387" y="460"/>
                        </a:lnTo>
                        <a:lnTo>
                          <a:pt x="2323" y="464"/>
                        </a:lnTo>
                        <a:lnTo>
                          <a:pt x="2260" y="469"/>
                        </a:lnTo>
                        <a:lnTo>
                          <a:pt x="2196" y="472"/>
                        </a:lnTo>
                        <a:lnTo>
                          <a:pt x="2132" y="475"/>
                        </a:lnTo>
                        <a:lnTo>
                          <a:pt x="2068" y="476"/>
                        </a:lnTo>
                        <a:lnTo>
                          <a:pt x="1937" y="478"/>
                        </a:lnTo>
                        <a:lnTo>
                          <a:pt x="1806" y="477"/>
                        </a:lnTo>
                        <a:lnTo>
                          <a:pt x="1672" y="475"/>
                        </a:lnTo>
                        <a:lnTo>
                          <a:pt x="1536" y="472"/>
                        </a:lnTo>
                        <a:lnTo>
                          <a:pt x="1468" y="470"/>
                        </a:lnTo>
                        <a:lnTo>
                          <a:pt x="1400" y="466"/>
                        </a:lnTo>
                        <a:lnTo>
                          <a:pt x="1334" y="458"/>
                        </a:lnTo>
                        <a:lnTo>
                          <a:pt x="1267" y="449"/>
                        </a:lnTo>
                        <a:lnTo>
                          <a:pt x="1202" y="438"/>
                        </a:lnTo>
                        <a:lnTo>
                          <a:pt x="1137" y="424"/>
                        </a:lnTo>
                        <a:lnTo>
                          <a:pt x="1073" y="410"/>
                        </a:lnTo>
                        <a:lnTo>
                          <a:pt x="1011" y="393"/>
                        </a:lnTo>
                        <a:lnTo>
                          <a:pt x="950" y="375"/>
                        </a:lnTo>
                        <a:lnTo>
                          <a:pt x="890" y="358"/>
                        </a:lnTo>
                        <a:lnTo>
                          <a:pt x="831" y="338"/>
                        </a:lnTo>
                        <a:lnTo>
                          <a:pt x="774" y="318"/>
                        </a:lnTo>
                        <a:lnTo>
                          <a:pt x="719" y="296"/>
                        </a:lnTo>
                        <a:lnTo>
                          <a:pt x="666" y="275"/>
                        </a:lnTo>
                        <a:lnTo>
                          <a:pt x="614" y="253"/>
                        </a:lnTo>
                        <a:lnTo>
                          <a:pt x="565" y="232"/>
                        </a:lnTo>
                        <a:lnTo>
                          <a:pt x="517" y="210"/>
                        </a:lnTo>
                        <a:lnTo>
                          <a:pt x="471" y="189"/>
                        </a:lnTo>
                        <a:lnTo>
                          <a:pt x="429" y="167"/>
                        </a:lnTo>
                        <a:lnTo>
                          <a:pt x="389" y="146"/>
                        </a:lnTo>
                        <a:lnTo>
                          <a:pt x="315" y="107"/>
                        </a:lnTo>
                        <a:lnTo>
                          <a:pt x="254" y="72"/>
                        </a:lnTo>
                        <a:lnTo>
                          <a:pt x="204" y="43"/>
                        </a:lnTo>
                        <a:lnTo>
                          <a:pt x="168" y="19"/>
                        </a:lnTo>
                        <a:lnTo>
                          <a:pt x="145" y="5"/>
                        </a:lnTo>
                        <a:lnTo>
                          <a:pt x="137" y="0"/>
                        </a:lnTo>
                        <a:lnTo>
                          <a:pt x="122" y="34"/>
                        </a:lnTo>
                        <a:lnTo>
                          <a:pt x="107" y="65"/>
                        </a:lnTo>
                        <a:lnTo>
                          <a:pt x="93" y="93"/>
                        </a:lnTo>
                        <a:lnTo>
                          <a:pt x="78" y="118"/>
                        </a:lnTo>
                        <a:lnTo>
                          <a:pt x="53" y="164"/>
                        </a:lnTo>
                        <a:lnTo>
                          <a:pt x="31" y="202"/>
                        </a:lnTo>
                        <a:lnTo>
                          <a:pt x="23" y="220"/>
                        </a:lnTo>
                        <a:lnTo>
                          <a:pt x="15" y="236"/>
                        </a:lnTo>
                        <a:lnTo>
                          <a:pt x="8" y="252"/>
                        </a:lnTo>
                        <a:lnTo>
                          <a:pt x="4" y="268"/>
                        </a:lnTo>
                        <a:lnTo>
                          <a:pt x="1" y="283"/>
                        </a:lnTo>
                        <a:lnTo>
                          <a:pt x="0" y="299"/>
                        </a:lnTo>
                        <a:lnTo>
                          <a:pt x="0" y="314"/>
                        </a:lnTo>
                        <a:lnTo>
                          <a:pt x="4" y="331"/>
                        </a:lnTo>
                        <a:lnTo>
                          <a:pt x="9" y="348"/>
                        </a:lnTo>
                        <a:lnTo>
                          <a:pt x="19" y="365"/>
                        </a:lnTo>
                        <a:lnTo>
                          <a:pt x="33" y="385"/>
                        </a:lnTo>
                        <a:lnTo>
                          <a:pt x="49" y="406"/>
                        </a:lnTo>
                        <a:lnTo>
                          <a:pt x="70" y="427"/>
                        </a:lnTo>
                        <a:lnTo>
                          <a:pt x="94" y="450"/>
                        </a:lnTo>
                        <a:lnTo>
                          <a:pt x="122" y="472"/>
                        </a:lnTo>
                        <a:lnTo>
                          <a:pt x="152" y="497"/>
                        </a:lnTo>
                        <a:lnTo>
                          <a:pt x="185" y="521"/>
                        </a:lnTo>
                        <a:lnTo>
                          <a:pt x="222" y="546"/>
                        </a:lnTo>
                        <a:lnTo>
                          <a:pt x="261" y="570"/>
                        </a:lnTo>
                        <a:lnTo>
                          <a:pt x="303" y="596"/>
                        </a:lnTo>
                        <a:lnTo>
                          <a:pt x="348" y="620"/>
                        </a:lnTo>
                        <a:lnTo>
                          <a:pt x="395" y="646"/>
                        </a:lnTo>
                        <a:lnTo>
                          <a:pt x="444" y="670"/>
                        </a:lnTo>
                        <a:lnTo>
                          <a:pt x="497" y="695"/>
                        </a:lnTo>
                        <a:lnTo>
                          <a:pt x="550" y="718"/>
                        </a:lnTo>
                        <a:lnTo>
                          <a:pt x="606" y="742"/>
                        </a:lnTo>
                        <a:lnTo>
                          <a:pt x="664" y="765"/>
                        </a:lnTo>
                        <a:lnTo>
                          <a:pt x="724" y="786"/>
                        </a:lnTo>
                        <a:lnTo>
                          <a:pt x="785" y="807"/>
                        </a:lnTo>
                        <a:lnTo>
                          <a:pt x="847" y="827"/>
                        </a:lnTo>
                        <a:lnTo>
                          <a:pt x="912" y="846"/>
                        </a:lnTo>
                        <a:lnTo>
                          <a:pt x="978" y="863"/>
                        </a:lnTo>
                        <a:lnTo>
                          <a:pt x="1044" y="878"/>
                        </a:lnTo>
                        <a:lnTo>
                          <a:pt x="1112" y="893"/>
                        </a:lnTo>
                        <a:lnTo>
                          <a:pt x="1181" y="906"/>
                        </a:lnTo>
                        <a:lnTo>
                          <a:pt x="1250" y="916"/>
                        </a:lnTo>
                        <a:lnTo>
                          <a:pt x="1321" y="926"/>
                        </a:lnTo>
                        <a:lnTo>
                          <a:pt x="1393" y="933"/>
                        </a:lnTo>
                        <a:lnTo>
                          <a:pt x="1464" y="937"/>
                        </a:lnTo>
                        <a:lnTo>
                          <a:pt x="1536" y="940"/>
                        </a:lnTo>
                        <a:lnTo>
                          <a:pt x="1608" y="941"/>
                        </a:lnTo>
                        <a:lnTo>
                          <a:pt x="1679" y="941"/>
                        </a:lnTo>
                        <a:lnTo>
                          <a:pt x="1749" y="941"/>
                        </a:lnTo>
                        <a:lnTo>
                          <a:pt x="1819" y="940"/>
                        </a:lnTo>
                        <a:lnTo>
                          <a:pt x="1888" y="937"/>
                        </a:lnTo>
                        <a:lnTo>
                          <a:pt x="1957" y="935"/>
                        </a:lnTo>
                        <a:lnTo>
                          <a:pt x="2025" y="932"/>
                        </a:lnTo>
                        <a:lnTo>
                          <a:pt x="2093" y="927"/>
                        </a:lnTo>
                        <a:lnTo>
                          <a:pt x="2160" y="922"/>
                        </a:lnTo>
                        <a:lnTo>
                          <a:pt x="2225" y="915"/>
                        </a:lnTo>
                        <a:lnTo>
                          <a:pt x="2291" y="909"/>
                        </a:lnTo>
                        <a:lnTo>
                          <a:pt x="2357" y="900"/>
                        </a:lnTo>
                        <a:lnTo>
                          <a:pt x="2421" y="890"/>
                        </a:lnTo>
                        <a:lnTo>
                          <a:pt x="2485" y="880"/>
                        </a:lnTo>
                        <a:lnTo>
                          <a:pt x="2549" y="867"/>
                        </a:lnTo>
                        <a:lnTo>
                          <a:pt x="2611" y="854"/>
                        </a:lnTo>
                        <a:lnTo>
                          <a:pt x="2674" y="841"/>
                        </a:lnTo>
                        <a:lnTo>
                          <a:pt x="2736" y="825"/>
                        </a:lnTo>
                        <a:lnTo>
                          <a:pt x="2797" y="808"/>
                        </a:lnTo>
                        <a:lnTo>
                          <a:pt x="2859" y="789"/>
                        </a:lnTo>
                        <a:lnTo>
                          <a:pt x="2919" y="771"/>
                        </a:lnTo>
                        <a:lnTo>
                          <a:pt x="2979" y="749"/>
                        </a:lnTo>
                        <a:lnTo>
                          <a:pt x="3039" y="727"/>
                        </a:lnTo>
                        <a:lnTo>
                          <a:pt x="3098" y="703"/>
                        </a:lnTo>
                        <a:lnTo>
                          <a:pt x="3157" y="678"/>
                        </a:lnTo>
                        <a:lnTo>
                          <a:pt x="3216" y="650"/>
                        </a:lnTo>
                        <a:lnTo>
                          <a:pt x="3274" y="623"/>
                        </a:lnTo>
                        <a:lnTo>
                          <a:pt x="3330" y="592"/>
                        </a:lnTo>
                        <a:lnTo>
                          <a:pt x="3388" y="560"/>
                        </a:lnTo>
                        <a:lnTo>
                          <a:pt x="3445" y="527"/>
                        </a:lnTo>
                        <a:lnTo>
                          <a:pt x="3502" y="491"/>
                        </a:lnTo>
                        <a:lnTo>
                          <a:pt x="3557" y="453"/>
                        </a:lnTo>
                        <a:lnTo>
                          <a:pt x="3560" y="437"/>
                        </a:lnTo>
                        <a:lnTo>
                          <a:pt x="3561" y="416"/>
                        </a:lnTo>
                        <a:lnTo>
                          <a:pt x="3561" y="391"/>
                        </a:lnTo>
                        <a:lnTo>
                          <a:pt x="3561" y="364"/>
                        </a:lnTo>
                        <a:lnTo>
                          <a:pt x="3559" y="303"/>
                        </a:lnTo>
                        <a:lnTo>
                          <a:pt x="3553" y="239"/>
                        </a:lnTo>
                        <a:lnTo>
                          <a:pt x="3545" y="174"/>
                        </a:lnTo>
                        <a:lnTo>
                          <a:pt x="3537" y="116"/>
                        </a:lnTo>
                        <a:lnTo>
                          <a:pt x="3533" y="92"/>
                        </a:lnTo>
                        <a:lnTo>
                          <a:pt x="3527" y="71"/>
                        </a:lnTo>
                        <a:lnTo>
                          <a:pt x="3523" y="53"/>
                        </a:lnTo>
                        <a:lnTo>
                          <a:pt x="3519" y="41"/>
                        </a:lnTo>
                        <a:close/>
                      </a:path>
                    </a:pathLst>
                  </a:custGeom>
                  <a:solidFill>
                    <a:srgbClr val="C93A27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499" name="Freeform 188"/>
                  <p:cNvSpPr>
                    <a:spLocks/>
                  </p:cNvSpPr>
                  <p:nvPr/>
                </p:nvSpPr>
                <p:spPr bwMode="auto">
                  <a:xfrm>
                    <a:off x="3186" y="3764"/>
                    <a:ext cx="511" cy="95"/>
                  </a:xfrm>
                  <a:custGeom>
                    <a:avLst/>
                    <a:gdLst>
                      <a:gd name="T0" fmla="*/ 0 w 3561"/>
                      <a:gd name="T1" fmla="*/ 0 h 668"/>
                      <a:gd name="T2" fmla="*/ 0 w 3561"/>
                      <a:gd name="T3" fmla="*/ 0 h 668"/>
                      <a:gd name="T4" fmla="*/ 0 w 3561"/>
                      <a:gd name="T5" fmla="*/ 0 h 668"/>
                      <a:gd name="T6" fmla="*/ 0 w 3561"/>
                      <a:gd name="T7" fmla="*/ 0 h 668"/>
                      <a:gd name="T8" fmla="*/ 0 w 3561"/>
                      <a:gd name="T9" fmla="*/ 0 h 668"/>
                      <a:gd name="T10" fmla="*/ 0 w 3561"/>
                      <a:gd name="T11" fmla="*/ 0 h 668"/>
                      <a:gd name="T12" fmla="*/ 0 w 3561"/>
                      <a:gd name="T13" fmla="*/ 0 h 668"/>
                      <a:gd name="T14" fmla="*/ 0 w 3561"/>
                      <a:gd name="T15" fmla="*/ 0 h 668"/>
                      <a:gd name="T16" fmla="*/ 0 w 3561"/>
                      <a:gd name="T17" fmla="*/ 0 h 668"/>
                      <a:gd name="T18" fmla="*/ 0 w 3561"/>
                      <a:gd name="T19" fmla="*/ 0 h 668"/>
                      <a:gd name="T20" fmla="*/ 0 w 3561"/>
                      <a:gd name="T21" fmla="*/ 0 h 668"/>
                      <a:gd name="T22" fmla="*/ 0 w 3561"/>
                      <a:gd name="T23" fmla="*/ 0 h 668"/>
                      <a:gd name="T24" fmla="*/ 0 w 3561"/>
                      <a:gd name="T25" fmla="*/ 0 h 668"/>
                      <a:gd name="T26" fmla="*/ 0 w 3561"/>
                      <a:gd name="T27" fmla="*/ 0 h 668"/>
                      <a:gd name="T28" fmla="*/ 0 w 3561"/>
                      <a:gd name="T29" fmla="*/ 0 h 668"/>
                      <a:gd name="T30" fmla="*/ 0 w 3561"/>
                      <a:gd name="T31" fmla="*/ 0 h 668"/>
                      <a:gd name="T32" fmla="*/ 0 w 3561"/>
                      <a:gd name="T33" fmla="*/ 0 h 668"/>
                      <a:gd name="T34" fmla="*/ 0 w 3561"/>
                      <a:gd name="T35" fmla="*/ 0 h 668"/>
                      <a:gd name="T36" fmla="*/ 0 w 3561"/>
                      <a:gd name="T37" fmla="*/ 0 h 668"/>
                      <a:gd name="T38" fmla="*/ 0 w 3561"/>
                      <a:gd name="T39" fmla="*/ 0 h 668"/>
                      <a:gd name="T40" fmla="*/ 0 w 3561"/>
                      <a:gd name="T41" fmla="*/ 0 h 668"/>
                      <a:gd name="T42" fmla="*/ 0 w 3561"/>
                      <a:gd name="T43" fmla="*/ 0 h 668"/>
                      <a:gd name="T44" fmla="*/ 0 w 3561"/>
                      <a:gd name="T45" fmla="*/ 0 h 668"/>
                      <a:gd name="T46" fmla="*/ 0 w 3561"/>
                      <a:gd name="T47" fmla="*/ 0 h 668"/>
                      <a:gd name="T48" fmla="*/ 0 w 3561"/>
                      <a:gd name="T49" fmla="*/ 0 h 668"/>
                      <a:gd name="T50" fmla="*/ 0 w 3561"/>
                      <a:gd name="T51" fmla="*/ 0 h 668"/>
                      <a:gd name="T52" fmla="*/ 0 w 3561"/>
                      <a:gd name="T53" fmla="*/ 0 h 668"/>
                      <a:gd name="T54" fmla="*/ 0 w 3561"/>
                      <a:gd name="T55" fmla="*/ 0 h 668"/>
                      <a:gd name="T56" fmla="*/ 0 w 3561"/>
                      <a:gd name="T57" fmla="*/ 0 h 668"/>
                      <a:gd name="T58" fmla="*/ 0 w 3561"/>
                      <a:gd name="T59" fmla="*/ 0 h 668"/>
                      <a:gd name="T60" fmla="*/ 0 w 3561"/>
                      <a:gd name="T61" fmla="*/ 0 h 668"/>
                      <a:gd name="T62" fmla="*/ 0 w 3561"/>
                      <a:gd name="T63" fmla="*/ 0 h 668"/>
                      <a:gd name="T64" fmla="*/ 0 w 3561"/>
                      <a:gd name="T65" fmla="*/ 0 h 668"/>
                      <a:gd name="T66" fmla="*/ 0 w 3561"/>
                      <a:gd name="T67" fmla="*/ 0 h 668"/>
                      <a:gd name="T68" fmla="*/ 0 w 3561"/>
                      <a:gd name="T69" fmla="*/ 0 h 668"/>
                      <a:gd name="T70" fmla="*/ 0 w 3561"/>
                      <a:gd name="T71" fmla="*/ 0 h 668"/>
                      <a:gd name="T72" fmla="*/ 0 w 3561"/>
                      <a:gd name="T73" fmla="*/ 0 h 668"/>
                      <a:gd name="T74" fmla="*/ 0 w 3561"/>
                      <a:gd name="T75" fmla="*/ 0 h 668"/>
                      <a:gd name="T76" fmla="*/ 0 w 3561"/>
                      <a:gd name="T77" fmla="*/ 0 h 668"/>
                      <a:gd name="T78" fmla="*/ 0 w 3561"/>
                      <a:gd name="T79" fmla="*/ 0 h 668"/>
                      <a:gd name="T80" fmla="*/ 0 w 3561"/>
                      <a:gd name="T81" fmla="*/ 0 h 668"/>
                      <a:gd name="T82" fmla="*/ 0 w 3561"/>
                      <a:gd name="T83" fmla="*/ 0 h 668"/>
                      <a:gd name="T84" fmla="*/ 0 w 3561"/>
                      <a:gd name="T85" fmla="*/ 0 h 668"/>
                      <a:gd name="T86" fmla="*/ 0 w 3561"/>
                      <a:gd name="T87" fmla="*/ 0 h 668"/>
                      <a:gd name="T88" fmla="*/ 0 w 3561"/>
                      <a:gd name="T89" fmla="*/ 0 h 668"/>
                      <a:gd name="T90" fmla="*/ 0 w 3561"/>
                      <a:gd name="T91" fmla="*/ 0 h 668"/>
                      <a:gd name="T92" fmla="*/ 0 w 3561"/>
                      <a:gd name="T93" fmla="*/ 0 h 668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w 3561"/>
                      <a:gd name="T142" fmla="*/ 0 h 668"/>
                      <a:gd name="T143" fmla="*/ 3561 w 3561"/>
                      <a:gd name="T144" fmla="*/ 668 h 668"/>
                    </a:gdLst>
                    <a:ahLst/>
                    <a:cxnLst>
                      <a:cxn ang="T94">
                        <a:pos x="T0" y="T1"/>
                      </a:cxn>
                      <a:cxn ang="T95">
                        <a:pos x="T2" y="T3"/>
                      </a:cxn>
                      <a:cxn ang="T96">
                        <a:pos x="T4" y="T5"/>
                      </a:cxn>
                      <a:cxn ang="T97">
                        <a:pos x="T6" y="T7"/>
                      </a:cxn>
                      <a:cxn ang="T98">
                        <a:pos x="T8" y="T9"/>
                      </a:cxn>
                      <a:cxn ang="T99">
                        <a:pos x="T10" y="T11"/>
                      </a:cxn>
                      <a:cxn ang="T100">
                        <a:pos x="T12" y="T13"/>
                      </a:cxn>
                      <a:cxn ang="T101">
                        <a:pos x="T14" y="T15"/>
                      </a:cxn>
                      <a:cxn ang="T102">
                        <a:pos x="T16" y="T17"/>
                      </a:cxn>
                      <a:cxn ang="T103">
                        <a:pos x="T18" y="T19"/>
                      </a:cxn>
                      <a:cxn ang="T104">
                        <a:pos x="T20" y="T21"/>
                      </a:cxn>
                      <a:cxn ang="T105">
                        <a:pos x="T22" y="T23"/>
                      </a:cxn>
                      <a:cxn ang="T106">
                        <a:pos x="T24" y="T25"/>
                      </a:cxn>
                      <a:cxn ang="T107">
                        <a:pos x="T26" y="T27"/>
                      </a:cxn>
                      <a:cxn ang="T108">
                        <a:pos x="T28" y="T29"/>
                      </a:cxn>
                      <a:cxn ang="T109">
                        <a:pos x="T30" y="T31"/>
                      </a:cxn>
                      <a:cxn ang="T110">
                        <a:pos x="T32" y="T33"/>
                      </a:cxn>
                      <a:cxn ang="T111">
                        <a:pos x="T34" y="T35"/>
                      </a:cxn>
                      <a:cxn ang="T112">
                        <a:pos x="T36" y="T37"/>
                      </a:cxn>
                      <a:cxn ang="T113">
                        <a:pos x="T38" y="T39"/>
                      </a:cxn>
                      <a:cxn ang="T114">
                        <a:pos x="T40" y="T41"/>
                      </a:cxn>
                      <a:cxn ang="T115">
                        <a:pos x="T42" y="T43"/>
                      </a:cxn>
                      <a:cxn ang="T116">
                        <a:pos x="T44" y="T45"/>
                      </a:cxn>
                      <a:cxn ang="T117">
                        <a:pos x="T46" y="T47"/>
                      </a:cxn>
                      <a:cxn ang="T118">
                        <a:pos x="T48" y="T49"/>
                      </a:cxn>
                      <a:cxn ang="T119">
                        <a:pos x="T50" y="T51"/>
                      </a:cxn>
                      <a:cxn ang="T120">
                        <a:pos x="T52" y="T53"/>
                      </a:cxn>
                      <a:cxn ang="T121">
                        <a:pos x="T54" y="T55"/>
                      </a:cxn>
                      <a:cxn ang="T122">
                        <a:pos x="T56" y="T57"/>
                      </a:cxn>
                      <a:cxn ang="T123">
                        <a:pos x="T58" y="T59"/>
                      </a:cxn>
                      <a:cxn ang="T124">
                        <a:pos x="T60" y="T61"/>
                      </a:cxn>
                      <a:cxn ang="T125">
                        <a:pos x="T62" y="T63"/>
                      </a:cxn>
                      <a:cxn ang="T126">
                        <a:pos x="T64" y="T65"/>
                      </a:cxn>
                      <a:cxn ang="T127">
                        <a:pos x="T66" y="T67"/>
                      </a:cxn>
                      <a:cxn ang="T128">
                        <a:pos x="T68" y="T69"/>
                      </a:cxn>
                      <a:cxn ang="T129">
                        <a:pos x="T70" y="T71"/>
                      </a:cxn>
                      <a:cxn ang="T130">
                        <a:pos x="T72" y="T73"/>
                      </a:cxn>
                      <a:cxn ang="T131">
                        <a:pos x="T74" y="T75"/>
                      </a:cxn>
                      <a:cxn ang="T132">
                        <a:pos x="T76" y="T77"/>
                      </a:cxn>
                      <a:cxn ang="T133">
                        <a:pos x="T78" y="T79"/>
                      </a:cxn>
                      <a:cxn ang="T134">
                        <a:pos x="T80" y="T81"/>
                      </a:cxn>
                      <a:cxn ang="T135">
                        <a:pos x="T82" y="T83"/>
                      </a:cxn>
                      <a:cxn ang="T136">
                        <a:pos x="T84" y="T85"/>
                      </a:cxn>
                      <a:cxn ang="T137">
                        <a:pos x="T86" y="T87"/>
                      </a:cxn>
                      <a:cxn ang="T138">
                        <a:pos x="T88" y="T89"/>
                      </a:cxn>
                      <a:cxn ang="T139">
                        <a:pos x="T90" y="T91"/>
                      </a:cxn>
                      <a:cxn ang="T140">
                        <a:pos x="T92" y="T93"/>
                      </a:cxn>
                    </a:cxnLst>
                    <a:rect l="T141" t="T142" r="T143" b="T144"/>
                    <a:pathLst>
                      <a:path w="3561" h="668">
                        <a:moveTo>
                          <a:pt x="3557" y="128"/>
                        </a:moveTo>
                        <a:lnTo>
                          <a:pt x="3501" y="165"/>
                        </a:lnTo>
                        <a:lnTo>
                          <a:pt x="3444" y="200"/>
                        </a:lnTo>
                        <a:lnTo>
                          <a:pt x="3388" y="234"/>
                        </a:lnTo>
                        <a:lnTo>
                          <a:pt x="3330" y="266"/>
                        </a:lnTo>
                        <a:lnTo>
                          <a:pt x="3273" y="296"/>
                        </a:lnTo>
                        <a:lnTo>
                          <a:pt x="3215" y="325"/>
                        </a:lnTo>
                        <a:lnTo>
                          <a:pt x="3156" y="352"/>
                        </a:lnTo>
                        <a:lnTo>
                          <a:pt x="3097" y="377"/>
                        </a:lnTo>
                        <a:lnTo>
                          <a:pt x="3038" y="401"/>
                        </a:lnTo>
                        <a:lnTo>
                          <a:pt x="2979" y="424"/>
                        </a:lnTo>
                        <a:lnTo>
                          <a:pt x="2918" y="444"/>
                        </a:lnTo>
                        <a:lnTo>
                          <a:pt x="2858" y="464"/>
                        </a:lnTo>
                        <a:lnTo>
                          <a:pt x="2797" y="482"/>
                        </a:lnTo>
                        <a:lnTo>
                          <a:pt x="2735" y="499"/>
                        </a:lnTo>
                        <a:lnTo>
                          <a:pt x="2673" y="514"/>
                        </a:lnTo>
                        <a:lnTo>
                          <a:pt x="2611" y="529"/>
                        </a:lnTo>
                        <a:lnTo>
                          <a:pt x="2548" y="542"/>
                        </a:lnTo>
                        <a:lnTo>
                          <a:pt x="2485" y="553"/>
                        </a:lnTo>
                        <a:lnTo>
                          <a:pt x="2420" y="564"/>
                        </a:lnTo>
                        <a:lnTo>
                          <a:pt x="2356" y="573"/>
                        </a:lnTo>
                        <a:lnTo>
                          <a:pt x="2290" y="582"/>
                        </a:lnTo>
                        <a:lnTo>
                          <a:pt x="2225" y="590"/>
                        </a:lnTo>
                        <a:lnTo>
                          <a:pt x="2159" y="595"/>
                        </a:lnTo>
                        <a:lnTo>
                          <a:pt x="2092" y="601"/>
                        </a:lnTo>
                        <a:lnTo>
                          <a:pt x="2024" y="605"/>
                        </a:lnTo>
                        <a:lnTo>
                          <a:pt x="1956" y="609"/>
                        </a:lnTo>
                        <a:lnTo>
                          <a:pt x="1888" y="612"/>
                        </a:lnTo>
                        <a:lnTo>
                          <a:pt x="1818" y="614"/>
                        </a:lnTo>
                        <a:lnTo>
                          <a:pt x="1749" y="615"/>
                        </a:lnTo>
                        <a:lnTo>
                          <a:pt x="1678" y="615"/>
                        </a:lnTo>
                        <a:lnTo>
                          <a:pt x="1607" y="615"/>
                        </a:lnTo>
                        <a:lnTo>
                          <a:pt x="1536" y="614"/>
                        </a:lnTo>
                        <a:lnTo>
                          <a:pt x="1463" y="612"/>
                        </a:lnTo>
                        <a:lnTo>
                          <a:pt x="1392" y="607"/>
                        </a:lnTo>
                        <a:lnTo>
                          <a:pt x="1321" y="600"/>
                        </a:lnTo>
                        <a:lnTo>
                          <a:pt x="1250" y="591"/>
                        </a:lnTo>
                        <a:lnTo>
                          <a:pt x="1181" y="580"/>
                        </a:lnTo>
                        <a:lnTo>
                          <a:pt x="1112" y="568"/>
                        </a:lnTo>
                        <a:lnTo>
                          <a:pt x="1044" y="553"/>
                        </a:lnTo>
                        <a:lnTo>
                          <a:pt x="977" y="538"/>
                        </a:lnTo>
                        <a:lnTo>
                          <a:pt x="911" y="520"/>
                        </a:lnTo>
                        <a:lnTo>
                          <a:pt x="847" y="501"/>
                        </a:lnTo>
                        <a:lnTo>
                          <a:pt x="784" y="482"/>
                        </a:lnTo>
                        <a:lnTo>
                          <a:pt x="723" y="461"/>
                        </a:lnTo>
                        <a:lnTo>
                          <a:pt x="663" y="439"/>
                        </a:lnTo>
                        <a:lnTo>
                          <a:pt x="605" y="416"/>
                        </a:lnTo>
                        <a:lnTo>
                          <a:pt x="549" y="393"/>
                        </a:lnTo>
                        <a:lnTo>
                          <a:pt x="496" y="368"/>
                        </a:lnTo>
                        <a:lnTo>
                          <a:pt x="444" y="344"/>
                        </a:lnTo>
                        <a:lnTo>
                          <a:pt x="395" y="319"/>
                        </a:lnTo>
                        <a:lnTo>
                          <a:pt x="347" y="295"/>
                        </a:lnTo>
                        <a:lnTo>
                          <a:pt x="302" y="269"/>
                        </a:lnTo>
                        <a:lnTo>
                          <a:pt x="260" y="245"/>
                        </a:lnTo>
                        <a:lnTo>
                          <a:pt x="221" y="219"/>
                        </a:lnTo>
                        <a:lnTo>
                          <a:pt x="184" y="195"/>
                        </a:lnTo>
                        <a:lnTo>
                          <a:pt x="151" y="170"/>
                        </a:lnTo>
                        <a:lnTo>
                          <a:pt x="121" y="147"/>
                        </a:lnTo>
                        <a:lnTo>
                          <a:pt x="93" y="124"/>
                        </a:lnTo>
                        <a:lnTo>
                          <a:pt x="70" y="101"/>
                        </a:lnTo>
                        <a:lnTo>
                          <a:pt x="49" y="80"/>
                        </a:lnTo>
                        <a:lnTo>
                          <a:pt x="32" y="59"/>
                        </a:lnTo>
                        <a:lnTo>
                          <a:pt x="19" y="40"/>
                        </a:lnTo>
                        <a:lnTo>
                          <a:pt x="9" y="22"/>
                        </a:lnTo>
                        <a:lnTo>
                          <a:pt x="3" y="5"/>
                        </a:lnTo>
                        <a:lnTo>
                          <a:pt x="3" y="2"/>
                        </a:lnTo>
                        <a:lnTo>
                          <a:pt x="2" y="0"/>
                        </a:lnTo>
                        <a:lnTo>
                          <a:pt x="0" y="15"/>
                        </a:lnTo>
                        <a:lnTo>
                          <a:pt x="0" y="28"/>
                        </a:lnTo>
                        <a:lnTo>
                          <a:pt x="1" y="42"/>
                        </a:lnTo>
                        <a:lnTo>
                          <a:pt x="3" y="58"/>
                        </a:lnTo>
                        <a:lnTo>
                          <a:pt x="9" y="75"/>
                        </a:lnTo>
                        <a:lnTo>
                          <a:pt x="19" y="92"/>
                        </a:lnTo>
                        <a:lnTo>
                          <a:pt x="32" y="112"/>
                        </a:lnTo>
                        <a:lnTo>
                          <a:pt x="49" y="133"/>
                        </a:lnTo>
                        <a:lnTo>
                          <a:pt x="70" y="154"/>
                        </a:lnTo>
                        <a:lnTo>
                          <a:pt x="93" y="177"/>
                        </a:lnTo>
                        <a:lnTo>
                          <a:pt x="121" y="199"/>
                        </a:lnTo>
                        <a:lnTo>
                          <a:pt x="151" y="224"/>
                        </a:lnTo>
                        <a:lnTo>
                          <a:pt x="184" y="248"/>
                        </a:lnTo>
                        <a:lnTo>
                          <a:pt x="221" y="273"/>
                        </a:lnTo>
                        <a:lnTo>
                          <a:pt x="260" y="297"/>
                        </a:lnTo>
                        <a:lnTo>
                          <a:pt x="302" y="323"/>
                        </a:lnTo>
                        <a:lnTo>
                          <a:pt x="347" y="347"/>
                        </a:lnTo>
                        <a:lnTo>
                          <a:pt x="395" y="373"/>
                        </a:lnTo>
                        <a:lnTo>
                          <a:pt x="444" y="397"/>
                        </a:lnTo>
                        <a:lnTo>
                          <a:pt x="496" y="422"/>
                        </a:lnTo>
                        <a:lnTo>
                          <a:pt x="549" y="445"/>
                        </a:lnTo>
                        <a:lnTo>
                          <a:pt x="605" y="469"/>
                        </a:lnTo>
                        <a:lnTo>
                          <a:pt x="663" y="492"/>
                        </a:lnTo>
                        <a:lnTo>
                          <a:pt x="723" y="513"/>
                        </a:lnTo>
                        <a:lnTo>
                          <a:pt x="784" y="534"/>
                        </a:lnTo>
                        <a:lnTo>
                          <a:pt x="847" y="554"/>
                        </a:lnTo>
                        <a:lnTo>
                          <a:pt x="911" y="573"/>
                        </a:lnTo>
                        <a:lnTo>
                          <a:pt x="977" y="590"/>
                        </a:lnTo>
                        <a:lnTo>
                          <a:pt x="1044" y="605"/>
                        </a:lnTo>
                        <a:lnTo>
                          <a:pt x="1112" y="620"/>
                        </a:lnTo>
                        <a:lnTo>
                          <a:pt x="1181" y="633"/>
                        </a:lnTo>
                        <a:lnTo>
                          <a:pt x="1250" y="643"/>
                        </a:lnTo>
                        <a:lnTo>
                          <a:pt x="1321" y="653"/>
                        </a:lnTo>
                        <a:lnTo>
                          <a:pt x="1392" y="660"/>
                        </a:lnTo>
                        <a:lnTo>
                          <a:pt x="1463" y="664"/>
                        </a:lnTo>
                        <a:lnTo>
                          <a:pt x="1536" y="667"/>
                        </a:lnTo>
                        <a:lnTo>
                          <a:pt x="1607" y="668"/>
                        </a:lnTo>
                        <a:lnTo>
                          <a:pt x="1678" y="668"/>
                        </a:lnTo>
                        <a:lnTo>
                          <a:pt x="1749" y="668"/>
                        </a:lnTo>
                        <a:lnTo>
                          <a:pt x="1818" y="667"/>
                        </a:lnTo>
                        <a:lnTo>
                          <a:pt x="1888" y="664"/>
                        </a:lnTo>
                        <a:lnTo>
                          <a:pt x="1956" y="662"/>
                        </a:lnTo>
                        <a:lnTo>
                          <a:pt x="2024" y="659"/>
                        </a:lnTo>
                        <a:lnTo>
                          <a:pt x="2092" y="654"/>
                        </a:lnTo>
                        <a:lnTo>
                          <a:pt x="2159" y="649"/>
                        </a:lnTo>
                        <a:lnTo>
                          <a:pt x="2225" y="642"/>
                        </a:lnTo>
                        <a:lnTo>
                          <a:pt x="2290" y="636"/>
                        </a:lnTo>
                        <a:lnTo>
                          <a:pt x="2356" y="627"/>
                        </a:lnTo>
                        <a:lnTo>
                          <a:pt x="2420" y="617"/>
                        </a:lnTo>
                        <a:lnTo>
                          <a:pt x="2485" y="607"/>
                        </a:lnTo>
                        <a:lnTo>
                          <a:pt x="2548" y="594"/>
                        </a:lnTo>
                        <a:lnTo>
                          <a:pt x="2611" y="581"/>
                        </a:lnTo>
                        <a:lnTo>
                          <a:pt x="2673" y="568"/>
                        </a:lnTo>
                        <a:lnTo>
                          <a:pt x="2735" y="552"/>
                        </a:lnTo>
                        <a:lnTo>
                          <a:pt x="2797" y="535"/>
                        </a:lnTo>
                        <a:lnTo>
                          <a:pt x="2858" y="516"/>
                        </a:lnTo>
                        <a:lnTo>
                          <a:pt x="2918" y="498"/>
                        </a:lnTo>
                        <a:lnTo>
                          <a:pt x="2979" y="476"/>
                        </a:lnTo>
                        <a:lnTo>
                          <a:pt x="3038" y="454"/>
                        </a:lnTo>
                        <a:lnTo>
                          <a:pt x="3097" y="430"/>
                        </a:lnTo>
                        <a:lnTo>
                          <a:pt x="3156" y="405"/>
                        </a:lnTo>
                        <a:lnTo>
                          <a:pt x="3215" y="377"/>
                        </a:lnTo>
                        <a:lnTo>
                          <a:pt x="3273" y="350"/>
                        </a:lnTo>
                        <a:lnTo>
                          <a:pt x="3330" y="319"/>
                        </a:lnTo>
                        <a:lnTo>
                          <a:pt x="3388" y="287"/>
                        </a:lnTo>
                        <a:lnTo>
                          <a:pt x="3444" y="254"/>
                        </a:lnTo>
                        <a:lnTo>
                          <a:pt x="3501" y="218"/>
                        </a:lnTo>
                        <a:lnTo>
                          <a:pt x="3557" y="180"/>
                        </a:lnTo>
                        <a:lnTo>
                          <a:pt x="3559" y="164"/>
                        </a:lnTo>
                        <a:lnTo>
                          <a:pt x="3560" y="143"/>
                        </a:lnTo>
                        <a:lnTo>
                          <a:pt x="3561" y="118"/>
                        </a:lnTo>
                        <a:lnTo>
                          <a:pt x="3560" y="90"/>
                        </a:lnTo>
                        <a:lnTo>
                          <a:pt x="3560" y="101"/>
                        </a:lnTo>
                        <a:lnTo>
                          <a:pt x="3559" y="111"/>
                        </a:lnTo>
                        <a:lnTo>
                          <a:pt x="3558" y="120"/>
                        </a:lnTo>
                        <a:lnTo>
                          <a:pt x="3557" y="128"/>
                        </a:lnTo>
                        <a:close/>
                      </a:path>
                    </a:pathLst>
                  </a:custGeom>
                  <a:solidFill>
                    <a:srgbClr val="99312C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500" name="Freeform 189"/>
                  <p:cNvSpPr>
                    <a:spLocks/>
                  </p:cNvSpPr>
                  <p:nvPr/>
                </p:nvSpPr>
                <p:spPr bwMode="auto">
                  <a:xfrm>
                    <a:off x="3223" y="3764"/>
                    <a:ext cx="20" cy="18"/>
                  </a:xfrm>
                  <a:custGeom>
                    <a:avLst/>
                    <a:gdLst>
                      <a:gd name="T0" fmla="*/ 0 w 139"/>
                      <a:gd name="T1" fmla="*/ 0 h 125"/>
                      <a:gd name="T2" fmla="*/ 0 w 139"/>
                      <a:gd name="T3" fmla="*/ 0 h 125"/>
                      <a:gd name="T4" fmla="*/ 0 w 139"/>
                      <a:gd name="T5" fmla="*/ 0 h 125"/>
                      <a:gd name="T6" fmla="*/ 0 w 139"/>
                      <a:gd name="T7" fmla="*/ 0 h 125"/>
                      <a:gd name="T8" fmla="*/ 0 w 139"/>
                      <a:gd name="T9" fmla="*/ 0 h 12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39"/>
                      <a:gd name="T16" fmla="*/ 0 h 125"/>
                      <a:gd name="T17" fmla="*/ 139 w 139"/>
                      <a:gd name="T18" fmla="*/ 125 h 12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39" h="125">
                        <a:moveTo>
                          <a:pt x="69" y="125"/>
                        </a:moveTo>
                        <a:lnTo>
                          <a:pt x="0" y="62"/>
                        </a:lnTo>
                        <a:lnTo>
                          <a:pt x="69" y="0"/>
                        </a:lnTo>
                        <a:lnTo>
                          <a:pt x="139" y="62"/>
                        </a:lnTo>
                        <a:lnTo>
                          <a:pt x="69" y="125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501" name="Freeform 190"/>
                  <p:cNvSpPr>
                    <a:spLocks/>
                  </p:cNvSpPr>
                  <p:nvPr/>
                </p:nvSpPr>
                <p:spPr bwMode="auto">
                  <a:xfrm>
                    <a:off x="3251" y="3779"/>
                    <a:ext cx="35" cy="31"/>
                  </a:xfrm>
                  <a:custGeom>
                    <a:avLst/>
                    <a:gdLst>
                      <a:gd name="T0" fmla="*/ 0 w 233"/>
                      <a:gd name="T1" fmla="*/ 0 h 207"/>
                      <a:gd name="T2" fmla="*/ 0 w 233"/>
                      <a:gd name="T3" fmla="*/ 0 h 207"/>
                      <a:gd name="T4" fmla="*/ 0 w 233"/>
                      <a:gd name="T5" fmla="*/ 0 h 207"/>
                      <a:gd name="T6" fmla="*/ 0 w 233"/>
                      <a:gd name="T7" fmla="*/ 0 h 207"/>
                      <a:gd name="T8" fmla="*/ 0 w 233"/>
                      <a:gd name="T9" fmla="*/ 0 h 20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33"/>
                      <a:gd name="T16" fmla="*/ 0 h 207"/>
                      <a:gd name="T17" fmla="*/ 233 w 233"/>
                      <a:gd name="T18" fmla="*/ 207 h 20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33" h="207">
                        <a:moveTo>
                          <a:pt x="96" y="207"/>
                        </a:moveTo>
                        <a:lnTo>
                          <a:pt x="0" y="85"/>
                        </a:lnTo>
                        <a:lnTo>
                          <a:pt x="137" y="0"/>
                        </a:lnTo>
                        <a:lnTo>
                          <a:pt x="233" y="122"/>
                        </a:lnTo>
                        <a:lnTo>
                          <a:pt x="96" y="207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502" name="Freeform 191"/>
                  <p:cNvSpPr>
                    <a:spLocks/>
                  </p:cNvSpPr>
                  <p:nvPr/>
                </p:nvSpPr>
                <p:spPr bwMode="auto">
                  <a:xfrm>
                    <a:off x="3300" y="3802"/>
                    <a:ext cx="17" cy="15"/>
                  </a:xfrm>
                  <a:custGeom>
                    <a:avLst/>
                    <a:gdLst>
                      <a:gd name="T0" fmla="*/ 0 w 122"/>
                      <a:gd name="T1" fmla="*/ 0 h 109"/>
                      <a:gd name="T2" fmla="*/ 0 w 122"/>
                      <a:gd name="T3" fmla="*/ 0 h 109"/>
                      <a:gd name="T4" fmla="*/ 0 w 122"/>
                      <a:gd name="T5" fmla="*/ 0 h 109"/>
                      <a:gd name="T6" fmla="*/ 0 w 122"/>
                      <a:gd name="T7" fmla="*/ 0 h 109"/>
                      <a:gd name="T8" fmla="*/ 0 w 122"/>
                      <a:gd name="T9" fmla="*/ 0 h 10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22"/>
                      <a:gd name="T16" fmla="*/ 0 h 109"/>
                      <a:gd name="T17" fmla="*/ 122 w 122"/>
                      <a:gd name="T18" fmla="*/ 109 h 10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22" h="109">
                        <a:moveTo>
                          <a:pt x="37" y="109"/>
                        </a:moveTo>
                        <a:lnTo>
                          <a:pt x="0" y="32"/>
                        </a:lnTo>
                        <a:lnTo>
                          <a:pt x="86" y="0"/>
                        </a:lnTo>
                        <a:lnTo>
                          <a:pt x="122" y="76"/>
                        </a:lnTo>
                        <a:lnTo>
                          <a:pt x="37" y="109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503" name="Freeform 192"/>
                  <p:cNvSpPr>
                    <a:spLocks/>
                  </p:cNvSpPr>
                  <p:nvPr/>
                </p:nvSpPr>
                <p:spPr bwMode="auto">
                  <a:xfrm>
                    <a:off x="3341" y="3811"/>
                    <a:ext cx="22" cy="19"/>
                  </a:xfrm>
                  <a:custGeom>
                    <a:avLst/>
                    <a:gdLst>
                      <a:gd name="T0" fmla="*/ 0 w 143"/>
                      <a:gd name="T1" fmla="*/ 0 h 128"/>
                      <a:gd name="T2" fmla="*/ 0 w 143"/>
                      <a:gd name="T3" fmla="*/ 0 h 128"/>
                      <a:gd name="T4" fmla="*/ 0 w 143"/>
                      <a:gd name="T5" fmla="*/ 0 h 128"/>
                      <a:gd name="T6" fmla="*/ 0 w 143"/>
                      <a:gd name="T7" fmla="*/ 0 h 128"/>
                      <a:gd name="T8" fmla="*/ 0 w 143"/>
                      <a:gd name="T9" fmla="*/ 0 h 12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43"/>
                      <a:gd name="T16" fmla="*/ 0 h 128"/>
                      <a:gd name="T17" fmla="*/ 143 w 143"/>
                      <a:gd name="T18" fmla="*/ 128 h 12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43" h="128">
                        <a:moveTo>
                          <a:pt x="57" y="128"/>
                        </a:moveTo>
                        <a:lnTo>
                          <a:pt x="0" y="52"/>
                        </a:lnTo>
                        <a:lnTo>
                          <a:pt x="86" y="0"/>
                        </a:lnTo>
                        <a:lnTo>
                          <a:pt x="143" y="77"/>
                        </a:lnTo>
                        <a:lnTo>
                          <a:pt x="57" y="128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504" name="Freeform 193"/>
                  <p:cNvSpPr>
                    <a:spLocks/>
                  </p:cNvSpPr>
                  <p:nvPr/>
                </p:nvSpPr>
                <p:spPr bwMode="auto">
                  <a:xfrm>
                    <a:off x="3668" y="3764"/>
                    <a:ext cx="20" cy="18"/>
                  </a:xfrm>
                  <a:custGeom>
                    <a:avLst/>
                    <a:gdLst>
                      <a:gd name="T0" fmla="*/ 0 w 139"/>
                      <a:gd name="T1" fmla="*/ 0 h 125"/>
                      <a:gd name="T2" fmla="*/ 0 w 139"/>
                      <a:gd name="T3" fmla="*/ 0 h 125"/>
                      <a:gd name="T4" fmla="*/ 0 w 139"/>
                      <a:gd name="T5" fmla="*/ 0 h 125"/>
                      <a:gd name="T6" fmla="*/ 0 w 139"/>
                      <a:gd name="T7" fmla="*/ 0 h 125"/>
                      <a:gd name="T8" fmla="*/ 0 w 139"/>
                      <a:gd name="T9" fmla="*/ 0 h 12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39"/>
                      <a:gd name="T16" fmla="*/ 0 h 125"/>
                      <a:gd name="T17" fmla="*/ 139 w 139"/>
                      <a:gd name="T18" fmla="*/ 125 h 12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39" h="125">
                        <a:moveTo>
                          <a:pt x="69" y="125"/>
                        </a:moveTo>
                        <a:lnTo>
                          <a:pt x="139" y="62"/>
                        </a:lnTo>
                        <a:lnTo>
                          <a:pt x="69" y="0"/>
                        </a:lnTo>
                        <a:lnTo>
                          <a:pt x="0" y="62"/>
                        </a:lnTo>
                        <a:lnTo>
                          <a:pt x="69" y="125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505" name="Freeform 194"/>
                  <p:cNvSpPr>
                    <a:spLocks/>
                  </p:cNvSpPr>
                  <p:nvPr/>
                </p:nvSpPr>
                <p:spPr bwMode="auto">
                  <a:xfrm>
                    <a:off x="3627" y="3779"/>
                    <a:ext cx="33" cy="31"/>
                  </a:xfrm>
                  <a:custGeom>
                    <a:avLst/>
                    <a:gdLst>
                      <a:gd name="T0" fmla="*/ 0 w 231"/>
                      <a:gd name="T1" fmla="*/ 0 h 207"/>
                      <a:gd name="T2" fmla="*/ 0 w 231"/>
                      <a:gd name="T3" fmla="*/ 0 h 207"/>
                      <a:gd name="T4" fmla="*/ 0 w 231"/>
                      <a:gd name="T5" fmla="*/ 0 h 207"/>
                      <a:gd name="T6" fmla="*/ 0 w 231"/>
                      <a:gd name="T7" fmla="*/ 0 h 207"/>
                      <a:gd name="T8" fmla="*/ 0 w 231"/>
                      <a:gd name="T9" fmla="*/ 0 h 20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231"/>
                      <a:gd name="T16" fmla="*/ 0 h 207"/>
                      <a:gd name="T17" fmla="*/ 231 w 231"/>
                      <a:gd name="T18" fmla="*/ 207 h 20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231" h="207">
                        <a:moveTo>
                          <a:pt x="137" y="207"/>
                        </a:moveTo>
                        <a:lnTo>
                          <a:pt x="231" y="85"/>
                        </a:lnTo>
                        <a:lnTo>
                          <a:pt x="95" y="0"/>
                        </a:lnTo>
                        <a:lnTo>
                          <a:pt x="0" y="122"/>
                        </a:lnTo>
                        <a:lnTo>
                          <a:pt x="137" y="207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506" name="Freeform 195"/>
                  <p:cNvSpPr>
                    <a:spLocks/>
                  </p:cNvSpPr>
                  <p:nvPr/>
                </p:nvSpPr>
                <p:spPr bwMode="auto">
                  <a:xfrm>
                    <a:off x="3594" y="3802"/>
                    <a:ext cx="18" cy="15"/>
                  </a:xfrm>
                  <a:custGeom>
                    <a:avLst/>
                    <a:gdLst>
                      <a:gd name="T0" fmla="*/ 0 w 122"/>
                      <a:gd name="T1" fmla="*/ 0 h 109"/>
                      <a:gd name="T2" fmla="*/ 0 w 122"/>
                      <a:gd name="T3" fmla="*/ 0 h 109"/>
                      <a:gd name="T4" fmla="*/ 0 w 122"/>
                      <a:gd name="T5" fmla="*/ 0 h 109"/>
                      <a:gd name="T6" fmla="*/ 0 w 122"/>
                      <a:gd name="T7" fmla="*/ 0 h 109"/>
                      <a:gd name="T8" fmla="*/ 0 w 122"/>
                      <a:gd name="T9" fmla="*/ 0 h 109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22"/>
                      <a:gd name="T16" fmla="*/ 0 h 109"/>
                      <a:gd name="T17" fmla="*/ 122 w 122"/>
                      <a:gd name="T18" fmla="*/ 109 h 109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22" h="109">
                        <a:moveTo>
                          <a:pt x="85" y="109"/>
                        </a:moveTo>
                        <a:lnTo>
                          <a:pt x="122" y="32"/>
                        </a:lnTo>
                        <a:lnTo>
                          <a:pt x="36" y="0"/>
                        </a:lnTo>
                        <a:lnTo>
                          <a:pt x="0" y="76"/>
                        </a:lnTo>
                        <a:lnTo>
                          <a:pt x="85" y="109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507" name="Freeform 196"/>
                  <p:cNvSpPr>
                    <a:spLocks/>
                  </p:cNvSpPr>
                  <p:nvPr/>
                </p:nvSpPr>
                <p:spPr bwMode="auto">
                  <a:xfrm>
                    <a:off x="3550" y="3811"/>
                    <a:ext cx="20" cy="19"/>
                  </a:xfrm>
                  <a:custGeom>
                    <a:avLst/>
                    <a:gdLst>
                      <a:gd name="T0" fmla="*/ 0 w 141"/>
                      <a:gd name="T1" fmla="*/ 0 h 128"/>
                      <a:gd name="T2" fmla="*/ 0 w 141"/>
                      <a:gd name="T3" fmla="*/ 0 h 128"/>
                      <a:gd name="T4" fmla="*/ 0 w 141"/>
                      <a:gd name="T5" fmla="*/ 0 h 128"/>
                      <a:gd name="T6" fmla="*/ 0 w 141"/>
                      <a:gd name="T7" fmla="*/ 0 h 128"/>
                      <a:gd name="T8" fmla="*/ 0 w 141"/>
                      <a:gd name="T9" fmla="*/ 0 h 128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41"/>
                      <a:gd name="T16" fmla="*/ 0 h 128"/>
                      <a:gd name="T17" fmla="*/ 141 w 141"/>
                      <a:gd name="T18" fmla="*/ 128 h 128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41" h="128">
                        <a:moveTo>
                          <a:pt x="85" y="128"/>
                        </a:moveTo>
                        <a:lnTo>
                          <a:pt x="141" y="52"/>
                        </a:lnTo>
                        <a:lnTo>
                          <a:pt x="57" y="0"/>
                        </a:lnTo>
                        <a:lnTo>
                          <a:pt x="0" y="77"/>
                        </a:lnTo>
                        <a:lnTo>
                          <a:pt x="85" y="128"/>
                        </a:lnTo>
                        <a:close/>
                      </a:path>
                    </a:pathLst>
                  </a:custGeom>
                  <a:solidFill>
                    <a:srgbClr val="FAEC00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508" name="Freeform 197"/>
                  <p:cNvSpPr>
                    <a:spLocks/>
                  </p:cNvSpPr>
                  <p:nvPr/>
                </p:nvSpPr>
                <p:spPr bwMode="auto">
                  <a:xfrm>
                    <a:off x="3165" y="3511"/>
                    <a:ext cx="294" cy="330"/>
                  </a:xfrm>
                  <a:custGeom>
                    <a:avLst/>
                    <a:gdLst>
                      <a:gd name="T0" fmla="*/ 0 w 2056"/>
                      <a:gd name="T1" fmla="*/ 0 h 2325"/>
                      <a:gd name="T2" fmla="*/ 0 w 2056"/>
                      <a:gd name="T3" fmla="*/ 0 h 2325"/>
                      <a:gd name="T4" fmla="*/ 0 w 2056"/>
                      <a:gd name="T5" fmla="*/ 0 h 2325"/>
                      <a:gd name="T6" fmla="*/ 0 w 2056"/>
                      <a:gd name="T7" fmla="*/ 0 h 2325"/>
                      <a:gd name="T8" fmla="*/ 0 w 2056"/>
                      <a:gd name="T9" fmla="*/ 0 h 2325"/>
                      <a:gd name="T10" fmla="*/ 0 w 2056"/>
                      <a:gd name="T11" fmla="*/ 0 h 2325"/>
                      <a:gd name="T12" fmla="*/ 0 w 2056"/>
                      <a:gd name="T13" fmla="*/ 0 h 2325"/>
                      <a:gd name="T14" fmla="*/ 0 w 2056"/>
                      <a:gd name="T15" fmla="*/ 0 h 2325"/>
                      <a:gd name="T16" fmla="*/ 0 w 2056"/>
                      <a:gd name="T17" fmla="*/ 0 h 2325"/>
                      <a:gd name="T18" fmla="*/ 0 w 2056"/>
                      <a:gd name="T19" fmla="*/ 0 h 2325"/>
                      <a:gd name="T20" fmla="*/ 0 w 2056"/>
                      <a:gd name="T21" fmla="*/ 0 h 2325"/>
                      <a:gd name="T22" fmla="*/ 0 w 2056"/>
                      <a:gd name="T23" fmla="*/ 0 h 2325"/>
                      <a:gd name="T24" fmla="*/ 0 w 2056"/>
                      <a:gd name="T25" fmla="*/ 0 h 2325"/>
                      <a:gd name="T26" fmla="*/ 0 w 2056"/>
                      <a:gd name="T27" fmla="*/ 0 h 2325"/>
                      <a:gd name="T28" fmla="*/ 0 w 2056"/>
                      <a:gd name="T29" fmla="*/ 0 h 2325"/>
                      <a:gd name="T30" fmla="*/ 0 w 2056"/>
                      <a:gd name="T31" fmla="*/ 0 h 2325"/>
                      <a:gd name="T32" fmla="*/ 0 w 2056"/>
                      <a:gd name="T33" fmla="*/ 0 h 2325"/>
                      <a:gd name="T34" fmla="*/ 0 w 2056"/>
                      <a:gd name="T35" fmla="*/ 0 h 2325"/>
                      <a:gd name="T36" fmla="*/ 0 w 2056"/>
                      <a:gd name="T37" fmla="*/ 0 h 2325"/>
                      <a:gd name="T38" fmla="*/ 0 w 2056"/>
                      <a:gd name="T39" fmla="*/ 0 h 2325"/>
                      <a:gd name="T40" fmla="*/ 0 w 2056"/>
                      <a:gd name="T41" fmla="*/ 0 h 2325"/>
                      <a:gd name="T42" fmla="*/ 0 w 2056"/>
                      <a:gd name="T43" fmla="*/ 0 h 2325"/>
                      <a:gd name="T44" fmla="*/ 0 w 2056"/>
                      <a:gd name="T45" fmla="*/ 0 h 2325"/>
                      <a:gd name="T46" fmla="*/ 0 w 2056"/>
                      <a:gd name="T47" fmla="*/ 0 h 2325"/>
                      <a:gd name="T48" fmla="*/ 0 w 2056"/>
                      <a:gd name="T49" fmla="*/ 0 h 2325"/>
                      <a:gd name="T50" fmla="*/ 0 w 2056"/>
                      <a:gd name="T51" fmla="*/ 0 h 2325"/>
                      <a:gd name="T52" fmla="*/ 0 w 2056"/>
                      <a:gd name="T53" fmla="*/ 0 h 2325"/>
                      <a:gd name="T54" fmla="*/ 0 w 2056"/>
                      <a:gd name="T55" fmla="*/ 0 h 2325"/>
                      <a:gd name="T56" fmla="*/ 0 w 2056"/>
                      <a:gd name="T57" fmla="*/ 0 h 2325"/>
                      <a:gd name="T58" fmla="*/ 0 w 2056"/>
                      <a:gd name="T59" fmla="*/ 0 h 2325"/>
                      <a:gd name="T60" fmla="*/ 0 w 2056"/>
                      <a:gd name="T61" fmla="*/ 0 h 2325"/>
                      <a:gd name="T62" fmla="*/ 0 w 2056"/>
                      <a:gd name="T63" fmla="*/ 0 h 2325"/>
                      <a:gd name="T64" fmla="*/ 0 w 2056"/>
                      <a:gd name="T65" fmla="*/ 0 h 2325"/>
                      <a:gd name="T66" fmla="*/ 0 w 2056"/>
                      <a:gd name="T67" fmla="*/ 0 h 2325"/>
                      <a:gd name="T68" fmla="*/ 0 w 2056"/>
                      <a:gd name="T69" fmla="*/ 0 h 2325"/>
                      <a:gd name="T70" fmla="*/ 0 w 2056"/>
                      <a:gd name="T71" fmla="*/ 0 h 2325"/>
                      <a:gd name="T72" fmla="*/ 0 w 2056"/>
                      <a:gd name="T73" fmla="*/ 0 h 2325"/>
                      <a:gd name="T74" fmla="*/ 0 w 2056"/>
                      <a:gd name="T75" fmla="*/ 0 h 2325"/>
                      <a:gd name="T76" fmla="*/ 0 w 2056"/>
                      <a:gd name="T77" fmla="*/ 0 h 2325"/>
                      <a:gd name="T78" fmla="*/ 0 w 2056"/>
                      <a:gd name="T79" fmla="*/ 0 h 2325"/>
                      <a:gd name="T80" fmla="*/ 0 w 2056"/>
                      <a:gd name="T81" fmla="*/ 0 h 2325"/>
                      <a:gd name="T82" fmla="*/ 0 w 2056"/>
                      <a:gd name="T83" fmla="*/ 0 h 2325"/>
                      <a:gd name="T84" fmla="*/ 0 w 2056"/>
                      <a:gd name="T85" fmla="*/ 0 h 2325"/>
                      <a:gd name="T86" fmla="*/ 0 w 2056"/>
                      <a:gd name="T87" fmla="*/ 0 h 2325"/>
                      <a:gd name="T88" fmla="*/ 0 w 2056"/>
                      <a:gd name="T89" fmla="*/ 0 h 2325"/>
                      <a:gd name="T90" fmla="*/ 0 w 2056"/>
                      <a:gd name="T91" fmla="*/ 0 h 2325"/>
                      <a:gd name="T92" fmla="*/ 0 60000 65536"/>
                      <a:gd name="T93" fmla="*/ 0 60000 65536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w 2056"/>
                      <a:gd name="T139" fmla="*/ 0 h 2325"/>
                      <a:gd name="T140" fmla="*/ 2056 w 2056"/>
                      <a:gd name="T141" fmla="*/ 2325 h 2325"/>
                    </a:gdLst>
                    <a:ahLst/>
                    <a:cxnLst>
                      <a:cxn ang="T92">
                        <a:pos x="T0" y="T1"/>
                      </a:cxn>
                      <a:cxn ang="T93">
                        <a:pos x="T2" y="T3"/>
                      </a:cxn>
                      <a:cxn ang="T94">
                        <a:pos x="T4" y="T5"/>
                      </a:cxn>
                      <a:cxn ang="T95">
                        <a:pos x="T6" y="T7"/>
                      </a:cxn>
                      <a:cxn ang="T96">
                        <a:pos x="T8" y="T9"/>
                      </a:cxn>
                      <a:cxn ang="T97">
                        <a:pos x="T10" y="T11"/>
                      </a:cxn>
                      <a:cxn ang="T98">
                        <a:pos x="T12" y="T13"/>
                      </a:cxn>
                      <a:cxn ang="T99">
                        <a:pos x="T14" y="T15"/>
                      </a:cxn>
                      <a:cxn ang="T100">
                        <a:pos x="T16" y="T17"/>
                      </a:cxn>
                      <a:cxn ang="T101">
                        <a:pos x="T18" y="T19"/>
                      </a:cxn>
                      <a:cxn ang="T102">
                        <a:pos x="T20" y="T21"/>
                      </a:cxn>
                      <a:cxn ang="T103">
                        <a:pos x="T22" y="T23"/>
                      </a:cxn>
                      <a:cxn ang="T104">
                        <a:pos x="T24" y="T25"/>
                      </a:cxn>
                      <a:cxn ang="T105">
                        <a:pos x="T26" y="T27"/>
                      </a:cxn>
                      <a:cxn ang="T106">
                        <a:pos x="T28" y="T29"/>
                      </a:cxn>
                      <a:cxn ang="T107">
                        <a:pos x="T30" y="T31"/>
                      </a:cxn>
                      <a:cxn ang="T108">
                        <a:pos x="T32" y="T33"/>
                      </a:cxn>
                      <a:cxn ang="T109">
                        <a:pos x="T34" y="T35"/>
                      </a:cxn>
                      <a:cxn ang="T110">
                        <a:pos x="T36" y="T37"/>
                      </a:cxn>
                      <a:cxn ang="T111">
                        <a:pos x="T38" y="T39"/>
                      </a:cxn>
                      <a:cxn ang="T112">
                        <a:pos x="T40" y="T41"/>
                      </a:cxn>
                      <a:cxn ang="T113">
                        <a:pos x="T42" y="T43"/>
                      </a:cxn>
                      <a:cxn ang="T114">
                        <a:pos x="T44" y="T45"/>
                      </a:cxn>
                      <a:cxn ang="T115">
                        <a:pos x="T46" y="T47"/>
                      </a:cxn>
                      <a:cxn ang="T116">
                        <a:pos x="T48" y="T49"/>
                      </a:cxn>
                      <a:cxn ang="T117">
                        <a:pos x="T50" y="T51"/>
                      </a:cxn>
                      <a:cxn ang="T118">
                        <a:pos x="T52" y="T53"/>
                      </a:cxn>
                      <a:cxn ang="T119">
                        <a:pos x="T54" y="T55"/>
                      </a:cxn>
                      <a:cxn ang="T120">
                        <a:pos x="T56" y="T57"/>
                      </a:cxn>
                      <a:cxn ang="T121">
                        <a:pos x="T58" y="T59"/>
                      </a:cxn>
                      <a:cxn ang="T122">
                        <a:pos x="T60" y="T61"/>
                      </a:cxn>
                      <a:cxn ang="T123">
                        <a:pos x="T62" y="T63"/>
                      </a:cxn>
                      <a:cxn ang="T124">
                        <a:pos x="T64" y="T65"/>
                      </a:cxn>
                      <a:cxn ang="T125">
                        <a:pos x="T66" y="T67"/>
                      </a:cxn>
                      <a:cxn ang="T126">
                        <a:pos x="T68" y="T69"/>
                      </a:cxn>
                      <a:cxn ang="T127">
                        <a:pos x="T70" y="T71"/>
                      </a:cxn>
                      <a:cxn ang="T128">
                        <a:pos x="T72" y="T73"/>
                      </a:cxn>
                      <a:cxn ang="T129">
                        <a:pos x="T74" y="T75"/>
                      </a:cxn>
                      <a:cxn ang="T130">
                        <a:pos x="T76" y="T77"/>
                      </a:cxn>
                      <a:cxn ang="T131">
                        <a:pos x="T78" y="T79"/>
                      </a:cxn>
                      <a:cxn ang="T132">
                        <a:pos x="T80" y="T81"/>
                      </a:cxn>
                      <a:cxn ang="T133">
                        <a:pos x="T82" y="T83"/>
                      </a:cxn>
                      <a:cxn ang="T134">
                        <a:pos x="T84" y="T85"/>
                      </a:cxn>
                      <a:cxn ang="T135">
                        <a:pos x="T86" y="T87"/>
                      </a:cxn>
                      <a:cxn ang="T136">
                        <a:pos x="T88" y="T89"/>
                      </a:cxn>
                      <a:cxn ang="T137">
                        <a:pos x="T90" y="T91"/>
                      </a:cxn>
                    </a:cxnLst>
                    <a:rect l="T138" t="T139" r="T140" b="T141"/>
                    <a:pathLst>
                      <a:path w="2056" h="2325">
                        <a:moveTo>
                          <a:pt x="297" y="0"/>
                        </a:moveTo>
                        <a:lnTo>
                          <a:pt x="307" y="2"/>
                        </a:lnTo>
                        <a:lnTo>
                          <a:pt x="335" y="9"/>
                        </a:lnTo>
                        <a:lnTo>
                          <a:pt x="379" y="20"/>
                        </a:lnTo>
                        <a:lnTo>
                          <a:pt x="437" y="35"/>
                        </a:lnTo>
                        <a:lnTo>
                          <a:pt x="507" y="51"/>
                        </a:lnTo>
                        <a:lnTo>
                          <a:pt x="588" y="69"/>
                        </a:lnTo>
                        <a:lnTo>
                          <a:pt x="679" y="88"/>
                        </a:lnTo>
                        <a:lnTo>
                          <a:pt x="774" y="107"/>
                        </a:lnTo>
                        <a:lnTo>
                          <a:pt x="876" y="126"/>
                        </a:lnTo>
                        <a:lnTo>
                          <a:pt x="979" y="144"/>
                        </a:lnTo>
                        <a:lnTo>
                          <a:pt x="1032" y="152"/>
                        </a:lnTo>
                        <a:lnTo>
                          <a:pt x="1085" y="158"/>
                        </a:lnTo>
                        <a:lnTo>
                          <a:pt x="1136" y="165"/>
                        </a:lnTo>
                        <a:lnTo>
                          <a:pt x="1188" y="170"/>
                        </a:lnTo>
                        <a:lnTo>
                          <a:pt x="1239" y="175"/>
                        </a:lnTo>
                        <a:lnTo>
                          <a:pt x="1290" y="179"/>
                        </a:lnTo>
                        <a:lnTo>
                          <a:pt x="1337" y="182"/>
                        </a:lnTo>
                        <a:lnTo>
                          <a:pt x="1385" y="183"/>
                        </a:lnTo>
                        <a:lnTo>
                          <a:pt x="1431" y="183"/>
                        </a:lnTo>
                        <a:lnTo>
                          <a:pt x="1474" y="182"/>
                        </a:lnTo>
                        <a:lnTo>
                          <a:pt x="1517" y="179"/>
                        </a:lnTo>
                        <a:lnTo>
                          <a:pt x="1556" y="175"/>
                        </a:lnTo>
                        <a:lnTo>
                          <a:pt x="1629" y="166"/>
                        </a:lnTo>
                        <a:lnTo>
                          <a:pt x="1695" y="158"/>
                        </a:lnTo>
                        <a:lnTo>
                          <a:pt x="1725" y="156"/>
                        </a:lnTo>
                        <a:lnTo>
                          <a:pt x="1751" y="155"/>
                        </a:lnTo>
                        <a:lnTo>
                          <a:pt x="1777" y="154"/>
                        </a:lnTo>
                        <a:lnTo>
                          <a:pt x="1802" y="154"/>
                        </a:lnTo>
                        <a:lnTo>
                          <a:pt x="1824" y="154"/>
                        </a:lnTo>
                        <a:lnTo>
                          <a:pt x="1844" y="156"/>
                        </a:lnTo>
                        <a:lnTo>
                          <a:pt x="1863" y="158"/>
                        </a:lnTo>
                        <a:lnTo>
                          <a:pt x="1879" y="163"/>
                        </a:lnTo>
                        <a:lnTo>
                          <a:pt x="1895" y="167"/>
                        </a:lnTo>
                        <a:lnTo>
                          <a:pt x="1910" y="173"/>
                        </a:lnTo>
                        <a:lnTo>
                          <a:pt x="1922" y="179"/>
                        </a:lnTo>
                        <a:lnTo>
                          <a:pt x="1934" y="187"/>
                        </a:lnTo>
                        <a:lnTo>
                          <a:pt x="1944" y="197"/>
                        </a:lnTo>
                        <a:lnTo>
                          <a:pt x="1953" y="208"/>
                        </a:lnTo>
                        <a:lnTo>
                          <a:pt x="1961" y="219"/>
                        </a:lnTo>
                        <a:lnTo>
                          <a:pt x="1969" y="233"/>
                        </a:lnTo>
                        <a:lnTo>
                          <a:pt x="1974" y="248"/>
                        </a:lnTo>
                        <a:lnTo>
                          <a:pt x="1980" y="264"/>
                        </a:lnTo>
                        <a:lnTo>
                          <a:pt x="1984" y="282"/>
                        </a:lnTo>
                        <a:lnTo>
                          <a:pt x="1987" y="302"/>
                        </a:lnTo>
                        <a:lnTo>
                          <a:pt x="1991" y="323"/>
                        </a:lnTo>
                        <a:lnTo>
                          <a:pt x="1993" y="345"/>
                        </a:lnTo>
                        <a:lnTo>
                          <a:pt x="1994" y="370"/>
                        </a:lnTo>
                        <a:lnTo>
                          <a:pt x="1995" y="395"/>
                        </a:lnTo>
                        <a:lnTo>
                          <a:pt x="1997" y="453"/>
                        </a:lnTo>
                        <a:lnTo>
                          <a:pt x="1997" y="519"/>
                        </a:lnTo>
                        <a:lnTo>
                          <a:pt x="1997" y="557"/>
                        </a:lnTo>
                        <a:lnTo>
                          <a:pt x="1999" y="598"/>
                        </a:lnTo>
                        <a:lnTo>
                          <a:pt x="2001" y="640"/>
                        </a:lnTo>
                        <a:lnTo>
                          <a:pt x="2004" y="686"/>
                        </a:lnTo>
                        <a:lnTo>
                          <a:pt x="2011" y="780"/>
                        </a:lnTo>
                        <a:lnTo>
                          <a:pt x="2020" y="882"/>
                        </a:lnTo>
                        <a:lnTo>
                          <a:pt x="2030" y="987"/>
                        </a:lnTo>
                        <a:lnTo>
                          <a:pt x="2039" y="1095"/>
                        </a:lnTo>
                        <a:lnTo>
                          <a:pt x="2046" y="1206"/>
                        </a:lnTo>
                        <a:lnTo>
                          <a:pt x="2053" y="1318"/>
                        </a:lnTo>
                        <a:lnTo>
                          <a:pt x="2054" y="1373"/>
                        </a:lnTo>
                        <a:lnTo>
                          <a:pt x="2056" y="1429"/>
                        </a:lnTo>
                        <a:lnTo>
                          <a:pt x="2056" y="1485"/>
                        </a:lnTo>
                        <a:lnTo>
                          <a:pt x="2055" y="1538"/>
                        </a:lnTo>
                        <a:lnTo>
                          <a:pt x="2053" y="1592"/>
                        </a:lnTo>
                        <a:lnTo>
                          <a:pt x="2050" y="1644"/>
                        </a:lnTo>
                        <a:lnTo>
                          <a:pt x="2045" y="1695"/>
                        </a:lnTo>
                        <a:lnTo>
                          <a:pt x="2039" y="1745"/>
                        </a:lnTo>
                        <a:lnTo>
                          <a:pt x="2031" y="1794"/>
                        </a:lnTo>
                        <a:lnTo>
                          <a:pt x="2022" y="1841"/>
                        </a:lnTo>
                        <a:lnTo>
                          <a:pt x="2010" y="1885"/>
                        </a:lnTo>
                        <a:lnTo>
                          <a:pt x="1996" y="1929"/>
                        </a:lnTo>
                        <a:lnTo>
                          <a:pt x="1982" y="1970"/>
                        </a:lnTo>
                        <a:lnTo>
                          <a:pt x="1964" y="2008"/>
                        </a:lnTo>
                        <a:lnTo>
                          <a:pt x="1944" y="2044"/>
                        </a:lnTo>
                        <a:lnTo>
                          <a:pt x="1922" y="2078"/>
                        </a:lnTo>
                        <a:lnTo>
                          <a:pt x="1872" y="2141"/>
                        </a:lnTo>
                        <a:lnTo>
                          <a:pt x="1819" y="2194"/>
                        </a:lnTo>
                        <a:lnTo>
                          <a:pt x="1766" y="2237"/>
                        </a:lnTo>
                        <a:lnTo>
                          <a:pt x="1711" y="2270"/>
                        </a:lnTo>
                        <a:lnTo>
                          <a:pt x="1655" y="2296"/>
                        </a:lnTo>
                        <a:lnTo>
                          <a:pt x="1598" y="2313"/>
                        </a:lnTo>
                        <a:lnTo>
                          <a:pt x="1540" y="2323"/>
                        </a:lnTo>
                        <a:lnTo>
                          <a:pt x="1482" y="2325"/>
                        </a:lnTo>
                        <a:lnTo>
                          <a:pt x="1423" y="2319"/>
                        </a:lnTo>
                        <a:lnTo>
                          <a:pt x="1364" y="2308"/>
                        </a:lnTo>
                        <a:lnTo>
                          <a:pt x="1304" y="2292"/>
                        </a:lnTo>
                        <a:lnTo>
                          <a:pt x="1245" y="2268"/>
                        </a:lnTo>
                        <a:lnTo>
                          <a:pt x="1186" y="2241"/>
                        </a:lnTo>
                        <a:lnTo>
                          <a:pt x="1127" y="2209"/>
                        </a:lnTo>
                        <a:lnTo>
                          <a:pt x="1068" y="2174"/>
                        </a:lnTo>
                        <a:lnTo>
                          <a:pt x="1010" y="2133"/>
                        </a:lnTo>
                        <a:lnTo>
                          <a:pt x="953" y="2091"/>
                        </a:lnTo>
                        <a:lnTo>
                          <a:pt x="897" y="2046"/>
                        </a:lnTo>
                        <a:lnTo>
                          <a:pt x="842" y="1999"/>
                        </a:lnTo>
                        <a:lnTo>
                          <a:pt x="788" y="1950"/>
                        </a:lnTo>
                        <a:lnTo>
                          <a:pt x="735" y="1900"/>
                        </a:lnTo>
                        <a:lnTo>
                          <a:pt x="685" y="1849"/>
                        </a:lnTo>
                        <a:lnTo>
                          <a:pt x="636" y="1797"/>
                        </a:lnTo>
                        <a:lnTo>
                          <a:pt x="588" y="1746"/>
                        </a:lnTo>
                        <a:lnTo>
                          <a:pt x="543" y="1696"/>
                        </a:lnTo>
                        <a:lnTo>
                          <a:pt x="500" y="1647"/>
                        </a:lnTo>
                        <a:lnTo>
                          <a:pt x="459" y="1599"/>
                        </a:lnTo>
                        <a:lnTo>
                          <a:pt x="421" y="1554"/>
                        </a:lnTo>
                        <a:lnTo>
                          <a:pt x="354" y="1471"/>
                        </a:lnTo>
                        <a:lnTo>
                          <a:pt x="297" y="1402"/>
                        </a:lnTo>
                        <a:lnTo>
                          <a:pt x="277" y="1376"/>
                        </a:lnTo>
                        <a:lnTo>
                          <a:pt x="256" y="1346"/>
                        </a:lnTo>
                        <a:lnTo>
                          <a:pt x="234" y="1311"/>
                        </a:lnTo>
                        <a:lnTo>
                          <a:pt x="213" y="1273"/>
                        </a:lnTo>
                        <a:lnTo>
                          <a:pt x="192" y="1233"/>
                        </a:lnTo>
                        <a:lnTo>
                          <a:pt x="171" y="1190"/>
                        </a:lnTo>
                        <a:lnTo>
                          <a:pt x="150" y="1143"/>
                        </a:lnTo>
                        <a:lnTo>
                          <a:pt x="130" y="1095"/>
                        </a:lnTo>
                        <a:lnTo>
                          <a:pt x="111" y="1045"/>
                        </a:lnTo>
                        <a:lnTo>
                          <a:pt x="92" y="994"/>
                        </a:lnTo>
                        <a:lnTo>
                          <a:pt x="75" y="941"/>
                        </a:lnTo>
                        <a:lnTo>
                          <a:pt x="60" y="886"/>
                        </a:lnTo>
                        <a:lnTo>
                          <a:pt x="45" y="830"/>
                        </a:lnTo>
                        <a:lnTo>
                          <a:pt x="32" y="775"/>
                        </a:lnTo>
                        <a:lnTo>
                          <a:pt x="21" y="719"/>
                        </a:lnTo>
                        <a:lnTo>
                          <a:pt x="13" y="663"/>
                        </a:lnTo>
                        <a:lnTo>
                          <a:pt x="6" y="608"/>
                        </a:lnTo>
                        <a:lnTo>
                          <a:pt x="2" y="552"/>
                        </a:lnTo>
                        <a:lnTo>
                          <a:pt x="0" y="499"/>
                        </a:lnTo>
                        <a:lnTo>
                          <a:pt x="2" y="445"/>
                        </a:lnTo>
                        <a:lnTo>
                          <a:pt x="5" y="394"/>
                        </a:lnTo>
                        <a:lnTo>
                          <a:pt x="13" y="344"/>
                        </a:lnTo>
                        <a:lnTo>
                          <a:pt x="23" y="296"/>
                        </a:lnTo>
                        <a:lnTo>
                          <a:pt x="37" y="249"/>
                        </a:lnTo>
                        <a:lnTo>
                          <a:pt x="55" y="207"/>
                        </a:lnTo>
                        <a:lnTo>
                          <a:pt x="76" y="166"/>
                        </a:lnTo>
                        <a:lnTo>
                          <a:pt x="102" y="129"/>
                        </a:lnTo>
                        <a:lnTo>
                          <a:pt x="132" y="96"/>
                        </a:lnTo>
                        <a:lnTo>
                          <a:pt x="167" y="66"/>
                        </a:lnTo>
                        <a:lnTo>
                          <a:pt x="206" y="39"/>
                        </a:lnTo>
                        <a:lnTo>
                          <a:pt x="249" y="17"/>
                        </a:lnTo>
                        <a:lnTo>
                          <a:pt x="297" y="0"/>
                        </a:lnTo>
                        <a:close/>
                      </a:path>
                    </a:pathLst>
                  </a:custGeom>
                  <a:solidFill>
                    <a:srgbClr val="311F74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509" name="Freeform 198"/>
                  <p:cNvSpPr>
                    <a:spLocks/>
                  </p:cNvSpPr>
                  <p:nvPr/>
                </p:nvSpPr>
                <p:spPr bwMode="auto">
                  <a:xfrm>
                    <a:off x="3193" y="3511"/>
                    <a:ext cx="257" cy="72"/>
                  </a:xfrm>
                  <a:custGeom>
                    <a:avLst/>
                    <a:gdLst>
                      <a:gd name="T0" fmla="*/ 0 w 1797"/>
                      <a:gd name="T1" fmla="*/ 0 h 519"/>
                      <a:gd name="T2" fmla="*/ 0 w 1797"/>
                      <a:gd name="T3" fmla="*/ 0 h 519"/>
                      <a:gd name="T4" fmla="*/ 0 w 1797"/>
                      <a:gd name="T5" fmla="*/ 0 h 519"/>
                      <a:gd name="T6" fmla="*/ 0 w 1797"/>
                      <a:gd name="T7" fmla="*/ 0 h 519"/>
                      <a:gd name="T8" fmla="*/ 0 w 1797"/>
                      <a:gd name="T9" fmla="*/ 0 h 519"/>
                      <a:gd name="T10" fmla="*/ 0 w 1797"/>
                      <a:gd name="T11" fmla="*/ 0 h 519"/>
                      <a:gd name="T12" fmla="*/ 0 w 1797"/>
                      <a:gd name="T13" fmla="*/ 0 h 519"/>
                      <a:gd name="T14" fmla="*/ 0 w 1797"/>
                      <a:gd name="T15" fmla="*/ 0 h 519"/>
                      <a:gd name="T16" fmla="*/ 0 w 1797"/>
                      <a:gd name="T17" fmla="*/ 0 h 519"/>
                      <a:gd name="T18" fmla="*/ 0 w 1797"/>
                      <a:gd name="T19" fmla="*/ 0 h 519"/>
                      <a:gd name="T20" fmla="*/ 0 w 1797"/>
                      <a:gd name="T21" fmla="*/ 0 h 519"/>
                      <a:gd name="T22" fmla="*/ 0 w 1797"/>
                      <a:gd name="T23" fmla="*/ 0 h 519"/>
                      <a:gd name="T24" fmla="*/ 0 w 1797"/>
                      <a:gd name="T25" fmla="*/ 0 h 519"/>
                      <a:gd name="T26" fmla="*/ 0 w 1797"/>
                      <a:gd name="T27" fmla="*/ 0 h 519"/>
                      <a:gd name="T28" fmla="*/ 0 w 1797"/>
                      <a:gd name="T29" fmla="*/ 0 h 519"/>
                      <a:gd name="T30" fmla="*/ 0 w 1797"/>
                      <a:gd name="T31" fmla="*/ 0 h 519"/>
                      <a:gd name="T32" fmla="*/ 0 w 1797"/>
                      <a:gd name="T33" fmla="*/ 0 h 519"/>
                      <a:gd name="T34" fmla="*/ 0 w 1797"/>
                      <a:gd name="T35" fmla="*/ 0 h 519"/>
                      <a:gd name="T36" fmla="*/ 0 w 1797"/>
                      <a:gd name="T37" fmla="*/ 0 h 519"/>
                      <a:gd name="T38" fmla="*/ 0 w 1797"/>
                      <a:gd name="T39" fmla="*/ 0 h 519"/>
                      <a:gd name="T40" fmla="*/ 0 w 1797"/>
                      <a:gd name="T41" fmla="*/ 0 h 519"/>
                      <a:gd name="T42" fmla="*/ 0 w 1797"/>
                      <a:gd name="T43" fmla="*/ 0 h 519"/>
                      <a:gd name="T44" fmla="*/ 0 w 1797"/>
                      <a:gd name="T45" fmla="*/ 0 h 519"/>
                      <a:gd name="T46" fmla="*/ 0 w 1797"/>
                      <a:gd name="T47" fmla="*/ 0 h 519"/>
                      <a:gd name="T48" fmla="*/ 0 w 1797"/>
                      <a:gd name="T49" fmla="*/ 0 h 519"/>
                      <a:gd name="T50" fmla="*/ 0 w 1797"/>
                      <a:gd name="T51" fmla="*/ 0 h 519"/>
                      <a:gd name="T52" fmla="*/ 0 w 1797"/>
                      <a:gd name="T53" fmla="*/ 0 h 519"/>
                      <a:gd name="T54" fmla="*/ 0 w 1797"/>
                      <a:gd name="T55" fmla="*/ 0 h 519"/>
                      <a:gd name="T56" fmla="*/ 0 w 1797"/>
                      <a:gd name="T57" fmla="*/ 0 h 519"/>
                      <a:gd name="T58" fmla="*/ 0 w 1797"/>
                      <a:gd name="T59" fmla="*/ 0 h 519"/>
                      <a:gd name="T60" fmla="*/ 0 w 1797"/>
                      <a:gd name="T61" fmla="*/ 0 h 519"/>
                      <a:gd name="T62" fmla="*/ 0 w 1797"/>
                      <a:gd name="T63" fmla="*/ 0 h 519"/>
                      <a:gd name="T64" fmla="*/ 0 w 1797"/>
                      <a:gd name="T65" fmla="*/ 0 h 519"/>
                      <a:gd name="T66" fmla="*/ 0 w 1797"/>
                      <a:gd name="T67" fmla="*/ 0 h 519"/>
                      <a:gd name="T68" fmla="*/ 0 w 1797"/>
                      <a:gd name="T69" fmla="*/ 0 h 519"/>
                      <a:gd name="T70" fmla="*/ 0 w 1797"/>
                      <a:gd name="T71" fmla="*/ 0 h 519"/>
                      <a:gd name="T72" fmla="*/ 0 w 1797"/>
                      <a:gd name="T73" fmla="*/ 0 h 519"/>
                      <a:gd name="T74" fmla="*/ 0 w 1797"/>
                      <a:gd name="T75" fmla="*/ 0 h 519"/>
                      <a:gd name="T76" fmla="*/ 0 w 1797"/>
                      <a:gd name="T77" fmla="*/ 0 h 519"/>
                      <a:gd name="T78" fmla="*/ 0 w 1797"/>
                      <a:gd name="T79" fmla="*/ 0 h 519"/>
                      <a:gd name="T80" fmla="*/ 0 w 1797"/>
                      <a:gd name="T81" fmla="*/ 0 h 519"/>
                      <a:gd name="T82" fmla="*/ 0 w 1797"/>
                      <a:gd name="T83" fmla="*/ 0 h 519"/>
                      <a:gd name="T84" fmla="*/ 0 w 1797"/>
                      <a:gd name="T85" fmla="*/ 0 h 519"/>
                      <a:gd name="T86" fmla="*/ 0 w 1797"/>
                      <a:gd name="T87" fmla="*/ 0 h 519"/>
                      <a:gd name="T88" fmla="*/ 0 w 1797"/>
                      <a:gd name="T89" fmla="*/ 0 h 519"/>
                      <a:gd name="T90" fmla="*/ 0 w 1797"/>
                      <a:gd name="T91" fmla="*/ 0 h 519"/>
                      <a:gd name="T92" fmla="*/ 0 w 1797"/>
                      <a:gd name="T93" fmla="*/ 0 h 519"/>
                      <a:gd name="T94" fmla="*/ 0 w 1797"/>
                      <a:gd name="T95" fmla="*/ 0 h 519"/>
                      <a:gd name="T96" fmla="*/ 0 w 1797"/>
                      <a:gd name="T97" fmla="*/ 0 h 519"/>
                      <a:gd name="T98" fmla="*/ 0 w 1797"/>
                      <a:gd name="T99" fmla="*/ 0 h 519"/>
                      <a:gd name="T100" fmla="*/ 0 w 1797"/>
                      <a:gd name="T101" fmla="*/ 0 h 519"/>
                      <a:gd name="T102" fmla="*/ 0 w 1797"/>
                      <a:gd name="T103" fmla="*/ 0 h 519"/>
                      <a:gd name="T104" fmla="*/ 0 w 1797"/>
                      <a:gd name="T105" fmla="*/ 0 h 519"/>
                      <a:gd name="T106" fmla="*/ 0 w 1797"/>
                      <a:gd name="T107" fmla="*/ 0 h 519"/>
                      <a:gd name="T108" fmla="*/ 0 w 1797"/>
                      <a:gd name="T109" fmla="*/ 0 h 519"/>
                      <a:gd name="T110" fmla="*/ 0 w 1797"/>
                      <a:gd name="T111" fmla="*/ 0 h 519"/>
                      <a:gd name="T112" fmla="*/ 0 w 1797"/>
                      <a:gd name="T113" fmla="*/ 0 h 519"/>
                      <a:gd name="T114" fmla="*/ 0 w 1797"/>
                      <a:gd name="T115" fmla="*/ 0 h 519"/>
                      <a:gd name="T116" fmla="*/ 0 w 1797"/>
                      <a:gd name="T117" fmla="*/ 0 h 519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w 1797"/>
                      <a:gd name="T178" fmla="*/ 0 h 519"/>
                      <a:gd name="T179" fmla="*/ 1797 w 1797"/>
                      <a:gd name="T180" fmla="*/ 519 h 519"/>
                    </a:gdLst>
                    <a:ahLst/>
                    <a:cxnLst>
                      <a:cxn ang="T118">
                        <a:pos x="T0" y="T1"/>
                      </a:cxn>
                      <a:cxn ang="T119">
                        <a:pos x="T2" y="T3"/>
                      </a:cxn>
                      <a:cxn ang="T120">
                        <a:pos x="T4" y="T5"/>
                      </a:cxn>
                      <a:cxn ang="T121">
                        <a:pos x="T6" y="T7"/>
                      </a:cxn>
                      <a:cxn ang="T122">
                        <a:pos x="T8" y="T9"/>
                      </a:cxn>
                      <a:cxn ang="T123">
                        <a:pos x="T10" y="T11"/>
                      </a:cxn>
                      <a:cxn ang="T124">
                        <a:pos x="T12" y="T13"/>
                      </a:cxn>
                      <a:cxn ang="T125">
                        <a:pos x="T14" y="T15"/>
                      </a:cxn>
                      <a:cxn ang="T126">
                        <a:pos x="T16" y="T17"/>
                      </a:cxn>
                      <a:cxn ang="T127">
                        <a:pos x="T18" y="T19"/>
                      </a:cxn>
                      <a:cxn ang="T128">
                        <a:pos x="T20" y="T21"/>
                      </a:cxn>
                      <a:cxn ang="T129">
                        <a:pos x="T22" y="T23"/>
                      </a:cxn>
                      <a:cxn ang="T130">
                        <a:pos x="T24" y="T25"/>
                      </a:cxn>
                      <a:cxn ang="T131">
                        <a:pos x="T26" y="T27"/>
                      </a:cxn>
                      <a:cxn ang="T132">
                        <a:pos x="T28" y="T29"/>
                      </a:cxn>
                      <a:cxn ang="T133">
                        <a:pos x="T30" y="T31"/>
                      </a:cxn>
                      <a:cxn ang="T134">
                        <a:pos x="T32" y="T33"/>
                      </a:cxn>
                      <a:cxn ang="T135">
                        <a:pos x="T34" y="T35"/>
                      </a:cxn>
                      <a:cxn ang="T136">
                        <a:pos x="T36" y="T37"/>
                      </a:cxn>
                      <a:cxn ang="T137">
                        <a:pos x="T38" y="T39"/>
                      </a:cxn>
                      <a:cxn ang="T138">
                        <a:pos x="T40" y="T41"/>
                      </a:cxn>
                      <a:cxn ang="T139">
                        <a:pos x="T42" y="T43"/>
                      </a:cxn>
                      <a:cxn ang="T140">
                        <a:pos x="T44" y="T45"/>
                      </a:cxn>
                      <a:cxn ang="T141">
                        <a:pos x="T46" y="T47"/>
                      </a:cxn>
                      <a:cxn ang="T142">
                        <a:pos x="T48" y="T49"/>
                      </a:cxn>
                      <a:cxn ang="T143">
                        <a:pos x="T50" y="T51"/>
                      </a:cxn>
                      <a:cxn ang="T144">
                        <a:pos x="T52" y="T53"/>
                      </a:cxn>
                      <a:cxn ang="T145">
                        <a:pos x="T54" y="T55"/>
                      </a:cxn>
                      <a:cxn ang="T146">
                        <a:pos x="T56" y="T57"/>
                      </a:cxn>
                      <a:cxn ang="T147">
                        <a:pos x="T58" y="T59"/>
                      </a:cxn>
                      <a:cxn ang="T148">
                        <a:pos x="T60" y="T61"/>
                      </a:cxn>
                      <a:cxn ang="T149">
                        <a:pos x="T62" y="T63"/>
                      </a:cxn>
                      <a:cxn ang="T150">
                        <a:pos x="T64" y="T65"/>
                      </a:cxn>
                      <a:cxn ang="T151">
                        <a:pos x="T66" y="T67"/>
                      </a:cxn>
                      <a:cxn ang="T152">
                        <a:pos x="T68" y="T69"/>
                      </a:cxn>
                      <a:cxn ang="T153">
                        <a:pos x="T70" y="T71"/>
                      </a:cxn>
                      <a:cxn ang="T154">
                        <a:pos x="T72" y="T73"/>
                      </a:cxn>
                      <a:cxn ang="T155">
                        <a:pos x="T74" y="T75"/>
                      </a:cxn>
                      <a:cxn ang="T156">
                        <a:pos x="T76" y="T77"/>
                      </a:cxn>
                      <a:cxn ang="T157">
                        <a:pos x="T78" y="T79"/>
                      </a:cxn>
                      <a:cxn ang="T158">
                        <a:pos x="T80" y="T81"/>
                      </a:cxn>
                      <a:cxn ang="T159">
                        <a:pos x="T82" y="T83"/>
                      </a:cxn>
                      <a:cxn ang="T160">
                        <a:pos x="T84" y="T85"/>
                      </a:cxn>
                      <a:cxn ang="T161">
                        <a:pos x="T86" y="T87"/>
                      </a:cxn>
                      <a:cxn ang="T162">
                        <a:pos x="T88" y="T89"/>
                      </a:cxn>
                      <a:cxn ang="T163">
                        <a:pos x="T90" y="T91"/>
                      </a:cxn>
                      <a:cxn ang="T164">
                        <a:pos x="T92" y="T93"/>
                      </a:cxn>
                      <a:cxn ang="T165">
                        <a:pos x="T94" y="T95"/>
                      </a:cxn>
                      <a:cxn ang="T166">
                        <a:pos x="T96" y="T97"/>
                      </a:cxn>
                      <a:cxn ang="T167">
                        <a:pos x="T98" y="T99"/>
                      </a:cxn>
                      <a:cxn ang="T168">
                        <a:pos x="T100" y="T101"/>
                      </a:cxn>
                      <a:cxn ang="T169">
                        <a:pos x="T102" y="T103"/>
                      </a:cxn>
                      <a:cxn ang="T170">
                        <a:pos x="T104" y="T105"/>
                      </a:cxn>
                      <a:cxn ang="T171">
                        <a:pos x="T106" y="T107"/>
                      </a:cxn>
                      <a:cxn ang="T172">
                        <a:pos x="T108" y="T109"/>
                      </a:cxn>
                      <a:cxn ang="T173">
                        <a:pos x="T110" y="T111"/>
                      </a:cxn>
                      <a:cxn ang="T174">
                        <a:pos x="T112" y="T113"/>
                      </a:cxn>
                      <a:cxn ang="T175">
                        <a:pos x="T114" y="T115"/>
                      </a:cxn>
                      <a:cxn ang="T176">
                        <a:pos x="T116" y="T117"/>
                      </a:cxn>
                    </a:cxnLst>
                    <a:rect l="T177" t="T178" r="T179" b="T180"/>
                    <a:pathLst>
                      <a:path w="1797" h="519">
                        <a:moveTo>
                          <a:pt x="1355" y="176"/>
                        </a:moveTo>
                        <a:lnTo>
                          <a:pt x="1316" y="180"/>
                        </a:lnTo>
                        <a:lnTo>
                          <a:pt x="1274" y="182"/>
                        </a:lnTo>
                        <a:lnTo>
                          <a:pt x="1230" y="183"/>
                        </a:lnTo>
                        <a:lnTo>
                          <a:pt x="1185" y="183"/>
                        </a:lnTo>
                        <a:lnTo>
                          <a:pt x="1137" y="182"/>
                        </a:lnTo>
                        <a:lnTo>
                          <a:pt x="1089" y="179"/>
                        </a:lnTo>
                        <a:lnTo>
                          <a:pt x="1039" y="176"/>
                        </a:lnTo>
                        <a:lnTo>
                          <a:pt x="988" y="171"/>
                        </a:lnTo>
                        <a:lnTo>
                          <a:pt x="935" y="166"/>
                        </a:lnTo>
                        <a:lnTo>
                          <a:pt x="884" y="159"/>
                        </a:lnTo>
                        <a:lnTo>
                          <a:pt x="831" y="151"/>
                        </a:lnTo>
                        <a:lnTo>
                          <a:pt x="778" y="143"/>
                        </a:lnTo>
                        <a:lnTo>
                          <a:pt x="675" y="127"/>
                        </a:lnTo>
                        <a:lnTo>
                          <a:pt x="574" y="108"/>
                        </a:lnTo>
                        <a:lnTo>
                          <a:pt x="478" y="89"/>
                        </a:lnTo>
                        <a:lnTo>
                          <a:pt x="388" y="70"/>
                        </a:lnTo>
                        <a:lnTo>
                          <a:pt x="307" y="52"/>
                        </a:lnTo>
                        <a:lnTo>
                          <a:pt x="236" y="35"/>
                        </a:lnTo>
                        <a:lnTo>
                          <a:pt x="177" y="21"/>
                        </a:lnTo>
                        <a:lnTo>
                          <a:pt x="134" y="10"/>
                        </a:lnTo>
                        <a:lnTo>
                          <a:pt x="106" y="3"/>
                        </a:lnTo>
                        <a:lnTo>
                          <a:pt x="96" y="0"/>
                        </a:lnTo>
                        <a:lnTo>
                          <a:pt x="75" y="6"/>
                        </a:lnTo>
                        <a:lnTo>
                          <a:pt x="57" y="13"/>
                        </a:lnTo>
                        <a:lnTo>
                          <a:pt x="42" y="20"/>
                        </a:lnTo>
                        <a:lnTo>
                          <a:pt x="29" y="26"/>
                        </a:lnTo>
                        <a:lnTo>
                          <a:pt x="19" y="33"/>
                        </a:lnTo>
                        <a:lnTo>
                          <a:pt x="12" y="39"/>
                        </a:lnTo>
                        <a:lnTo>
                          <a:pt x="6" y="45"/>
                        </a:lnTo>
                        <a:lnTo>
                          <a:pt x="2" y="51"/>
                        </a:lnTo>
                        <a:lnTo>
                          <a:pt x="0" y="58"/>
                        </a:lnTo>
                        <a:lnTo>
                          <a:pt x="0" y="63"/>
                        </a:lnTo>
                        <a:lnTo>
                          <a:pt x="2" y="69"/>
                        </a:lnTo>
                        <a:lnTo>
                          <a:pt x="4" y="74"/>
                        </a:lnTo>
                        <a:lnTo>
                          <a:pt x="8" y="80"/>
                        </a:lnTo>
                        <a:lnTo>
                          <a:pt x="13" y="84"/>
                        </a:lnTo>
                        <a:lnTo>
                          <a:pt x="18" y="89"/>
                        </a:lnTo>
                        <a:lnTo>
                          <a:pt x="25" y="94"/>
                        </a:lnTo>
                        <a:lnTo>
                          <a:pt x="39" y="102"/>
                        </a:lnTo>
                        <a:lnTo>
                          <a:pt x="55" y="110"/>
                        </a:lnTo>
                        <a:lnTo>
                          <a:pt x="70" y="115"/>
                        </a:lnTo>
                        <a:lnTo>
                          <a:pt x="84" y="121"/>
                        </a:lnTo>
                        <a:lnTo>
                          <a:pt x="101" y="127"/>
                        </a:lnTo>
                        <a:lnTo>
                          <a:pt x="96" y="125"/>
                        </a:lnTo>
                        <a:lnTo>
                          <a:pt x="106" y="128"/>
                        </a:lnTo>
                        <a:lnTo>
                          <a:pt x="134" y="136"/>
                        </a:lnTo>
                        <a:lnTo>
                          <a:pt x="177" y="147"/>
                        </a:lnTo>
                        <a:lnTo>
                          <a:pt x="236" y="160"/>
                        </a:lnTo>
                        <a:lnTo>
                          <a:pt x="307" y="177"/>
                        </a:lnTo>
                        <a:lnTo>
                          <a:pt x="388" y="194"/>
                        </a:lnTo>
                        <a:lnTo>
                          <a:pt x="478" y="215"/>
                        </a:lnTo>
                        <a:lnTo>
                          <a:pt x="574" y="233"/>
                        </a:lnTo>
                        <a:lnTo>
                          <a:pt x="675" y="251"/>
                        </a:lnTo>
                        <a:lnTo>
                          <a:pt x="778" y="269"/>
                        </a:lnTo>
                        <a:lnTo>
                          <a:pt x="831" y="277"/>
                        </a:lnTo>
                        <a:lnTo>
                          <a:pt x="884" y="284"/>
                        </a:lnTo>
                        <a:lnTo>
                          <a:pt x="935" y="290"/>
                        </a:lnTo>
                        <a:lnTo>
                          <a:pt x="988" y="296"/>
                        </a:lnTo>
                        <a:lnTo>
                          <a:pt x="1039" y="300"/>
                        </a:lnTo>
                        <a:lnTo>
                          <a:pt x="1089" y="305"/>
                        </a:lnTo>
                        <a:lnTo>
                          <a:pt x="1137" y="307"/>
                        </a:lnTo>
                        <a:lnTo>
                          <a:pt x="1185" y="308"/>
                        </a:lnTo>
                        <a:lnTo>
                          <a:pt x="1230" y="309"/>
                        </a:lnTo>
                        <a:lnTo>
                          <a:pt x="1274" y="308"/>
                        </a:lnTo>
                        <a:lnTo>
                          <a:pt x="1316" y="305"/>
                        </a:lnTo>
                        <a:lnTo>
                          <a:pt x="1355" y="300"/>
                        </a:lnTo>
                        <a:lnTo>
                          <a:pt x="1393" y="296"/>
                        </a:lnTo>
                        <a:lnTo>
                          <a:pt x="1430" y="294"/>
                        </a:lnTo>
                        <a:lnTo>
                          <a:pt x="1463" y="294"/>
                        </a:lnTo>
                        <a:lnTo>
                          <a:pt x="1494" y="294"/>
                        </a:lnTo>
                        <a:lnTo>
                          <a:pt x="1524" y="297"/>
                        </a:lnTo>
                        <a:lnTo>
                          <a:pt x="1551" y="300"/>
                        </a:lnTo>
                        <a:lnTo>
                          <a:pt x="1577" y="305"/>
                        </a:lnTo>
                        <a:lnTo>
                          <a:pt x="1601" y="311"/>
                        </a:lnTo>
                        <a:lnTo>
                          <a:pt x="1622" y="318"/>
                        </a:lnTo>
                        <a:lnTo>
                          <a:pt x="1643" y="327"/>
                        </a:lnTo>
                        <a:lnTo>
                          <a:pt x="1661" y="336"/>
                        </a:lnTo>
                        <a:lnTo>
                          <a:pt x="1679" y="346"/>
                        </a:lnTo>
                        <a:lnTo>
                          <a:pt x="1694" y="356"/>
                        </a:lnTo>
                        <a:lnTo>
                          <a:pt x="1708" y="366"/>
                        </a:lnTo>
                        <a:lnTo>
                          <a:pt x="1721" y="378"/>
                        </a:lnTo>
                        <a:lnTo>
                          <a:pt x="1732" y="389"/>
                        </a:lnTo>
                        <a:lnTo>
                          <a:pt x="1743" y="400"/>
                        </a:lnTo>
                        <a:lnTo>
                          <a:pt x="1752" y="413"/>
                        </a:lnTo>
                        <a:lnTo>
                          <a:pt x="1760" y="424"/>
                        </a:lnTo>
                        <a:lnTo>
                          <a:pt x="1767" y="435"/>
                        </a:lnTo>
                        <a:lnTo>
                          <a:pt x="1778" y="457"/>
                        </a:lnTo>
                        <a:lnTo>
                          <a:pt x="1787" y="477"/>
                        </a:lnTo>
                        <a:lnTo>
                          <a:pt x="1795" y="507"/>
                        </a:lnTo>
                        <a:lnTo>
                          <a:pt x="1797" y="519"/>
                        </a:lnTo>
                        <a:lnTo>
                          <a:pt x="1797" y="454"/>
                        </a:lnTo>
                        <a:lnTo>
                          <a:pt x="1795" y="396"/>
                        </a:lnTo>
                        <a:lnTo>
                          <a:pt x="1794" y="370"/>
                        </a:lnTo>
                        <a:lnTo>
                          <a:pt x="1792" y="346"/>
                        </a:lnTo>
                        <a:lnTo>
                          <a:pt x="1790" y="324"/>
                        </a:lnTo>
                        <a:lnTo>
                          <a:pt x="1787" y="302"/>
                        </a:lnTo>
                        <a:lnTo>
                          <a:pt x="1784" y="282"/>
                        </a:lnTo>
                        <a:lnTo>
                          <a:pt x="1779" y="265"/>
                        </a:lnTo>
                        <a:lnTo>
                          <a:pt x="1774" y="249"/>
                        </a:lnTo>
                        <a:lnTo>
                          <a:pt x="1768" y="233"/>
                        </a:lnTo>
                        <a:lnTo>
                          <a:pt x="1760" y="220"/>
                        </a:lnTo>
                        <a:lnTo>
                          <a:pt x="1752" y="208"/>
                        </a:lnTo>
                        <a:lnTo>
                          <a:pt x="1743" y="198"/>
                        </a:lnTo>
                        <a:lnTo>
                          <a:pt x="1733" y="188"/>
                        </a:lnTo>
                        <a:lnTo>
                          <a:pt x="1721" y="180"/>
                        </a:lnTo>
                        <a:lnTo>
                          <a:pt x="1709" y="173"/>
                        </a:lnTo>
                        <a:lnTo>
                          <a:pt x="1694" y="168"/>
                        </a:lnTo>
                        <a:lnTo>
                          <a:pt x="1679" y="162"/>
                        </a:lnTo>
                        <a:lnTo>
                          <a:pt x="1662" y="159"/>
                        </a:lnTo>
                        <a:lnTo>
                          <a:pt x="1643" y="157"/>
                        </a:lnTo>
                        <a:lnTo>
                          <a:pt x="1623" y="154"/>
                        </a:lnTo>
                        <a:lnTo>
                          <a:pt x="1601" y="153"/>
                        </a:lnTo>
                        <a:lnTo>
                          <a:pt x="1577" y="154"/>
                        </a:lnTo>
                        <a:lnTo>
                          <a:pt x="1551" y="154"/>
                        </a:lnTo>
                        <a:lnTo>
                          <a:pt x="1524" y="157"/>
                        </a:lnTo>
                        <a:lnTo>
                          <a:pt x="1494" y="159"/>
                        </a:lnTo>
                        <a:lnTo>
                          <a:pt x="1430" y="166"/>
                        </a:lnTo>
                        <a:lnTo>
                          <a:pt x="1355" y="176"/>
                        </a:lnTo>
                        <a:close/>
                      </a:path>
                    </a:pathLst>
                  </a:custGeom>
                  <a:solidFill>
                    <a:srgbClr val="3D4189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510" name="Freeform 199"/>
                  <p:cNvSpPr>
                    <a:spLocks/>
                  </p:cNvSpPr>
                  <p:nvPr/>
                </p:nvSpPr>
                <p:spPr bwMode="auto">
                  <a:xfrm>
                    <a:off x="3167" y="3609"/>
                    <a:ext cx="292" cy="225"/>
                  </a:xfrm>
                  <a:custGeom>
                    <a:avLst/>
                    <a:gdLst>
                      <a:gd name="T0" fmla="*/ 0 w 2030"/>
                      <a:gd name="T1" fmla="*/ 0 h 1579"/>
                      <a:gd name="T2" fmla="*/ 0 w 2030"/>
                      <a:gd name="T3" fmla="*/ 0 h 1579"/>
                      <a:gd name="T4" fmla="*/ 0 w 2030"/>
                      <a:gd name="T5" fmla="*/ 0 h 1579"/>
                      <a:gd name="T6" fmla="*/ 0 w 2030"/>
                      <a:gd name="T7" fmla="*/ 0 h 1579"/>
                      <a:gd name="T8" fmla="*/ 0 w 2030"/>
                      <a:gd name="T9" fmla="*/ 0 h 1579"/>
                      <a:gd name="T10" fmla="*/ 0 w 2030"/>
                      <a:gd name="T11" fmla="*/ 0 h 1579"/>
                      <a:gd name="T12" fmla="*/ 0 w 2030"/>
                      <a:gd name="T13" fmla="*/ 0 h 1579"/>
                      <a:gd name="T14" fmla="*/ 0 w 2030"/>
                      <a:gd name="T15" fmla="*/ 0 h 1579"/>
                      <a:gd name="T16" fmla="*/ 0 w 2030"/>
                      <a:gd name="T17" fmla="*/ 0 h 1579"/>
                      <a:gd name="T18" fmla="*/ 0 w 2030"/>
                      <a:gd name="T19" fmla="*/ 0 h 1579"/>
                      <a:gd name="T20" fmla="*/ 0 w 2030"/>
                      <a:gd name="T21" fmla="*/ 0 h 1579"/>
                      <a:gd name="T22" fmla="*/ 0 w 2030"/>
                      <a:gd name="T23" fmla="*/ 0 h 1579"/>
                      <a:gd name="T24" fmla="*/ 0 w 2030"/>
                      <a:gd name="T25" fmla="*/ 0 h 1579"/>
                      <a:gd name="T26" fmla="*/ 0 w 2030"/>
                      <a:gd name="T27" fmla="*/ 0 h 1579"/>
                      <a:gd name="T28" fmla="*/ 0 w 2030"/>
                      <a:gd name="T29" fmla="*/ 0 h 1579"/>
                      <a:gd name="T30" fmla="*/ 0 w 2030"/>
                      <a:gd name="T31" fmla="*/ 0 h 1579"/>
                      <a:gd name="T32" fmla="*/ 0 w 2030"/>
                      <a:gd name="T33" fmla="*/ 0 h 1579"/>
                      <a:gd name="T34" fmla="*/ 0 w 2030"/>
                      <a:gd name="T35" fmla="*/ 0 h 1579"/>
                      <a:gd name="T36" fmla="*/ 0 w 2030"/>
                      <a:gd name="T37" fmla="*/ 0 h 1579"/>
                      <a:gd name="T38" fmla="*/ 0 w 2030"/>
                      <a:gd name="T39" fmla="*/ 0 h 1579"/>
                      <a:gd name="T40" fmla="*/ 0 w 2030"/>
                      <a:gd name="T41" fmla="*/ 0 h 1579"/>
                      <a:gd name="T42" fmla="*/ 0 w 2030"/>
                      <a:gd name="T43" fmla="*/ 0 h 1579"/>
                      <a:gd name="T44" fmla="*/ 0 w 2030"/>
                      <a:gd name="T45" fmla="*/ 0 h 1579"/>
                      <a:gd name="T46" fmla="*/ 0 w 2030"/>
                      <a:gd name="T47" fmla="*/ 0 h 1579"/>
                      <a:gd name="T48" fmla="*/ 0 w 2030"/>
                      <a:gd name="T49" fmla="*/ 0 h 1579"/>
                      <a:gd name="T50" fmla="*/ 0 w 2030"/>
                      <a:gd name="T51" fmla="*/ 0 h 1579"/>
                      <a:gd name="T52" fmla="*/ 0 w 2030"/>
                      <a:gd name="T53" fmla="*/ 0 h 1579"/>
                      <a:gd name="T54" fmla="*/ 0 w 2030"/>
                      <a:gd name="T55" fmla="*/ 0 h 1579"/>
                      <a:gd name="T56" fmla="*/ 0 w 2030"/>
                      <a:gd name="T57" fmla="*/ 0 h 1579"/>
                      <a:gd name="T58" fmla="*/ 0 w 2030"/>
                      <a:gd name="T59" fmla="*/ 0 h 1579"/>
                      <a:gd name="T60" fmla="*/ 0 w 2030"/>
                      <a:gd name="T61" fmla="*/ 0 h 1579"/>
                      <a:gd name="T62" fmla="*/ 0 w 2030"/>
                      <a:gd name="T63" fmla="*/ 0 h 1579"/>
                      <a:gd name="T64" fmla="*/ 0 w 2030"/>
                      <a:gd name="T65" fmla="*/ 0 h 1579"/>
                      <a:gd name="T66" fmla="*/ 0 w 2030"/>
                      <a:gd name="T67" fmla="*/ 0 h 1579"/>
                      <a:gd name="T68" fmla="*/ 0 w 2030"/>
                      <a:gd name="T69" fmla="*/ 0 h 1579"/>
                      <a:gd name="T70" fmla="*/ 0 w 2030"/>
                      <a:gd name="T71" fmla="*/ 0 h 1579"/>
                      <a:gd name="T72" fmla="*/ 0 w 2030"/>
                      <a:gd name="T73" fmla="*/ 0 h 1579"/>
                      <a:gd name="T74" fmla="*/ 0 w 2030"/>
                      <a:gd name="T75" fmla="*/ 0 h 1579"/>
                      <a:gd name="T76" fmla="*/ 0 w 2030"/>
                      <a:gd name="T77" fmla="*/ 0 h 1579"/>
                      <a:gd name="T78" fmla="*/ 0 w 2030"/>
                      <a:gd name="T79" fmla="*/ 0 h 1579"/>
                      <a:gd name="T80" fmla="*/ 0 w 2030"/>
                      <a:gd name="T81" fmla="*/ 0 h 1579"/>
                      <a:gd name="T82" fmla="*/ 0 w 2030"/>
                      <a:gd name="T83" fmla="*/ 0 h 1579"/>
                      <a:gd name="T84" fmla="*/ 0 w 2030"/>
                      <a:gd name="T85" fmla="*/ 0 h 1579"/>
                      <a:gd name="T86" fmla="*/ 0 w 2030"/>
                      <a:gd name="T87" fmla="*/ 0 h 1579"/>
                      <a:gd name="T88" fmla="*/ 0 w 2030"/>
                      <a:gd name="T89" fmla="*/ 0 h 1579"/>
                      <a:gd name="T90" fmla="*/ 0 w 2030"/>
                      <a:gd name="T91" fmla="*/ 0 h 1579"/>
                      <a:gd name="T92" fmla="*/ 0 w 2030"/>
                      <a:gd name="T93" fmla="*/ 0 h 1579"/>
                      <a:gd name="T94" fmla="*/ 0 w 2030"/>
                      <a:gd name="T95" fmla="*/ 0 h 1579"/>
                      <a:gd name="T96" fmla="*/ 0 w 2030"/>
                      <a:gd name="T97" fmla="*/ 0 h 1579"/>
                      <a:gd name="T98" fmla="*/ 0 w 2030"/>
                      <a:gd name="T99" fmla="*/ 0 h 1579"/>
                      <a:gd name="T100" fmla="*/ 0 w 2030"/>
                      <a:gd name="T101" fmla="*/ 0 h 1579"/>
                      <a:gd name="T102" fmla="*/ 0 w 2030"/>
                      <a:gd name="T103" fmla="*/ 0 h 1579"/>
                      <a:gd name="T104" fmla="*/ 0 w 2030"/>
                      <a:gd name="T105" fmla="*/ 0 h 1579"/>
                      <a:gd name="T106" fmla="*/ 0 w 2030"/>
                      <a:gd name="T107" fmla="*/ 0 h 1579"/>
                      <a:gd name="T108" fmla="*/ 0 w 2030"/>
                      <a:gd name="T109" fmla="*/ 0 h 1579"/>
                      <a:gd name="T110" fmla="*/ 0 w 2030"/>
                      <a:gd name="T111" fmla="*/ 0 h 1579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w 2030"/>
                      <a:gd name="T169" fmla="*/ 0 h 1579"/>
                      <a:gd name="T170" fmla="*/ 2030 w 2030"/>
                      <a:gd name="T171" fmla="*/ 1579 h 1579"/>
                    </a:gdLst>
                    <a:ahLst/>
                    <a:cxnLst>
                      <a:cxn ang="T112">
                        <a:pos x="T0" y="T1"/>
                      </a:cxn>
                      <a:cxn ang="T113">
                        <a:pos x="T2" y="T3"/>
                      </a:cxn>
                      <a:cxn ang="T114">
                        <a:pos x="T4" y="T5"/>
                      </a:cxn>
                      <a:cxn ang="T115">
                        <a:pos x="T6" y="T7"/>
                      </a:cxn>
                      <a:cxn ang="T116">
                        <a:pos x="T8" y="T9"/>
                      </a:cxn>
                      <a:cxn ang="T117">
                        <a:pos x="T10" y="T11"/>
                      </a:cxn>
                      <a:cxn ang="T118">
                        <a:pos x="T12" y="T13"/>
                      </a:cxn>
                      <a:cxn ang="T119">
                        <a:pos x="T14" y="T15"/>
                      </a:cxn>
                      <a:cxn ang="T120">
                        <a:pos x="T16" y="T17"/>
                      </a:cxn>
                      <a:cxn ang="T121">
                        <a:pos x="T18" y="T19"/>
                      </a:cxn>
                      <a:cxn ang="T122">
                        <a:pos x="T20" y="T21"/>
                      </a:cxn>
                      <a:cxn ang="T123">
                        <a:pos x="T22" y="T23"/>
                      </a:cxn>
                      <a:cxn ang="T124">
                        <a:pos x="T24" y="T25"/>
                      </a:cxn>
                      <a:cxn ang="T125">
                        <a:pos x="T26" y="T27"/>
                      </a:cxn>
                      <a:cxn ang="T126">
                        <a:pos x="T28" y="T29"/>
                      </a:cxn>
                      <a:cxn ang="T127">
                        <a:pos x="T30" y="T31"/>
                      </a:cxn>
                      <a:cxn ang="T128">
                        <a:pos x="T32" y="T33"/>
                      </a:cxn>
                      <a:cxn ang="T129">
                        <a:pos x="T34" y="T35"/>
                      </a:cxn>
                      <a:cxn ang="T130">
                        <a:pos x="T36" y="T37"/>
                      </a:cxn>
                      <a:cxn ang="T131">
                        <a:pos x="T38" y="T39"/>
                      </a:cxn>
                      <a:cxn ang="T132">
                        <a:pos x="T40" y="T41"/>
                      </a:cxn>
                      <a:cxn ang="T133">
                        <a:pos x="T42" y="T43"/>
                      </a:cxn>
                      <a:cxn ang="T134">
                        <a:pos x="T44" y="T45"/>
                      </a:cxn>
                      <a:cxn ang="T135">
                        <a:pos x="T46" y="T47"/>
                      </a:cxn>
                      <a:cxn ang="T136">
                        <a:pos x="T48" y="T49"/>
                      </a:cxn>
                      <a:cxn ang="T137">
                        <a:pos x="T50" y="T51"/>
                      </a:cxn>
                      <a:cxn ang="T138">
                        <a:pos x="T52" y="T53"/>
                      </a:cxn>
                      <a:cxn ang="T139">
                        <a:pos x="T54" y="T55"/>
                      </a:cxn>
                      <a:cxn ang="T140">
                        <a:pos x="T56" y="T57"/>
                      </a:cxn>
                      <a:cxn ang="T141">
                        <a:pos x="T58" y="T59"/>
                      </a:cxn>
                      <a:cxn ang="T142">
                        <a:pos x="T60" y="T61"/>
                      </a:cxn>
                      <a:cxn ang="T143">
                        <a:pos x="T62" y="T63"/>
                      </a:cxn>
                      <a:cxn ang="T144">
                        <a:pos x="T64" y="T65"/>
                      </a:cxn>
                      <a:cxn ang="T145">
                        <a:pos x="T66" y="T67"/>
                      </a:cxn>
                      <a:cxn ang="T146">
                        <a:pos x="T68" y="T69"/>
                      </a:cxn>
                      <a:cxn ang="T147">
                        <a:pos x="T70" y="T71"/>
                      </a:cxn>
                      <a:cxn ang="T148">
                        <a:pos x="T72" y="T73"/>
                      </a:cxn>
                      <a:cxn ang="T149">
                        <a:pos x="T74" y="T75"/>
                      </a:cxn>
                      <a:cxn ang="T150">
                        <a:pos x="T76" y="T77"/>
                      </a:cxn>
                      <a:cxn ang="T151">
                        <a:pos x="T78" y="T79"/>
                      </a:cxn>
                      <a:cxn ang="T152">
                        <a:pos x="T80" y="T81"/>
                      </a:cxn>
                      <a:cxn ang="T153">
                        <a:pos x="T82" y="T83"/>
                      </a:cxn>
                      <a:cxn ang="T154">
                        <a:pos x="T84" y="T85"/>
                      </a:cxn>
                      <a:cxn ang="T155">
                        <a:pos x="T86" y="T87"/>
                      </a:cxn>
                      <a:cxn ang="T156">
                        <a:pos x="T88" y="T89"/>
                      </a:cxn>
                      <a:cxn ang="T157">
                        <a:pos x="T90" y="T91"/>
                      </a:cxn>
                      <a:cxn ang="T158">
                        <a:pos x="T92" y="T93"/>
                      </a:cxn>
                      <a:cxn ang="T159">
                        <a:pos x="T94" y="T95"/>
                      </a:cxn>
                      <a:cxn ang="T160">
                        <a:pos x="T96" y="T97"/>
                      </a:cxn>
                      <a:cxn ang="T161">
                        <a:pos x="T98" y="T99"/>
                      </a:cxn>
                      <a:cxn ang="T162">
                        <a:pos x="T100" y="T101"/>
                      </a:cxn>
                      <a:cxn ang="T163">
                        <a:pos x="T102" y="T103"/>
                      </a:cxn>
                      <a:cxn ang="T164">
                        <a:pos x="T104" y="T105"/>
                      </a:cxn>
                      <a:cxn ang="T165">
                        <a:pos x="T106" y="T107"/>
                      </a:cxn>
                      <a:cxn ang="T166">
                        <a:pos x="T108" y="T109"/>
                      </a:cxn>
                      <a:cxn ang="T167">
                        <a:pos x="T110" y="T111"/>
                      </a:cxn>
                    </a:cxnLst>
                    <a:rect l="T168" t="T169" r="T170" b="T171"/>
                    <a:pathLst>
                      <a:path w="2030" h="1579">
                        <a:moveTo>
                          <a:pt x="916" y="671"/>
                        </a:moveTo>
                        <a:lnTo>
                          <a:pt x="959" y="695"/>
                        </a:lnTo>
                        <a:lnTo>
                          <a:pt x="1000" y="717"/>
                        </a:lnTo>
                        <a:lnTo>
                          <a:pt x="1040" y="737"/>
                        </a:lnTo>
                        <a:lnTo>
                          <a:pt x="1080" y="756"/>
                        </a:lnTo>
                        <a:lnTo>
                          <a:pt x="1120" y="774"/>
                        </a:lnTo>
                        <a:lnTo>
                          <a:pt x="1159" y="789"/>
                        </a:lnTo>
                        <a:lnTo>
                          <a:pt x="1197" y="804"/>
                        </a:lnTo>
                        <a:lnTo>
                          <a:pt x="1236" y="816"/>
                        </a:lnTo>
                        <a:lnTo>
                          <a:pt x="1272" y="827"/>
                        </a:lnTo>
                        <a:lnTo>
                          <a:pt x="1310" y="837"/>
                        </a:lnTo>
                        <a:lnTo>
                          <a:pt x="1347" y="846"/>
                        </a:lnTo>
                        <a:lnTo>
                          <a:pt x="1383" y="853"/>
                        </a:lnTo>
                        <a:lnTo>
                          <a:pt x="1419" y="858"/>
                        </a:lnTo>
                        <a:lnTo>
                          <a:pt x="1454" y="863"/>
                        </a:lnTo>
                        <a:lnTo>
                          <a:pt x="1490" y="865"/>
                        </a:lnTo>
                        <a:lnTo>
                          <a:pt x="1524" y="866"/>
                        </a:lnTo>
                        <a:lnTo>
                          <a:pt x="1559" y="866"/>
                        </a:lnTo>
                        <a:lnTo>
                          <a:pt x="1592" y="865"/>
                        </a:lnTo>
                        <a:lnTo>
                          <a:pt x="1625" y="862"/>
                        </a:lnTo>
                        <a:lnTo>
                          <a:pt x="1659" y="858"/>
                        </a:lnTo>
                        <a:lnTo>
                          <a:pt x="1691" y="853"/>
                        </a:lnTo>
                        <a:lnTo>
                          <a:pt x="1723" y="846"/>
                        </a:lnTo>
                        <a:lnTo>
                          <a:pt x="1756" y="838"/>
                        </a:lnTo>
                        <a:lnTo>
                          <a:pt x="1788" y="828"/>
                        </a:lnTo>
                        <a:lnTo>
                          <a:pt x="1819" y="818"/>
                        </a:lnTo>
                        <a:lnTo>
                          <a:pt x="1850" y="806"/>
                        </a:lnTo>
                        <a:lnTo>
                          <a:pt x="1880" y="794"/>
                        </a:lnTo>
                        <a:lnTo>
                          <a:pt x="1911" y="779"/>
                        </a:lnTo>
                        <a:lnTo>
                          <a:pt x="1941" y="764"/>
                        </a:lnTo>
                        <a:lnTo>
                          <a:pt x="1971" y="747"/>
                        </a:lnTo>
                        <a:lnTo>
                          <a:pt x="2000" y="729"/>
                        </a:lnTo>
                        <a:lnTo>
                          <a:pt x="2030" y="710"/>
                        </a:lnTo>
                        <a:lnTo>
                          <a:pt x="2029" y="756"/>
                        </a:lnTo>
                        <a:lnTo>
                          <a:pt x="2029" y="801"/>
                        </a:lnTo>
                        <a:lnTo>
                          <a:pt x="2027" y="847"/>
                        </a:lnTo>
                        <a:lnTo>
                          <a:pt x="2025" y="892"/>
                        </a:lnTo>
                        <a:lnTo>
                          <a:pt x="2020" y="935"/>
                        </a:lnTo>
                        <a:lnTo>
                          <a:pt x="2016" y="977"/>
                        </a:lnTo>
                        <a:lnTo>
                          <a:pt x="2010" y="1020"/>
                        </a:lnTo>
                        <a:lnTo>
                          <a:pt x="2003" y="1060"/>
                        </a:lnTo>
                        <a:lnTo>
                          <a:pt x="1995" y="1100"/>
                        </a:lnTo>
                        <a:lnTo>
                          <a:pt x="1985" y="1138"/>
                        </a:lnTo>
                        <a:lnTo>
                          <a:pt x="1974" y="1174"/>
                        </a:lnTo>
                        <a:lnTo>
                          <a:pt x="1961" y="1210"/>
                        </a:lnTo>
                        <a:lnTo>
                          <a:pt x="1948" y="1243"/>
                        </a:lnTo>
                        <a:lnTo>
                          <a:pt x="1932" y="1274"/>
                        </a:lnTo>
                        <a:lnTo>
                          <a:pt x="1924" y="1290"/>
                        </a:lnTo>
                        <a:lnTo>
                          <a:pt x="1915" y="1304"/>
                        </a:lnTo>
                        <a:lnTo>
                          <a:pt x="1906" y="1319"/>
                        </a:lnTo>
                        <a:lnTo>
                          <a:pt x="1896" y="1333"/>
                        </a:lnTo>
                        <a:lnTo>
                          <a:pt x="1846" y="1396"/>
                        </a:lnTo>
                        <a:lnTo>
                          <a:pt x="1793" y="1449"/>
                        </a:lnTo>
                        <a:lnTo>
                          <a:pt x="1740" y="1491"/>
                        </a:lnTo>
                        <a:lnTo>
                          <a:pt x="1685" y="1526"/>
                        </a:lnTo>
                        <a:lnTo>
                          <a:pt x="1629" y="1551"/>
                        </a:lnTo>
                        <a:lnTo>
                          <a:pt x="1572" y="1568"/>
                        </a:lnTo>
                        <a:lnTo>
                          <a:pt x="1514" y="1577"/>
                        </a:lnTo>
                        <a:lnTo>
                          <a:pt x="1456" y="1579"/>
                        </a:lnTo>
                        <a:lnTo>
                          <a:pt x="1397" y="1575"/>
                        </a:lnTo>
                        <a:lnTo>
                          <a:pt x="1338" y="1564"/>
                        </a:lnTo>
                        <a:lnTo>
                          <a:pt x="1278" y="1546"/>
                        </a:lnTo>
                        <a:lnTo>
                          <a:pt x="1219" y="1524"/>
                        </a:lnTo>
                        <a:lnTo>
                          <a:pt x="1160" y="1496"/>
                        </a:lnTo>
                        <a:lnTo>
                          <a:pt x="1101" y="1464"/>
                        </a:lnTo>
                        <a:lnTo>
                          <a:pt x="1042" y="1428"/>
                        </a:lnTo>
                        <a:lnTo>
                          <a:pt x="984" y="1389"/>
                        </a:lnTo>
                        <a:lnTo>
                          <a:pt x="927" y="1346"/>
                        </a:lnTo>
                        <a:lnTo>
                          <a:pt x="871" y="1301"/>
                        </a:lnTo>
                        <a:lnTo>
                          <a:pt x="816" y="1253"/>
                        </a:lnTo>
                        <a:lnTo>
                          <a:pt x="762" y="1204"/>
                        </a:lnTo>
                        <a:lnTo>
                          <a:pt x="709" y="1154"/>
                        </a:lnTo>
                        <a:lnTo>
                          <a:pt x="659" y="1103"/>
                        </a:lnTo>
                        <a:lnTo>
                          <a:pt x="610" y="1052"/>
                        </a:lnTo>
                        <a:lnTo>
                          <a:pt x="562" y="1001"/>
                        </a:lnTo>
                        <a:lnTo>
                          <a:pt x="517" y="951"/>
                        </a:lnTo>
                        <a:lnTo>
                          <a:pt x="474" y="902"/>
                        </a:lnTo>
                        <a:lnTo>
                          <a:pt x="433" y="854"/>
                        </a:lnTo>
                        <a:lnTo>
                          <a:pt x="395" y="809"/>
                        </a:lnTo>
                        <a:lnTo>
                          <a:pt x="328" y="726"/>
                        </a:lnTo>
                        <a:lnTo>
                          <a:pt x="271" y="657"/>
                        </a:lnTo>
                        <a:lnTo>
                          <a:pt x="253" y="633"/>
                        </a:lnTo>
                        <a:lnTo>
                          <a:pt x="234" y="606"/>
                        </a:lnTo>
                        <a:lnTo>
                          <a:pt x="214" y="576"/>
                        </a:lnTo>
                        <a:lnTo>
                          <a:pt x="195" y="542"/>
                        </a:lnTo>
                        <a:lnTo>
                          <a:pt x="176" y="507"/>
                        </a:lnTo>
                        <a:lnTo>
                          <a:pt x="156" y="469"/>
                        </a:lnTo>
                        <a:lnTo>
                          <a:pt x="137" y="429"/>
                        </a:lnTo>
                        <a:lnTo>
                          <a:pt x="118" y="385"/>
                        </a:lnTo>
                        <a:lnTo>
                          <a:pt x="100" y="342"/>
                        </a:lnTo>
                        <a:lnTo>
                          <a:pt x="84" y="296"/>
                        </a:lnTo>
                        <a:lnTo>
                          <a:pt x="67" y="248"/>
                        </a:lnTo>
                        <a:lnTo>
                          <a:pt x="52" y="200"/>
                        </a:lnTo>
                        <a:lnTo>
                          <a:pt x="36" y="152"/>
                        </a:lnTo>
                        <a:lnTo>
                          <a:pt x="23" y="101"/>
                        </a:lnTo>
                        <a:lnTo>
                          <a:pt x="10" y="50"/>
                        </a:lnTo>
                        <a:lnTo>
                          <a:pt x="0" y="0"/>
                        </a:lnTo>
                        <a:lnTo>
                          <a:pt x="53" y="47"/>
                        </a:lnTo>
                        <a:lnTo>
                          <a:pt x="105" y="93"/>
                        </a:lnTo>
                        <a:lnTo>
                          <a:pt x="158" y="138"/>
                        </a:lnTo>
                        <a:lnTo>
                          <a:pt x="212" y="183"/>
                        </a:lnTo>
                        <a:lnTo>
                          <a:pt x="266" y="227"/>
                        </a:lnTo>
                        <a:lnTo>
                          <a:pt x="322" y="271"/>
                        </a:lnTo>
                        <a:lnTo>
                          <a:pt x="378" y="313"/>
                        </a:lnTo>
                        <a:lnTo>
                          <a:pt x="434" y="355"/>
                        </a:lnTo>
                        <a:lnTo>
                          <a:pt x="492" y="396"/>
                        </a:lnTo>
                        <a:lnTo>
                          <a:pt x="550" y="438"/>
                        </a:lnTo>
                        <a:lnTo>
                          <a:pt x="609" y="479"/>
                        </a:lnTo>
                        <a:lnTo>
                          <a:pt x="669" y="518"/>
                        </a:lnTo>
                        <a:lnTo>
                          <a:pt x="729" y="557"/>
                        </a:lnTo>
                        <a:lnTo>
                          <a:pt x="792" y="596"/>
                        </a:lnTo>
                        <a:lnTo>
                          <a:pt x="854" y="633"/>
                        </a:lnTo>
                        <a:lnTo>
                          <a:pt x="916" y="671"/>
                        </a:lnTo>
                        <a:close/>
                      </a:path>
                    </a:pathLst>
                  </a:custGeom>
                  <a:solidFill>
                    <a:srgbClr val="312276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511" name="Freeform 200"/>
                  <p:cNvSpPr>
                    <a:spLocks/>
                  </p:cNvSpPr>
                  <p:nvPr/>
                </p:nvSpPr>
                <p:spPr bwMode="auto">
                  <a:xfrm>
                    <a:off x="3173" y="3841"/>
                    <a:ext cx="562" cy="216"/>
                  </a:xfrm>
                  <a:custGeom>
                    <a:avLst/>
                    <a:gdLst>
                      <a:gd name="T0" fmla="*/ 0 w 3934"/>
                      <a:gd name="T1" fmla="*/ 0 h 1507"/>
                      <a:gd name="T2" fmla="*/ 0 w 3934"/>
                      <a:gd name="T3" fmla="*/ 0 h 1507"/>
                      <a:gd name="T4" fmla="*/ 0 w 3934"/>
                      <a:gd name="T5" fmla="*/ 0 h 1507"/>
                      <a:gd name="T6" fmla="*/ 0 w 3934"/>
                      <a:gd name="T7" fmla="*/ 0 h 1507"/>
                      <a:gd name="T8" fmla="*/ 0 w 3934"/>
                      <a:gd name="T9" fmla="*/ 0 h 1507"/>
                      <a:gd name="T10" fmla="*/ 0 w 3934"/>
                      <a:gd name="T11" fmla="*/ 0 h 1507"/>
                      <a:gd name="T12" fmla="*/ 0 w 3934"/>
                      <a:gd name="T13" fmla="*/ 0 h 1507"/>
                      <a:gd name="T14" fmla="*/ 0 w 3934"/>
                      <a:gd name="T15" fmla="*/ 0 h 1507"/>
                      <a:gd name="T16" fmla="*/ 0 w 3934"/>
                      <a:gd name="T17" fmla="*/ 0 h 1507"/>
                      <a:gd name="T18" fmla="*/ 0 w 3934"/>
                      <a:gd name="T19" fmla="*/ 0 h 1507"/>
                      <a:gd name="T20" fmla="*/ 0 w 3934"/>
                      <a:gd name="T21" fmla="*/ 0 h 1507"/>
                      <a:gd name="T22" fmla="*/ 0 w 3934"/>
                      <a:gd name="T23" fmla="*/ 0 h 1507"/>
                      <a:gd name="T24" fmla="*/ 0 w 3934"/>
                      <a:gd name="T25" fmla="*/ 0 h 1507"/>
                      <a:gd name="T26" fmla="*/ 0 w 3934"/>
                      <a:gd name="T27" fmla="*/ 0 h 1507"/>
                      <a:gd name="T28" fmla="*/ 0 w 3934"/>
                      <a:gd name="T29" fmla="*/ 0 h 1507"/>
                      <a:gd name="T30" fmla="*/ 0 w 3934"/>
                      <a:gd name="T31" fmla="*/ 0 h 1507"/>
                      <a:gd name="T32" fmla="*/ 0 w 3934"/>
                      <a:gd name="T33" fmla="*/ 0 h 1507"/>
                      <a:gd name="T34" fmla="*/ 0 w 3934"/>
                      <a:gd name="T35" fmla="*/ 0 h 1507"/>
                      <a:gd name="T36" fmla="*/ 0 w 3934"/>
                      <a:gd name="T37" fmla="*/ 0 h 1507"/>
                      <a:gd name="T38" fmla="*/ 0 w 3934"/>
                      <a:gd name="T39" fmla="*/ 0 h 1507"/>
                      <a:gd name="T40" fmla="*/ 0 w 3934"/>
                      <a:gd name="T41" fmla="*/ 0 h 1507"/>
                      <a:gd name="T42" fmla="*/ 0 w 3934"/>
                      <a:gd name="T43" fmla="*/ 0 h 1507"/>
                      <a:gd name="T44" fmla="*/ 0 w 3934"/>
                      <a:gd name="T45" fmla="*/ 0 h 1507"/>
                      <a:gd name="T46" fmla="*/ 0 w 3934"/>
                      <a:gd name="T47" fmla="*/ 0 h 1507"/>
                      <a:gd name="T48" fmla="*/ 0 w 3934"/>
                      <a:gd name="T49" fmla="*/ 0 h 1507"/>
                      <a:gd name="T50" fmla="*/ 0 w 3934"/>
                      <a:gd name="T51" fmla="*/ 0 h 1507"/>
                      <a:gd name="T52" fmla="*/ 0 w 3934"/>
                      <a:gd name="T53" fmla="*/ 0 h 1507"/>
                      <a:gd name="T54" fmla="*/ 0 w 3934"/>
                      <a:gd name="T55" fmla="*/ 0 h 1507"/>
                      <a:gd name="T56" fmla="*/ 0 w 3934"/>
                      <a:gd name="T57" fmla="*/ 0 h 1507"/>
                      <a:gd name="T58" fmla="*/ 0 w 3934"/>
                      <a:gd name="T59" fmla="*/ 0 h 1507"/>
                      <a:gd name="T60" fmla="*/ 0 w 3934"/>
                      <a:gd name="T61" fmla="*/ 0 h 1507"/>
                      <a:gd name="T62" fmla="*/ 0 w 3934"/>
                      <a:gd name="T63" fmla="*/ 0 h 1507"/>
                      <a:gd name="T64" fmla="*/ 0 w 3934"/>
                      <a:gd name="T65" fmla="*/ 0 h 1507"/>
                      <a:gd name="T66" fmla="*/ 0 w 3934"/>
                      <a:gd name="T67" fmla="*/ 0 h 1507"/>
                      <a:gd name="T68" fmla="*/ 0 w 3934"/>
                      <a:gd name="T69" fmla="*/ 0 h 1507"/>
                      <a:gd name="T70" fmla="*/ 0 w 3934"/>
                      <a:gd name="T71" fmla="*/ 0 h 1507"/>
                      <a:gd name="T72" fmla="*/ 0 w 3934"/>
                      <a:gd name="T73" fmla="*/ 0 h 1507"/>
                      <a:gd name="T74" fmla="*/ 0 w 3934"/>
                      <a:gd name="T75" fmla="*/ 0 h 1507"/>
                      <a:gd name="T76" fmla="*/ 0 w 3934"/>
                      <a:gd name="T77" fmla="*/ 0 h 1507"/>
                      <a:gd name="T78" fmla="*/ 0 w 3934"/>
                      <a:gd name="T79" fmla="*/ 0 h 1507"/>
                      <a:gd name="T80" fmla="*/ 0 w 3934"/>
                      <a:gd name="T81" fmla="*/ 0 h 1507"/>
                      <a:gd name="T82" fmla="*/ 0 w 3934"/>
                      <a:gd name="T83" fmla="*/ 0 h 1507"/>
                      <a:gd name="T84" fmla="*/ 0 w 3934"/>
                      <a:gd name="T85" fmla="*/ 0 h 1507"/>
                      <a:gd name="T86" fmla="*/ 0 w 3934"/>
                      <a:gd name="T87" fmla="*/ 0 h 1507"/>
                      <a:gd name="T88" fmla="*/ 0 w 3934"/>
                      <a:gd name="T89" fmla="*/ 0 h 1507"/>
                      <a:gd name="T90" fmla="*/ 0 w 3934"/>
                      <a:gd name="T91" fmla="*/ 0 h 1507"/>
                      <a:gd name="T92" fmla="*/ 0 w 3934"/>
                      <a:gd name="T93" fmla="*/ 0 h 1507"/>
                      <a:gd name="T94" fmla="*/ 0 w 3934"/>
                      <a:gd name="T95" fmla="*/ 0 h 1507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w 3934"/>
                      <a:gd name="T145" fmla="*/ 0 h 1507"/>
                      <a:gd name="T146" fmla="*/ 3934 w 3934"/>
                      <a:gd name="T147" fmla="*/ 1507 h 1507"/>
                    </a:gdLst>
                    <a:ahLst/>
                    <a:cxnLst>
                      <a:cxn ang="T96">
                        <a:pos x="T0" y="T1"/>
                      </a:cxn>
                      <a:cxn ang="T97">
                        <a:pos x="T2" y="T3"/>
                      </a:cxn>
                      <a:cxn ang="T98">
                        <a:pos x="T4" y="T5"/>
                      </a:cxn>
                      <a:cxn ang="T99">
                        <a:pos x="T6" y="T7"/>
                      </a:cxn>
                      <a:cxn ang="T100">
                        <a:pos x="T8" y="T9"/>
                      </a:cxn>
                      <a:cxn ang="T101">
                        <a:pos x="T10" y="T11"/>
                      </a:cxn>
                      <a:cxn ang="T102">
                        <a:pos x="T12" y="T13"/>
                      </a:cxn>
                      <a:cxn ang="T103">
                        <a:pos x="T14" y="T15"/>
                      </a:cxn>
                      <a:cxn ang="T104">
                        <a:pos x="T16" y="T17"/>
                      </a:cxn>
                      <a:cxn ang="T105">
                        <a:pos x="T18" y="T19"/>
                      </a:cxn>
                      <a:cxn ang="T106">
                        <a:pos x="T20" y="T21"/>
                      </a:cxn>
                      <a:cxn ang="T107">
                        <a:pos x="T22" y="T23"/>
                      </a:cxn>
                      <a:cxn ang="T108">
                        <a:pos x="T24" y="T25"/>
                      </a:cxn>
                      <a:cxn ang="T109">
                        <a:pos x="T26" y="T27"/>
                      </a:cxn>
                      <a:cxn ang="T110">
                        <a:pos x="T28" y="T29"/>
                      </a:cxn>
                      <a:cxn ang="T111">
                        <a:pos x="T30" y="T31"/>
                      </a:cxn>
                      <a:cxn ang="T112">
                        <a:pos x="T32" y="T33"/>
                      </a:cxn>
                      <a:cxn ang="T113">
                        <a:pos x="T34" y="T35"/>
                      </a:cxn>
                      <a:cxn ang="T114">
                        <a:pos x="T36" y="T37"/>
                      </a:cxn>
                      <a:cxn ang="T115">
                        <a:pos x="T38" y="T39"/>
                      </a:cxn>
                      <a:cxn ang="T116">
                        <a:pos x="T40" y="T41"/>
                      </a:cxn>
                      <a:cxn ang="T117">
                        <a:pos x="T42" y="T43"/>
                      </a:cxn>
                      <a:cxn ang="T118">
                        <a:pos x="T44" y="T45"/>
                      </a:cxn>
                      <a:cxn ang="T119">
                        <a:pos x="T46" y="T47"/>
                      </a:cxn>
                      <a:cxn ang="T120">
                        <a:pos x="T48" y="T49"/>
                      </a:cxn>
                      <a:cxn ang="T121">
                        <a:pos x="T50" y="T51"/>
                      </a:cxn>
                      <a:cxn ang="T122">
                        <a:pos x="T52" y="T53"/>
                      </a:cxn>
                      <a:cxn ang="T123">
                        <a:pos x="T54" y="T55"/>
                      </a:cxn>
                      <a:cxn ang="T124">
                        <a:pos x="T56" y="T57"/>
                      </a:cxn>
                      <a:cxn ang="T125">
                        <a:pos x="T58" y="T59"/>
                      </a:cxn>
                      <a:cxn ang="T126">
                        <a:pos x="T60" y="T61"/>
                      </a:cxn>
                      <a:cxn ang="T127">
                        <a:pos x="T62" y="T63"/>
                      </a:cxn>
                      <a:cxn ang="T128">
                        <a:pos x="T64" y="T65"/>
                      </a:cxn>
                      <a:cxn ang="T129">
                        <a:pos x="T66" y="T67"/>
                      </a:cxn>
                      <a:cxn ang="T130">
                        <a:pos x="T68" y="T69"/>
                      </a:cxn>
                      <a:cxn ang="T131">
                        <a:pos x="T70" y="T71"/>
                      </a:cxn>
                      <a:cxn ang="T132">
                        <a:pos x="T72" y="T73"/>
                      </a:cxn>
                      <a:cxn ang="T133">
                        <a:pos x="T74" y="T75"/>
                      </a:cxn>
                      <a:cxn ang="T134">
                        <a:pos x="T76" y="T77"/>
                      </a:cxn>
                      <a:cxn ang="T135">
                        <a:pos x="T78" y="T79"/>
                      </a:cxn>
                      <a:cxn ang="T136">
                        <a:pos x="T80" y="T81"/>
                      </a:cxn>
                      <a:cxn ang="T137">
                        <a:pos x="T82" y="T83"/>
                      </a:cxn>
                      <a:cxn ang="T138">
                        <a:pos x="T84" y="T85"/>
                      </a:cxn>
                      <a:cxn ang="T139">
                        <a:pos x="T86" y="T87"/>
                      </a:cxn>
                      <a:cxn ang="T140">
                        <a:pos x="T88" y="T89"/>
                      </a:cxn>
                      <a:cxn ang="T141">
                        <a:pos x="T90" y="T91"/>
                      </a:cxn>
                      <a:cxn ang="T142">
                        <a:pos x="T92" y="T93"/>
                      </a:cxn>
                      <a:cxn ang="T143">
                        <a:pos x="T94" y="T95"/>
                      </a:cxn>
                    </a:cxnLst>
                    <a:rect l="T144" t="T145" r="T146" b="T147"/>
                    <a:pathLst>
                      <a:path w="3934" h="1507">
                        <a:moveTo>
                          <a:pt x="3766" y="0"/>
                        </a:moveTo>
                        <a:lnTo>
                          <a:pt x="3783" y="139"/>
                        </a:lnTo>
                        <a:lnTo>
                          <a:pt x="3781" y="269"/>
                        </a:lnTo>
                        <a:lnTo>
                          <a:pt x="3761" y="390"/>
                        </a:lnTo>
                        <a:lnTo>
                          <a:pt x="3725" y="500"/>
                        </a:lnTo>
                        <a:lnTo>
                          <a:pt x="3674" y="601"/>
                        </a:lnTo>
                        <a:lnTo>
                          <a:pt x="3608" y="693"/>
                        </a:lnTo>
                        <a:lnTo>
                          <a:pt x="3529" y="778"/>
                        </a:lnTo>
                        <a:lnTo>
                          <a:pt x="3438" y="852"/>
                        </a:lnTo>
                        <a:lnTo>
                          <a:pt x="3335" y="920"/>
                        </a:lnTo>
                        <a:lnTo>
                          <a:pt x="3221" y="979"/>
                        </a:lnTo>
                        <a:lnTo>
                          <a:pt x="3098" y="1032"/>
                        </a:lnTo>
                        <a:lnTo>
                          <a:pt x="2966" y="1076"/>
                        </a:lnTo>
                        <a:lnTo>
                          <a:pt x="2827" y="1113"/>
                        </a:lnTo>
                        <a:lnTo>
                          <a:pt x="2680" y="1144"/>
                        </a:lnTo>
                        <a:lnTo>
                          <a:pt x="2529" y="1168"/>
                        </a:lnTo>
                        <a:lnTo>
                          <a:pt x="2372" y="1186"/>
                        </a:lnTo>
                        <a:lnTo>
                          <a:pt x="2210" y="1199"/>
                        </a:lnTo>
                        <a:lnTo>
                          <a:pt x="2048" y="1205"/>
                        </a:lnTo>
                        <a:lnTo>
                          <a:pt x="1882" y="1206"/>
                        </a:lnTo>
                        <a:lnTo>
                          <a:pt x="1716" y="1203"/>
                        </a:lnTo>
                        <a:lnTo>
                          <a:pt x="1549" y="1194"/>
                        </a:lnTo>
                        <a:lnTo>
                          <a:pt x="1385" y="1181"/>
                        </a:lnTo>
                        <a:lnTo>
                          <a:pt x="1221" y="1163"/>
                        </a:lnTo>
                        <a:lnTo>
                          <a:pt x="1061" y="1142"/>
                        </a:lnTo>
                        <a:lnTo>
                          <a:pt x="905" y="1116"/>
                        </a:lnTo>
                        <a:lnTo>
                          <a:pt x="754" y="1087"/>
                        </a:lnTo>
                        <a:lnTo>
                          <a:pt x="608" y="1055"/>
                        </a:lnTo>
                        <a:lnTo>
                          <a:pt x="469" y="1020"/>
                        </a:lnTo>
                        <a:lnTo>
                          <a:pt x="337" y="983"/>
                        </a:lnTo>
                        <a:lnTo>
                          <a:pt x="215" y="943"/>
                        </a:lnTo>
                        <a:lnTo>
                          <a:pt x="102" y="901"/>
                        </a:lnTo>
                        <a:lnTo>
                          <a:pt x="0" y="857"/>
                        </a:lnTo>
                        <a:lnTo>
                          <a:pt x="12" y="878"/>
                        </a:lnTo>
                        <a:lnTo>
                          <a:pt x="26" y="898"/>
                        </a:lnTo>
                        <a:lnTo>
                          <a:pt x="39" y="918"/>
                        </a:lnTo>
                        <a:lnTo>
                          <a:pt x="52" y="937"/>
                        </a:lnTo>
                        <a:lnTo>
                          <a:pt x="67" y="955"/>
                        </a:lnTo>
                        <a:lnTo>
                          <a:pt x="80" y="973"/>
                        </a:lnTo>
                        <a:lnTo>
                          <a:pt x="95" y="989"/>
                        </a:lnTo>
                        <a:lnTo>
                          <a:pt x="109" y="1006"/>
                        </a:lnTo>
                        <a:lnTo>
                          <a:pt x="139" y="1036"/>
                        </a:lnTo>
                        <a:lnTo>
                          <a:pt x="169" y="1064"/>
                        </a:lnTo>
                        <a:lnTo>
                          <a:pt x="199" y="1089"/>
                        </a:lnTo>
                        <a:lnTo>
                          <a:pt x="229" y="1113"/>
                        </a:lnTo>
                        <a:lnTo>
                          <a:pt x="260" y="1134"/>
                        </a:lnTo>
                        <a:lnTo>
                          <a:pt x="291" y="1153"/>
                        </a:lnTo>
                        <a:lnTo>
                          <a:pt x="321" y="1170"/>
                        </a:lnTo>
                        <a:lnTo>
                          <a:pt x="351" y="1184"/>
                        </a:lnTo>
                        <a:lnTo>
                          <a:pt x="380" y="1197"/>
                        </a:lnTo>
                        <a:lnTo>
                          <a:pt x="407" y="1209"/>
                        </a:lnTo>
                        <a:lnTo>
                          <a:pt x="434" y="1219"/>
                        </a:lnTo>
                        <a:lnTo>
                          <a:pt x="461" y="1226"/>
                        </a:lnTo>
                        <a:lnTo>
                          <a:pt x="494" y="1236"/>
                        </a:lnTo>
                        <a:lnTo>
                          <a:pt x="529" y="1247"/>
                        </a:lnTo>
                        <a:lnTo>
                          <a:pt x="565" y="1261"/>
                        </a:lnTo>
                        <a:lnTo>
                          <a:pt x="604" y="1274"/>
                        </a:lnTo>
                        <a:lnTo>
                          <a:pt x="685" y="1305"/>
                        </a:lnTo>
                        <a:lnTo>
                          <a:pt x="769" y="1337"/>
                        </a:lnTo>
                        <a:lnTo>
                          <a:pt x="813" y="1352"/>
                        </a:lnTo>
                        <a:lnTo>
                          <a:pt x="857" y="1368"/>
                        </a:lnTo>
                        <a:lnTo>
                          <a:pt x="902" y="1382"/>
                        </a:lnTo>
                        <a:lnTo>
                          <a:pt x="947" y="1396"/>
                        </a:lnTo>
                        <a:lnTo>
                          <a:pt x="992" y="1408"/>
                        </a:lnTo>
                        <a:lnTo>
                          <a:pt x="1038" y="1418"/>
                        </a:lnTo>
                        <a:lnTo>
                          <a:pt x="1084" y="1427"/>
                        </a:lnTo>
                        <a:lnTo>
                          <a:pt x="1130" y="1432"/>
                        </a:lnTo>
                        <a:lnTo>
                          <a:pt x="1209" y="1442"/>
                        </a:lnTo>
                        <a:lnTo>
                          <a:pt x="1293" y="1452"/>
                        </a:lnTo>
                        <a:lnTo>
                          <a:pt x="1383" y="1463"/>
                        </a:lnTo>
                        <a:lnTo>
                          <a:pt x="1475" y="1475"/>
                        </a:lnTo>
                        <a:lnTo>
                          <a:pt x="1568" y="1486"/>
                        </a:lnTo>
                        <a:lnTo>
                          <a:pt x="1660" y="1495"/>
                        </a:lnTo>
                        <a:lnTo>
                          <a:pt x="1705" y="1499"/>
                        </a:lnTo>
                        <a:lnTo>
                          <a:pt x="1750" y="1502"/>
                        </a:lnTo>
                        <a:lnTo>
                          <a:pt x="1792" y="1505"/>
                        </a:lnTo>
                        <a:lnTo>
                          <a:pt x="1834" y="1507"/>
                        </a:lnTo>
                        <a:lnTo>
                          <a:pt x="1878" y="1507"/>
                        </a:lnTo>
                        <a:lnTo>
                          <a:pt x="1921" y="1506"/>
                        </a:lnTo>
                        <a:lnTo>
                          <a:pt x="1964" y="1503"/>
                        </a:lnTo>
                        <a:lnTo>
                          <a:pt x="2008" y="1500"/>
                        </a:lnTo>
                        <a:lnTo>
                          <a:pt x="2051" y="1495"/>
                        </a:lnTo>
                        <a:lnTo>
                          <a:pt x="2095" y="1489"/>
                        </a:lnTo>
                        <a:lnTo>
                          <a:pt x="2138" y="1482"/>
                        </a:lnTo>
                        <a:lnTo>
                          <a:pt x="2182" y="1476"/>
                        </a:lnTo>
                        <a:lnTo>
                          <a:pt x="2268" y="1461"/>
                        </a:lnTo>
                        <a:lnTo>
                          <a:pt x="2353" y="1449"/>
                        </a:lnTo>
                        <a:lnTo>
                          <a:pt x="2396" y="1443"/>
                        </a:lnTo>
                        <a:lnTo>
                          <a:pt x="2438" y="1438"/>
                        </a:lnTo>
                        <a:lnTo>
                          <a:pt x="2480" y="1434"/>
                        </a:lnTo>
                        <a:lnTo>
                          <a:pt x="2521" y="1432"/>
                        </a:lnTo>
                        <a:lnTo>
                          <a:pt x="2559" y="1430"/>
                        </a:lnTo>
                        <a:lnTo>
                          <a:pt x="2599" y="1427"/>
                        </a:lnTo>
                        <a:lnTo>
                          <a:pt x="2642" y="1421"/>
                        </a:lnTo>
                        <a:lnTo>
                          <a:pt x="2688" y="1414"/>
                        </a:lnTo>
                        <a:lnTo>
                          <a:pt x="2736" y="1406"/>
                        </a:lnTo>
                        <a:lnTo>
                          <a:pt x="2785" y="1397"/>
                        </a:lnTo>
                        <a:lnTo>
                          <a:pt x="2835" y="1387"/>
                        </a:lnTo>
                        <a:lnTo>
                          <a:pt x="2885" y="1375"/>
                        </a:lnTo>
                        <a:lnTo>
                          <a:pt x="2984" y="1354"/>
                        </a:lnTo>
                        <a:lnTo>
                          <a:pt x="3076" y="1332"/>
                        </a:lnTo>
                        <a:lnTo>
                          <a:pt x="3159" y="1311"/>
                        </a:lnTo>
                        <a:lnTo>
                          <a:pt x="3226" y="1294"/>
                        </a:lnTo>
                        <a:lnTo>
                          <a:pt x="3270" y="1282"/>
                        </a:lnTo>
                        <a:lnTo>
                          <a:pt x="3318" y="1268"/>
                        </a:lnTo>
                        <a:lnTo>
                          <a:pt x="3369" y="1251"/>
                        </a:lnTo>
                        <a:lnTo>
                          <a:pt x="3420" y="1232"/>
                        </a:lnTo>
                        <a:lnTo>
                          <a:pt x="3474" y="1211"/>
                        </a:lnTo>
                        <a:lnTo>
                          <a:pt x="3527" y="1189"/>
                        </a:lnTo>
                        <a:lnTo>
                          <a:pt x="3581" y="1163"/>
                        </a:lnTo>
                        <a:lnTo>
                          <a:pt x="3633" y="1136"/>
                        </a:lnTo>
                        <a:lnTo>
                          <a:pt x="3658" y="1122"/>
                        </a:lnTo>
                        <a:lnTo>
                          <a:pt x="3683" y="1107"/>
                        </a:lnTo>
                        <a:lnTo>
                          <a:pt x="3707" y="1093"/>
                        </a:lnTo>
                        <a:lnTo>
                          <a:pt x="3731" y="1077"/>
                        </a:lnTo>
                        <a:lnTo>
                          <a:pt x="3754" y="1062"/>
                        </a:lnTo>
                        <a:lnTo>
                          <a:pt x="3776" y="1045"/>
                        </a:lnTo>
                        <a:lnTo>
                          <a:pt x="3798" y="1028"/>
                        </a:lnTo>
                        <a:lnTo>
                          <a:pt x="3818" y="1010"/>
                        </a:lnTo>
                        <a:lnTo>
                          <a:pt x="3837" y="994"/>
                        </a:lnTo>
                        <a:lnTo>
                          <a:pt x="3854" y="976"/>
                        </a:lnTo>
                        <a:lnTo>
                          <a:pt x="3870" y="957"/>
                        </a:lnTo>
                        <a:lnTo>
                          <a:pt x="3886" y="938"/>
                        </a:lnTo>
                        <a:lnTo>
                          <a:pt x="3899" y="919"/>
                        </a:lnTo>
                        <a:lnTo>
                          <a:pt x="3911" y="900"/>
                        </a:lnTo>
                        <a:lnTo>
                          <a:pt x="3921" y="880"/>
                        </a:lnTo>
                        <a:lnTo>
                          <a:pt x="3930" y="860"/>
                        </a:lnTo>
                        <a:lnTo>
                          <a:pt x="3931" y="852"/>
                        </a:lnTo>
                        <a:lnTo>
                          <a:pt x="3933" y="845"/>
                        </a:lnTo>
                        <a:lnTo>
                          <a:pt x="3934" y="835"/>
                        </a:lnTo>
                        <a:lnTo>
                          <a:pt x="3934" y="822"/>
                        </a:lnTo>
                        <a:lnTo>
                          <a:pt x="3934" y="795"/>
                        </a:lnTo>
                        <a:lnTo>
                          <a:pt x="3931" y="761"/>
                        </a:lnTo>
                        <a:lnTo>
                          <a:pt x="3927" y="722"/>
                        </a:lnTo>
                        <a:lnTo>
                          <a:pt x="3921" y="679"/>
                        </a:lnTo>
                        <a:lnTo>
                          <a:pt x="3912" y="629"/>
                        </a:lnTo>
                        <a:lnTo>
                          <a:pt x="3903" y="575"/>
                        </a:lnTo>
                        <a:lnTo>
                          <a:pt x="3891" y="516"/>
                        </a:lnTo>
                        <a:lnTo>
                          <a:pt x="3878" y="454"/>
                        </a:lnTo>
                        <a:lnTo>
                          <a:pt x="3863" y="387"/>
                        </a:lnTo>
                        <a:lnTo>
                          <a:pt x="3847" y="316"/>
                        </a:lnTo>
                        <a:lnTo>
                          <a:pt x="3829" y="241"/>
                        </a:lnTo>
                        <a:lnTo>
                          <a:pt x="3810" y="164"/>
                        </a:lnTo>
                        <a:lnTo>
                          <a:pt x="3789" y="83"/>
                        </a:lnTo>
                        <a:lnTo>
                          <a:pt x="3766" y="0"/>
                        </a:lnTo>
                        <a:close/>
                      </a:path>
                    </a:pathLst>
                  </a:custGeom>
                  <a:solidFill>
                    <a:srgbClr val="312276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512" name="Freeform 201"/>
                  <p:cNvSpPr>
                    <a:spLocks/>
                  </p:cNvSpPr>
                  <p:nvPr/>
                </p:nvSpPr>
                <p:spPr bwMode="auto">
                  <a:xfrm>
                    <a:off x="3433" y="3505"/>
                    <a:ext cx="329" cy="332"/>
                  </a:xfrm>
                  <a:custGeom>
                    <a:avLst/>
                    <a:gdLst>
                      <a:gd name="T0" fmla="*/ 0 w 2305"/>
                      <a:gd name="T1" fmla="*/ 0 h 2325"/>
                      <a:gd name="T2" fmla="*/ 0 w 2305"/>
                      <a:gd name="T3" fmla="*/ 0 h 2325"/>
                      <a:gd name="T4" fmla="*/ 0 w 2305"/>
                      <a:gd name="T5" fmla="*/ 0 h 2325"/>
                      <a:gd name="T6" fmla="*/ 0 w 2305"/>
                      <a:gd name="T7" fmla="*/ 0 h 2325"/>
                      <a:gd name="T8" fmla="*/ 0 w 2305"/>
                      <a:gd name="T9" fmla="*/ 0 h 2325"/>
                      <a:gd name="T10" fmla="*/ 0 w 2305"/>
                      <a:gd name="T11" fmla="*/ 0 h 2325"/>
                      <a:gd name="T12" fmla="*/ 0 w 2305"/>
                      <a:gd name="T13" fmla="*/ 0 h 2325"/>
                      <a:gd name="T14" fmla="*/ 0 w 2305"/>
                      <a:gd name="T15" fmla="*/ 0 h 2325"/>
                      <a:gd name="T16" fmla="*/ 0 w 2305"/>
                      <a:gd name="T17" fmla="*/ 0 h 2325"/>
                      <a:gd name="T18" fmla="*/ 0 w 2305"/>
                      <a:gd name="T19" fmla="*/ 0 h 2325"/>
                      <a:gd name="T20" fmla="*/ 0 w 2305"/>
                      <a:gd name="T21" fmla="*/ 0 h 2325"/>
                      <a:gd name="T22" fmla="*/ 0 w 2305"/>
                      <a:gd name="T23" fmla="*/ 0 h 2325"/>
                      <a:gd name="T24" fmla="*/ 0 w 2305"/>
                      <a:gd name="T25" fmla="*/ 0 h 2325"/>
                      <a:gd name="T26" fmla="*/ 0 w 2305"/>
                      <a:gd name="T27" fmla="*/ 0 h 2325"/>
                      <a:gd name="T28" fmla="*/ 0 w 2305"/>
                      <a:gd name="T29" fmla="*/ 0 h 2325"/>
                      <a:gd name="T30" fmla="*/ 0 w 2305"/>
                      <a:gd name="T31" fmla="*/ 0 h 2325"/>
                      <a:gd name="T32" fmla="*/ 0 w 2305"/>
                      <a:gd name="T33" fmla="*/ 0 h 2325"/>
                      <a:gd name="T34" fmla="*/ 0 w 2305"/>
                      <a:gd name="T35" fmla="*/ 0 h 2325"/>
                      <a:gd name="T36" fmla="*/ 0 w 2305"/>
                      <a:gd name="T37" fmla="*/ 0 h 2325"/>
                      <a:gd name="T38" fmla="*/ 0 w 2305"/>
                      <a:gd name="T39" fmla="*/ 0 h 2325"/>
                      <a:gd name="T40" fmla="*/ 0 w 2305"/>
                      <a:gd name="T41" fmla="*/ 0 h 2325"/>
                      <a:gd name="T42" fmla="*/ 0 w 2305"/>
                      <a:gd name="T43" fmla="*/ 0 h 2325"/>
                      <a:gd name="T44" fmla="*/ 0 w 2305"/>
                      <a:gd name="T45" fmla="*/ 0 h 2325"/>
                      <a:gd name="T46" fmla="*/ 0 w 2305"/>
                      <a:gd name="T47" fmla="*/ 0 h 2325"/>
                      <a:gd name="T48" fmla="*/ 0 w 2305"/>
                      <a:gd name="T49" fmla="*/ 0 h 2325"/>
                      <a:gd name="T50" fmla="*/ 0 w 2305"/>
                      <a:gd name="T51" fmla="*/ 0 h 2325"/>
                      <a:gd name="T52" fmla="*/ 0 w 2305"/>
                      <a:gd name="T53" fmla="*/ 0 h 2325"/>
                      <a:gd name="T54" fmla="*/ 0 w 2305"/>
                      <a:gd name="T55" fmla="*/ 0 h 2325"/>
                      <a:gd name="T56" fmla="*/ 0 w 2305"/>
                      <a:gd name="T57" fmla="*/ 0 h 2325"/>
                      <a:gd name="T58" fmla="*/ 0 w 2305"/>
                      <a:gd name="T59" fmla="*/ 0 h 2325"/>
                      <a:gd name="T60" fmla="*/ 0 w 2305"/>
                      <a:gd name="T61" fmla="*/ 0 h 2325"/>
                      <a:gd name="T62" fmla="*/ 0 w 2305"/>
                      <a:gd name="T63" fmla="*/ 0 h 2325"/>
                      <a:gd name="T64" fmla="*/ 0 w 2305"/>
                      <a:gd name="T65" fmla="*/ 0 h 2325"/>
                      <a:gd name="T66" fmla="*/ 0 w 2305"/>
                      <a:gd name="T67" fmla="*/ 0 h 2325"/>
                      <a:gd name="T68" fmla="*/ 0 w 2305"/>
                      <a:gd name="T69" fmla="*/ 0 h 2325"/>
                      <a:gd name="T70" fmla="*/ 0 w 2305"/>
                      <a:gd name="T71" fmla="*/ 0 h 2325"/>
                      <a:gd name="T72" fmla="*/ 0 w 2305"/>
                      <a:gd name="T73" fmla="*/ 0 h 2325"/>
                      <a:gd name="T74" fmla="*/ 0 w 2305"/>
                      <a:gd name="T75" fmla="*/ 0 h 2325"/>
                      <a:gd name="T76" fmla="*/ 0 w 2305"/>
                      <a:gd name="T77" fmla="*/ 0 h 2325"/>
                      <a:gd name="T78" fmla="*/ 0 w 2305"/>
                      <a:gd name="T79" fmla="*/ 0 h 2325"/>
                      <a:gd name="T80" fmla="*/ 0 w 2305"/>
                      <a:gd name="T81" fmla="*/ 0 h 2325"/>
                      <a:gd name="T82" fmla="*/ 0 w 2305"/>
                      <a:gd name="T83" fmla="*/ 0 h 2325"/>
                      <a:gd name="T84" fmla="*/ 0 w 2305"/>
                      <a:gd name="T85" fmla="*/ 0 h 2325"/>
                      <a:gd name="T86" fmla="*/ 0 w 2305"/>
                      <a:gd name="T87" fmla="*/ 0 h 2325"/>
                      <a:gd name="T88" fmla="*/ 0 w 2305"/>
                      <a:gd name="T89" fmla="*/ 0 h 2325"/>
                      <a:gd name="T90" fmla="*/ 0 w 2305"/>
                      <a:gd name="T91" fmla="*/ 0 h 2325"/>
                      <a:gd name="T92" fmla="*/ 0 w 2305"/>
                      <a:gd name="T93" fmla="*/ 0 h 2325"/>
                      <a:gd name="T94" fmla="*/ 0 60000 65536"/>
                      <a:gd name="T95" fmla="*/ 0 60000 65536"/>
                      <a:gd name="T96" fmla="*/ 0 60000 65536"/>
                      <a:gd name="T97" fmla="*/ 0 60000 65536"/>
                      <a:gd name="T98" fmla="*/ 0 60000 65536"/>
                      <a:gd name="T99" fmla="*/ 0 60000 65536"/>
                      <a:gd name="T100" fmla="*/ 0 60000 65536"/>
                      <a:gd name="T101" fmla="*/ 0 60000 65536"/>
                      <a:gd name="T102" fmla="*/ 0 60000 65536"/>
                      <a:gd name="T103" fmla="*/ 0 60000 65536"/>
                      <a:gd name="T104" fmla="*/ 0 60000 65536"/>
                      <a:gd name="T105" fmla="*/ 0 60000 65536"/>
                      <a:gd name="T106" fmla="*/ 0 60000 65536"/>
                      <a:gd name="T107" fmla="*/ 0 60000 65536"/>
                      <a:gd name="T108" fmla="*/ 0 60000 65536"/>
                      <a:gd name="T109" fmla="*/ 0 60000 65536"/>
                      <a:gd name="T110" fmla="*/ 0 60000 65536"/>
                      <a:gd name="T111" fmla="*/ 0 60000 65536"/>
                      <a:gd name="T112" fmla="*/ 0 60000 65536"/>
                      <a:gd name="T113" fmla="*/ 0 60000 65536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w 2305"/>
                      <a:gd name="T142" fmla="*/ 0 h 2325"/>
                      <a:gd name="T143" fmla="*/ 2305 w 2305"/>
                      <a:gd name="T144" fmla="*/ 2325 h 2325"/>
                    </a:gdLst>
                    <a:ahLst/>
                    <a:cxnLst>
                      <a:cxn ang="T94">
                        <a:pos x="T0" y="T1"/>
                      </a:cxn>
                      <a:cxn ang="T95">
                        <a:pos x="T2" y="T3"/>
                      </a:cxn>
                      <a:cxn ang="T96">
                        <a:pos x="T4" y="T5"/>
                      </a:cxn>
                      <a:cxn ang="T97">
                        <a:pos x="T6" y="T7"/>
                      </a:cxn>
                      <a:cxn ang="T98">
                        <a:pos x="T8" y="T9"/>
                      </a:cxn>
                      <a:cxn ang="T99">
                        <a:pos x="T10" y="T11"/>
                      </a:cxn>
                      <a:cxn ang="T100">
                        <a:pos x="T12" y="T13"/>
                      </a:cxn>
                      <a:cxn ang="T101">
                        <a:pos x="T14" y="T15"/>
                      </a:cxn>
                      <a:cxn ang="T102">
                        <a:pos x="T16" y="T17"/>
                      </a:cxn>
                      <a:cxn ang="T103">
                        <a:pos x="T18" y="T19"/>
                      </a:cxn>
                      <a:cxn ang="T104">
                        <a:pos x="T20" y="T21"/>
                      </a:cxn>
                      <a:cxn ang="T105">
                        <a:pos x="T22" y="T23"/>
                      </a:cxn>
                      <a:cxn ang="T106">
                        <a:pos x="T24" y="T25"/>
                      </a:cxn>
                      <a:cxn ang="T107">
                        <a:pos x="T26" y="T27"/>
                      </a:cxn>
                      <a:cxn ang="T108">
                        <a:pos x="T28" y="T29"/>
                      </a:cxn>
                      <a:cxn ang="T109">
                        <a:pos x="T30" y="T31"/>
                      </a:cxn>
                      <a:cxn ang="T110">
                        <a:pos x="T32" y="T33"/>
                      </a:cxn>
                      <a:cxn ang="T111">
                        <a:pos x="T34" y="T35"/>
                      </a:cxn>
                      <a:cxn ang="T112">
                        <a:pos x="T36" y="T37"/>
                      </a:cxn>
                      <a:cxn ang="T113">
                        <a:pos x="T38" y="T39"/>
                      </a:cxn>
                      <a:cxn ang="T114">
                        <a:pos x="T40" y="T41"/>
                      </a:cxn>
                      <a:cxn ang="T115">
                        <a:pos x="T42" y="T43"/>
                      </a:cxn>
                      <a:cxn ang="T116">
                        <a:pos x="T44" y="T45"/>
                      </a:cxn>
                      <a:cxn ang="T117">
                        <a:pos x="T46" y="T47"/>
                      </a:cxn>
                      <a:cxn ang="T118">
                        <a:pos x="T48" y="T49"/>
                      </a:cxn>
                      <a:cxn ang="T119">
                        <a:pos x="T50" y="T51"/>
                      </a:cxn>
                      <a:cxn ang="T120">
                        <a:pos x="T52" y="T53"/>
                      </a:cxn>
                      <a:cxn ang="T121">
                        <a:pos x="T54" y="T55"/>
                      </a:cxn>
                      <a:cxn ang="T122">
                        <a:pos x="T56" y="T57"/>
                      </a:cxn>
                      <a:cxn ang="T123">
                        <a:pos x="T58" y="T59"/>
                      </a:cxn>
                      <a:cxn ang="T124">
                        <a:pos x="T60" y="T61"/>
                      </a:cxn>
                      <a:cxn ang="T125">
                        <a:pos x="T62" y="T63"/>
                      </a:cxn>
                      <a:cxn ang="T126">
                        <a:pos x="T64" y="T65"/>
                      </a:cxn>
                      <a:cxn ang="T127">
                        <a:pos x="T66" y="T67"/>
                      </a:cxn>
                      <a:cxn ang="T128">
                        <a:pos x="T68" y="T69"/>
                      </a:cxn>
                      <a:cxn ang="T129">
                        <a:pos x="T70" y="T71"/>
                      </a:cxn>
                      <a:cxn ang="T130">
                        <a:pos x="T72" y="T73"/>
                      </a:cxn>
                      <a:cxn ang="T131">
                        <a:pos x="T74" y="T75"/>
                      </a:cxn>
                      <a:cxn ang="T132">
                        <a:pos x="T76" y="T77"/>
                      </a:cxn>
                      <a:cxn ang="T133">
                        <a:pos x="T78" y="T79"/>
                      </a:cxn>
                      <a:cxn ang="T134">
                        <a:pos x="T80" y="T81"/>
                      </a:cxn>
                      <a:cxn ang="T135">
                        <a:pos x="T82" y="T83"/>
                      </a:cxn>
                      <a:cxn ang="T136">
                        <a:pos x="T84" y="T85"/>
                      </a:cxn>
                      <a:cxn ang="T137">
                        <a:pos x="T86" y="T87"/>
                      </a:cxn>
                      <a:cxn ang="T138">
                        <a:pos x="T88" y="T89"/>
                      </a:cxn>
                      <a:cxn ang="T139">
                        <a:pos x="T90" y="T91"/>
                      </a:cxn>
                      <a:cxn ang="T140">
                        <a:pos x="T92" y="T93"/>
                      </a:cxn>
                    </a:cxnLst>
                    <a:rect l="T141" t="T142" r="T143" b="T144"/>
                    <a:pathLst>
                      <a:path w="2305" h="2325">
                        <a:moveTo>
                          <a:pt x="1972" y="0"/>
                        </a:moveTo>
                        <a:lnTo>
                          <a:pt x="1961" y="3"/>
                        </a:lnTo>
                        <a:lnTo>
                          <a:pt x="1931" y="10"/>
                        </a:lnTo>
                        <a:lnTo>
                          <a:pt x="1881" y="20"/>
                        </a:lnTo>
                        <a:lnTo>
                          <a:pt x="1816" y="35"/>
                        </a:lnTo>
                        <a:lnTo>
                          <a:pt x="1736" y="52"/>
                        </a:lnTo>
                        <a:lnTo>
                          <a:pt x="1646" y="69"/>
                        </a:lnTo>
                        <a:lnTo>
                          <a:pt x="1545" y="89"/>
                        </a:lnTo>
                        <a:lnTo>
                          <a:pt x="1437" y="108"/>
                        </a:lnTo>
                        <a:lnTo>
                          <a:pt x="1324" y="126"/>
                        </a:lnTo>
                        <a:lnTo>
                          <a:pt x="1208" y="144"/>
                        </a:lnTo>
                        <a:lnTo>
                          <a:pt x="1149" y="152"/>
                        </a:lnTo>
                        <a:lnTo>
                          <a:pt x="1090" y="158"/>
                        </a:lnTo>
                        <a:lnTo>
                          <a:pt x="1032" y="165"/>
                        </a:lnTo>
                        <a:lnTo>
                          <a:pt x="974" y="171"/>
                        </a:lnTo>
                        <a:lnTo>
                          <a:pt x="916" y="175"/>
                        </a:lnTo>
                        <a:lnTo>
                          <a:pt x="860" y="180"/>
                        </a:lnTo>
                        <a:lnTo>
                          <a:pt x="806" y="182"/>
                        </a:lnTo>
                        <a:lnTo>
                          <a:pt x="752" y="183"/>
                        </a:lnTo>
                        <a:lnTo>
                          <a:pt x="701" y="184"/>
                        </a:lnTo>
                        <a:lnTo>
                          <a:pt x="652" y="182"/>
                        </a:lnTo>
                        <a:lnTo>
                          <a:pt x="605" y="180"/>
                        </a:lnTo>
                        <a:lnTo>
                          <a:pt x="562" y="175"/>
                        </a:lnTo>
                        <a:lnTo>
                          <a:pt x="479" y="166"/>
                        </a:lnTo>
                        <a:lnTo>
                          <a:pt x="405" y="160"/>
                        </a:lnTo>
                        <a:lnTo>
                          <a:pt x="373" y="156"/>
                        </a:lnTo>
                        <a:lnTo>
                          <a:pt x="342" y="155"/>
                        </a:lnTo>
                        <a:lnTo>
                          <a:pt x="313" y="154"/>
                        </a:lnTo>
                        <a:lnTo>
                          <a:pt x="286" y="154"/>
                        </a:lnTo>
                        <a:lnTo>
                          <a:pt x="262" y="155"/>
                        </a:lnTo>
                        <a:lnTo>
                          <a:pt x="238" y="156"/>
                        </a:lnTo>
                        <a:lnTo>
                          <a:pt x="218" y="158"/>
                        </a:lnTo>
                        <a:lnTo>
                          <a:pt x="198" y="163"/>
                        </a:lnTo>
                        <a:lnTo>
                          <a:pt x="181" y="167"/>
                        </a:lnTo>
                        <a:lnTo>
                          <a:pt x="165" y="173"/>
                        </a:lnTo>
                        <a:lnTo>
                          <a:pt x="150" y="180"/>
                        </a:lnTo>
                        <a:lnTo>
                          <a:pt x="138" y="188"/>
                        </a:lnTo>
                        <a:lnTo>
                          <a:pt x="126" y="197"/>
                        </a:lnTo>
                        <a:lnTo>
                          <a:pt x="116" y="208"/>
                        </a:lnTo>
                        <a:lnTo>
                          <a:pt x="107" y="221"/>
                        </a:lnTo>
                        <a:lnTo>
                          <a:pt x="99" y="234"/>
                        </a:lnTo>
                        <a:lnTo>
                          <a:pt x="92" y="249"/>
                        </a:lnTo>
                        <a:lnTo>
                          <a:pt x="87" y="265"/>
                        </a:lnTo>
                        <a:lnTo>
                          <a:pt x="81" y="283"/>
                        </a:lnTo>
                        <a:lnTo>
                          <a:pt x="78" y="302"/>
                        </a:lnTo>
                        <a:lnTo>
                          <a:pt x="75" y="323"/>
                        </a:lnTo>
                        <a:lnTo>
                          <a:pt x="71" y="345"/>
                        </a:lnTo>
                        <a:lnTo>
                          <a:pt x="69" y="370"/>
                        </a:lnTo>
                        <a:lnTo>
                          <a:pt x="68" y="397"/>
                        </a:lnTo>
                        <a:lnTo>
                          <a:pt x="67" y="453"/>
                        </a:lnTo>
                        <a:lnTo>
                          <a:pt x="67" y="519"/>
                        </a:lnTo>
                        <a:lnTo>
                          <a:pt x="66" y="558"/>
                        </a:lnTo>
                        <a:lnTo>
                          <a:pt x="65" y="598"/>
                        </a:lnTo>
                        <a:lnTo>
                          <a:pt x="62" y="641"/>
                        </a:lnTo>
                        <a:lnTo>
                          <a:pt x="59" y="686"/>
                        </a:lnTo>
                        <a:lnTo>
                          <a:pt x="51" y="780"/>
                        </a:lnTo>
                        <a:lnTo>
                          <a:pt x="41" y="882"/>
                        </a:lnTo>
                        <a:lnTo>
                          <a:pt x="30" y="987"/>
                        </a:lnTo>
                        <a:lnTo>
                          <a:pt x="20" y="1097"/>
                        </a:lnTo>
                        <a:lnTo>
                          <a:pt x="16" y="1151"/>
                        </a:lnTo>
                        <a:lnTo>
                          <a:pt x="11" y="1207"/>
                        </a:lnTo>
                        <a:lnTo>
                          <a:pt x="8" y="1262"/>
                        </a:lnTo>
                        <a:lnTo>
                          <a:pt x="4" y="1319"/>
                        </a:lnTo>
                        <a:lnTo>
                          <a:pt x="2" y="1375"/>
                        </a:lnTo>
                        <a:lnTo>
                          <a:pt x="1" y="1429"/>
                        </a:lnTo>
                        <a:lnTo>
                          <a:pt x="0" y="1485"/>
                        </a:lnTo>
                        <a:lnTo>
                          <a:pt x="1" y="1538"/>
                        </a:lnTo>
                        <a:lnTo>
                          <a:pt x="3" y="1592"/>
                        </a:lnTo>
                        <a:lnTo>
                          <a:pt x="8" y="1644"/>
                        </a:lnTo>
                        <a:lnTo>
                          <a:pt x="12" y="1696"/>
                        </a:lnTo>
                        <a:lnTo>
                          <a:pt x="20" y="1745"/>
                        </a:lnTo>
                        <a:lnTo>
                          <a:pt x="29" y="1794"/>
                        </a:lnTo>
                        <a:lnTo>
                          <a:pt x="39" y="1841"/>
                        </a:lnTo>
                        <a:lnTo>
                          <a:pt x="52" y="1887"/>
                        </a:lnTo>
                        <a:lnTo>
                          <a:pt x="67" y="1929"/>
                        </a:lnTo>
                        <a:lnTo>
                          <a:pt x="85" y="1970"/>
                        </a:lnTo>
                        <a:lnTo>
                          <a:pt x="104" y="2009"/>
                        </a:lnTo>
                        <a:lnTo>
                          <a:pt x="126" y="2045"/>
                        </a:lnTo>
                        <a:lnTo>
                          <a:pt x="151" y="2078"/>
                        </a:lnTo>
                        <a:lnTo>
                          <a:pt x="207" y="2141"/>
                        </a:lnTo>
                        <a:lnTo>
                          <a:pt x="266" y="2194"/>
                        </a:lnTo>
                        <a:lnTo>
                          <a:pt x="326" y="2237"/>
                        </a:lnTo>
                        <a:lnTo>
                          <a:pt x="387" y="2272"/>
                        </a:lnTo>
                        <a:lnTo>
                          <a:pt x="450" y="2296"/>
                        </a:lnTo>
                        <a:lnTo>
                          <a:pt x="514" y="2314"/>
                        </a:lnTo>
                        <a:lnTo>
                          <a:pt x="579" y="2323"/>
                        </a:lnTo>
                        <a:lnTo>
                          <a:pt x="644" y="2325"/>
                        </a:lnTo>
                        <a:lnTo>
                          <a:pt x="710" y="2320"/>
                        </a:lnTo>
                        <a:lnTo>
                          <a:pt x="777" y="2308"/>
                        </a:lnTo>
                        <a:lnTo>
                          <a:pt x="844" y="2292"/>
                        </a:lnTo>
                        <a:lnTo>
                          <a:pt x="909" y="2269"/>
                        </a:lnTo>
                        <a:lnTo>
                          <a:pt x="976" y="2242"/>
                        </a:lnTo>
                        <a:lnTo>
                          <a:pt x="1043" y="2209"/>
                        </a:lnTo>
                        <a:lnTo>
                          <a:pt x="1107" y="2174"/>
                        </a:lnTo>
                        <a:lnTo>
                          <a:pt x="1173" y="2134"/>
                        </a:lnTo>
                        <a:lnTo>
                          <a:pt x="1237" y="2091"/>
                        </a:lnTo>
                        <a:lnTo>
                          <a:pt x="1300" y="2046"/>
                        </a:lnTo>
                        <a:lnTo>
                          <a:pt x="1361" y="1999"/>
                        </a:lnTo>
                        <a:lnTo>
                          <a:pt x="1422" y="1950"/>
                        </a:lnTo>
                        <a:lnTo>
                          <a:pt x="1480" y="1900"/>
                        </a:lnTo>
                        <a:lnTo>
                          <a:pt x="1538" y="1849"/>
                        </a:lnTo>
                        <a:lnTo>
                          <a:pt x="1593" y="1798"/>
                        </a:lnTo>
                        <a:lnTo>
                          <a:pt x="1646" y="1746"/>
                        </a:lnTo>
                        <a:lnTo>
                          <a:pt x="1696" y="1696"/>
                        </a:lnTo>
                        <a:lnTo>
                          <a:pt x="1745" y="1647"/>
                        </a:lnTo>
                        <a:lnTo>
                          <a:pt x="1791" y="1600"/>
                        </a:lnTo>
                        <a:lnTo>
                          <a:pt x="1833" y="1554"/>
                        </a:lnTo>
                        <a:lnTo>
                          <a:pt x="1910" y="1472"/>
                        </a:lnTo>
                        <a:lnTo>
                          <a:pt x="1972" y="1403"/>
                        </a:lnTo>
                        <a:lnTo>
                          <a:pt x="1996" y="1376"/>
                        </a:lnTo>
                        <a:lnTo>
                          <a:pt x="2019" y="1346"/>
                        </a:lnTo>
                        <a:lnTo>
                          <a:pt x="2042" y="1311"/>
                        </a:lnTo>
                        <a:lnTo>
                          <a:pt x="2067" y="1273"/>
                        </a:lnTo>
                        <a:lnTo>
                          <a:pt x="2090" y="1233"/>
                        </a:lnTo>
                        <a:lnTo>
                          <a:pt x="2115" y="1190"/>
                        </a:lnTo>
                        <a:lnTo>
                          <a:pt x="2137" y="1144"/>
                        </a:lnTo>
                        <a:lnTo>
                          <a:pt x="2160" y="1095"/>
                        </a:lnTo>
                        <a:lnTo>
                          <a:pt x="2181" y="1045"/>
                        </a:lnTo>
                        <a:lnTo>
                          <a:pt x="2203" y="994"/>
                        </a:lnTo>
                        <a:lnTo>
                          <a:pt x="2222" y="941"/>
                        </a:lnTo>
                        <a:lnTo>
                          <a:pt x="2239" y="886"/>
                        </a:lnTo>
                        <a:lnTo>
                          <a:pt x="2255" y="832"/>
                        </a:lnTo>
                        <a:lnTo>
                          <a:pt x="2269" y="776"/>
                        </a:lnTo>
                        <a:lnTo>
                          <a:pt x="2282" y="719"/>
                        </a:lnTo>
                        <a:lnTo>
                          <a:pt x="2292" y="664"/>
                        </a:lnTo>
                        <a:lnTo>
                          <a:pt x="2299" y="608"/>
                        </a:lnTo>
                        <a:lnTo>
                          <a:pt x="2304" y="553"/>
                        </a:lnTo>
                        <a:lnTo>
                          <a:pt x="2305" y="499"/>
                        </a:lnTo>
                        <a:lnTo>
                          <a:pt x="2304" y="446"/>
                        </a:lnTo>
                        <a:lnTo>
                          <a:pt x="2299" y="394"/>
                        </a:lnTo>
                        <a:lnTo>
                          <a:pt x="2292" y="344"/>
                        </a:lnTo>
                        <a:lnTo>
                          <a:pt x="2279" y="296"/>
                        </a:lnTo>
                        <a:lnTo>
                          <a:pt x="2264" y="251"/>
                        </a:lnTo>
                        <a:lnTo>
                          <a:pt x="2244" y="207"/>
                        </a:lnTo>
                        <a:lnTo>
                          <a:pt x="2219" y="167"/>
                        </a:lnTo>
                        <a:lnTo>
                          <a:pt x="2192" y="129"/>
                        </a:lnTo>
                        <a:lnTo>
                          <a:pt x="2158" y="96"/>
                        </a:lnTo>
                        <a:lnTo>
                          <a:pt x="2119" y="66"/>
                        </a:lnTo>
                        <a:lnTo>
                          <a:pt x="2076" y="39"/>
                        </a:lnTo>
                        <a:lnTo>
                          <a:pt x="2027" y="17"/>
                        </a:lnTo>
                        <a:lnTo>
                          <a:pt x="1972" y="0"/>
                        </a:lnTo>
                        <a:close/>
                      </a:path>
                    </a:pathLst>
                  </a:custGeom>
                  <a:solidFill>
                    <a:srgbClr val="311F74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513" name="Freeform 202"/>
                  <p:cNvSpPr>
                    <a:spLocks/>
                  </p:cNvSpPr>
                  <p:nvPr/>
                </p:nvSpPr>
                <p:spPr bwMode="auto">
                  <a:xfrm>
                    <a:off x="3443" y="3593"/>
                    <a:ext cx="1" cy="10"/>
                  </a:xfrm>
                  <a:custGeom>
                    <a:avLst/>
                    <a:gdLst>
                      <a:gd name="T0" fmla="*/ 0 w 1"/>
                      <a:gd name="T1" fmla="*/ 0 h 39"/>
                      <a:gd name="T2" fmla="*/ 0 w 1"/>
                      <a:gd name="T3" fmla="*/ 0 h 39"/>
                      <a:gd name="T4" fmla="*/ 0 w 1"/>
                      <a:gd name="T5" fmla="*/ 0 h 39"/>
                      <a:gd name="T6" fmla="*/ 0 w 1"/>
                      <a:gd name="T7" fmla="*/ 0 h 39"/>
                      <a:gd name="T8" fmla="*/ 0 w 1"/>
                      <a:gd name="T9" fmla="*/ 0 h 39"/>
                      <a:gd name="T10" fmla="*/ 0 w 1"/>
                      <a:gd name="T11" fmla="*/ 0 h 39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"/>
                      <a:gd name="T19" fmla="*/ 0 h 39"/>
                      <a:gd name="T20" fmla="*/ 1 w 1"/>
                      <a:gd name="T21" fmla="*/ 39 h 39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" h="39">
                        <a:moveTo>
                          <a:pt x="0" y="39"/>
                        </a:moveTo>
                        <a:lnTo>
                          <a:pt x="0" y="0"/>
                        </a:lnTo>
                        <a:lnTo>
                          <a:pt x="0" y="10"/>
                        </a:lnTo>
                        <a:lnTo>
                          <a:pt x="0" y="19"/>
                        </a:lnTo>
                        <a:lnTo>
                          <a:pt x="0" y="29"/>
                        </a:lnTo>
                        <a:lnTo>
                          <a:pt x="0" y="39"/>
                        </a:lnTo>
                        <a:close/>
                      </a:path>
                    </a:pathLst>
                  </a:custGeom>
                  <a:solidFill>
                    <a:srgbClr val="3D4189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514" name="Freeform 203"/>
                  <p:cNvSpPr>
                    <a:spLocks/>
                  </p:cNvSpPr>
                  <p:nvPr/>
                </p:nvSpPr>
                <p:spPr bwMode="auto">
                  <a:xfrm>
                    <a:off x="3443" y="3511"/>
                    <a:ext cx="288" cy="72"/>
                  </a:xfrm>
                  <a:custGeom>
                    <a:avLst/>
                    <a:gdLst>
                      <a:gd name="T0" fmla="*/ 0 w 2014"/>
                      <a:gd name="T1" fmla="*/ 0 h 520"/>
                      <a:gd name="T2" fmla="*/ 0 w 2014"/>
                      <a:gd name="T3" fmla="*/ 0 h 520"/>
                      <a:gd name="T4" fmla="*/ 0 w 2014"/>
                      <a:gd name="T5" fmla="*/ 0 h 520"/>
                      <a:gd name="T6" fmla="*/ 0 w 2014"/>
                      <a:gd name="T7" fmla="*/ 0 h 520"/>
                      <a:gd name="T8" fmla="*/ 0 w 2014"/>
                      <a:gd name="T9" fmla="*/ 0 h 520"/>
                      <a:gd name="T10" fmla="*/ 0 w 2014"/>
                      <a:gd name="T11" fmla="*/ 0 h 520"/>
                      <a:gd name="T12" fmla="*/ 0 w 2014"/>
                      <a:gd name="T13" fmla="*/ 0 h 520"/>
                      <a:gd name="T14" fmla="*/ 0 w 2014"/>
                      <a:gd name="T15" fmla="*/ 0 h 520"/>
                      <a:gd name="T16" fmla="*/ 0 w 2014"/>
                      <a:gd name="T17" fmla="*/ 0 h 520"/>
                      <a:gd name="T18" fmla="*/ 0 w 2014"/>
                      <a:gd name="T19" fmla="*/ 0 h 520"/>
                      <a:gd name="T20" fmla="*/ 0 w 2014"/>
                      <a:gd name="T21" fmla="*/ 0 h 520"/>
                      <a:gd name="T22" fmla="*/ 0 w 2014"/>
                      <a:gd name="T23" fmla="*/ 0 h 520"/>
                      <a:gd name="T24" fmla="*/ 0 w 2014"/>
                      <a:gd name="T25" fmla="*/ 0 h 520"/>
                      <a:gd name="T26" fmla="*/ 0 w 2014"/>
                      <a:gd name="T27" fmla="*/ 0 h 520"/>
                      <a:gd name="T28" fmla="*/ 0 w 2014"/>
                      <a:gd name="T29" fmla="*/ 0 h 520"/>
                      <a:gd name="T30" fmla="*/ 0 w 2014"/>
                      <a:gd name="T31" fmla="*/ 0 h 520"/>
                      <a:gd name="T32" fmla="*/ 0 w 2014"/>
                      <a:gd name="T33" fmla="*/ 0 h 520"/>
                      <a:gd name="T34" fmla="*/ 0 w 2014"/>
                      <a:gd name="T35" fmla="*/ 0 h 520"/>
                      <a:gd name="T36" fmla="*/ 0 w 2014"/>
                      <a:gd name="T37" fmla="*/ 0 h 520"/>
                      <a:gd name="T38" fmla="*/ 0 w 2014"/>
                      <a:gd name="T39" fmla="*/ 0 h 520"/>
                      <a:gd name="T40" fmla="*/ 0 w 2014"/>
                      <a:gd name="T41" fmla="*/ 0 h 520"/>
                      <a:gd name="T42" fmla="*/ 0 w 2014"/>
                      <a:gd name="T43" fmla="*/ 0 h 520"/>
                      <a:gd name="T44" fmla="*/ 0 w 2014"/>
                      <a:gd name="T45" fmla="*/ 0 h 520"/>
                      <a:gd name="T46" fmla="*/ 0 w 2014"/>
                      <a:gd name="T47" fmla="*/ 0 h 520"/>
                      <a:gd name="T48" fmla="*/ 0 w 2014"/>
                      <a:gd name="T49" fmla="*/ 0 h 520"/>
                      <a:gd name="T50" fmla="*/ 0 w 2014"/>
                      <a:gd name="T51" fmla="*/ 0 h 520"/>
                      <a:gd name="T52" fmla="*/ 0 w 2014"/>
                      <a:gd name="T53" fmla="*/ 0 h 520"/>
                      <a:gd name="T54" fmla="*/ 0 w 2014"/>
                      <a:gd name="T55" fmla="*/ 0 h 520"/>
                      <a:gd name="T56" fmla="*/ 0 w 2014"/>
                      <a:gd name="T57" fmla="*/ 0 h 520"/>
                      <a:gd name="T58" fmla="*/ 0 w 2014"/>
                      <a:gd name="T59" fmla="*/ 0 h 520"/>
                      <a:gd name="T60" fmla="*/ 0 w 2014"/>
                      <a:gd name="T61" fmla="*/ 0 h 520"/>
                      <a:gd name="T62" fmla="*/ 0 w 2014"/>
                      <a:gd name="T63" fmla="*/ 0 h 520"/>
                      <a:gd name="T64" fmla="*/ 0 w 2014"/>
                      <a:gd name="T65" fmla="*/ 0 h 520"/>
                      <a:gd name="T66" fmla="*/ 0 w 2014"/>
                      <a:gd name="T67" fmla="*/ 0 h 520"/>
                      <a:gd name="T68" fmla="*/ 0 w 2014"/>
                      <a:gd name="T69" fmla="*/ 0 h 520"/>
                      <a:gd name="T70" fmla="*/ 0 w 2014"/>
                      <a:gd name="T71" fmla="*/ 0 h 520"/>
                      <a:gd name="T72" fmla="*/ 0 w 2014"/>
                      <a:gd name="T73" fmla="*/ 0 h 520"/>
                      <a:gd name="T74" fmla="*/ 0 w 2014"/>
                      <a:gd name="T75" fmla="*/ 0 h 520"/>
                      <a:gd name="T76" fmla="*/ 0 w 2014"/>
                      <a:gd name="T77" fmla="*/ 0 h 520"/>
                      <a:gd name="T78" fmla="*/ 0 w 2014"/>
                      <a:gd name="T79" fmla="*/ 0 h 520"/>
                      <a:gd name="T80" fmla="*/ 0 w 2014"/>
                      <a:gd name="T81" fmla="*/ 0 h 520"/>
                      <a:gd name="T82" fmla="*/ 0 w 2014"/>
                      <a:gd name="T83" fmla="*/ 0 h 520"/>
                      <a:gd name="T84" fmla="*/ 0 w 2014"/>
                      <a:gd name="T85" fmla="*/ 0 h 520"/>
                      <a:gd name="T86" fmla="*/ 0 w 2014"/>
                      <a:gd name="T87" fmla="*/ 0 h 520"/>
                      <a:gd name="T88" fmla="*/ 0 w 2014"/>
                      <a:gd name="T89" fmla="*/ 0 h 520"/>
                      <a:gd name="T90" fmla="*/ 0 w 2014"/>
                      <a:gd name="T91" fmla="*/ 0 h 520"/>
                      <a:gd name="T92" fmla="*/ 0 w 2014"/>
                      <a:gd name="T93" fmla="*/ 0 h 520"/>
                      <a:gd name="T94" fmla="*/ 0 w 2014"/>
                      <a:gd name="T95" fmla="*/ 0 h 520"/>
                      <a:gd name="T96" fmla="*/ 0 w 2014"/>
                      <a:gd name="T97" fmla="*/ 0 h 520"/>
                      <a:gd name="T98" fmla="*/ 0 w 2014"/>
                      <a:gd name="T99" fmla="*/ 0 h 520"/>
                      <a:gd name="T100" fmla="*/ 0 w 2014"/>
                      <a:gd name="T101" fmla="*/ 0 h 520"/>
                      <a:gd name="T102" fmla="*/ 0 w 2014"/>
                      <a:gd name="T103" fmla="*/ 0 h 520"/>
                      <a:gd name="T104" fmla="*/ 0 w 2014"/>
                      <a:gd name="T105" fmla="*/ 0 h 520"/>
                      <a:gd name="T106" fmla="*/ 0 w 2014"/>
                      <a:gd name="T107" fmla="*/ 0 h 520"/>
                      <a:gd name="T108" fmla="*/ 0 w 2014"/>
                      <a:gd name="T109" fmla="*/ 0 h 520"/>
                      <a:gd name="T110" fmla="*/ 0 w 2014"/>
                      <a:gd name="T111" fmla="*/ 0 h 520"/>
                      <a:gd name="T112" fmla="*/ 0 w 2014"/>
                      <a:gd name="T113" fmla="*/ 0 h 520"/>
                      <a:gd name="T114" fmla="*/ 0 w 2014"/>
                      <a:gd name="T115" fmla="*/ 0 h 520"/>
                      <a:gd name="T116" fmla="*/ 0 w 2014"/>
                      <a:gd name="T117" fmla="*/ 0 h 520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60000 65536"/>
                      <a:gd name="T172" fmla="*/ 0 60000 65536"/>
                      <a:gd name="T173" fmla="*/ 0 60000 65536"/>
                      <a:gd name="T174" fmla="*/ 0 60000 65536"/>
                      <a:gd name="T175" fmla="*/ 0 60000 65536"/>
                      <a:gd name="T176" fmla="*/ 0 60000 65536"/>
                      <a:gd name="T177" fmla="*/ 0 w 2014"/>
                      <a:gd name="T178" fmla="*/ 0 h 520"/>
                      <a:gd name="T179" fmla="*/ 2014 w 2014"/>
                      <a:gd name="T180" fmla="*/ 520 h 520"/>
                    </a:gdLst>
                    <a:ahLst/>
                    <a:cxnLst>
                      <a:cxn ang="T118">
                        <a:pos x="T0" y="T1"/>
                      </a:cxn>
                      <a:cxn ang="T119">
                        <a:pos x="T2" y="T3"/>
                      </a:cxn>
                      <a:cxn ang="T120">
                        <a:pos x="T4" y="T5"/>
                      </a:cxn>
                      <a:cxn ang="T121">
                        <a:pos x="T6" y="T7"/>
                      </a:cxn>
                      <a:cxn ang="T122">
                        <a:pos x="T8" y="T9"/>
                      </a:cxn>
                      <a:cxn ang="T123">
                        <a:pos x="T10" y="T11"/>
                      </a:cxn>
                      <a:cxn ang="T124">
                        <a:pos x="T12" y="T13"/>
                      </a:cxn>
                      <a:cxn ang="T125">
                        <a:pos x="T14" y="T15"/>
                      </a:cxn>
                      <a:cxn ang="T126">
                        <a:pos x="T16" y="T17"/>
                      </a:cxn>
                      <a:cxn ang="T127">
                        <a:pos x="T18" y="T19"/>
                      </a:cxn>
                      <a:cxn ang="T128">
                        <a:pos x="T20" y="T21"/>
                      </a:cxn>
                      <a:cxn ang="T129">
                        <a:pos x="T22" y="T23"/>
                      </a:cxn>
                      <a:cxn ang="T130">
                        <a:pos x="T24" y="T25"/>
                      </a:cxn>
                      <a:cxn ang="T131">
                        <a:pos x="T26" y="T27"/>
                      </a:cxn>
                      <a:cxn ang="T132">
                        <a:pos x="T28" y="T29"/>
                      </a:cxn>
                      <a:cxn ang="T133">
                        <a:pos x="T30" y="T31"/>
                      </a:cxn>
                      <a:cxn ang="T134">
                        <a:pos x="T32" y="T33"/>
                      </a:cxn>
                      <a:cxn ang="T135">
                        <a:pos x="T34" y="T35"/>
                      </a:cxn>
                      <a:cxn ang="T136">
                        <a:pos x="T36" y="T37"/>
                      </a:cxn>
                      <a:cxn ang="T137">
                        <a:pos x="T38" y="T39"/>
                      </a:cxn>
                      <a:cxn ang="T138">
                        <a:pos x="T40" y="T41"/>
                      </a:cxn>
                      <a:cxn ang="T139">
                        <a:pos x="T42" y="T43"/>
                      </a:cxn>
                      <a:cxn ang="T140">
                        <a:pos x="T44" y="T45"/>
                      </a:cxn>
                      <a:cxn ang="T141">
                        <a:pos x="T46" y="T47"/>
                      </a:cxn>
                      <a:cxn ang="T142">
                        <a:pos x="T48" y="T49"/>
                      </a:cxn>
                      <a:cxn ang="T143">
                        <a:pos x="T50" y="T51"/>
                      </a:cxn>
                      <a:cxn ang="T144">
                        <a:pos x="T52" y="T53"/>
                      </a:cxn>
                      <a:cxn ang="T145">
                        <a:pos x="T54" y="T55"/>
                      </a:cxn>
                      <a:cxn ang="T146">
                        <a:pos x="T56" y="T57"/>
                      </a:cxn>
                      <a:cxn ang="T147">
                        <a:pos x="T58" y="T59"/>
                      </a:cxn>
                      <a:cxn ang="T148">
                        <a:pos x="T60" y="T61"/>
                      </a:cxn>
                      <a:cxn ang="T149">
                        <a:pos x="T62" y="T63"/>
                      </a:cxn>
                      <a:cxn ang="T150">
                        <a:pos x="T64" y="T65"/>
                      </a:cxn>
                      <a:cxn ang="T151">
                        <a:pos x="T66" y="T67"/>
                      </a:cxn>
                      <a:cxn ang="T152">
                        <a:pos x="T68" y="T69"/>
                      </a:cxn>
                      <a:cxn ang="T153">
                        <a:pos x="T70" y="T71"/>
                      </a:cxn>
                      <a:cxn ang="T154">
                        <a:pos x="T72" y="T73"/>
                      </a:cxn>
                      <a:cxn ang="T155">
                        <a:pos x="T74" y="T75"/>
                      </a:cxn>
                      <a:cxn ang="T156">
                        <a:pos x="T76" y="T77"/>
                      </a:cxn>
                      <a:cxn ang="T157">
                        <a:pos x="T78" y="T79"/>
                      </a:cxn>
                      <a:cxn ang="T158">
                        <a:pos x="T80" y="T81"/>
                      </a:cxn>
                      <a:cxn ang="T159">
                        <a:pos x="T82" y="T83"/>
                      </a:cxn>
                      <a:cxn ang="T160">
                        <a:pos x="T84" y="T85"/>
                      </a:cxn>
                      <a:cxn ang="T161">
                        <a:pos x="T86" y="T87"/>
                      </a:cxn>
                      <a:cxn ang="T162">
                        <a:pos x="T88" y="T89"/>
                      </a:cxn>
                      <a:cxn ang="T163">
                        <a:pos x="T90" y="T91"/>
                      </a:cxn>
                      <a:cxn ang="T164">
                        <a:pos x="T92" y="T93"/>
                      </a:cxn>
                      <a:cxn ang="T165">
                        <a:pos x="T94" y="T95"/>
                      </a:cxn>
                      <a:cxn ang="T166">
                        <a:pos x="T96" y="T97"/>
                      </a:cxn>
                      <a:cxn ang="T167">
                        <a:pos x="T98" y="T99"/>
                      </a:cxn>
                      <a:cxn ang="T168">
                        <a:pos x="T100" y="T101"/>
                      </a:cxn>
                      <a:cxn ang="T169">
                        <a:pos x="T102" y="T103"/>
                      </a:cxn>
                      <a:cxn ang="T170">
                        <a:pos x="T104" y="T105"/>
                      </a:cxn>
                      <a:cxn ang="T171">
                        <a:pos x="T106" y="T107"/>
                      </a:cxn>
                      <a:cxn ang="T172">
                        <a:pos x="T108" y="T109"/>
                      </a:cxn>
                      <a:cxn ang="T173">
                        <a:pos x="T110" y="T111"/>
                      </a:cxn>
                      <a:cxn ang="T174">
                        <a:pos x="T112" y="T113"/>
                      </a:cxn>
                      <a:cxn ang="T175">
                        <a:pos x="T114" y="T115"/>
                      </a:cxn>
                      <a:cxn ang="T176">
                        <a:pos x="T116" y="T117"/>
                      </a:cxn>
                    </a:cxnLst>
                    <a:rect l="T177" t="T178" r="T179" b="T180"/>
                    <a:pathLst>
                      <a:path w="2014" h="520">
                        <a:moveTo>
                          <a:pt x="1906" y="0"/>
                        </a:moveTo>
                        <a:lnTo>
                          <a:pt x="1895" y="3"/>
                        </a:lnTo>
                        <a:lnTo>
                          <a:pt x="1864" y="10"/>
                        </a:lnTo>
                        <a:lnTo>
                          <a:pt x="1815" y="21"/>
                        </a:lnTo>
                        <a:lnTo>
                          <a:pt x="1749" y="36"/>
                        </a:lnTo>
                        <a:lnTo>
                          <a:pt x="1670" y="52"/>
                        </a:lnTo>
                        <a:lnTo>
                          <a:pt x="1579" y="70"/>
                        </a:lnTo>
                        <a:lnTo>
                          <a:pt x="1479" y="89"/>
                        </a:lnTo>
                        <a:lnTo>
                          <a:pt x="1371" y="108"/>
                        </a:lnTo>
                        <a:lnTo>
                          <a:pt x="1257" y="127"/>
                        </a:lnTo>
                        <a:lnTo>
                          <a:pt x="1141" y="145"/>
                        </a:lnTo>
                        <a:lnTo>
                          <a:pt x="1082" y="152"/>
                        </a:lnTo>
                        <a:lnTo>
                          <a:pt x="1023" y="159"/>
                        </a:lnTo>
                        <a:lnTo>
                          <a:pt x="964" y="166"/>
                        </a:lnTo>
                        <a:lnTo>
                          <a:pt x="906" y="171"/>
                        </a:lnTo>
                        <a:lnTo>
                          <a:pt x="850" y="176"/>
                        </a:lnTo>
                        <a:lnTo>
                          <a:pt x="794" y="180"/>
                        </a:lnTo>
                        <a:lnTo>
                          <a:pt x="738" y="182"/>
                        </a:lnTo>
                        <a:lnTo>
                          <a:pt x="686" y="184"/>
                        </a:lnTo>
                        <a:lnTo>
                          <a:pt x="635" y="184"/>
                        </a:lnTo>
                        <a:lnTo>
                          <a:pt x="586" y="182"/>
                        </a:lnTo>
                        <a:lnTo>
                          <a:pt x="539" y="180"/>
                        </a:lnTo>
                        <a:lnTo>
                          <a:pt x="495" y="176"/>
                        </a:lnTo>
                        <a:lnTo>
                          <a:pt x="412" y="167"/>
                        </a:lnTo>
                        <a:lnTo>
                          <a:pt x="339" y="159"/>
                        </a:lnTo>
                        <a:lnTo>
                          <a:pt x="305" y="157"/>
                        </a:lnTo>
                        <a:lnTo>
                          <a:pt x="275" y="156"/>
                        </a:lnTo>
                        <a:lnTo>
                          <a:pt x="246" y="155"/>
                        </a:lnTo>
                        <a:lnTo>
                          <a:pt x="220" y="155"/>
                        </a:lnTo>
                        <a:lnTo>
                          <a:pt x="195" y="155"/>
                        </a:lnTo>
                        <a:lnTo>
                          <a:pt x="172" y="157"/>
                        </a:lnTo>
                        <a:lnTo>
                          <a:pt x="151" y="159"/>
                        </a:lnTo>
                        <a:lnTo>
                          <a:pt x="132" y="162"/>
                        </a:lnTo>
                        <a:lnTo>
                          <a:pt x="114" y="168"/>
                        </a:lnTo>
                        <a:lnTo>
                          <a:pt x="98" y="174"/>
                        </a:lnTo>
                        <a:lnTo>
                          <a:pt x="84" y="180"/>
                        </a:lnTo>
                        <a:lnTo>
                          <a:pt x="71" y="188"/>
                        </a:lnTo>
                        <a:lnTo>
                          <a:pt x="59" y="198"/>
                        </a:lnTo>
                        <a:lnTo>
                          <a:pt x="49" y="208"/>
                        </a:lnTo>
                        <a:lnTo>
                          <a:pt x="41" y="220"/>
                        </a:lnTo>
                        <a:lnTo>
                          <a:pt x="33" y="234"/>
                        </a:lnTo>
                        <a:lnTo>
                          <a:pt x="25" y="249"/>
                        </a:lnTo>
                        <a:lnTo>
                          <a:pt x="19" y="265"/>
                        </a:lnTo>
                        <a:lnTo>
                          <a:pt x="15" y="283"/>
                        </a:lnTo>
                        <a:lnTo>
                          <a:pt x="10" y="303"/>
                        </a:lnTo>
                        <a:lnTo>
                          <a:pt x="7" y="324"/>
                        </a:lnTo>
                        <a:lnTo>
                          <a:pt x="5" y="346"/>
                        </a:lnTo>
                        <a:lnTo>
                          <a:pt x="3" y="371"/>
                        </a:lnTo>
                        <a:lnTo>
                          <a:pt x="2" y="396"/>
                        </a:lnTo>
                        <a:lnTo>
                          <a:pt x="0" y="454"/>
                        </a:lnTo>
                        <a:lnTo>
                          <a:pt x="0" y="520"/>
                        </a:lnTo>
                        <a:lnTo>
                          <a:pt x="3" y="507"/>
                        </a:lnTo>
                        <a:lnTo>
                          <a:pt x="14" y="477"/>
                        </a:lnTo>
                        <a:lnTo>
                          <a:pt x="24" y="458"/>
                        </a:lnTo>
                        <a:lnTo>
                          <a:pt x="37" y="436"/>
                        </a:lnTo>
                        <a:lnTo>
                          <a:pt x="46" y="425"/>
                        </a:lnTo>
                        <a:lnTo>
                          <a:pt x="55" y="413"/>
                        </a:lnTo>
                        <a:lnTo>
                          <a:pt x="66" y="402"/>
                        </a:lnTo>
                        <a:lnTo>
                          <a:pt x="78" y="391"/>
                        </a:lnTo>
                        <a:lnTo>
                          <a:pt x="92" y="378"/>
                        </a:lnTo>
                        <a:lnTo>
                          <a:pt x="106" y="367"/>
                        </a:lnTo>
                        <a:lnTo>
                          <a:pt x="122" y="357"/>
                        </a:lnTo>
                        <a:lnTo>
                          <a:pt x="140" y="347"/>
                        </a:lnTo>
                        <a:lnTo>
                          <a:pt x="159" y="337"/>
                        </a:lnTo>
                        <a:lnTo>
                          <a:pt x="180" y="328"/>
                        </a:lnTo>
                        <a:lnTo>
                          <a:pt x="202" y="319"/>
                        </a:lnTo>
                        <a:lnTo>
                          <a:pt x="226" y="313"/>
                        </a:lnTo>
                        <a:lnTo>
                          <a:pt x="253" y="306"/>
                        </a:lnTo>
                        <a:lnTo>
                          <a:pt x="281" y="302"/>
                        </a:lnTo>
                        <a:lnTo>
                          <a:pt x="312" y="297"/>
                        </a:lnTo>
                        <a:lnTo>
                          <a:pt x="344" y="295"/>
                        </a:lnTo>
                        <a:lnTo>
                          <a:pt x="378" y="294"/>
                        </a:lnTo>
                        <a:lnTo>
                          <a:pt x="415" y="295"/>
                        </a:lnTo>
                        <a:lnTo>
                          <a:pt x="453" y="297"/>
                        </a:lnTo>
                        <a:lnTo>
                          <a:pt x="495" y="302"/>
                        </a:lnTo>
                        <a:lnTo>
                          <a:pt x="539" y="305"/>
                        </a:lnTo>
                        <a:lnTo>
                          <a:pt x="586" y="308"/>
                        </a:lnTo>
                        <a:lnTo>
                          <a:pt x="635" y="309"/>
                        </a:lnTo>
                        <a:lnTo>
                          <a:pt x="686" y="309"/>
                        </a:lnTo>
                        <a:lnTo>
                          <a:pt x="738" y="307"/>
                        </a:lnTo>
                        <a:lnTo>
                          <a:pt x="794" y="305"/>
                        </a:lnTo>
                        <a:lnTo>
                          <a:pt x="850" y="302"/>
                        </a:lnTo>
                        <a:lnTo>
                          <a:pt x="906" y="296"/>
                        </a:lnTo>
                        <a:lnTo>
                          <a:pt x="964" y="290"/>
                        </a:lnTo>
                        <a:lnTo>
                          <a:pt x="1023" y="285"/>
                        </a:lnTo>
                        <a:lnTo>
                          <a:pt x="1082" y="277"/>
                        </a:lnTo>
                        <a:lnTo>
                          <a:pt x="1141" y="269"/>
                        </a:lnTo>
                        <a:lnTo>
                          <a:pt x="1257" y="253"/>
                        </a:lnTo>
                        <a:lnTo>
                          <a:pt x="1371" y="234"/>
                        </a:lnTo>
                        <a:lnTo>
                          <a:pt x="1479" y="215"/>
                        </a:lnTo>
                        <a:lnTo>
                          <a:pt x="1579" y="196"/>
                        </a:lnTo>
                        <a:lnTo>
                          <a:pt x="1670" y="177"/>
                        </a:lnTo>
                        <a:lnTo>
                          <a:pt x="1749" y="160"/>
                        </a:lnTo>
                        <a:lnTo>
                          <a:pt x="1815" y="147"/>
                        </a:lnTo>
                        <a:lnTo>
                          <a:pt x="1864" y="136"/>
                        </a:lnTo>
                        <a:lnTo>
                          <a:pt x="1895" y="128"/>
                        </a:lnTo>
                        <a:lnTo>
                          <a:pt x="1906" y="126"/>
                        </a:lnTo>
                        <a:lnTo>
                          <a:pt x="1901" y="127"/>
                        </a:lnTo>
                        <a:lnTo>
                          <a:pt x="1920" y="121"/>
                        </a:lnTo>
                        <a:lnTo>
                          <a:pt x="1936" y="117"/>
                        </a:lnTo>
                        <a:lnTo>
                          <a:pt x="1953" y="110"/>
                        </a:lnTo>
                        <a:lnTo>
                          <a:pt x="1969" y="102"/>
                        </a:lnTo>
                        <a:lnTo>
                          <a:pt x="1986" y="95"/>
                        </a:lnTo>
                        <a:lnTo>
                          <a:pt x="1994" y="90"/>
                        </a:lnTo>
                        <a:lnTo>
                          <a:pt x="1999" y="85"/>
                        </a:lnTo>
                        <a:lnTo>
                          <a:pt x="2005" y="80"/>
                        </a:lnTo>
                        <a:lnTo>
                          <a:pt x="2009" y="75"/>
                        </a:lnTo>
                        <a:lnTo>
                          <a:pt x="2013" y="69"/>
                        </a:lnTo>
                        <a:lnTo>
                          <a:pt x="2014" y="63"/>
                        </a:lnTo>
                        <a:lnTo>
                          <a:pt x="2014" y="58"/>
                        </a:lnTo>
                        <a:lnTo>
                          <a:pt x="2012" y="51"/>
                        </a:lnTo>
                        <a:lnTo>
                          <a:pt x="2007" y="46"/>
                        </a:lnTo>
                        <a:lnTo>
                          <a:pt x="2002" y="40"/>
                        </a:lnTo>
                        <a:lnTo>
                          <a:pt x="1993" y="33"/>
                        </a:lnTo>
                        <a:lnTo>
                          <a:pt x="1980" y="27"/>
                        </a:lnTo>
                        <a:lnTo>
                          <a:pt x="1967" y="20"/>
                        </a:lnTo>
                        <a:lnTo>
                          <a:pt x="1949" y="13"/>
                        </a:lnTo>
                        <a:lnTo>
                          <a:pt x="1929" y="7"/>
                        </a:lnTo>
                        <a:lnTo>
                          <a:pt x="1906" y="0"/>
                        </a:lnTo>
                        <a:close/>
                      </a:path>
                    </a:pathLst>
                  </a:custGeom>
                  <a:solidFill>
                    <a:srgbClr val="3D4189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  <p:sp>
                <p:nvSpPr>
                  <p:cNvPr id="515" name="Freeform 204"/>
                  <p:cNvSpPr>
                    <a:spLocks/>
                  </p:cNvSpPr>
                  <p:nvPr/>
                </p:nvSpPr>
                <p:spPr bwMode="auto">
                  <a:xfrm>
                    <a:off x="3433" y="3608"/>
                    <a:ext cx="324" cy="225"/>
                  </a:xfrm>
                  <a:custGeom>
                    <a:avLst/>
                    <a:gdLst>
                      <a:gd name="T0" fmla="*/ 0 w 2275"/>
                      <a:gd name="T1" fmla="*/ 0 h 1580"/>
                      <a:gd name="T2" fmla="*/ 0 w 2275"/>
                      <a:gd name="T3" fmla="*/ 0 h 1580"/>
                      <a:gd name="T4" fmla="*/ 0 w 2275"/>
                      <a:gd name="T5" fmla="*/ 0 h 1580"/>
                      <a:gd name="T6" fmla="*/ 0 w 2275"/>
                      <a:gd name="T7" fmla="*/ 0 h 1580"/>
                      <a:gd name="T8" fmla="*/ 0 w 2275"/>
                      <a:gd name="T9" fmla="*/ 0 h 1580"/>
                      <a:gd name="T10" fmla="*/ 0 w 2275"/>
                      <a:gd name="T11" fmla="*/ 0 h 1580"/>
                      <a:gd name="T12" fmla="*/ 0 w 2275"/>
                      <a:gd name="T13" fmla="*/ 0 h 1580"/>
                      <a:gd name="T14" fmla="*/ 0 w 2275"/>
                      <a:gd name="T15" fmla="*/ 0 h 1580"/>
                      <a:gd name="T16" fmla="*/ 0 w 2275"/>
                      <a:gd name="T17" fmla="*/ 0 h 1580"/>
                      <a:gd name="T18" fmla="*/ 0 w 2275"/>
                      <a:gd name="T19" fmla="*/ 0 h 1580"/>
                      <a:gd name="T20" fmla="*/ 0 w 2275"/>
                      <a:gd name="T21" fmla="*/ 0 h 1580"/>
                      <a:gd name="T22" fmla="*/ 0 w 2275"/>
                      <a:gd name="T23" fmla="*/ 0 h 1580"/>
                      <a:gd name="T24" fmla="*/ 0 w 2275"/>
                      <a:gd name="T25" fmla="*/ 0 h 1580"/>
                      <a:gd name="T26" fmla="*/ 0 w 2275"/>
                      <a:gd name="T27" fmla="*/ 0 h 1580"/>
                      <a:gd name="T28" fmla="*/ 0 w 2275"/>
                      <a:gd name="T29" fmla="*/ 0 h 1580"/>
                      <a:gd name="T30" fmla="*/ 0 w 2275"/>
                      <a:gd name="T31" fmla="*/ 0 h 1580"/>
                      <a:gd name="T32" fmla="*/ 0 w 2275"/>
                      <a:gd name="T33" fmla="*/ 0 h 1580"/>
                      <a:gd name="T34" fmla="*/ 0 w 2275"/>
                      <a:gd name="T35" fmla="*/ 0 h 1580"/>
                      <a:gd name="T36" fmla="*/ 0 w 2275"/>
                      <a:gd name="T37" fmla="*/ 0 h 1580"/>
                      <a:gd name="T38" fmla="*/ 0 w 2275"/>
                      <a:gd name="T39" fmla="*/ 0 h 1580"/>
                      <a:gd name="T40" fmla="*/ 0 w 2275"/>
                      <a:gd name="T41" fmla="*/ 0 h 1580"/>
                      <a:gd name="T42" fmla="*/ 0 w 2275"/>
                      <a:gd name="T43" fmla="*/ 0 h 1580"/>
                      <a:gd name="T44" fmla="*/ 0 w 2275"/>
                      <a:gd name="T45" fmla="*/ 0 h 1580"/>
                      <a:gd name="T46" fmla="*/ 0 w 2275"/>
                      <a:gd name="T47" fmla="*/ 0 h 1580"/>
                      <a:gd name="T48" fmla="*/ 0 w 2275"/>
                      <a:gd name="T49" fmla="*/ 0 h 1580"/>
                      <a:gd name="T50" fmla="*/ 0 w 2275"/>
                      <a:gd name="T51" fmla="*/ 0 h 1580"/>
                      <a:gd name="T52" fmla="*/ 0 w 2275"/>
                      <a:gd name="T53" fmla="*/ 0 h 1580"/>
                      <a:gd name="T54" fmla="*/ 0 w 2275"/>
                      <a:gd name="T55" fmla="*/ 0 h 1580"/>
                      <a:gd name="T56" fmla="*/ 0 w 2275"/>
                      <a:gd name="T57" fmla="*/ 0 h 1580"/>
                      <a:gd name="T58" fmla="*/ 0 w 2275"/>
                      <a:gd name="T59" fmla="*/ 0 h 1580"/>
                      <a:gd name="T60" fmla="*/ 0 w 2275"/>
                      <a:gd name="T61" fmla="*/ 0 h 1580"/>
                      <a:gd name="T62" fmla="*/ 0 w 2275"/>
                      <a:gd name="T63" fmla="*/ 0 h 1580"/>
                      <a:gd name="T64" fmla="*/ 0 w 2275"/>
                      <a:gd name="T65" fmla="*/ 0 h 1580"/>
                      <a:gd name="T66" fmla="*/ 0 w 2275"/>
                      <a:gd name="T67" fmla="*/ 0 h 1580"/>
                      <a:gd name="T68" fmla="*/ 0 w 2275"/>
                      <a:gd name="T69" fmla="*/ 0 h 1580"/>
                      <a:gd name="T70" fmla="*/ 0 w 2275"/>
                      <a:gd name="T71" fmla="*/ 0 h 1580"/>
                      <a:gd name="T72" fmla="*/ 0 w 2275"/>
                      <a:gd name="T73" fmla="*/ 0 h 1580"/>
                      <a:gd name="T74" fmla="*/ 0 w 2275"/>
                      <a:gd name="T75" fmla="*/ 0 h 1580"/>
                      <a:gd name="T76" fmla="*/ 0 w 2275"/>
                      <a:gd name="T77" fmla="*/ 0 h 1580"/>
                      <a:gd name="T78" fmla="*/ 0 w 2275"/>
                      <a:gd name="T79" fmla="*/ 0 h 1580"/>
                      <a:gd name="T80" fmla="*/ 0 w 2275"/>
                      <a:gd name="T81" fmla="*/ 0 h 1580"/>
                      <a:gd name="T82" fmla="*/ 0 w 2275"/>
                      <a:gd name="T83" fmla="*/ 0 h 1580"/>
                      <a:gd name="T84" fmla="*/ 0 w 2275"/>
                      <a:gd name="T85" fmla="*/ 0 h 1580"/>
                      <a:gd name="T86" fmla="*/ 0 w 2275"/>
                      <a:gd name="T87" fmla="*/ 0 h 1580"/>
                      <a:gd name="T88" fmla="*/ 0 w 2275"/>
                      <a:gd name="T89" fmla="*/ 0 h 1580"/>
                      <a:gd name="T90" fmla="*/ 0 w 2275"/>
                      <a:gd name="T91" fmla="*/ 0 h 1580"/>
                      <a:gd name="T92" fmla="*/ 0 w 2275"/>
                      <a:gd name="T93" fmla="*/ 0 h 1580"/>
                      <a:gd name="T94" fmla="*/ 0 w 2275"/>
                      <a:gd name="T95" fmla="*/ 0 h 1580"/>
                      <a:gd name="T96" fmla="*/ 0 w 2275"/>
                      <a:gd name="T97" fmla="*/ 0 h 1580"/>
                      <a:gd name="T98" fmla="*/ 0 w 2275"/>
                      <a:gd name="T99" fmla="*/ 0 h 1580"/>
                      <a:gd name="T100" fmla="*/ 0 w 2275"/>
                      <a:gd name="T101" fmla="*/ 0 h 1580"/>
                      <a:gd name="T102" fmla="*/ 0 w 2275"/>
                      <a:gd name="T103" fmla="*/ 0 h 1580"/>
                      <a:gd name="T104" fmla="*/ 0 w 2275"/>
                      <a:gd name="T105" fmla="*/ 0 h 1580"/>
                      <a:gd name="T106" fmla="*/ 0 w 2275"/>
                      <a:gd name="T107" fmla="*/ 0 h 1580"/>
                      <a:gd name="T108" fmla="*/ 0 w 2275"/>
                      <a:gd name="T109" fmla="*/ 0 h 1580"/>
                      <a:gd name="T110" fmla="*/ 0 w 2275"/>
                      <a:gd name="T111" fmla="*/ 0 h 1580"/>
                      <a:gd name="T112" fmla="*/ 0 w 2275"/>
                      <a:gd name="T113" fmla="*/ 0 h 1580"/>
                      <a:gd name="T114" fmla="*/ 0 60000 65536"/>
                      <a:gd name="T115" fmla="*/ 0 60000 65536"/>
                      <a:gd name="T116" fmla="*/ 0 60000 65536"/>
                      <a:gd name="T117" fmla="*/ 0 60000 65536"/>
                      <a:gd name="T118" fmla="*/ 0 60000 65536"/>
                      <a:gd name="T119" fmla="*/ 0 60000 65536"/>
                      <a:gd name="T120" fmla="*/ 0 60000 65536"/>
                      <a:gd name="T121" fmla="*/ 0 60000 65536"/>
                      <a:gd name="T122" fmla="*/ 0 60000 65536"/>
                      <a:gd name="T123" fmla="*/ 0 60000 65536"/>
                      <a:gd name="T124" fmla="*/ 0 60000 65536"/>
                      <a:gd name="T125" fmla="*/ 0 60000 65536"/>
                      <a:gd name="T126" fmla="*/ 0 60000 65536"/>
                      <a:gd name="T127" fmla="*/ 0 60000 65536"/>
                      <a:gd name="T128" fmla="*/ 0 60000 65536"/>
                      <a:gd name="T129" fmla="*/ 0 60000 65536"/>
                      <a:gd name="T130" fmla="*/ 0 60000 65536"/>
                      <a:gd name="T131" fmla="*/ 0 60000 65536"/>
                      <a:gd name="T132" fmla="*/ 0 60000 65536"/>
                      <a:gd name="T133" fmla="*/ 0 60000 65536"/>
                      <a:gd name="T134" fmla="*/ 0 60000 65536"/>
                      <a:gd name="T135" fmla="*/ 0 60000 65536"/>
                      <a:gd name="T136" fmla="*/ 0 60000 65536"/>
                      <a:gd name="T137" fmla="*/ 0 60000 65536"/>
                      <a:gd name="T138" fmla="*/ 0 60000 65536"/>
                      <a:gd name="T139" fmla="*/ 0 60000 65536"/>
                      <a:gd name="T140" fmla="*/ 0 60000 65536"/>
                      <a:gd name="T141" fmla="*/ 0 60000 65536"/>
                      <a:gd name="T142" fmla="*/ 0 60000 65536"/>
                      <a:gd name="T143" fmla="*/ 0 60000 65536"/>
                      <a:gd name="T144" fmla="*/ 0 60000 65536"/>
                      <a:gd name="T145" fmla="*/ 0 60000 65536"/>
                      <a:gd name="T146" fmla="*/ 0 60000 65536"/>
                      <a:gd name="T147" fmla="*/ 0 60000 65536"/>
                      <a:gd name="T148" fmla="*/ 0 60000 65536"/>
                      <a:gd name="T149" fmla="*/ 0 60000 65536"/>
                      <a:gd name="T150" fmla="*/ 0 60000 65536"/>
                      <a:gd name="T151" fmla="*/ 0 60000 65536"/>
                      <a:gd name="T152" fmla="*/ 0 60000 65536"/>
                      <a:gd name="T153" fmla="*/ 0 60000 65536"/>
                      <a:gd name="T154" fmla="*/ 0 60000 65536"/>
                      <a:gd name="T155" fmla="*/ 0 60000 65536"/>
                      <a:gd name="T156" fmla="*/ 0 60000 65536"/>
                      <a:gd name="T157" fmla="*/ 0 60000 65536"/>
                      <a:gd name="T158" fmla="*/ 0 60000 65536"/>
                      <a:gd name="T159" fmla="*/ 0 60000 65536"/>
                      <a:gd name="T160" fmla="*/ 0 60000 65536"/>
                      <a:gd name="T161" fmla="*/ 0 60000 65536"/>
                      <a:gd name="T162" fmla="*/ 0 60000 65536"/>
                      <a:gd name="T163" fmla="*/ 0 60000 65536"/>
                      <a:gd name="T164" fmla="*/ 0 60000 65536"/>
                      <a:gd name="T165" fmla="*/ 0 60000 65536"/>
                      <a:gd name="T166" fmla="*/ 0 60000 65536"/>
                      <a:gd name="T167" fmla="*/ 0 60000 65536"/>
                      <a:gd name="T168" fmla="*/ 0 60000 65536"/>
                      <a:gd name="T169" fmla="*/ 0 60000 65536"/>
                      <a:gd name="T170" fmla="*/ 0 60000 65536"/>
                      <a:gd name="T171" fmla="*/ 0 w 2275"/>
                      <a:gd name="T172" fmla="*/ 0 h 1580"/>
                      <a:gd name="T173" fmla="*/ 2275 w 2275"/>
                      <a:gd name="T174" fmla="*/ 1580 h 1580"/>
                    </a:gdLst>
                    <a:ahLst/>
                    <a:cxnLst>
                      <a:cxn ang="T114">
                        <a:pos x="T0" y="T1"/>
                      </a:cxn>
                      <a:cxn ang="T115">
                        <a:pos x="T2" y="T3"/>
                      </a:cxn>
                      <a:cxn ang="T116">
                        <a:pos x="T4" y="T5"/>
                      </a:cxn>
                      <a:cxn ang="T117">
                        <a:pos x="T6" y="T7"/>
                      </a:cxn>
                      <a:cxn ang="T118">
                        <a:pos x="T8" y="T9"/>
                      </a:cxn>
                      <a:cxn ang="T119">
                        <a:pos x="T10" y="T11"/>
                      </a:cxn>
                      <a:cxn ang="T120">
                        <a:pos x="T12" y="T13"/>
                      </a:cxn>
                      <a:cxn ang="T121">
                        <a:pos x="T14" y="T15"/>
                      </a:cxn>
                      <a:cxn ang="T122">
                        <a:pos x="T16" y="T17"/>
                      </a:cxn>
                      <a:cxn ang="T123">
                        <a:pos x="T18" y="T19"/>
                      </a:cxn>
                      <a:cxn ang="T124">
                        <a:pos x="T20" y="T21"/>
                      </a:cxn>
                      <a:cxn ang="T125">
                        <a:pos x="T22" y="T23"/>
                      </a:cxn>
                      <a:cxn ang="T126">
                        <a:pos x="T24" y="T25"/>
                      </a:cxn>
                      <a:cxn ang="T127">
                        <a:pos x="T26" y="T27"/>
                      </a:cxn>
                      <a:cxn ang="T128">
                        <a:pos x="T28" y="T29"/>
                      </a:cxn>
                      <a:cxn ang="T129">
                        <a:pos x="T30" y="T31"/>
                      </a:cxn>
                      <a:cxn ang="T130">
                        <a:pos x="T32" y="T33"/>
                      </a:cxn>
                      <a:cxn ang="T131">
                        <a:pos x="T34" y="T35"/>
                      </a:cxn>
                      <a:cxn ang="T132">
                        <a:pos x="T36" y="T37"/>
                      </a:cxn>
                      <a:cxn ang="T133">
                        <a:pos x="T38" y="T39"/>
                      </a:cxn>
                      <a:cxn ang="T134">
                        <a:pos x="T40" y="T41"/>
                      </a:cxn>
                      <a:cxn ang="T135">
                        <a:pos x="T42" y="T43"/>
                      </a:cxn>
                      <a:cxn ang="T136">
                        <a:pos x="T44" y="T45"/>
                      </a:cxn>
                      <a:cxn ang="T137">
                        <a:pos x="T46" y="T47"/>
                      </a:cxn>
                      <a:cxn ang="T138">
                        <a:pos x="T48" y="T49"/>
                      </a:cxn>
                      <a:cxn ang="T139">
                        <a:pos x="T50" y="T51"/>
                      </a:cxn>
                      <a:cxn ang="T140">
                        <a:pos x="T52" y="T53"/>
                      </a:cxn>
                      <a:cxn ang="T141">
                        <a:pos x="T54" y="T55"/>
                      </a:cxn>
                      <a:cxn ang="T142">
                        <a:pos x="T56" y="T57"/>
                      </a:cxn>
                      <a:cxn ang="T143">
                        <a:pos x="T58" y="T59"/>
                      </a:cxn>
                      <a:cxn ang="T144">
                        <a:pos x="T60" y="T61"/>
                      </a:cxn>
                      <a:cxn ang="T145">
                        <a:pos x="T62" y="T63"/>
                      </a:cxn>
                      <a:cxn ang="T146">
                        <a:pos x="T64" y="T65"/>
                      </a:cxn>
                      <a:cxn ang="T147">
                        <a:pos x="T66" y="T67"/>
                      </a:cxn>
                      <a:cxn ang="T148">
                        <a:pos x="T68" y="T69"/>
                      </a:cxn>
                      <a:cxn ang="T149">
                        <a:pos x="T70" y="T71"/>
                      </a:cxn>
                      <a:cxn ang="T150">
                        <a:pos x="T72" y="T73"/>
                      </a:cxn>
                      <a:cxn ang="T151">
                        <a:pos x="T74" y="T75"/>
                      </a:cxn>
                      <a:cxn ang="T152">
                        <a:pos x="T76" y="T77"/>
                      </a:cxn>
                      <a:cxn ang="T153">
                        <a:pos x="T78" y="T79"/>
                      </a:cxn>
                      <a:cxn ang="T154">
                        <a:pos x="T80" y="T81"/>
                      </a:cxn>
                      <a:cxn ang="T155">
                        <a:pos x="T82" y="T83"/>
                      </a:cxn>
                      <a:cxn ang="T156">
                        <a:pos x="T84" y="T85"/>
                      </a:cxn>
                      <a:cxn ang="T157">
                        <a:pos x="T86" y="T87"/>
                      </a:cxn>
                      <a:cxn ang="T158">
                        <a:pos x="T88" y="T89"/>
                      </a:cxn>
                      <a:cxn ang="T159">
                        <a:pos x="T90" y="T91"/>
                      </a:cxn>
                      <a:cxn ang="T160">
                        <a:pos x="T92" y="T93"/>
                      </a:cxn>
                      <a:cxn ang="T161">
                        <a:pos x="T94" y="T95"/>
                      </a:cxn>
                      <a:cxn ang="T162">
                        <a:pos x="T96" y="T97"/>
                      </a:cxn>
                      <a:cxn ang="T163">
                        <a:pos x="T98" y="T99"/>
                      </a:cxn>
                      <a:cxn ang="T164">
                        <a:pos x="T100" y="T101"/>
                      </a:cxn>
                      <a:cxn ang="T165">
                        <a:pos x="T102" y="T103"/>
                      </a:cxn>
                      <a:cxn ang="T166">
                        <a:pos x="T104" y="T105"/>
                      </a:cxn>
                      <a:cxn ang="T167">
                        <a:pos x="T106" y="T107"/>
                      </a:cxn>
                      <a:cxn ang="T168">
                        <a:pos x="T108" y="T109"/>
                      </a:cxn>
                      <a:cxn ang="T169">
                        <a:pos x="T110" y="T111"/>
                      </a:cxn>
                      <a:cxn ang="T170">
                        <a:pos x="T112" y="T113"/>
                      </a:cxn>
                    </a:cxnLst>
                    <a:rect l="T171" t="T172" r="T173" b="T174"/>
                    <a:pathLst>
                      <a:path w="2275" h="1580">
                        <a:moveTo>
                          <a:pt x="1248" y="671"/>
                        </a:moveTo>
                        <a:lnTo>
                          <a:pt x="1201" y="695"/>
                        </a:lnTo>
                        <a:lnTo>
                          <a:pt x="1155" y="717"/>
                        </a:lnTo>
                        <a:lnTo>
                          <a:pt x="1110" y="737"/>
                        </a:lnTo>
                        <a:lnTo>
                          <a:pt x="1065" y="756"/>
                        </a:lnTo>
                        <a:lnTo>
                          <a:pt x="1021" y="774"/>
                        </a:lnTo>
                        <a:lnTo>
                          <a:pt x="976" y="789"/>
                        </a:lnTo>
                        <a:lnTo>
                          <a:pt x="934" y="804"/>
                        </a:lnTo>
                        <a:lnTo>
                          <a:pt x="891" y="816"/>
                        </a:lnTo>
                        <a:lnTo>
                          <a:pt x="848" y="827"/>
                        </a:lnTo>
                        <a:lnTo>
                          <a:pt x="807" y="837"/>
                        </a:lnTo>
                        <a:lnTo>
                          <a:pt x="766" y="846"/>
                        </a:lnTo>
                        <a:lnTo>
                          <a:pt x="725" y="853"/>
                        </a:lnTo>
                        <a:lnTo>
                          <a:pt x="685" y="858"/>
                        </a:lnTo>
                        <a:lnTo>
                          <a:pt x="645" y="863"/>
                        </a:lnTo>
                        <a:lnTo>
                          <a:pt x="606" y="865"/>
                        </a:lnTo>
                        <a:lnTo>
                          <a:pt x="567" y="866"/>
                        </a:lnTo>
                        <a:lnTo>
                          <a:pt x="529" y="866"/>
                        </a:lnTo>
                        <a:lnTo>
                          <a:pt x="491" y="865"/>
                        </a:lnTo>
                        <a:lnTo>
                          <a:pt x="453" y="863"/>
                        </a:lnTo>
                        <a:lnTo>
                          <a:pt x="416" y="858"/>
                        </a:lnTo>
                        <a:lnTo>
                          <a:pt x="380" y="853"/>
                        </a:lnTo>
                        <a:lnTo>
                          <a:pt x="343" y="846"/>
                        </a:lnTo>
                        <a:lnTo>
                          <a:pt x="307" y="838"/>
                        </a:lnTo>
                        <a:lnTo>
                          <a:pt x="272" y="828"/>
                        </a:lnTo>
                        <a:lnTo>
                          <a:pt x="236" y="818"/>
                        </a:lnTo>
                        <a:lnTo>
                          <a:pt x="202" y="806"/>
                        </a:lnTo>
                        <a:lnTo>
                          <a:pt x="167" y="794"/>
                        </a:lnTo>
                        <a:lnTo>
                          <a:pt x="133" y="779"/>
                        </a:lnTo>
                        <a:lnTo>
                          <a:pt x="99" y="764"/>
                        </a:lnTo>
                        <a:lnTo>
                          <a:pt x="66" y="747"/>
                        </a:lnTo>
                        <a:lnTo>
                          <a:pt x="32" y="729"/>
                        </a:lnTo>
                        <a:lnTo>
                          <a:pt x="0" y="710"/>
                        </a:lnTo>
                        <a:lnTo>
                          <a:pt x="0" y="756"/>
                        </a:lnTo>
                        <a:lnTo>
                          <a:pt x="1" y="803"/>
                        </a:lnTo>
                        <a:lnTo>
                          <a:pt x="3" y="847"/>
                        </a:lnTo>
                        <a:lnTo>
                          <a:pt x="6" y="892"/>
                        </a:lnTo>
                        <a:lnTo>
                          <a:pt x="10" y="935"/>
                        </a:lnTo>
                        <a:lnTo>
                          <a:pt x="16" y="977"/>
                        </a:lnTo>
                        <a:lnTo>
                          <a:pt x="22" y="1020"/>
                        </a:lnTo>
                        <a:lnTo>
                          <a:pt x="30" y="1060"/>
                        </a:lnTo>
                        <a:lnTo>
                          <a:pt x="39" y="1100"/>
                        </a:lnTo>
                        <a:lnTo>
                          <a:pt x="50" y="1138"/>
                        </a:lnTo>
                        <a:lnTo>
                          <a:pt x="62" y="1174"/>
                        </a:lnTo>
                        <a:lnTo>
                          <a:pt x="76" y="1210"/>
                        </a:lnTo>
                        <a:lnTo>
                          <a:pt x="84" y="1227"/>
                        </a:lnTo>
                        <a:lnTo>
                          <a:pt x="93" y="1243"/>
                        </a:lnTo>
                        <a:lnTo>
                          <a:pt x="100" y="1260"/>
                        </a:lnTo>
                        <a:lnTo>
                          <a:pt x="109" y="1276"/>
                        </a:lnTo>
                        <a:lnTo>
                          <a:pt x="119" y="1290"/>
                        </a:lnTo>
                        <a:lnTo>
                          <a:pt x="129" y="1306"/>
                        </a:lnTo>
                        <a:lnTo>
                          <a:pt x="139" y="1319"/>
                        </a:lnTo>
                        <a:lnTo>
                          <a:pt x="150" y="1334"/>
                        </a:lnTo>
                        <a:lnTo>
                          <a:pt x="206" y="1397"/>
                        </a:lnTo>
                        <a:lnTo>
                          <a:pt x="265" y="1449"/>
                        </a:lnTo>
                        <a:lnTo>
                          <a:pt x="325" y="1493"/>
                        </a:lnTo>
                        <a:lnTo>
                          <a:pt x="386" y="1526"/>
                        </a:lnTo>
                        <a:lnTo>
                          <a:pt x="449" y="1552"/>
                        </a:lnTo>
                        <a:lnTo>
                          <a:pt x="513" y="1568"/>
                        </a:lnTo>
                        <a:lnTo>
                          <a:pt x="578" y="1578"/>
                        </a:lnTo>
                        <a:lnTo>
                          <a:pt x="643" y="1580"/>
                        </a:lnTo>
                        <a:lnTo>
                          <a:pt x="709" y="1575"/>
                        </a:lnTo>
                        <a:lnTo>
                          <a:pt x="776" y="1564"/>
                        </a:lnTo>
                        <a:lnTo>
                          <a:pt x="843" y="1546"/>
                        </a:lnTo>
                        <a:lnTo>
                          <a:pt x="908" y="1524"/>
                        </a:lnTo>
                        <a:lnTo>
                          <a:pt x="975" y="1497"/>
                        </a:lnTo>
                        <a:lnTo>
                          <a:pt x="1042" y="1465"/>
                        </a:lnTo>
                        <a:lnTo>
                          <a:pt x="1106" y="1428"/>
                        </a:lnTo>
                        <a:lnTo>
                          <a:pt x="1172" y="1389"/>
                        </a:lnTo>
                        <a:lnTo>
                          <a:pt x="1236" y="1347"/>
                        </a:lnTo>
                        <a:lnTo>
                          <a:pt x="1299" y="1301"/>
                        </a:lnTo>
                        <a:lnTo>
                          <a:pt x="1360" y="1253"/>
                        </a:lnTo>
                        <a:lnTo>
                          <a:pt x="1421" y="1204"/>
                        </a:lnTo>
                        <a:lnTo>
                          <a:pt x="1479" y="1154"/>
                        </a:lnTo>
                        <a:lnTo>
                          <a:pt x="1537" y="1104"/>
                        </a:lnTo>
                        <a:lnTo>
                          <a:pt x="1592" y="1053"/>
                        </a:lnTo>
                        <a:lnTo>
                          <a:pt x="1645" y="1002"/>
                        </a:lnTo>
                        <a:lnTo>
                          <a:pt x="1695" y="951"/>
                        </a:lnTo>
                        <a:lnTo>
                          <a:pt x="1744" y="902"/>
                        </a:lnTo>
                        <a:lnTo>
                          <a:pt x="1790" y="855"/>
                        </a:lnTo>
                        <a:lnTo>
                          <a:pt x="1832" y="809"/>
                        </a:lnTo>
                        <a:lnTo>
                          <a:pt x="1909" y="726"/>
                        </a:lnTo>
                        <a:lnTo>
                          <a:pt x="1971" y="657"/>
                        </a:lnTo>
                        <a:lnTo>
                          <a:pt x="1992" y="634"/>
                        </a:lnTo>
                        <a:lnTo>
                          <a:pt x="2014" y="606"/>
                        </a:lnTo>
                        <a:lnTo>
                          <a:pt x="2035" y="576"/>
                        </a:lnTo>
                        <a:lnTo>
                          <a:pt x="2057" y="542"/>
                        </a:lnTo>
                        <a:lnTo>
                          <a:pt x="2079" y="507"/>
                        </a:lnTo>
                        <a:lnTo>
                          <a:pt x="2100" y="469"/>
                        </a:lnTo>
                        <a:lnTo>
                          <a:pt x="2122" y="429"/>
                        </a:lnTo>
                        <a:lnTo>
                          <a:pt x="2143" y="387"/>
                        </a:lnTo>
                        <a:lnTo>
                          <a:pt x="2163" y="342"/>
                        </a:lnTo>
                        <a:lnTo>
                          <a:pt x="2183" y="296"/>
                        </a:lnTo>
                        <a:lnTo>
                          <a:pt x="2201" y="249"/>
                        </a:lnTo>
                        <a:lnTo>
                          <a:pt x="2218" y="201"/>
                        </a:lnTo>
                        <a:lnTo>
                          <a:pt x="2235" y="152"/>
                        </a:lnTo>
                        <a:lnTo>
                          <a:pt x="2250" y="102"/>
                        </a:lnTo>
                        <a:lnTo>
                          <a:pt x="2263" y="52"/>
                        </a:lnTo>
                        <a:lnTo>
                          <a:pt x="2275" y="0"/>
                        </a:lnTo>
                        <a:lnTo>
                          <a:pt x="2217" y="47"/>
                        </a:lnTo>
                        <a:lnTo>
                          <a:pt x="2158" y="93"/>
                        </a:lnTo>
                        <a:lnTo>
                          <a:pt x="2098" y="138"/>
                        </a:lnTo>
                        <a:lnTo>
                          <a:pt x="2038" y="183"/>
                        </a:lnTo>
                        <a:lnTo>
                          <a:pt x="1976" y="227"/>
                        </a:lnTo>
                        <a:lnTo>
                          <a:pt x="1914" y="271"/>
                        </a:lnTo>
                        <a:lnTo>
                          <a:pt x="1852" y="313"/>
                        </a:lnTo>
                        <a:lnTo>
                          <a:pt x="1788" y="355"/>
                        </a:lnTo>
                        <a:lnTo>
                          <a:pt x="1724" y="398"/>
                        </a:lnTo>
                        <a:lnTo>
                          <a:pt x="1658" y="438"/>
                        </a:lnTo>
                        <a:lnTo>
                          <a:pt x="1593" y="479"/>
                        </a:lnTo>
                        <a:lnTo>
                          <a:pt x="1525" y="518"/>
                        </a:lnTo>
                        <a:lnTo>
                          <a:pt x="1457" y="558"/>
                        </a:lnTo>
                        <a:lnTo>
                          <a:pt x="1388" y="596"/>
                        </a:lnTo>
                        <a:lnTo>
                          <a:pt x="1319" y="634"/>
                        </a:lnTo>
                        <a:lnTo>
                          <a:pt x="1248" y="671"/>
                        </a:lnTo>
                        <a:close/>
                      </a:path>
                    </a:pathLst>
                  </a:custGeom>
                  <a:solidFill>
                    <a:srgbClr val="312276"/>
                  </a:solidFill>
                  <a:ln>
                    <a:noFill/>
                  </a:ln>
                  <a:extLst/>
                </p:spPr>
                <p:txBody>
                  <a:bodyPr/>
                  <a:lstStyle/>
                  <a:p>
                    <a:pPr defTabSz="1042872" fontAlgn="auto" latinLnBrk="0">
                      <a:spcBef>
                        <a:spcPts val="0"/>
                      </a:spcBef>
                      <a:spcAft>
                        <a:spcPts val="0"/>
                      </a:spcAft>
                      <a:defRPr/>
                    </a:pPr>
                    <a:endParaRPr kumimoji="0" lang="ko-KR" altLang="en-US" sz="2100" kern="0">
                      <a:solidFill>
                        <a:sysClr val="windowText" lastClr="000000"/>
                      </a:solidFill>
                      <a:latin typeface="맑은 고딕"/>
                      <a:ea typeface="맑은 고딕"/>
                    </a:endParaRPr>
                  </a:p>
                </p:txBody>
              </p:sp>
            </p:grpSp>
          </p:grpSp>
          <p:grpSp>
            <p:nvGrpSpPr>
              <p:cNvPr id="466" name="Group 205"/>
              <p:cNvGrpSpPr>
                <a:grpSpLocks/>
              </p:cNvGrpSpPr>
              <p:nvPr/>
            </p:nvGrpSpPr>
            <p:grpSpPr bwMode="auto">
              <a:xfrm>
                <a:off x="7609518" y="2347790"/>
                <a:ext cx="449511" cy="260659"/>
                <a:chOff x="2759" y="2304"/>
                <a:chExt cx="1393" cy="766"/>
              </a:xfrm>
            </p:grpSpPr>
            <p:sp>
              <p:nvSpPr>
                <p:cNvPr id="467" name="Freeform 206"/>
                <p:cNvSpPr>
                  <a:spLocks/>
                </p:cNvSpPr>
                <p:nvPr/>
              </p:nvSpPr>
              <p:spPr bwMode="auto">
                <a:xfrm>
                  <a:off x="3640" y="2608"/>
                  <a:ext cx="508" cy="319"/>
                </a:xfrm>
                <a:custGeom>
                  <a:avLst/>
                  <a:gdLst>
                    <a:gd name="T0" fmla="*/ 0 w 3583"/>
                    <a:gd name="T1" fmla="*/ 0 h 2227"/>
                    <a:gd name="T2" fmla="*/ 0 w 3583"/>
                    <a:gd name="T3" fmla="*/ 0 h 2227"/>
                    <a:gd name="T4" fmla="*/ 0 w 3583"/>
                    <a:gd name="T5" fmla="*/ 0 h 2227"/>
                    <a:gd name="T6" fmla="*/ 0 w 3583"/>
                    <a:gd name="T7" fmla="*/ 0 h 2227"/>
                    <a:gd name="T8" fmla="*/ 0 w 3583"/>
                    <a:gd name="T9" fmla="*/ 0 h 2227"/>
                    <a:gd name="T10" fmla="*/ 0 w 3583"/>
                    <a:gd name="T11" fmla="*/ 0 h 2227"/>
                    <a:gd name="T12" fmla="*/ 0 w 3583"/>
                    <a:gd name="T13" fmla="*/ 0 h 2227"/>
                    <a:gd name="T14" fmla="*/ 0 w 3583"/>
                    <a:gd name="T15" fmla="*/ 0 h 2227"/>
                    <a:gd name="T16" fmla="*/ 0 w 3583"/>
                    <a:gd name="T17" fmla="*/ 0 h 2227"/>
                    <a:gd name="T18" fmla="*/ 0 w 3583"/>
                    <a:gd name="T19" fmla="*/ 0 h 2227"/>
                    <a:gd name="T20" fmla="*/ 0 w 3583"/>
                    <a:gd name="T21" fmla="*/ 0 h 2227"/>
                    <a:gd name="T22" fmla="*/ 0 w 3583"/>
                    <a:gd name="T23" fmla="*/ 0 h 2227"/>
                    <a:gd name="T24" fmla="*/ 0 w 3583"/>
                    <a:gd name="T25" fmla="*/ 0 h 2227"/>
                    <a:gd name="T26" fmla="*/ 0 w 3583"/>
                    <a:gd name="T27" fmla="*/ 0 h 2227"/>
                    <a:gd name="T28" fmla="*/ 0 w 3583"/>
                    <a:gd name="T29" fmla="*/ 0 h 2227"/>
                    <a:gd name="T30" fmla="*/ 0 w 3583"/>
                    <a:gd name="T31" fmla="*/ 0 h 2227"/>
                    <a:gd name="T32" fmla="*/ 0 w 3583"/>
                    <a:gd name="T33" fmla="*/ 0 h 2227"/>
                    <a:gd name="T34" fmla="*/ 0 w 3583"/>
                    <a:gd name="T35" fmla="*/ 0 h 2227"/>
                    <a:gd name="T36" fmla="*/ 0 w 3583"/>
                    <a:gd name="T37" fmla="*/ 0 h 2227"/>
                    <a:gd name="T38" fmla="*/ 0 w 3583"/>
                    <a:gd name="T39" fmla="*/ 0 h 2227"/>
                    <a:gd name="T40" fmla="*/ 0 w 3583"/>
                    <a:gd name="T41" fmla="*/ 0 h 2227"/>
                    <a:gd name="T42" fmla="*/ 0 w 3583"/>
                    <a:gd name="T43" fmla="*/ 0 h 2227"/>
                    <a:gd name="T44" fmla="*/ 0 w 3583"/>
                    <a:gd name="T45" fmla="*/ 0 h 2227"/>
                    <a:gd name="T46" fmla="*/ 0 w 3583"/>
                    <a:gd name="T47" fmla="*/ 0 h 2227"/>
                    <a:gd name="T48" fmla="*/ 0 w 3583"/>
                    <a:gd name="T49" fmla="*/ 0 h 2227"/>
                    <a:gd name="T50" fmla="*/ 0 w 3583"/>
                    <a:gd name="T51" fmla="*/ 0 h 2227"/>
                    <a:gd name="T52" fmla="*/ 0 w 3583"/>
                    <a:gd name="T53" fmla="*/ 0 h 2227"/>
                    <a:gd name="T54" fmla="*/ 0 w 3583"/>
                    <a:gd name="T55" fmla="*/ 0 h 2227"/>
                    <a:gd name="T56" fmla="*/ 0 w 3583"/>
                    <a:gd name="T57" fmla="*/ 0 h 2227"/>
                    <a:gd name="T58" fmla="*/ 0 w 3583"/>
                    <a:gd name="T59" fmla="*/ 0 h 2227"/>
                    <a:gd name="T60" fmla="*/ 0 w 3583"/>
                    <a:gd name="T61" fmla="*/ 0 h 2227"/>
                    <a:gd name="T62" fmla="*/ 0 w 3583"/>
                    <a:gd name="T63" fmla="*/ 0 h 2227"/>
                    <a:gd name="T64" fmla="*/ 0 w 3583"/>
                    <a:gd name="T65" fmla="*/ 0 h 2227"/>
                    <a:gd name="T66" fmla="*/ 0 w 3583"/>
                    <a:gd name="T67" fmla="*/ 0 h 2227"/>
                    <a:gd name="T68" fmla="*/ 0 w 3583"/>
                    <a:gd name="T69" fmla="*/ 0 h 2227"/>
                    <a:gd name="T70" fmla="*/ 0 w 3583"/>
                    <a:gd name="T71" fmla="*/ 0 h 2227"/>
                    <a:gd name="T72" fmla="*/ 0 w 3583"/>
                    <a:gd name="T73" fmla="*/ 0 h 2227"/>
                    <a:gd name="T74" fmla="*/ 0 w 3583"/>
                    <a:gd name="T75" fmla="*/ 0 h 2227"/>
                    <a:gd name="T76" fmla="*/ 0 w 3583"/>
                    <a:gd name="T77" fmla="*/ 0 h 2227"/>
                    <a:gd name="T78" fmla="*/ 0 w 3583"/>
                    <a:gd name="T79" fmla="*/ 0 h 2227"/>
                    <a:gd name="T80" fmla="*/ 0 w 3583"/>
                    <a:gd name="T81" fmla="*/ 0 h 2227"/>
                    <a:gd name="T82" fmla="*/ 0 w 3583"/>
                    <a:gd name="T83" fmla="*/ 0 h 2227"/>
                    <a:gd name="T84" fmla="*/ 0 w 3583"/>
                    <a:gd name="T85" fmla="*/ 0 h 2227"/>
                    <a:gd name="T86" fmla="*/ 0 w 3583"/>
                    <a:gd name="T87" fmla="*/ 0 h 2227"/>
                    <a:gd name="T88" fmla="*/ 0 w 3583"/>
                    <a:gd name="T89" fmla="*/ 0 h 2227"/>
                    <a:gd name="T90" fmla="*/ 0 w 3583"/>
                    <a:gd name="T91" fmla="*/ 0 h 2227"/>
                    <a:gd name="T92" fmla="*/ 0 w 3583"/>
                    <a:gd name="T93" fmla="*/ 0 h 2227"/>
                    <a:gd name="T94" fmla="*/ 0 w 3583"/>
                    <a:gd name="T95" fmla="*/ 0 h 2227"/>
                    <a:gd name="T96" fmla="*/ 0 w 3583"/>
                    <a:gd name="T97" fmla="*/ 0 h 2227"/>
                    <a:gd name="T98" fmla="*/ 0 w 3583"/>
                    <a:gd name="T99" fmla="*/ 0 h 2227"/>
                    <a:gd name="T100" fmla="*/ 0 w 3583"/>
                    <a:gd name="T101" fmla="*/ 0 h 2227"/>
                    <a:gd name="T102" fmla="*/ 0 w 3583"/>
                    <a:gd name="T103" fmla="*/ 0 h 2227"/>
                    <a:gd name="T104" fmla="*/ 0 w 3583"/>
                    <a:gd name="T105" fmla="*/ 0 h 2227"/>
                    <a:gd name="T106" fmla="*/ 0 w 3583"/>
                    <a:gd name="T107" fmla="*/ 0 h 2227"/>
                    <a:gd name="T108" fmla="*/ 0 w 3583"/>
                    <a:gd name="T109" fmla="*/ 0 h 2227"/>
                    <a:gd name="T110" fmla="*/ 0 w 3583"/>
                    <a:gd name="T111" fmla="*/ 0 h 2227"/>
                    <a:gd name="T112" fmla="*/ 0 w 3583"/>
                    <a:gd name="T113" fmla="*/ 0 h 2227"/>
                    <a:gd name="T114" fmla="*/ 0 w 3583"/>
                    <a:gd name="T115" fmla="*/ 0 h 2227"/>
                    <a:gd name="T116" fmla="*/ 0 w 3583"/>
                    <a:gd name="T117" fmla="*/ 0 h 2227"/>
                    <a:gd name="T118" fmla="*/ 0 w 3583"/>
                    <a:gd name="T119" fmla="*/ 0 h 2227"/>
                    <a:gd name="T120" fmla="*/ 0 w 3583"/>
                    <a:gd name="T121" fmla="*/ 0 h 2227"/>
                    <a:gd name="T122" fmla="*/ 0 w 3583"/>
                    <a:gd name="T123" fmla="*/ 0 h 2227"/>
                    <a:gd name="T124" fmla="*/ 0 w 3583"/>
                    <a:gd name="T125" fmla="*/ 0 h 2227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3583"/>
                    <a:gd name="T190" fmla="*/ 0 h 2227"/>
                    <a:gd name="T191" fmla="*/ 3583 w 3583"/>
                    <a:gd name="T192" fmla="*/ 2227 h 2227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3583" h="2227">
                      <a:moveTo>
                        <a:pt x="3554" y="1071"/>
                      </a:moveTo>
                      <a:lnTo>
                        <a:pt x="3545" y="1035"/>
                      </a:lnTo>
                      <a:lnTo>
                        <a:pt x="3533" y="998"/>
                      </a:lnTo>
                      <a:lnTo>
                        <a:pt x="3521" y="962"/>
                      </a:lnTo>
                      <a:lnTo>
                        <a:pt x="3506" y="925"/>
                      </a:lnTo>
                      <a:lnTo>
                        <a:pt x="3491" y="887"/>
                      </a:lnTo>
                      <a:lnTo>
                        <a:pt x="3473" y="849"/>
                      </a:lnTo>
                      <a:lnTo>
                        <a:pt x="3455" y="810"/>
                      </a:lnTo>
                      <a:lnTo>
                        <a:pt x="3435" y="771"/>
                      </a:lnTo>
                      <a:lnTo>
                        <a:pt x="3414" y="733"/>
                      </a:lnTo>
                      <a:lnTo>
                        <a:pt x="3392" y="694"/>
                      </a:lnTo>
                      <a:lnTo>
                        <a:pt x="3368" y="657"/>
                      </a:lnTo>
                      <a:lnTo>
                        <a:pt x="3344" y="619"/>
                      </a:lnTo>
                      <a:lnTo>
                        <a:pt x="3318" y="581"/>
                      </a:lnTo>
                      <a:lnTo>
                        <a:pt x="3291" y="544"/>
                      </a:lnTo>
                      <a:lnTo>
                        <a:pt x="3264" y="508"/>
                      </a:lnTo>
                      <a:lnTo>
                        <a:pt x="3236" y="472"/>
                      </a:lnTo>
                      <a:lnTo>
                        <a:pt x="3206" y="437"/>
                      </a:lnTo>
                      <a:lnTo>
                        <a:pt x="3176" y="404"/>
                      </a:lnTo>
                      <a:lnTo>
                        <a:pt x="3144" y="372"/>
                      </a:lnTo>
                      <a:lnTo>
                        <a:pt x="3113" y="340"/>
                      </a:lnTo>
                      <a:lnTo>
                        <a:pt x="3081" y="309"/>
                      </a:lnTo>
                      <a:lnTo>
                        <a:pt x="3049" y="282"/>
                      </a:lnTo>
                      <a:lnTo>
                        <a:pt x="3014" y="254"/>
                      </a:lnTo>
                      <a:lnTo>
                        <a:pt x="2981" y="228"/>
                      </a:lnTo>
                      <a:lnTo>
                        <a:pt x="2946" y="205"/>
                      </a:lnTo>
                      <a:lnTo>
                        <a:pt x="2912" y="183"/>
                      </a:lnTo>
                      <a:lnTo>
                        <a:pt x="2876" y="163"/>
                      </a:lnTo>
                      <a:lnTo>
                        <a:pt x="2841" y="145"/>
                      </a:lnTo>
                      <a:lnTo>
                        <a:pt x="2805" y="128"/>
                      </a:lnTo>
                      <a:lnTo>
                        <a:pt x="2769" y="115"/>
                      </a:lnTo>
                      <a:lnTo>
                        <a:pt x="2734" y="104"/>
                      </a:lnTo>
                      <a:lnTo>
                        <a:pt x="2697" y="95"/>
                      </a:lnTo>
                      <a:lnTo>
                        <a:pt x="2615" y="79"/>
                      </a:lnTo>
                      <a:lnTo>
                        <a:pt x="2531" y="66"/>
                      </a:lnTo>
                      <a:lnTo>
                        <a:pt x="2446" y="52"/>
                      </a:lnTo>
                      <a:lnTo>
                        <a:pt x="2359" y="41"/>
                      </a:lnTo>
                      <a:lnTo>
                        <a:pt x="2270" y="32"/>
                      </a:lnTo>
                      <a:lnTo>
                        <a:pt x="2180" y="23"/>
                      </a:lnTo>
                      <a:lnTo>
                        <a:pt x="2089" y="17"/>
                      </a:lnTo>
                      <a:lnTo>
                        <a:pt x="1998" y="11"/>
                      </a:lnTo>
                      <a:lnTo>
                        <a:pt x="1906" y="7"/>
                      </a:lnTo>
                      <a:lnTo>
                        <a:pt x="1814" y="3"/>
                      </a:lnTo>
                      <a:lnTo>
                        <a:pt x="1722" y="1"/>
                      </a:lnTo>
                      <a:lnTo>
                        <a:pt x="1631" y="0"/>
                      </a:lnTo>
                      <a:lnTo>
                        <a:pt x="1541" y="0"/>
                      </a:lnTo>
                      <a:lnTo>
                        <a:pt x="1450" y="1"/>
                      </a:lnTo>
                      <a:lnTo>
                        <a:pt x="1361" y="3"/>
                      </a:lnTo>
                      <a:lnTo>
                        <a:pt x="1274" y="6"/>
                      </a:lnTo>
                      <a:lnTo>
                        <a:pt x="1188" y="9"/>
                      </a:lnTo>
                      <a:lnTo>
                        <a:pt x="1103" y="13"/>
                      </a:lnTo>
                      <a:lnTo>
                        <a:pt x="1021" y="18"/>
                      </a:lnTo>
                      <a:lnTo>
                        <a:pt x="941" y="23"/>
                      </a:lnTo>
                      <a:lnTo>
                        <a:pt x="864" y="30"/>
                      </a:lnTo>
                      <a:lnTo>
                        <a:pt x="789" y="37"/>
                      </a:lnTo>
                      <a:lnTo>
                        <a:pt x="717" y="43"/>
                      </a:lnTo>
                      <a:lnTo>
                        <a:pt x="649" y="51"/>
                      </a:lnTo>
                      <a:lnTo>
                        <a:pt x="583" y="59"/>
                      </a:lnTo>
                      <a:lnTo>
                        <a:pt x="522" y="67"/>
                      </a:lnTo>
                      <a:lnTo>
                        <a:pt x="464" y="76"/>
                      </a:lnTo>
                      <a:lnTo>
                        <a:pt x="411" y="85"/>
                      </a:lnTo>
                      <a:lnTo>
                        <a:pt x="362" y="94"/>
                      </a:lnTo>
                      <a:lnTo>
                        <a:pt x="319" y="102"/>
                      </a:lnTo>
                      <a:lnTo>
                        <a:pt x="279" y="111"/>
                      </a:lnTo>
                      <a:lnTo>
                        <a:pt x="245" y="120"/>
                      </a:lnTo>
                      <a:lnTo>
                        <a:pt x="214" y="130"/>
                      </a:lnTo>
                      <a:lnTo>
                        <a:pt x="186" y="141"/>
                      </a:lnTo>
                      <a:lnTo>
                        <a:pt x="161" y="155"/>
                      </a:lnTo>
                      <a:lnTo>
                        <a:pt x="137" y="169"/>
                      </a:lnTo>
                      <a:lnTo>
                        <a:pt x="116" y="186"/>
                      </a:lnTo>
                      <a:lnTo>
                        <a:pt x="96" y="203"/>
                      </a:lnTo>
                      <a:lnTo>
                        <a:pt x="79" y="222"/>
                      </a:lnTo>
                      <a:lnTo>
                        <a:pt x="64" y="242"/>
                      </a:lnTo>
                      <a:lnTo>
                        <a:pt x="50" y="264"/>
                      </a:lnTo>
                      <a:lnTo>
                        <a:pt x="38" y="286"/>
                      </a:lnTo>
                      <a:lnTo>
                        <a:pt x="28" y="309"/>
                      </a:lnTo>
                      <a:lnTo>
                        <a:pt x="19" y="335"/>
                      </a:lnTo>
                      <a:lnTo>
                        <a:pt x="12" y="361"/>
                      </a:lnTo>
                      <a:lnTo>
                        <a:pt x="8" y="387"/>
                      </a:lnTo>
                      <a:lnTo>
                        <a:pt x="4" y="414"/>
                      </a:lnTo>
                      <a:lnTo>
                        <a:pt x="1" y="443"/>
                      </a:lnTo>
                      <a:lnTo>
                        <a:pt x="0" y="472"/>
                      </a:lnTo>
                      <a:lnTo>
                        <a:pt x="1" y="502"/>
                      </a:lnTo>
                      <a:lnTo>
                        <a:pt x="2" y="532"/>
                      </a:lnTo>
                      <a:lnTo>
                        <a:pt x="6" y="563"/>
                      </a:lnTo>
                      <a:lnTo>
                        <a:pt x="9" y="594"/>
                      </a:lnTo>
                      <a:lnTo>
                        <a:pt x="15" y="627"/>
                      </a:lnTo>
                      <a:lnTo>
                        <a:pt x="20" y="659"/>
                      </a:lnTo>
                      <a:lnTo>
                        <a:pt x="27" y="691"/>
                      </a:lnTo>
                      <a:lnTo>
                        <a:pt x="35" y="723"/>
                      </a:lnTo>
                      <a:lnTo>
                        <a:pt x="44" y="757"/>
                      </a:lnTo>
                      <a:lnTo>
                        <a:pt x="53" y="789"/>
                      </a:lnTo>
                      <a:lnTo>
                        <a:pt x="63" y="822"/>
                      </a:lnTo>
                      <a:lnTo>
                        <a:pt x="84" y="889"/>
                      </a:lnTo>
                      <a:lnTo>
                        <a:pt x="107" y="955"/>
                      </a:lnTo>
                      <a:lnTo>
                        <a:pt x="119" y="987"/>
                      </a:lnTo>
                      <a:lnTo>
                        <a:pt x="133" y="1021"/>
                      </a:lnTo>
                      <a:lnTo>
                        <a:pt x="148" y="1053"/>
                      </a:lnTo>
                      <a:lnTo>
                        <a:pt x="164" y="1085"/>
                      </a:lnTo>
                      <a:lnTo>
                        <a:pt x="179" y="1117"/>
                      </a:lnTo>
                      <a:lnTo>
                        <a:pt x="197" y="1149"/>
                      </a:lnTo>
                      <a:lnTo>
                        <a:pt x="215" y="1179"/>
                      </a:lnTo>
                      <a:lnTo>
                        <a:pt x="234" y="1210"/>
                      </a:lnTo>
                      <a:lnTo>
                        <a:pt x="254" y="1240"/>
                      </a:lnTo>
                      <a:lnTo>
                        <a:pt x="274" y="1269"/>
                      </a:lnTo>
                      <a:lnTo>
                        <a:pt x="295" y="1299"/>
                      </a:lnTo>
                      <a:lnTo>
                        <a:pt x="316" y="1327"/>
                      </a:lnTo>
                      <a:lnTo>
                        <a:pt x="340" y="1356"/>
                      </a:lnTo>
                      <a:lnTo>
                        <a:pt x="362" y="1383"/>
                      </a:lnTo>
                      <a:lnTo>
                        <a:pt x="386" y="1410"/>
                      </a:lnTo>
                      <a:lnTo>
                        <a:pt x="411" y="1437"/>
                      </a:lnTo>
                      <a:lnTo>
                        <a:pt x="435" y="1463"/>
                      </a:lnTo>
                      <a:lnTo>
                        <a:pt x="461" y="1489"/>
                      </a:lnTo>
                      <a:lnTo>
                        <a:pt x="487" y="1515"/>
                      </a:lnTo>
                      <a:lnTo>
                        <a:pt x="513" y="1539"/>
                      </a:lnTo>
                      <a:lnTo>
                        <a:pt x="540" y="1564"/>
                      </a:lnTo>
                      <a:lnTo>
                        <a:pt x="568" y="1587"/>
                      </a:lnTo>
                      <a:lnTo>
                        <a:pt x="596" y="1609"/>
                      </a:lnTo>
                      <a:lnTo>
                        <a:pt x="625" y="1632"/>
                      </a:lnTo>
                      <a:lnTo>
                        <a:pt x="652" y="1654"/>
                      </a:lnTo>
                      <a:lnTo>
                        <a:pt x="683" y="1675"/>
                      </a:lnTo>
                      <a:lnTo>
                        <a:pt x="711" y="1696"/>
                      </a:lnTo>
                      <a:lnTo>
                        <a:pt x="742" y="1715"/>
                      </a:lnTo>
                      <a:lnTo>
                        <a:pt x="772" y="1735"/>
                      </a:lnTo>
                      <a:lnTo>
                        <a:pt x="802" y="1753"/>
                      </a:lnTo>
                      <a:lnTo>
                        <a:pt x="832" y="1772"/>
                      </a:lnTo>
                      <a:lnTo>
                        <a:pt x="863" y="1788"/>
                      </a:lnTo>
                      <a:lnTo>
                        <a:pt x="917" y="1818"/>
                      </a:lnTo>
                      <a:lnTo>
                        <a:pt x="974" y="1847"/>
                      </a:lnTo>
                      <a:lnTo>
                        <a:pt x="1034" y="1876"/>
                      </a:lnTo>
                      <a:lnTo>
                        <a:pt x="1097" y="1905"/>
                      </a:lnTo>
                      <a:lnTo>
                        <a:pt x="1160" y="1934"/>
                      </a:lnTo>
                      <a:lnTo>
                        <a:pt x="1226" y="1962"/>
                      </a:lnTo>
                      <a:lnTo>
                        <a:pt x="1294" y="1989"/>
                      </a:lnTo>
                      <a:lnTo>
                        <a:pt x="1364" y="2015"/>
                      </a:lnTo>
                      <a:lnTo>
                        <a:pt x="1434" y="2040"/>
                      </a:lnTo>
                      <a:lnTo>
                        <a:pt x="1506" y="2064"/>
                      </a:lnTo>
                      <a:lnTo>
                        <a:pt x="1580" y="2088"/>
                      </a:lnTo>
                      <a:lnTo>
                        <a:pt x="1654" y="2110"/>
                      </a:lnTo>
                      <a:lnTo>
                        <a:pt x="1729" y="2130"/>
                      </a:lnTo>
                      <a:lnTo>
                        <a:pt x="1804" y="2149"/>
                      </a:lnTo>
                      <a:lnTo>
                        <a:pt x="1880" y="2166"/>
                      </a:lnTo>
                      <a:lnTo>
                        <a:pt x="1956" y="2181"/>
                      </a:lnTo>
                      <a:lnTo>
                        <a:pt x="2033" y="2195"/>
                      </a:lnTo>
                      <a:lnTo>
                        <a:pt x="2108" y="2206"/>
                      </a:lnTo>
                      <a:lnTo>
                        <a:pt x="2184" y="2215"/>
                      </a:lnTo>
                      <a:lnTo>
                        <a:pt x="2260" y="2221"/>
                      </a:lnTo>
                      <a:lnTo>
                        <a:pt x="2334" y="2225"/>
                      </a:lnTo>
                      <a:lnTo>
                        <a:pt x="2409" y="2227"/>
                      </a:lnTo>
                      <a:lnTo>
                        <a:pt x="2482" y="2226"/>
                      </a:lnTo>
                      <a:lnTo>
                        <a:pt x="2553" y="2221"/>
                      </a:lnTo>
                      <a:lnTo>
                        <a:pt x="2625" y="2215"/>
                      </a:lnTo>
                      <a:lnTo>
                        <a:pt x="2694" y="2205"/>
                      </a:lnTo>
                      <a:lnTo>
                        <a:pt x="2762" y="2191"/>
                      </a:lnTo>
                      <a:lnTo>
                        <a:pt x="2827" y="2175"/>
                      </a:lnTo>
                      <a:lnTo>
                        <a:pt x="2892" y="2155"/>
                      </a:lnTo>
                      <a:lnTo>
                        <a:pt x="2954" y="2131"/>
                      </a:lnTo>
                      <a:lnTo>
                        <a:pt x="3013" y="2103"/>
                      </a:lnTo>
                      <a:lnTo>
                        <a:pt x="3071" y="2072"/>
                      </a:lnTo>
                      <a:lnTo>
                        <a:pt x="3104" y="2051"/>
                      </a:lnTo>
                      <a:lnTo>
                        <a:pt x="3138" y="2030"/>
                      </a:lnTo>
                      <a:lnTo>
                        <a:pt x="3170" y="2007"/>
                      </a:lnTo>
                      <a:lnTo>
                        <a:pt x="3202" y="1984"/>
                      </a:lnTo>
                      <a:lnTo>
                        <a:pt x="3232" y="1960"/>
                      </a:lnTo>
                      <a:lnTo>
                        <a:pt x="3262" y="1935"/>
                      </a:lnTo>
                      <a:lnTo>
                        <a:pt x="3290" y="1911"/>
                      </a:lnTo>
                      <a:lnTo>
                        <a:pt x="3318" y="1885"/>
                      </a:lnTo>
                      <a:lnTo>
                        <a:pt x="3344" y="1859"/>
                      </a:lnTo>
                      <a:lnTo>
                        <a:pt x="3369" y="1832"/>
                      </a:lnTo>
                      <a:lnTo>
                        <a:pt x="3393" y="1804"/>
                      </a:lnTo>
                      <a:lnTo>
                        <a:pt x="3416" y="1775"/>
                      </a:lnTo>
                      <a:lnTo>
                        <a:pt x="3437" y="1746"/>
                      </a:lnTo>
                      <a:lnTo>
                        <a:pt x="3457" y="1716"/>
                      </a:lnTo>
                      <a:lnTo>
                        <a:pt x="3476" y="1686"/>
                      </a:lnTo>
                      <a:lnTo>
                        <a:pt x="3493" y="1655"/>
                      </a:lnTo>
                      <a:lnTo>
                        <a:pt x="3510" y="1623"/>
                      </a:lnTo>
                      <a:lnTo>
                        <a:pt x="3523" y="1590"/>
                      </a:lnTo>
                      <a:lnTo>
                        <a:pt x="3536" y="1557"/>
                      </a:lnTo>
                      <a:lnTo>
                        <a:pt x="3548" y="1524"/>
                      </a:lnTo>
                      <a:lnTo>
                        <a:pt x="3557" y="1489"/>
                      </a:lnTo>
                      <a:lnTo>
                        <a:pt x="3566" y="1455"/>
                      </a:lnTo>
                      <a:lnTo>
                        <a:pt x="3573" y="1419"/>
                      </a:lnTo>
                      <a:lnTo>
                        <a:pt x="3577" y="1382"/>
                      </a:lnTo>
                      <a:lnTo>
                        <a:pt x="3581" y="1346"/>
                      </a:lnTo>
                      <a:lnTo>
                        <a:pt x="3583" y="1308"/>
                      </a:lnTo>
                      <a:lnTo>
                        <a:pt x="3583" y="1270"/>
                      </a:lnTo>
                      <a:lnTo>
                        <a:pt x="3581" y="1231"/>
                      </a:lnTo>
                      <a:lnTo>
                        <a:pt x="3577" y="1192"/>
                      </a:lnTo>
                      <a:lnTo>
                        <a:pt x="3572" y="1152"/>
                      </a:lnTo>
                      <a:lnTo>
                        <a:pt x="3564" y="1112"/>
                      </a:lnTo>
                      <a:lnTo>
                        <a:pt x="3554" y="1071"/>
                      </a:lnTo>
                      <a:close/>
                    </a:path>
                  </a:pathLst>
                </a:custGeom>
                <a:solidFill>
                  <a:srgbClr val="242D54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468" name="Freeform 207"/>
                <p:cNvSpPr>
                  <a:spLocks/>
                </p:cNvSpPr>
                <p:nvPr/>
              </p:nvSpPr>
              <p:spPr bwMode="auto">
                <a:xfrm>
                  <a:off x="3638" y="2652"/>
                  <a:ext cx="508" cy="269"/>
                </a:xfrm>
                <a:custGeom>
                  <a:avLst/>
                  <a:gdLst>
                    <a:gd name="T0" fmla="*/ 0 w 3582"/>
                    <a:gd name="T1" fmla="*/ 0 h 1884"/>
                    <a:gd name="T2" fmla="*/ 0 w 3582"/>
                    <a:gd name="T3" fmla="*/ 0 h 1884"/>
                    <a:gd name="T4" fmla="*/ 0 w 3582"/>
                    <a:gd name="T5" fmla="*/ 0 h 1884"/>
                    <a:gd name="T6" fmla="*/ 0 w 3582"/>
                    <a:gd name="T7" fmla="*/ 0 h 1884"/>
                    <a:gd name="T8" fmla="*/ 0 w 3582"/>
                    <a:gd name="T9" fmla="*/ 0 h 1884"/>
                    <a:gd name="T10" fmla="*/ 0 w 3582"/>
                    <a:gd name="T11" fmla="*/ 0 h 1884"/>
                    <a:gd name="T12" fmla="*/ 0 w 3582"/>
                    <a:gd name="T13" fmla="*/ 0 h 1884"/>
                    <a:gd name="T14" fmla="*/ 0 w 3582"/>
                    <a:gd name="T15" fmla="*/ 0 h 1884"/>
                    <a:gd name="T16" fmla="*/ 0 w 3582"/>
                    <a:gd name="T17" fmla="*/ 0 h 1884"/>
                    <a:gd name="T18" fmla="*/ 0 w 3582"/>
                    <a:gd name="T19" fmla="*/ 0 h 1884"/>
                    <a:gd name="T20" fmla="*/ 0 w 3582"/>
                    <a:gd name="T21" fmla="*/ 0 h 1884"/>
                    <a:gd name="T22" fmla="*/ 0 w 3582"/>
                    <a:gd name="T23" fmla="*/ 0 h 1884"/>
                    <a:gd name="T24" fmla="*/ 0 w 3582"/>
                    <a:gd name="T25" fmla="*/ 0 h 1884"/>
                    <a:gd name="T26" fmla="*/ 0 w 3582"/>
                    <a:gd name="T27" fmla="*/ 0 h 1884"/>
                    <a:gd name="T28" fmla="*/ 0 w 3582"/>
                    <a:gd name="T29" fmla="*/ 0 h 1884"/>
                    <a:gd name="T30" fmla="*/ 0 w 3582"/>
                    <a:gd name="T31" fmla="*/ 0 h 1884"/>
                    <a:gd name="T32" fmla="*/ 0 w 3582"/>
                    <a:gd name="T33" fmla="*/ 0 h 1884"/>
                    <a:gd name="T34" fmla="*/ 0 w 3582"/>
                    <a:gd name="T35" fmla="*/ 0 h 1884"/>
                    <a:gd name="T36" fmla="*/ 0 w 3582"/>
                    <a:gd name="T37" fmla="*/ 0 h 1884"/>
                    <a:gd name="T38" fmla="*/ 0 w 3582"/>
                    <a:gd name="T39" fmla="*/ 0 h 1884"/>
                    <a:gd name="T40" fmla="*/ 0 w 3582"/>
                    <a:gd name="T41" fmla="*/ 0 h 1884"/>
                    <a:gd name="T42" fmla="*/ 0 w 3582"/>
                    <a:gd name="T43" fmla="*/ 0 h 1884"/>
                    <a:gd name="T44" fmla="*/ 0 w 3582"/>
                    <a:gd name="T45" fmla="*/ 0 h 1884"/>
                    <a:gd name="T46" fmla="*/ 0 w 3582"/>
                    <a:gd name="T47" fmla="*/ 0 h 1884"/>
                    <a:gd name="T48" fmla="*/ 0 w 3582"/>
                    <a:gd name="T49" fmla="*/ 0 h 1884"/>
                    <a:gd name="T50" fmla="*/ 0 w 3582"/>
                    <a:gd name="T51" fmla="*/ 0 h 1884"/>
                    <a:gd name="T52" fmla="*/ 0 w 3582"/>
                    <a:gd name="T53" fmla="*/ 0 h 1884"/>
                    <a:gd name="T54" fmla="*/ 0 w 3582"/>
                    <a:gd name="T55" fmla="*/ 0 h 1884"/>
                    <a:gd name="T56" fmla="*/ 0 w 3582"/>
                    <a:gd name="T57" fmla="*/ 0 h 1884"/>
                    <a:gd name="T58" fmla="*/ 0 w 3582"/>
                    <a:gd name="T59" fmla="*/ 0 h 1884"/>
                    <a:gd name="T60" fmla="*/ 0 w 3582"/>
                    <a:gd name="T61" fmla="*/ 0 h 1884"/>
                    <a:gd name="T62" fmla="*/ 0 w 3582"/>
                    <a:gd name="T63" fmla="*/ 0 h 1884"/>
                    <a:gd name="T64" fmla="*/ 0 w 3582"/>
                    <a:gd name="T65" fmla="*/ 0 h 1884"/>
                    <a:gd name="T66" fmla="*/ 0 w 3582"/>
                    <a:gd name="T67" fmla="*/ 0 h 1884"/>
                    <a:gd name="T68" fmla="*/ 0 w 3582"/>
                    <a:gd name="T69" fmla="*/ 0 h 1884"/>
                    <a:gd name="T70" fmla="*/ 0 w 3582"/>
                    <a:gd name="T71" fmla="*/ 0 h 1884"/>
                    <a:gd name="T72" fmla="*/ 0 w 3582"/>
                    <a:gd name="T73" fmla="*/ 0 h 1884"/>
                    <a:gd name="T74" fmla="*/ 0 w 3582"/>
                    <a:gd name="T75" fmla="*/ 0 h 1884"/>
                    <a:gd name="T76" fmla="*/ 0 w 3582"/>
                    <a:gd name="T77" fmla="*/ 0 h 1884"/>
                    <a:gd name="T78" fmla="*/ 0 w 3582"/>
                    <a:gd name="T79" fmla="*/ 0 h 1884"/>
                    <a:gd name="T80" fmla="*/ 0 w 3582"/>
                    <a:gd name="T81" fmla="*/ 0 h 1884"/>
                    <a:gd name="T82" fmla="*/ 0 w 3582"/>
                    <a:gd name="T83" fmla="*/ 0 h 1884"/>
                    <a:gd name="T84" fmla="*/ 0 w 3582"/>
                    <a:gd name="T85" fmla="*/ 0 h 1884"/>
                    <a:gd name="T86" fmla="*/ 0 w 3582"/>
                    <a:gd name="T87" fmla="*/ 0 h 1884"/>
                    <a:gd name="T88" fmla="*/ 0 w 3582"/>
                    <a:gd name="T89" fmla="*/ 0 h 1884"/>
                    <a:gd name="T90" fmla="*/ 0 w 3582"/>
                    <a:gd name="T91" fmla="*/ 0 h 1884"/>
                    <a:gd name="T92" fmla="*/ 0 w 3582"/>
                    <a:gd name="T93" fmla="*/ 0 h 1884"/>
                    <a:gd name="T94" fmla="*/ 0 w 3582"/>
                    <a:gd name="T95" fmla="*/ 0 h 1884"/>
                    <a:gd name="T96" fmla="*/ 0 w 3582"/>
                    <a:gd name="T97" fmla="*/ 0 h 1884"/>
                    <a:gd name="T98" fmla="*/ 0 w 3582"/>
                    <a:gd name="T99" fmla="*/ 0 h 1884"/>
                    <a:gd name="T100" fmla="*/ 0 w 3582"/>
                    <a:gd name="T101" fmla="*/ 0 h 1884"/>
                    <a:gd name="T102" fmla="*/ 0 w 3582"/>
                    <a:gd name="T103" fmla="*/ 0 h 1884"/>
                    <a:gd name="T104" fmla="*/ 0 w 3582"/>
                    <a:gd name="T105" fmla="*/ 0 h 1884"/>
                    <a:gd name="T106" fmla="*/ 0 w 3582"/>
                    <a:gd name="T107" fmla="*/ 0 h 1884"/>
                    <a:gd name="T108" fmla="*/ 0 w 3582"/>
                    <a:gd name="T109" fmla="*/ 0 h 1884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3582"/>
                    <a:gd name="T166" fmla="*/ 0 h 1884"/>
                    <a:gd name="T167" fmla="*/ 3582 w 3582"/>
                    <a:gd name="T168" fmla="*/ 1884 h 1884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3582" h="1884">
                      <a:moveTo>
                        <a:pt x="3553" y="728"/>
                      </a:moveTo>
                      <a:lnTo>
                        <a:pt x="3550" y="715"/>
                      </a:lnTo>
                      <a:lnTo>
                        <a:pt x="3547" y="702"/>
                      </a:lnTo>
                      <a:lnTo>
                        <a:pt x="3542" y="689"/>
                      </a:lnTo>
                      <a:lnTo>
                        <a:pt x="3539" y="677"/>
                      </a:lnTo>
                      <a:lnTo>
                        <a:pt x="3533" y="701"/>
                      </a:lnTo>
                      <a:lnTo>
                        <a:pt x="3527" y="725"/>
                      </a:lnTo>
                      <a:lnTo>
                        <a:pt x="3520" y="749"/>
                      </a:lnTo>
                      <a:lnTo>
                        <a:pt x="3512" y="773"/>
                      </a:lnTo>
                      <a:lnTo>
                        <a:pt x="3504" y="796"/>
                      </a:lnTo>
                      <a:lnTo>
                        <a:pt x="3495" y="819"/>
                      </a:lnTo>
                      <a:lnTo>
                        <a:pt x="3485" y="842"/>
                      </a:lnTo>
                      <a:lnTo>
                        <a:pt x="3475" y="864"/>
                      </a:lnTo>
                      <a:lnTo>
                        <a:pt x="3463" y="886"/>
                      </a:lnTo>
                      <a:lnTo>
                        <a:pt x="3452" y="908"/>
                      </a:lnTo>
                      <a:lnTo>
                        <a:pt x="3439" y="929"/>
                      </a:lnTo>
                      <a:lnTo>
                        <a:pt x="3426" y="951"/>
                      </a:lnTo>
                      <a:lnTo>
                        <a:pt x="3412" y="972"/>
                      </a:lnTo>
                      <a:lnTo>
                        <a:pt x="3398" y="992"/>
                      </a:lnTo>
                      <a:lnTo>
                        <a:pt x="3382" y="1012"/>
                      </a:lnTo>
                      <a:lnTo>
                        <a:pt x="3366" y="1032"/>
                      </a:lnTo>
                      <a:lnTo>
                        <a:pt x="3351" y="1052"/>
                      </a:lnTo>
                      <a:lnTo>
                        <a:pt x="3333" y="1071"/>
                      </a:lnTo>
                      <a:lnTo>
                        <a:pt x="3316" y="1090"/>
                      </a:lnTo>
                      <a:lnTo>
                        <a:pt x="3297" y="1108"/>
                      </a:lnTo>
                      <a:lnTo>
                        <a:pt x="3280" y="1126"/>
                      </a:lnTo>
                      <a:lnTo>
                        <a:pt x="3260" y="1144"/>
                      </a:lnTo>
                      <a:lnTo>
                        <a:pt x="3241" y="1162"/>
                      </a:lnTo>
                      <a:lnTo>
                        <a:pt x="3221" y="1179"/>
                      </a:lnTo>
                      <a:lnTo>
                        <a:pt x="3199" y="1195"/>
                      </a:lnTo>
                      <a:lnTo>
                        <a:pt x="3178" y="1212"/>
                      </a:lnTo>
                      <a:lnTo>
                        <a:pt x="3156" y="1229"/>
                      </a:lnTo>
                      <a:lnTo>
                        <a:pt x="3134" y="1244"/>
                      </a:lnTo>
                      <a:lnTo>
                        <a:pt x="3088" y="1276"/>
                      </a:lnTo>
                      <a:lnTo>
                        <a:pt x="3041" y="1304"/>
                      </a:lnTo>
                      <a:lnTo>
                        <a:pt x="2984" y="1336"/>
                      </a:lnTo>
                      <a:lnTo>
                        <a:pt x="2925" y="1363"/>
                      </a:lnTo>
                      <a:lnTo>
                        <a:pt x="2862" y="1387"/>
                      </a:lnTo>
                      <a:lnTo>
                        <a:pt x="2799" y="1407"/>
                      </a:lnTo>
                      <a:lnTo>
                        <a:pt x="2732" y="1424"/>
                      </a:lnTo>
                      <a:lnTo>
                        <a:pt x="2664" y="1437"/>
                      </a:lnTo>
                      <a:lnTo>
                        <a:pt x="2595" y="1447"/>
                      </a:lnTo>
                      <a:lnTo>
                        <a:pt x="2525" y="1455"/>
                      </a:lnTo>
                      <a:lnTo>
                        <a:pt x="2453" y="1458"/>
                      </a:lnTo>
                      <a:lnTo>
                        <a:pt x="2379" y="1459"/>
                      </a:lnTo>
                      <a:lnTo>
                        <a:pt x="2305" y="1458"/>
                      </a:lnTo>
                      <a:lnTo>
                        <a:pt x="2230" y="1454"/>
                      </a:lnTo>
                      <a:lnTo>
                        <a:pt x="2154" y="1447"/>
                      </a:lnTo>
                      <a:lnTo>
                        <a:pt x="2079" y="1438"/>
                      </a:lnTo>
                      <a:lnTo>
                        <a:pt x="2003" y="1427"/>
                      </a:lnTo>
                      <a:lnTo>
                        <a:pt x="1926" y="1414"/>
                      </a:lnTo>
                      <a:lnTo>
                        <a:pt x="1850" y="1398"/>
                      </a:lnTo>
                      <a:lnTo>
                        <a:pt x="1775" y="1381"/>
                      </a:lnTo>
                      <a:lnTo>
                        <a:pt x="1699" y="1362"/>
                      </a:lnTo>
                      <a:lnTo>
                        <a:pt x="1625" y="1342"/>
                      </a:lnTo>
                      <a:lnTo>
                        <a:pt x="1550" y="1320"/>
                      </a:lnTo>
                      <a:lnTo>
                        <a:pt x="1477" y="1298"/>
                      </a:lnTo>
                      <a:lnTo>
                        <a:pt x="1404" y="1273"/>
                      </a:lnTo>
                      <a:lnTo>
                        <a:pt x="1334" y="1248"/>
                      </a:lnTo>
                      <a:lnTo>
                        <a:pt x="1264" y="1221"/>
                      </a:lnTo>
                      <a:lnTo>
                        <a:pt x="1197" y="1194"/>
                      </a:lnTo>
                      <a:lnTo>
                        <a:pt x="1130" y="1166"/>
                      </a:lnTo>
                      <a:lnTo>
                        <a:pt x="1067" y="1139"/>
                      </a:lnTo>
                      <a:lnTo>
                        <a:pt x="1005" y="1110"/>
                      </a:lnTo>
                      <a:lnTo>
                        <a:pt x="944" y="1080"/>
                      </a:lnTo>
                      <a:lnTo>
                        <a:pt x="888" y="1051"/>
                      </a:lnTo>
                      <a:lnTo>
                        <a:pt x="833" y="1022"/>
                      </a:lnTo>
                      <a:lnTo>
                        <a:pt x="802" y="1004"/>
                      </a:lnTo>
                      <a:lnTo>
                        <a:pt x="772" y="986"/>
                      </a:lnTo>
                      <a:lnTo>
                        <a:pt x="742" y="967"/>
                      </a:lnTo>
                      <a:lnTo>
                        <a:pt x="712" y="948"/>
                      </a:lnTo>
                      <a:lnTo>
                        <a:pt x="682" y="928"/>
                      </a:lnTo>
                      <a:lnTo>
                        <a:pt x="653" y="907"/>
                      </a:lnTo>
                      <a:lnTo>
                        <a:pt x="624" y="886"/>
                      </a:lnTo>
                      <a:lnTo>
                        <a:pt x="595" y="865"/>
                      </a:lnTo>
                      <a:lnTo>
                        <a:pt x="566" y="843"/>
                      </a:lnTo>
                      <a:lnTo>
                        <a:pt x="538" y="819"/>
                      </a:lnTo>
                      <a:lnTo>
                        <a:pt x="512" y="796"/>
                      </a:lnTo>
                      <a:lnTo>
                        <a:pt x="484" y="771"/>
                      </a:lnTo>
                      <a:lnTo>
                        <a:pt x="457" y="747"/>
                      </a:lnTo>
                      <a:lnTo>
                        <a:pt x="431" y="722"/>
                      </a:lnTo>
                      <a:lnTo>
                        <a:pt x="406" y="696"/>
                      </a:lnTo>
                      <a:lnTo>
                        <a:pt x="381" y="670"/>
                      </a:lnTo>
                      <a:lnTo>
                        <a:pt x="357" y="643"/>
                      </a:lnTo>
                      <a:lnTo>
                        <a:pt x="333" y="616"/>
                      </a:lnTo>
                      <a:lnTo>
                        <a:pt x="310" y="588"/>
                      </a:lnTo>
                      <a:lnTo>
                        <a:pt x="288" y="560"/>
                      </a:lnTo>
                      <a:lnTo>
                        <a:pt x="266" y="531"/>
                      </a:lnTo>
                      <a:lnTo>
                        <a:pt x="244" y="502"/>
                      </a:lnTo>
                      <a:lnTo>
                        <a:pt x="224" y="472"/>
                      </a:lnTo>
                      <a:lnTo>
                        <a:pt x="204" y="442"/>
                      </a:lnTo>
                      <a:lnTo>
                        <a:pt x="185" y="412"/>
                      </a:lnTo>
                      <a:lnTo>
                        <a:pt x="168" y="381"/>
                      </a:lnTo>
                      <a:lnTo>
                        <a:pt x="150" y="350"/>
                      </a:lnTo>
                      <a:lnTo>
                        <a:pt x="134" y="317"/>
                      </a:lnTo>
                      <a:lnTo>
                        <a:pt x="119" y="286"/>
                      </a:lnTo>
                      <a:lnTo>
                        <a:pt x="104" y="253"/>
                      </a:lnTo>
                      <a:lnTo>
                        <a:pt x="90" y="221"/>
                      </a:lnTo>
                      <a:lnTo>
                        <a:pt x="77" y="187"/>
                      </a:lnTo>
                      <a:lnTo>
                        <a:pt x="69" y="164"/>
                      </a:lnTo>
                      <a:lnTo>
                        <a:pt x="61" y="140"/>
                      </a:lnTo>
                      <a:lnTo>
                        <a:pt x="53" y="117"/>
                      </a:lnTo>
                      <a:lnTo>
                        <a:pt x="45" y="94"/>
                      </a:lnTo>
                      <a:lnTo>
                        <a:pt x="37" y="70"/>
                      </a:lnTo>
                      <a:lnTo>
                        <a:pt x="31" y="47"/>
                      </a:lnTo>
                      <a:lnTo>
                        <a:pt x="23" y="24"/>
                      </a:lnTo>
                      <a:lnTo>
                        <a:pt x="17" y="0"/>
                      </a:lnTo>
                      <a:lnTo>
                        <a:pt x="13" y="16"/>
                      </a:lnTo>
                      <a:lnTo>
                        <a:pt x="10" y="33"/>
                      </a:lnTo>
                      <a:lnTo>
                        <a:pt x="6" y="49"/>
                      </a:lnTo>
                      <a:lnTo>
                        <a:pt x="4" y="66"/>
                      </a:lnTo>
                      <a:lnTo>
                        <a:pt x="1" y="100"/>
                      </a:lnTo>
                      <a:lnTo>
                        <a:pt x="0" y="136"/>
                      </a:lnTo>
                      <a:lnTo>
                        <a:pt x="1" y="173"/>
                      </a:lnTo>
                      <a:lnTo>
                        <a:pt x="4" y="211"/>
                      </a:lnTo>
                      <a:lnTo>
                        <a:pt x="8" y="250"/>
                      </a:lnTo>
                      <a:lnTo>
                        <a:pt x="14" y="288"/>
                      </a:lnTo>
                      <a:lnTo>
                        <a:pt x="22" y="329"/>
                      </a:lnTo>
                      <a:lnTo>
                        <a:pt x="31" y="369"/>
                      </a:lnTo>
                      <a:lnTo>
                        <a:pt x="41" y="409"/>
                      </a:lnTo>
                      <a:lnTo>
                        <a:pt x="52" y="450"/>
                      </a:lnTo>
                      <a:lnTo>
                        <a:pt x="64" y="491"/>
                      </a:lnTo>
                      <a:lnTo>
                        <a:pt x="77" y="531"/>
                      </a:lnTo>
                      <a:lnTo>
                        <a:pt x="91" y="572"/>
                      </a:lnTo>
                      <a:lnTo>
                        <a:pt x="105" y="612"/>
                      </a:lnTo>
                      <a:lnTo>
                        <a:pt x="119" y="646"/>
                      </a:lnTo>
                      <a:lnTo>
                        <a:pt x="132" y="678"/>
                      </a:lnTo>
                      <a:lnTo>
                        <a:pt x="146" y="710"/>
                      </a:lnTo>
                      <a:lnTo>
                        <a:pt x="162" y="742"/>
                      </a:lnTo>
                      <a:lnTo>
                        <a:pt x="179" y="775"/>
                      </a:lnTo>
                      <a:lnTo>
                        <a:pt x="195" y="806"/>
                      </a:lnTo>
                      <a:lnTo>
                        <a:pt x="214" y="837"/>
                      </a:lnTo>
                      <a:lnTo>
                        <a:pt x="233" y="867"/>
                      </a:lnTo>
                      <a:lnTo>
                        <a:pt x="252" y="897"/>
                      </a:lnTo>
                      <a:lnTo>
                        <a:pt x="272" y="927"/>
                      </a:lnTo>
                      <a:lnTo>
                        <a:pt x="293" y="956"/>
                      </a:lnTo>
                      <a:lnTo>
                        <a:pt x="316" y="985"/>
                      </a:lnTo>
                      <a:lnTo>
                        <a:pt x="338" y="1013"/>
                      </a:lnTo>
                      <a:lnTo>
                        <a:pt x="361" y="1041"/>
                      </a:lnTo>
                      <a:lnTo>
                        <a:pt x="385" y="1069"/>
                      </a:lnTo>
                      <a:lnTo>
                        <a:pt x="409" y="1095"/>
                      </a:lnTo>
                      <a:lnTo>
                        <a:pt x="435" y="1121"/>
                      </a:lnTo>
                      <a:lnTo>
                        <a:pt x="460" y="1146"/>
                      </a:lnTo>
                      <a:lnTo>
                        <a:pt x="486" y="1172"/>
                      </a:lnTo>
                      <a:lnTo>
                        <a:pt x="513" y="1197"/>
                      </a:lnTo>
                      <a:lnTo>
                        <a:pt x="539" y="1221"/>
                      </a:lnTo>
                      <a:lnTo>
                        <a:pt x="567" y="1244"/>
                      </a:lnTo>
                      <a:lnTo>
                        <a:pt x="595" y="1268"/>
                      </a:lnTo>
                      <a:lnTo>
                        <a:pt x="623" y="1290"/>
                      </a:lnTo>
                      <a:lnTo>
                        <a:pt x="652" y="1311"/>
                      </a:lnTo>
                      <a:lnTo>
                        <a:pt x="681" y="1332"/>
                      </a:lnTo>
                      <a:lnTo>
                        <a:pt x="711" y="1353"/>
                      </a:lnTo>
                      <a:lnTo>
                        <a:pt x="740" y="1373"/>
                      </a:lnTo>
                      <a:lnTo>
                        <a:pt x="770" y="1392"/>
                      </a:lnTo>
                      <a:lnTo>
                        <a:pt x="800" y="1411"/>
                      </a:lnTo>
                      <a:lnTo>
                        <a:pt x="831" y="1429"/>
                      </a:lnTo>
                      <a:lnTo>
                        <a:pt x="861" y="1446"/>
                      </a:lnTo>
                      <a:lnTo>
                        <a:pt x="916" y="1476"/>
                      </a:lnTo>
                      <a:lnTo>
                        <a:pt x="973" y="1505"/>
                      </a:lnTo>
                      <a:lnTo>
                        <a:pt x="1032" y="1535"/>
                      </a:lnTo>
                      <a:lnTo>
                        <a:pt x="1095" y="1563"/>
                      </a:lnTo>
                      <a:lnTo>
                        <a:pt x="1159" y="1592"/>
                      </a:lnTo>
                      <a:lnTo>
                        <a:pt x="1225" y="1619"/>
                      </a:lnTo>
                      <a:lnTo>
                        <a:pt x="1293" y="1646"/>
                      </a:lnTo>
                      <a:lnTo>
                        <a:pt x="1362" y="1673"/>
                      </a:lnTo>
                      <a:lnTo>
                        <a:pt x="1433" y="1698"/>
                      </a:lnTo>
                      <a:lnTo>
                        <a:pt x="1505" y="1723"/>
                      </a:lnTo>
                      <a:lnTo>
                        <a:pt x="1579" y="1745"/>
                      </a:lnTo>
                      <a:lnTo>
                        <a:pt x="1652" y="1767"/>
                      </a:lnTo>
                      <a:lnTo>
                        <a:pt x="1727" y="1787"/>
                      </a:lnTo>
                      <a:lnTo>
                        <a:pt x="1803" y="1806"/>
                      </a:lnTo>
                      <a:lnTo>
                        <a:pt x="1878" y="1823"/>
                      </a:lnTo>
                      <a:lnTo>
                        <a:pt x="1955" y="1839"/>
                      </a:lnTo>
                      <a:lnTo>
                        <a:pt x="2031" y="1852"/>
                      </a:lnTo>
                      <a:lnTo>
                        <a:pt x="2108" y="1863"/>
                      </a:lnTo>
                      <a:lnTo>
                        <a:pt x="2183" y="1872"/>
                      </a:lnTo>
                      <a:lnTo>
                        <a:pt x="2259" y="1879"/>
                      </a:lnTo>
                      <a:lnTo>
                        <a:pt x="2334" y="1883"/>
                      </a:lnTo>
                      <a:lnTo>
                        <a:pt x="2408" y="1884"/>
                      </a:lnTo>
                      <a:lnTo>
                        <a:pt x="2480" y="1883"/>
                      </a:lnTo>
                      <a:lnTo>
                        <a:pt x="2553" y="1879"/>
                      </a:lnTo>
                      <a:lnTo>
                        <a:pt x="2624" y="1872"/>
                      </a:lnTo>
                      <a:lnTo>
                        <a:pt x="2693" y="1862"/>
                      </a:lnTo>
                      <a:lnTo>
                        <a:pt x="2761" y="1849"/>
                      </a:lnTo>
                      <a:lnTo>
                        <a:pt x="2827" y="1832"/>
                      </a:lnTo>
                      <a:lnTo>
                        <a:pt x="2891" y="1812"/>
                      </a:lnTo>
                      <a:lnTo>
                        <a:pt x="2952" y="1789"/>
                      </a:lnTo>
                      <a:lnTo>
                        <a:pt x="3012" y="1761"/>
                      </a:lnTo>
                      <a:lnTo>
                        <a:pt x="3069" y="1730"/>
                      </a:lnTo>
                      <a:lnTo>
                        <a:pt x="3104" y="1708"/>
                      </a:lnTo>
                      <a:lnTo>
                        <a:pt x="3137" y="1687"/>
                      </a:lnTo>
                      <a:lnTo>
                        <a:pt x="3169" y="1665"/>
                      </a:lnTo>
                      <a:lnTo>
                        <a:pt x="3201" y="1642"/>
                      </a:lnTo>
                      <a:lnTo>
                        <a:pt x="3232" y="1618"/>
                      </a:lnTo>
                      <a:lnTo>
                        <a:pt x="3261" y="1594"/>
                      </a:lnTo>
                      <a:lnTo>
                        <a:pt x="3290" y="1568"/>
                      </a:lnTo>
                      <a:lnTo>
                        <a:pt x="3316" y="1543"/>
                      </a:lnTo>
                      <a:lnTo>
                        <a:pt x="3343" y="1516"/>
                      </a:lnTo>
                      <a:lnTo>
                        <a:pt x="3367" y="1489"/>
                      </a:lnTo>
                      <a:lnTo>
                        <a:pt x="3392" y="1461"/>
                      </a:lnTo>
                      <a:lnTo>
                        <a:pt x="3414" y="1432"/>
                      </a:lnTo>
                      <a:lnTo>
                        <a:pt x="3435" y="1404"/>
                      </a:lnTo>
                      <a:lnTo>
                        <a:pt x="3455" y="1373"/>
                      </a:lnTo>
                      <a:lnTo>
                        <a:pt x="3474" y="1343"/>
                      </a:lnTo>
                      <a:lnTo>
                        <a:pt x="3492" y="1312"/>
                      </a:lnTo>
                      <a:lnTo>
                        <a:pt x="3508" y="1280"/>
                      </a:lnTo>
                      <a:lnTo>
                        <a:pt x="3522" y="1248"/>
                      </a:lnTo>
                      <a:lnTo>
                        <a:pt x="3536" y="1215"/>
                      </a:lnTo>
                      <a:lnTo>
                        <a:pt x="3547" y="1181"/>
                      </a:lnTo>
                      <a:lnTo>
                        <a:pt x="3557" y="1148"/>
                      </a:lnTo>
                      <a:lnTo>
                        <a:pt x="3566" y="1112"/>
                      </a:lnTo>
                      <a:lnTo>
                        <a:pt x="3572" y="1076"/>
                      </a:lnTo>
                      <a:lnTo>
                        <a:pt x="3577" y="1041"/>
                      </a:lnTo>
                      <a:lnTo>
                        <a:pt x="3580" y="1003"/>
                      </a:lnTo>
                      <a:lnTo>
                        <a:pt x="3582" y="966"/>
                      </a:lnTo>
                      <a:lnTo>
                        <a:pt x="3581" y="928"/>
                      </a:lnTo>
                      <a:lnTo>
                        <a:pt x="3580" y="889"/>
                      </a:lnTo>
                      <a:lnTo>
                        <a:pt x="3576" y="849"/>
                      </a:lnTo>
                      <a:lnTo>
                        <a:pt x="3570" y="809"/>
                      </a:lnTo>
                      <a:lnTo>
                        <a:pt x="3562" y="769"/>
                      </a:lnTo>
                      <a:lnTo>
                        <a:pt x="3553" y="728"/>
                      </a:lnTo>
                      <a:close/>
                    </a:path>
                  </a:pathLst>
                </a:custGeom>
                <a:solidFill>
                  <a:srgbClr val="1B233E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469" name="Freeform 208"/>
                <p:cNvSpPr>
                  <a:spLocks/>
                </p:cNvSpPr>
                <p:nvPr/>
              </p:nvSpPr>
              <p:spPr bwMode="auto">
                <a:xfrm>
                  <a:off x="3634" y="2612"/>
                  <a:ext cx="508" cy="230"/>
                </a:xfrm>
                <a:custGeom>
                  <a:avLst/>
                  <a:gdLst>
                    <a:gd name="T0" fmla="*/ 0 w 3578"/>
                    <a:gd name="T1" fmla="*/ 0 h 1617"/>
                    <a:gd name="T2" fmla="*/ 0 w 3578"/>
                    <a:gd name="T3" fmla="*/ 0 h 1617"/>
                    <a:gd name="T4" fmla="*/ 0 w 3578"/>
                    <a:gd name="T5" fmla="*/ 0 h 1617"/>
                    <a:gd name="T6" fmla="*/ 0 w 3578"/>
                    <a:gd name="T7" fmla="*/ 0 h 1617"/>
                    <a:gd name="T8" fmla="*/ 0 w 3578"/>
                    <a:gd name="T9" fmla="*/ 0 h 1617"/>
                    <a:gd name="T10" fmla="*/ 0 w 3578"/>
                    <a:gd name="T11" fmla="*/ 0 h 1617"/>
                    <a:gd name="T12" fmla="*/ 0 w 3578"/>
                    <a:gd name="T13" fmla="*/ 0 h 1617"/>
                    <a:gd name="T14" fmla="*/ 0 w 3578"/>
                    <a:gd name="T15" fmla="*/ 0 h 1617"/>
                    <a:gd name="T16" fmla="*/ 0 w 3578"/>
                    <a:gd name="T17" fmla="*/ 0 h 1617"/>
                    <a:gd name="T18" fmla="*/ 0 w 3578"/>
                    <a:gd name="T19" fmla="*/ 0 h 1617"/>
                    <a:gd name="T20" fmla="*/ 0 w 3578"/>
                    <a:gd name="T21" fmla="*/ 0 h 1617"/>
                    <a:gd name="T22" fmla="*/ 0 w 3578"/>
                    <a:gd name="T23" fmla="*/ 0 h 1617"/>
                    <a:gd name="T24" fmla="*/ 0 w 3578"/>
                    <a:gd name="T25" fmla="*/ 0 h 1617"/>
                    <a:gd name="T26" fmla="*/ 0 w 3578"/>
                    <a:gd name="T27" fmla="*/ 0 h 1617"/>
                    <a:gd name="T28" fmla="*/ 0 w 3578"/>
                    <a:gd name="T29" fmla="*/ 0 h 1617"/>
                    <a:gd name="T30" fmla="*/ 0 w 3578"/>
                    <a:gd name="T31" fmla="*/ 0 h 1617"/>
                    <a:gd name="T32" fmla="*/ 0 w 3578"/>
                    <a:gd name="T33" fmla="*/ 0 h 1617"/>
                    <a:gd name="T34" fmla="*/ 0 w 3578"/>
                    <a:gd name="T35" fmla="*/ 0 h 1617"/>
                    <a:gd name="T36" fmla="*/ 0 w 3578"/>
                    <a:gd name="T37" fmla="*/ 0 h 1617"/>
                    <a:gd name="T38" fmla="*/ 0 w 3578"/>
                    <a:gd name="T39" fmla="*/ 0 h 1617"/>
                    <a:gd name="T40" fmla="*/ 0 w 3578"/>
                    <a:gd name="T41" fmla="*/ 0 h 1617"/>
                    <a:gd name="T42" fmla="*/ 0 w 3578"/>
                    <a:gd name="T43" fmla="*/ 0 h 1617"/>
                    <a:gd name="T44" fmla="*/ 0 w 3578"/>
                    <a:gd name="T45" fmla="*/ 0 h 1617"/>
                    <a:gd name="T46" fmla="*/ 0 w 3578"/>
                    <a:gd name="T47" fmla="*/ 0 h 1617"/>
                    <a:gd name="T48" fmla="*/ 0 w 3578"/>
                    <a:gd name="T49" fmla="*/ 0 h 1617"/>
                    <a:gd name="T50" fmla="*/ 0 w 3578"/>
                    <a:gd name="T51" fmla="*/ 0 h 1617"/>
                    <a:gd name="T52" fmla="*/ 0 w 3578"/>
                    <a:gd name="T53" fmla="*/ 0 h 1617"/>
                    <a:gd name="T54" fmla="*/ 0 w 3578"/>
                    <a:gd name="T55" fmla="*/ 0 h 1617"/>
                    <a:gd name="T56" fmla="*/ 0 w 3578"/>
                    <a:gd name="T57" fmla="*/ 0 h 1617"/>
                    <a:gd name="T58" fmla="*/ 0 w 3578"/>
                    <a:gd name="T59" fmla="*/ 0 h 1617"/>
                    <a:gd name="T60" fmla="*/ 0 w 3578"/>
                    <a:gd name="T61" fmla="*/ 0 h 1617"/>
                    <a:gd name="T62" fmla="*/ 0 w 3578"/>
                    <a:gd name="T63" fmla="*/ 0 h 1617"/>
                    <a:gd name="T64" fmla="*/ 0 w 3578"/>
                    <a:gd name="T65" fmla="*/ 0 h 1617"/>
                    <a:gd name="T66" fmla="*/ 0 w 3578"/>
                    <a:gd name="T67" fmla="*/ 0 h 1617"/>
                    <a:gd name="T68" fmla="*/ 0 w 3578"/>
                    <a:gd name="T69" fmla="*/ 0 h 1617"/>
                    <a:gd name="T70" fmla="*/ 0 w 3578"/>
                    <a:gd name="T71" fmla="*/ 0 h 1617"/>
                    <a:gd name="T72" fmla="*/ 0 w 3578"/>
                    <a:gd name="T73" fmla="*/ 0 h 1617"/>
                    <a:gd name="T74" fmla="*/ 0 w 3578"/>
                    <a:gd name="T75" fmla="*/ 0 h 1617"/>
                    <a:gd name="T76" fmla="*/ 0 w 3578"/>
                    <a:gd name="T77" fmla="*/ 0 h 1617"/>
                    <a:gd name="T78" fmla="*/ 0 w 3578"/>
                    <a:gd name="T79" fmla="*/ 0 h 1617"/>
                    <a:gd name="T80" fmla="*/ 0 w 3578"/>
                    <a:gd name="T81" fmla="*/ 0 h 1617"/>
                    <a:gd name="T82" fmla="*/ 0 w 3578"/>
                    <a:gd name="T83" fmla="*/ 0 h 1617"/>
                    <a:gd name="T84" fmla="*/ 0 w 3578"/>
                    <a:gd name="T85" fmla="*/ 0 h 1617"/>
                    <a:gd name="T86" fmla="*/ 0 w 3578"/>
                    <a:gd name="T87" fmla="*/ 0 h 1617"/>
                    <a:gd name="T88" fmla="*/ 0 w 3578"/>
                    <a:gd name="T89" fmla="*/ 0 h 1617"/>
                    <a:gd name="T90" fmla="*/ 0 w 3578"/>
                    <a:gd name="T91" fmla="*/ 0 h 1617"/>
                    <a:gd name="T92" fmla="*/ 0 w 3578"/>
                    <a:gd name="T93" fmla="*/ 0 h 1617"/>
                    <a:gd name="T94" fmla="*/ 0 w 3578"/>
                    <a:gd name="T95" fmla="*/ 0 h 1617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3578"/>
                    <a:gd name="T145" fmla="*/ 0 h 1617"/>
                    <a:gd name="T146" fmla="*/ 3578 w 3578"/>
                    <a:gd name="T147" fmla="*/ 1617 h 1617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3578" h="1617">
                      <a:moveTo>
                        <a:pt x="184" y="291"/>
                      </a:moveTo>
                      <a:lnTo>
                        <a:pt x="218" y="282"/>
                      </a:lnTo>
                      <a:lnTo>
                        <a:pt x="257" y="273"/>
                      </a:lnTo>
                      <a:lnTo>
                        <a:pt x="302" y="263"/>
                      </a:lnTo>
                      <a:lnTo>
                        <a:pt x="351" y="255"/>
                      </a:lnTo>
                      <a:lnTo>
                        <a:pt x="403" y="246"/>
                      </a:lnTo>
                      <a:lnTo>
                        <a:pt x="461" y="237"/>
                      </a:lnTo>
                      <a:lnTo>
                        <a:pt x="522" y="229"/>
                      </a:lnTo>
                      <a:lnTo>
                        <a:pt x="588" y="222"/>
                      </a:lnTo>
                      <a:lnTo>
                        <a:pt x="656" y="214"/>
                      </a:lnTo>
                      <a:lnTo>
                        <a:pt x="728" y="206"/>
                      </a:lnTo>
                      <a:lnTo>
                        <a:pt x="803" y="201"/>
                      </a:lnTo>
                      <a:lnTo>
                        <a:pt x="880" y="194"/>
                      </a:lnTo>
                      <a:lnTo>
                        <a:pt x="961" y="188"/>
                      </a:lnTo>
                      <a:lnTo>
                        <a:pt x="1043" y="184"/>
                      </a:lnTo>
                      <a:lnTo>
                        <a:pt x="1126" y="179"/>
                      </a:lnTo>
                      <a:lnTo>
                        <a:pt x="1213" y="176"/>
                      </a:lnTo>
                      <a:lnTo>
                        <a:pt x="1300" y="173"/>
                      </a:lnTo>
                      <a:lnTo>
                        <a:pt x="1389" y="172"/>
                      </a:lnTo>
                      <a:lnTo>
                        <a:pt x="1479" y="170"/>
                      </a:lnTo>
                      <a:lnTo>
                        <a:pt x="1571" y="170"/>
                      </a:lnTo>
                      <a:lnTo>
                        <a:pt x="1662" y="172"/>
                      </a:lnTo>
                      <a:lnTo>
                        <a:pt x="1753" y="174"/>
                      </a:lnTo>
                      <a:lnTo>
                        <a:pt x="1845" y="177"/>
                      </a:lnTo>
                      <a:lnTo>
                        <a:pt x="1937" y="182"/>
                      </a:lnTo>
                      <a:lnTo>
                        <a:pt x="2028" y="187"/>
                      </a:lnTo>
                      <a:lnTo>
                        <a:pt x="2118" y="194"/>
                      </a:lnTo>
                      <a:lnTo>
                        <a:pt x="2208" y="203"/>
                      </a:lnTo>
                      <a:lnTo>
                        <a:pt x="2297" y="212"/>
                      </a:lnTo>
                      <a:lnTo>
                        <a:pt x="2384" y="223"/>
                      </a:lnTo>
                      <a:lnTo>
                        <a:pt x="2470" y="235"/>
                      </a:lnTo>
                      <a:lnTo>
                        <a:pt x="2554" y="250"/>
                      </a:lnTo>
                      <a:lnTo>
                        <a:pt x="2636" y="265"/>
                      </a:lnTo>
                      <a:lnTo>
                        <a:pt x="2672" y="274"/>
                      </a:lnTo>
                      <a:lnTo>
                        <a:pt x="2708" y="285"/>
                      </a:lnTo>
                      <a:lnTo>
                        <a:pt x="2744" y="298"/>
                      </a:lnTo>
                      <a:lnTo>
                        <a:pt x="2780" y="314"/>
                      </a:lnTo>
                      <a:lnTo>
                        <a:pt x="2815" y="333"/>
                      </a:lnTo>
                      <a:lnTo>
                        <a:pt x="2850" y="353"/>
                      </a:lnTo>
                      <a:lnTo>
                        <a:pt x="2885" y="374"/>
                      </a:lnTo>
                      <a:lnTo>
                        <a:pt x="2919" y="399"/>
                      </a:lnTo>
                      <a:lnTo>
                        <a:pt x="2954" y="424"/>
                      </a:lnTo>
                      <a:lnTo>
                        <a:pt x="2987" y="451"/>
                      </a:lnTo>
                      <a:lnTo>
                        <a:pt x="3020" y="480"/>
                      </a:lnTo>
                      <a:lnTo>
                        <a:pt x="3052" y="510"/>
                      </a:lnTo>
                      <a:lnTo>
                        <a:pt x="3084" y="542"/>
                      </a:lnTo>
                      <a:lnTo>
                        <a:pt x="3114" y="574"/>
                      </a:lnTo>
                      <a:lnTo>
                        <a:pt x="3145" y="608"/>
                      </a:lnTo>
                      <a:lnTo>
                        <a:pt x="3174" y="642"/>
                      </a:lnTo>
                      <a:lnTo>
                        <a:pt x="3202" y="678"/>
                      </a:lnTo>
                      <a:lnTo>
                        <a:pt x="3230" y="715"/>
                      </a:lnTo>
                      <a:lnTo>
                        <a:pt x="3257" y="751"/>
                      </a:lnTo>
                      <a:lnTo>
                        <a:pt x="3282" y="789"/>
                      </a:lnTo>
                      <a:lnTo>
                        <a:pt x="3307" y="827"/>
                      </a:lnTo>
                      <a:lnTo>
                        <a:pt x="3330" y="865"/>
                      </a:lnTo>
                      <a:lnTo>
                        <a:pt x="3352" y="904"/>
                      </a:lnTo>
                      <a:lnTo>
                        <a:pt x="3374" y="942"/>
                      </a:lnTo>
                      <a:lnTo>
                        <a:pt x="3394" y="981"/>
                      </a:lnTo>
                      <a:lnTo>
                        <a:pt x="3413" y="1018"/>
                      </a:lnTo>
                      <a:lnTo>
                        <a:pt x="3429" y="1057"/>
                      </a:lnTo>
                      <a:lnTo>
                        <a:pt x="3445" y="1095"/>
                      </a:lnTo>
                      <a:lnTo>
                        <a:pt x="3459" y="1132"/>
                      </a:lnTo>
                      <a:lnTo>
                        <a:pt x="3473" y="1169"/>
                      </a:lnTo>
                      <a:lnTo>
                        <a:pt x="3484" y="1205"/>
                      </a:lnTo>
                      <a:lnTo>
                        <a:pt x="3494" y="1240"/>
                      </a:lnTo>
                      <a:lnTo>
                        <a:pt x="3499" y="1266"/>
                      </a:lnTo>
                      <a:lnTo>
                        <a:pt x="3505" y="1291"/>
                      </a:lnTo>
                      <a:lnTo>
                        <a:pt x="3509" y="1316"/>
                      </a:lnTo>
                      <a:lnTo>
                        <a:pt x="3513" y="1340"/>
                      </a:lnTo>
                      <a:lnTo>
                        <a:pt x="3516" y="1365"/>
                      </a:lnTo>
                      <a:lnTo>
                        <a:pt x="3518" y="1389"/>
                      </a:lnTo>
                      <a:lnTo>
                        <a:pt x="3520" y="1412"/>
                      </a:lnTo>
                      <a:lnTo>
                        <a:pt x="3522" y="1437"/>
                      </a:lnTo>
                      <a:lnTo>
                        <a:pt x="3522" y="1460"/>
                      </a:lnTo>
                      <a:lnTo>
                        <a:pt x="3522" y="1484"/>
                      </a:lnTo>
                      <a:lnTo>
                        <a:pt x="3520" y="1506"/>
                      </a:lnTo>
                      <a:lnTo>
                        <a:pt x="3519" y="1529"/>
                      </a:lnTo>
                      <a:lnTo>
                        <a:pt x="3517" y="1552"/>
                      </a:lnTo>
                      <a:lnTo>
                        <a:pt x="3514" y="1574"/>
                      </a:lnTo>
                      <a:lnTo>
                        <a:pt x="3510" y="1596"/>
                      </a:lnTo>
                      <a:lnTo>
                        <a:pt x="3506" y="1617"/>
                      </a:lnTo>
                      <a:lnTo>
                        <a:pt x="3519" y="1587"/>
                      </a:lnTo>
                      <a:lnTo>
                        <a:pt x="3532" y="1557"/>
                      </a:lnTo>
                      <a:lnTo>
                        <a:pt x="3542" y="1526"/>
                      </a:lnTo>
                      <a:lnTo>
                        <a:pt x="3552" y="1494"/>
                      </a:lnTo>
                      <a:lnTo>
                        <a:pt x="3559" y="1461"/>
                      </a:lnTo>
                      <a:lnTo>
                        <a:pt x="3566" y="1429"/>
                      </a:lnTo>
                      <a:lnTo>
                        <a:pt x="3572" y="1396"/>
                      </a:lnTo>
                      <a:lnTo>
                        <a:pt x="3575" y="1361"/>
                      </a:lnTo>
                      <a:lnTo>
                        <a:pt x="3577" y="1327"/>
                      </a:lnTo>
                      <a:lnTo>
                        <a:pt x="3578" y="1292"/>
                      </a:lnTo>
                      <a:lnTo>
                        <a:pt x="3577" y="1257"/>
                      </a:lnTo>
                      <a:lnTo>
                        <a:pt x="3575" y="1220"/>
                      </a:lnTo>
                      <a:lnTo>
                        <a:pt x="3572" y="1183"/>
                      </a:lnTo>
                      <a:lnTo>
                        <a:pt x="3566" y="1146"/>
                      </a:lnTo>
                      <a:lnTo>
                        <a:pt x="3558" y="1109"/>
                      </a:lnTo>
                      <a:lnTo>
                        <a:pt x="3549" y="1071"/>
                      </a:lnTo>
                      <a:lnTo>
                        <a:pt x="3541" y="1035"/>
                      </a:lnTo>
                      <a:lnTo>
                        <a:pt x="3529" y="1000"/>
                      </a:lnTo>
                      <a:lnTo>
                        <a:pt x="3516" y="963"/>
                      </a:lnTo>
                      <a:lnTo>
                        <a:pt x="3502" y="925"/>
                      </a:lnTo>
                      <a:lnTo>
                        <a:pt x="3486" y="887"/>
                      </a:lnTo>
                      <a:lnTo>
                        <a:pt x="3469" y="849"/>
                      </a:lnTo>
                      <a:lnTo>
                        <a:pt x="3450" y="810"/>
                      </a:lnTo>
                      <a:lnTo>
                        <a:pt x="3430" y="773"/>
                      </a:lnTo>
                      <a:lnTo>
                        <a:pt x="3409" y="734"/>
                      </a:lnTo>
                      <a:lnTo>
                        <a:pt x="3387" y="695"/>
                      </a:lnTo>
                      <a:lnTo>
                        <a:pt x="3364" y="657"/>
                      </a:lnTo>
                      <a:lnTo>
                        <a:pt x="3339" y="619"/>
                      </a:lnTo>
                      <a:lnTo>
                        <a:pt x="3313" y="581"/>
                      </a:lnTo>
                      <a:lnTo>
                        <a:pt x="3287" y="544"/>
                      </a:lnTo>
                      <a:lnTo>
                        <a:pt x="3259" y="509"/>
                      </a:lnTo>
                      <a:lnTo>
                        <a:pt x="3231" y="473"/>
                      </a:lnTo>
                      <a:lnTo>
                        <a:pt x="3201" y="438"/>
                      </a:lnTo>
                      <a:lnTo>
                        <a:pt x="3171" y="404"/>
                      </a:lnTo>
                      <a:lnTo>
                        <a:pt x="3141" y="372"/>
                      </a:lnTo>
                      <a:lnTo>
                        <a:pt x="3109" y="341"/>
                      </a:lnTo>
                      <a:lnTo>
                        <a:pt x="3076" y="311"/>
                      </a:lnTo>
                      <a:lnTo>
                        <a:pt x="3044" y="282"/>
                      </a:lnTo>
                      <a:lnTo>
                        <a:pt x="3011" y="254"/>
                      </a:lnTo>
                      <a:lnTo>
                        <a:pt x="2976" y="228"/>
                      </a:lnTo>
                      <a:lnTo>
                        <a:pt x="2942" y="205"/>
                      </a:lnTo>
                      <a:lnTo>
                        <a:pt x="2907" y="183"/>
                      </a:lnTo>
                      <a:lnTo>
                        <a:pt x="2872" y="163"/>
                      </a:lnTo>
                      <a:lnTo>
                        <a:pt x="2837" y="145"/>
                      </a:lnTo>
                      <a:lnTo>
                        <a:pt x="2800" y="128"/>
                      </a:lnTo>
                      <a:lnTo>
                        <a:pt x="2765" y="115"/>
                      </a:lnTo>
                      <a:lnTo>
                        <a:pt x="2729" y="104"/>
                      </a:lnTo>
                      <a:lnTo>
                        <a:pt x="2692" y="95"/>
                      </a:lnTo>
                      <a:lnTo>
                        <a:pt x="2611" y="79"/>
                      </a:lnTo>
                      <a:lnTo>
                        <a:pt x="2527" y="66"/>
                      </a:lnTo>
                      <a:lnTo>
                        <a:pt x="2441" y="53"/>
                      </a:lnTo>
                      <a:lnTo>
                        <a:pt x="2354" y="41"/>
                      </a:lnTo>
                      <a:lnTo>
                        <a:pt x="2265" y="33"/>
                      </a:lnTo>
                      <a:lnTo>
                        <a:pt x="2175" y="24"/>
                      </a:lnTo>
                      <a:lnTo>
                        <a:pt x="2085" y="17"/>
                      </a:lnTo>
                      <a:lnTo>
                        <a:pt x="1993" y="11"/>
                      </a:lnTo>
                      <a:lnTo>
                        <a:pt x="1902" y="7"/>
                      </a:lnTo>
                      <a:lnTo>
                        <a:pt x="1810" y="4"/>
                      </a:lnTo>
                      <a:lnTo>
                        <a:pt x="1719" y="1"/>
                      </a:lnTo>
                      <a:lnTo>
                        <a:pt x="1627" y="0"/>
                      </a:lnTo>
                      <a:lnTo>
                        <a:pt x="1536" y="0"/>
                      </a:lnTo>
                      <a:lnTo>
                        <a:pt x="1446" y="1"/>
                      </a:lnTo>
                      <a:lnTo>
                        <a:pt x="1357" y="4"/>
                      </a:lnTo>
                      <a:lnTo>
                        <a:pt x="1270" y="6"/>
                      </a:lnTo>
                      <a:lnTo>
                        <a:pt x="1183" y="9"/>
                      </a:lnTo>
                      <a:lnTo>
                        <a:pt x="1099" y="14"/>
                      </a:lnTo>
                      <a:lnTo>
                        <a:pt x="1017" y="18"/>
                      </a:lnTo>
                      <a:lnTo>
                        <a:pt x="937" y="24"/>
                      </a:lnTo>
                      <a:lnTo>
                        <a:pt x="859" y="30"/>
                      </a:lnTo>
                      <a:lnTo>
                        <a:pt x="785" y="37"/>
                      </a:lnTo>
                      <a:lnTo>
                        <a:pt x="712" y="44"/>
                      </a:lnTo>
                      <a:lnTo>
                        <a:pt x="644" y="51"/>
                      </a:lnTo>
                      <a:lnTo>
                        <a:pt x="579" y="59"/>
                      </a:lnTo>
                      <a:lnTo>
                        <a:pt x="518" y="67"/>
                      </a:lnTo>
                      <a:lnTo>
                        <a:pt x="460" y="76"/>
                      </a:lnTo>
                      <a:lnTo>
                        <a:pt x="406" y="85"/>
                      </a:lnTo>
                      <a:lnTo>
                        <a:pt x="358" y="94"/>
                      </a:lnTo>
                      <a:lnTo>
                        <a:pt x="314" y="103"/>
                      </a:lnTo>
                      <a:lnTo>
                        <a:pt x="274" y="112"/>
                      </a:lnTo>
                      <a:lnTo>
                        <a:pt x="240" y="120"/>
                      </a:lnTo>
                      <a:lnTo>
                        <a:pt x="212" y="129"/>
                      </a:lnTo>
                      <a:lnTo>
                        <a:pt x="185" y="140"/>
                      </a:lnTo>
                      <a:lnTo>
                        <a:pt x="160" y="153"/>
                      </a:lnTo>
                      <a:lnTo>
                        <a:pt x="138" y="166"/>
                      </a:lnTo>
                      <a:lnTo>
                        <a:pt x="118" y="181"/>
                      </a:lnTo>
                      <a:lnTo>
                        <a:pt x="99" y="197"/>
                      </a:lnTo>
                      <a:lnTo>
                        <a:pt x="81" y="214"/>
                      </a:lnTo>
                      <a:lnTo>
                        <a:pt x="67" y="233"/>
                      </a:lnTo>
                      <a:lnTo>
                        <a:pt x="52" y="252"/>
                      </a:lnTo>
                      <a:lnTo>
                        <a:pt x="41" y="273"/>
                      </a:lnTo>
                      <a:lnTo>
                        <a:pt x="30" y="294"/>
                      </a:lnTo>
                      <a:lnTo>
                        <a:pt x="21" y="317"/>
                      </a:lnTo>
                      <a:lnTo>
                        <a:pt x="15" y="341"/>
                      </a:lnTo>
                      <a:lnTo>
                        <a:pt x="8" y="365"/>
                      </a:lnTo>
                      <a:lnTo>
                        <a:pt x="3" y="390"/>
                      </a:lnTo>
                      <a:lnTo>
                        <a:pt x="0" y="416"/>
                      </a:lnTo>
                      <a:lnTo>
                        <a:pt x="8" y="405"/>
                      </a:lnTo>
                      <a:lnTo>
                        <a:pt x="16" y="395"/>
                      </a:lnTo>
                      <a:lnTo>
                        <a:pt x="25" y="385"/>
                      </a:lnTo>
                      <a:lnTo>
                        <a:pt x="33" y="375"/>
                      </a:lnTo>
                      <a:lnTo>
                        <a:pt x="42" y="366"/>
                      </a:lnTo>
                      <a:lnTo>
                        <a:pt x="52" y="357"/>
                      </a:lnTo>
                      <a:lnTo>
                        <a:pt x="64" y="349"/>
                      </a:lnTo>
                      <a:lnTo>
                        <a:pt x="75" y="341"/>
                      </a:lnTo>
                      <a:lnTo>
                        <a:pt x="86" y="333"/>
                      </a:lnTo>
                      <a:lnTo>
                        <a:pt x="98" y="326"/>
                      </a:lnTo>
                      <a:lnTo>
                        <a:pt x="111" y="319"/>
                      </a:lnTo>
                      <a:lnTo>
                        <a:pt x="125" y="312"/>
                      </a:lnTo>
                      <a:lnTo>
                        <a:pt x="138" y="306"/>
                      </a:lnTo>
                      <a:lnTo>
                        <a:pt x="153" y="301"/>
                      </a:lnTo>
                      <a:lnTo>
                        <a:pt x="168" y="295"/>
                      </a:lnTo>
                      <a:lnTo>
                        <a:pt x="184" y="291"/>
                      </a:lnTo>
                      <a:close/>
                    </a:path>
                  </a:pathLst>
                </a:custGeom>
                <a:solidFill>
                  <a:srgbClr val="1B457C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470" name="Freeform 209"/>
                <p:cNvSpPr>
                  <a:spLocks/>
                </p:cNvSpPr>
                <p:nvPr/>
              </p:nvSpPr>
              <p:spPr bwMode="auto">
                <a:xfrm>
                  <a:off x="3132" y="2304"/>
                  <a:ext cx="652" cy="558"/>
                </a:xfrm>
                <a:custGeom>
                  <a:avLst/>
                  <a:gdLst>
                    <a:gd name="T0" fmla="*/ 0 w 4574"/>
                    <a:gd name="T1" fmla="*/ 0 h 3909"/>
                    <a:gd name="T2" fmla="*/ 0 w 4574"/>
                    <a:gd name="T3" fmla="*/ 0 h 3909"/>
                    <a:gd name="T4" fmla="*/ 0 w 4574"/>
                    <a:gd name="T5" fmla="*/ 0 h 3909"/>
                    <a:gd name="T6" fmla="*/ 0 w 4574"/>
                    <a:gd name="T7" fmla="*/ 0 h 3909"/>
                    <a:gd name="T8" fmla="*/ 0 w 4574"/>
                    <a:gd name="T9" fmla="*/ 0 h 3909"/>
                    <a:gd name="T10" fmla="*/ 0 w 4574"/>
                    <a:gd name="T11" fmla="*/ 0 h 3909"/>
                    <a:gd name="T12" fmla="*/ 0 w 4574"/>
                    <a:gd name="T13" fmla="*/ 0 h 3909"/>
                    <a:gd name="T14" fmla="*/ 0 w 4574"/>
                    <a:gd name="T15" fmla="*/ 0 h 3909"/>
                    <a:gd name="T16" fmla="*/ 0 w 4574"/>
                    <a:gd name="T17" fmla="*/ 0 h 3909"/>
                    <a:gd name="T18" fmla="*/ 0 w 4574"/>
                    <a:gd name="T19" fmla="*/ 0 h 3909"/>
                    <a:gd name="T20" fmla="*/ 0 w 4574"/>
                    <a:gd name="T21" fmla="*/ 0 h 3909"/>
                    <a:gd name="T22" fmla="*/ 0 w 4574"/>
                    <a:gd name="T23" fmla="*/ 0 h 3909"/>
                    <a:gd name="T24" fmla="*/ 0 w 4574"/>
                    <a:gd name="T25" fmla="*/ 0 h 3909"/>
                    <a:gd name="T26" fmla="*/ 0 w 4574"/>
                    <a:gd name="T27" fmla="*/ 0 h 3909"/>
                    <a:gd name="T28" fmla="*/ 0 w 4574"/>
                    <a:gd name="T29" fmla="*/ 0 h 3909"/>
                    <a:gd name="T30" fmla="*/ 0 w 4574"/>
                    <a:gd name="T31" fmla="*/ 0 h 3909"/>
                    <a:gd name="T32" fmla="*/ 0 w 4574"/>
                    <a:gd name="T33" fmla="*/ 0 h 3909"/>
                    <a:gd name="T34" fmla="*/ 0 w 4574"/>
                    <a:gd name="T35" fmla="*/ 0 h 3909"/>
                    <a:gd name="T36" fmla="*/ 0 w 4574"/>
                    <a:gd name="T37" fmla="*/ 0 h 3909"/>
                    <a:gd name="T38" fmla="*/ 0 w 4574"/>
                    <a:gd name="T39" fmla="*/ 0 h 3909"/>
                    <a:gd name="T40" fmla="*/ 0 w 4574"/>
                    <a:gd name="T41" fmla="*/ 0 h 3909"/>
                    <a:gd name="T42" fmla="*/ 0 w 4574"/>
                    <a:gd name="T43" fmla="*/ 0 h 3909"/>
                    <a:gd name="T44" fmla="*/ 0 w 4574"/>
                    <a:gd name="T45" fmla="*/ 0 h 3909"/>
                    <a:gd name="T46" fmla="*/ 0 w 4574"/>
                    <a:gd name="T47" fmla="*/ 0 h 3909"/>
                    <a:gd name="T48" fmla="*/ 0 w 4574"/>
                    <a:gd name="T49" fmla="*/ 0 h 3909"/>
                    <a:gd name="T50" fmla="*/ 0 w 4574"/>
                    <a:gd name="T51" fmla="*/ 0 h 3909"/>
                    <a:gd name="T52" fmla="*/ 0 w 4574"/>
                    <a:gd name="T53" fmla="*/ 0 h 3909"/>
                    <a:gd name="T54" fmla="*/ 0 w 4574"/>
                    <a:gd name="T55" fmla="*/ 0 h 3909"/>
                    <a:gd name="T56" fmla="*/ 0 w 4574"/>
                    <a:gd name="T57" fmla="*/ 0 h 3909"/>
                    <a:gd name="T58" fmla="*/ 0 w 4574"/>
                    <a:gd name="T59" fmla="*/ 0 h 3909"/>
                    <a:gd name="T60" fmla="*/ 0 w 4574"/>
                    <a:gd name="T61" fmla="*/ 0 h 3909"/>
                    <a:gd name="T62" fmla="*/ 0 w 4574"/>
                    <a:gd name="T63" fmla="*/ 0 h 3909"/>
                    <a:gd name="T64" fmla="*/ 0 w 4574"/>
                    <a:gd name="T65" fmla="*/ 0 h 3909"/>
                    <a:gd name="T66" fmla="*/ 0 w 4574"/>
                    <a:gd name="T67" fmla="*/ 0 h 3909"/>
                    <a:gd name="T68" fmla="*/ 0 w 4574"/>
                    <a:gd name="T69" fmla="*/ 0 h 3909"/>
                    <a:gd name="T70" fmla="*/ 0 w 4574"/>
                    <a:gd name="T71" fmla="*/ 0 h 3909"/>
                    <a:gd name="T72" fmla="*/ 0 w 4574"/>
                    <a:gd name="T73" fmla="*/ 0 h 3909"/>
                    <a:gd name="T74" fmla="*/ 0 w 4574"/>
                    <a:gd name="T75" fmla="*/ 0 h 3909"/>
                    <a:gd name="T76" fmla="*/ 0 w 4574"/>
                    <a:gd name="T77" fmla="*/ 0 h 3909"/>
                    <a:gd name="T78" fmla="*/ 0 w 4574"/>
                    <a:gd name="T79" fmla="*/ 0 h 3909"/>
                    <a:gd name="T80" fmla="*/ 0 w 4574"/>
                    <a:gd name="T81" fmla="*/ 0 h 3909"/>
                    <a:gd name="T82" fmla="*/ 0 w 4574"/>
                    <a:gd name="T83" fmla="*/ 0 h 3909"/>
                    <a:gd name="T84" fmla="*/ 0 w 4574"/>
                    <a:gd name="T85" fmla="*/ 0 h 3909"/>
                    <a:gd name="T86" fmla="*/ 0 60000 65536"/>
                    <a:gd name="T87" fmla="*/ 0 60000 65536"/>
                    <a:gd name="T88" fmla="*/ 0 60000 65536"/>
                    <a:gd name="T89" fmla="*/ 0 60000 65536"/>
                    <a:gd name="T90" fmla="*/ 0 60000 65536"/>
                    <a:gd name="T91" fmla="*/ 0 60000 65536"/>
                    <a:gd name="T92" fmla="*/ 0 60000 65536"/>
                    <a:gd name="T93" fmla="*/ 0 60000 65536"/>
                    <a:gd name="T94" fmla="*/ 0 60000 65536"/>
                    <a:gd name="T95" fmla="*/ 0 60000 6553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w 4574"/>
                    <a:gd name="T130" fmla="*/ 0 h 3909"/>
                    <a:gd name="T131" fmla="*/ 4574 w 4574"/>
                    <a:gd name="T132" fmla="*/ 3909 h 3909"/>
                  </a:gdLst>
                  <a:ahLst/>
                  <a:cxnLst>
                    <a:cxn ang="T86">
                      <a:pos x="T0" y="T1"/>
                    </a:cxn>
                    <a:cxn ang="T87">
                      <a:pos x="T2" y="T3"/>
                    </a:cxn>
                    <a:cxn ang="T88">
                      <a:pos x="T4" y="T5"/>
                    </a:cxn>
                    <a:cxn ang="T89">
                      <a:pos x="T6" y="T7"/>
                    </a:cxn>
                    <a:cxn ang="T90">
                      <a:pos x="T8" y="T9"/>
                    </a:cxn>
                    <a:cxn ang="T91">
                      <a:pos x="T10" y="T11"/>
                    </a:cxn>
                    <a:cxn ang="T92">
                      <a:pos x="T12" y="T13"/>
                    </a:cxn>
                    <a:cxn ang="T93">
                      <a:pos x="T14" y="T15"/>
                    </a:cxn>
                    <a:cxn ang="T94">
                      <a:pos x="T16" y="T17"/>
                    </a:cxn>
                    <a:cxn ang="T95">
                      <a:pos x="T18" y="T19"/>
                    </a:cxn>
                    <a:cxn ang="T96">
                      <a:pos x="T20" y="T21"/>
                    </a:cxn>
                    <a:cxn ang="T97">
                      <a:pos x="T22" y="T23"/>
                    </a:cxn>
                    <a:cxn ang="T98">
                      <a:pos x="T24" y="T25"/>
                    </a:cxn>
                    <a:cxn ang="T99">
                      <a:pos x="T26" y="T27"/>
                    </a:cxn>
                    <a:cxn ang="T100">
                      <a:pos x="T28" y="T29"/>
                    </a:cxn>
                    <a:cxn ang="T101">
                      <a:pos x="T30" y="T31"/>
                    </a:cxn>
                    <a:cxn ang="T102">
                      <a:pos x="T32" y="T33"/>
                    </a:cxn>
                    <a:cxn ang="T103">
                      <a:pos x="T34" y="T35"/>
                    </a:cxn>
                    <a:cxn ang="T104">
                      <a:pos x="T36" y="T37"/>
                    </a:cxn>
                    <a:cxn ang="T105">
                      <a:pos x="T38" y="T39"/>
                    </a:cxn>
                    <a:cxn ang="T106">
                      <a:pos x="T40" y="T41"/>
                    </a:cxn>
                    <a:cxn ang="T107">
                      <a:pos x="T42" y="T43"/>
                    </a:cxn>
                    <a:cxn ang="T108">
                      <a:pos x="T44" y="T45"/>
                    </a:cxn>
                    <a:cxn ang="T109">
                      <a:pos x="T46" y="T47"/>
                    </a:cxn>
                    <a:cxn ang="T110">
                      <a:pos x="T48" y="T49"/>
                    </a:cxn>
                    <a:cxn ang="T111">
                      <a:pos x="T50" y="T51"/>
                    </a:cxn>
                    <a:cxn ang="T112">
                      <a:pos x="T52" y="T53"/>
                    </a:cxn>
                    <a:cxn ang="T113">
                      <a:pos x="T54" y="T55"/>
                    </a:cxn>
                    <a:cxn ang="T114">
                      <a:pos x="T56" y="T57"/>
                    </a:cxn>
                    <a:cxn ang="T115">
                      <a:pos x="T58" y="T59"/>
                    </a:cxn>
                    <a:cxn ang="T116">
                      <a:pos x="T60" y="T61"/>
                    </a:cxn>
                    <a:cxn ang="T117">
                      <a:pos x="T62" y="T63"/>
                    </a:cxn>
                    <a:cxn ang="T118">
                      <a:pos x="T64" y="T65"/>
                    </a:cxn>
                    <a:cxn ang="T119">
                      <a:pos x="T66" y="T67"/>
                    </a:cxn>
                    <a:cxn ang="T120">
                      <a:pos x="T68" y="T69"/>
                    </a:cxn>
                    <a:cxn ang="T121">
                      <a:pos x="T70" y="T71"/>
                    </a:cxn>
                    <a:cxn ang="T122">
                      <a:pos x="T72" y="T73"/>
                    </a:cxn>
                    <a:cxn ang="T123">
                      <a:pos x="T74" y="T75"/>
                    </a:cxn>
                    <a:cxn ang="T124">
                      <a:pos x="T76" y="T77"/>
                    </a:cxn>
                    <a:cxn ang="T125">
                      <a:pos x="T78" y="T79"/>
                    </a:cxn>
                    <a:cxn ang="T126">
                      <a:pos x="T80" y="T81"/>
                    </a:cxn>
                    <a:cxn ang="T127">
                      <a:pos x="T82" y="T83"/>
                    </a:cxn>
                    <a:cxn ang="T128">
                      <a:pos x="T84" y="T85"/>
                    </a:cxn>
                  </a:cxnLst>
                  <a:rect l="T129" t="T130" r="T131" b="T132"/>
                  <a:pathLst>
                    <a:path w="4574" h="3909">
                      <a:moveTo>
                        <a:pt x="4538" y="1754"/>
                      </a:moveTo>
                      <a:lnTo>
                        <a:pt x="4558" y="1950"/>
                      </a:lnTo>
                      <a:lnTo>
                        <a:pt x="4570" y="2133"/>
                      </a:lnTo>
                      <a:lnTo>
                        <a:pt x="4574" y="2305"/>
                      </a:lnTo>
                      <a:lnTo>
                        <a:pt x="4571" y="2465"/>
                      </a:lnTo>
                      <a:lnTo>
                        <a:pt x="4561" y="2614"/>
                      </a:lnTo>
                      <a:lnTo>
                        <a:pt x="4544" y="2753"/>
                      </a:lnTo>
                      <a:lnTo>
                        <a:pt x="4520" y="2881"/>
                      </a:lnTo>
                      <a:lnTo>
                        <a:pt x="4490" y="3000"/>
                      </a:lnTo>
                      <a:lnTo>
                        <a:pt x="4452" y="3109"/>
                      </a:lnTo>
                      <a:lnTo>
                        <a:pt x="4409" y="3209"/>
                      </a:lnTo>
                      <a:lnTo>
                        <a:pt x="4360" y="3301"/>
                      </a:lnTo>
                      <a:lnTo>
                        <a:pt x="4304" y="3383"/>
                      </a:lnTo>
                      <a:lnTo>
                        <a:pt x="4243" y="3459"/>
                      </a:lnTo>
                      <a:lnTo>
                        <a:pt x="4177" y="3525"/>
                      </a:lnTo>
                      <a:lnTo>
                        <a:pt x="4105" y="3587"/>
                      </a:lnTo>
                      <a:lnTo>
                        <a:pt x="4028" y="3640"/>
                      </a:lnTo>
                      <a:lnTo>
                        <a:pt x="3947" y="3687"/>
                      </a:lnTo>
                      <a:lnTo>
                        <a:pt x="3861" y="3729"/>
                      </a:lnTo>
                      <a:lnTo>
                        <a:pt x="3771" y="3765"/>
                      </a:lnTo>
                      <a:lnTo>
                        <a:pt x="3676" y="3796"/>
                      </a:lnTo>
                      <a:lnTo>
                        <a:pt x="3577" y="3821"/>
                      </a:lnTo>
                      <a:lnTo>
                        <a:pt x="3475" y="3844"/>
                      </a:lnTo>
                      <a:lnTo>
                        <a:pt x="3369" y="3862"/>
                      </a:lnTo>
                      <a:lnTo>
                        <a:pt x="3260" y="3876"/>
                      </a:lnTo>
                      <a:lnTo>
                        <a:pt x="3148" y="3887"/>
                      </a:lnTo>
                      <a:lnTo>
                        <a:pt x="3032" y="3895"/>
                      </a:lnTo>
                      <a:lnTo>
                        <a:pt x="2913" y="3902"/>
                      </a:lnTo>
                      <a:lnTo>
                        <a:pt x="2793" y="3905"/>
                      </a:lnTo>
                      <a:lnTo>
                        <a:pt x="2669" y="3907"/>
                      </a:lnTo>
                      <a:lnTo>
                        <a:pt x="2544" y="3908"/>
                      </a:lnTo>
                      <a:lnTo>
                        <a:pt x="2416" y="3909"/>
                      </a:lnTo>
                      <a:lnTo>
                        <a:pt x="2287" y="3909"/>
                      </a:lnTo>
                      <a:lnTo>
                        <a:pt x="2158" y="3909"/>
                      </a:lnTo>
                      <a:lnTo>
                        <a:pt x="2031" y="3909"/>
                      </a:lnTo>
                      <a:lnTo>
                        <a:pt x="1905" y="3908"/>
                      </a:lnTo>
                      <a:lnTo>
                        <a:pt x="1783" y="3906"/>
                      </a:lnTo>
                      <a:lnTo>
                        <a:pt x="1662" y="3903"/>
                      </a:lnTo>
                      <a:lnTo>
                        <a:pt x="1544" y="3897"/>
                      </a:lnTo>
                      <a:lnTo>
                        <a:pt x="1428" y="3889"/>
                      </a:lnTo>
                      <a:lnTo>
                        <a:pt x="1316" y="3879"/>
                      </a:lnTo>
                      <a:lnTo>
                        <a:pt x="1205" y="3866"/>
                      </a:lnTo>
                      <a:lnTo>
                        <a:pt x="1100" y="3849"/>
                      </a:lnTo>
                      <a:lnTo>
                        <a:pt x="997" y="3828"/>
                      </a:lnTo>
                      <a:lnTo>
                        <a:pt x="898" y="3803"/>
                      </a:lnTo>
                      <a:lnTo>
                        <a:pt x="804" y="3773"/>
                      </a:lnTo>
                      <a:lnTo>
                        <a:pt x="713" y="3737"/>
                      </a:lnTo>
                      <a:lnTo>
                        <a:pt x="627" y="3697"/>
                      </a:lnTo>
                      <a:lnTo>
                        <a:pt x="545" y="3650"/>
                      </a:lnTo>
                      <a:lnTo>
                        <a:pt x="469" y="3597"/>
                      </a:lnTo>
                      <a:lnTo>
                        <a:pt x="397" y="3537"/>
                      </a:lnTo>
                      <a:lnTo>
                        <a:pt x="331" y="3470"/>
                      </a:lnTo>
                      <a:lnTo>
                        <a:pt x="269" y="3394"/>
                      </a:lnTo>
                      <a:lnTo>
                        <a:pt x="215" y="3312"/>
                      </a:lnTo>
                      <a:lnTo>
                        <a:pt x="165" y="3221"/>
                      </a:lnTo>
                      <a:lnTo>
                        <a:pt x="121" y="3120"/>
                      </a:lnTo>
                      <a:lnTo>
                        <a:pt x="85" y="3011"/>
                      </a:lnTo>
                      <a:lnTo>
                        <a:pt x="53" y="2892"/>
                      </a:lnTo>
                      <a:lnTo>
                        <a:pt x="30" y="2763"/>
                      </a:lnTo>
                      <a:lnTo>
                        <a:pt x="12" y="2623"/>
                      </a:lnTo>
                      <a:lnTo>
                        <a:pt x="2" y="2473"/>
                      </a:lnTo>
                      <a:lnTo>
                        <a:pt x="0" y="2311"/>
                      </a:lnTo>
                      <a:lnTo>
                        <a:pt x="4" y="2138"/>
                      </a:lnTo>
                      <a:lnTo>
                        <a:pt x="18" y="1952"/>
                      </a:lnTo>
                      <a:lnTo>
                        <a:pt x="38" y="1754"/>
                      </a:lnTo>
                      <a:lnTo>
                        <a:pt x="51" y="1659"/>
                      </a:lnTo>
                      <a:lnTo>
                        <a:pt x="70" y="1568"/>
                      </a:lnTo>
                      <a:lnTo>
                        <a:pt x="95" y="1477"/>
                      </a:lnTo>
                      <a:lnTo>
                        <a:pt x="124" y="1388"/>
                      </a:lnTo>
                      <a:lnTo>
                        <a:pt x="156" y="1301"/>
                      </a:lnTo>
                      <a:lnTo>
                        <a:pt x="194" y="1216"/>
                      </a:lnTo>
                      <a:lnTo>
                        <a:pt x="236" y="1134"/>
                      </a:lnTo>
                      <a:lnTo>
                        <a:pt x="282" y="1053"/>
                      </a:lnTo>
                      <a:lnTo>
                        <a:pt x="332" y="975"/>
                      </a:lnTo>
                      <a:lnTo>
                        <a:pt x="386" y="899"/>
                      </a:lnTo>
                      <a:lnTo>
                        <a:pt x="444" y="826"/>
                      </a:lnTo>
                      <a:lnTo>
                        <a:pt x="505" y="755"/>
                      </a:lnTo>
                      <a:lnTo>
                        <a:pt x="571" y="687"/>
                      </a:lnTo>
                      <a:lnTo>
                        <a:pt x="639" y="621"/>
                      </a:lnTo>
                      <a:lnTo>
                        <a:pt x="711" y="558"/>
                      </a:lnTo>
                      <a:lnTo>
                        <a:pt x="786" y="497"/>
                      </a:lnTo>
                      <a:lnTo>
                        <a:pt x="864" y="441"/>
                      </a:lnTo>
                      <a:lnTo>
                        <a:pt x="944" y="387"/>
                      </a:lnTo>
                      <a:lnTo>
                        <a:pt x="1027" y="336"/>
                      </a:lnTo>
                      <a:lnTo>
                        <a:pt x="1113" y="288"/>
                      </a:lnTo>
                      <a:lnTo>
                        <a:pt x="1201" y="244"/>
                      </a:lnTo>
                      <a:lnTo>
                        <a:pt x="1291" y="204"/>
                      </a:lnTo>
                      <a:lnTo>
                        <a:pt x="1383" y="166"/>
                      </a:lnTo>
                      <a:lnTo>
                        <a:pt x="1478" y="132"/>
                      </a:lnTo>
                      <a:lnTo>
                        <a:pt x="1574" y="101"/>
                      </a:lnTo>
                      <a:lnTo>
                        <a:pt x="1672" y="76"/>
                      </a:lnTo>
                      <a:lnTo>
                        <a:pt x="1772" y="52"/>
                      </a:lnTo>
                      <a:lnTo>
                        <a:pt x="1872" y="33"/>
                      </a:lnTo>
                      <a:lnTo>
                        <a:pt x="1974" y="19"/>
                      </a:lnTo>
                      <a:lnTo>
                        <a:pt x="2078" y="9"/>
                      </a:lnTo>
                      <a:lnTo>
                        <a:pt x="2183" y="2"/>
                      </a:lnTo>
                      <a:lnTo>
                        <a:pt x="2287" y="0"/>
                      </a:lnTo>
                      <a:lnTo>
                        <a:pt x="2393" y="2"/>
                      </a:lnTo>
                      <a:lnTo>
                        <a:pt x="2498" y="9"/>
                      </a:lnTo>
                      <a:lnTo>
                        <a:pt x="2600" y="19"/>
                      </a:lnTo>
                      <a:lnTo>
                        <a:pt x="2702" y="33"/>
                      </a:lnTo>
                      <a:lnTo>
                        <a:pt x="2804" y="52"/>
                      </a:lnTo>
                      <a:lnTo>
                        <a:pt x="2903" y="76"/>
                      </a:lnTo>
                      <a:lnTo>
                        <a:pt x="3001" y="101"/>
                      </a:lnTo>
                      <a:lnTo>
                        <a:pt x="3097" y="132"/>
                      </a:lnTo>
                      <a:lnTo>
                        <a:pt x="3192" y="166"/>
                      </a:lnTo>
                      <a:lnTo>
                        <a:pt x="3284" y="204"/>
                      </a:lnTo>
                      <a:lnTo>
                        <a:pt x="3375" y="244"/>
                      </a:lnTo>
                      <a:lnTo>
                        <a:pt x="3463" y="288"/>
                      </a:lnTo>
                      <a:lnTo>
                        <a:pt x="3548" y="336"/>
                      </a:lnTo>
                      <a:lnTo>
                        <a:pt x="3632" y="387"/>
                      </a:lnTo>
                      <a:lnTo>
                        <a:pt x="3712" y="441"/>
                      </a:lnTo>
                      <a:lnTo>
                        <a:pt x="3790" y="497"/>
                      </a:lnTo>
                      <a:lnTo>
                        <a:pt x="3864" y="558"/>
                      </a:lnTo>
                      <a:lnTo>
                        <a:pt x="3936" y="621"/>
                      </a:lnTo>
                      <a:lnTo>
                        <a:pt x="4005" y="687"/>
                      </a:lnTo>
                      <a:lnTo>
                        <a:pt x="4069" y="755"/>
                      </a:lnTo>
                      <a:lnTo>
                        <a:pt x="4131" y="826"/>
                      </a:lnTo>
                      <a:lnTo>
                        <a:pt x="4189" y="899"/>
                      </a:lnTo>
                      <a:lnTo>
                        <a:pt x="4243" y="975"/>
                      </a:lnTo>
                      <a:lnTo>
                        <a:pt x="4293" y="1053"/>
                      </a:lnTo>
                      <a:lnTo>
                        <a:pt x="4340" y="1134"/>
                      </a:lnTo>
                      <a:lnTo>
                        <a:pt x="4382" y="1216"/>
                      </a:lnTo>
                      <a:lnTo>
                        <a:pt x="4419" y="1301"/>
                      </a:lnTo>
                      <a:lnTo>
                        <a:pt x="4452" y="1388"/>
                      </a:lnTo>
                      <a:lnTo>
                        <a:pt x="4481" y="1477"/>
                      </a:lnTo>
                      <a:lnTo>
                        <a:pt x="4504" y="1568"/>
                      </a:lnTo>
                      <a:lnTo>
                        <a:pt x="4523" y="1659"/>
                      </a:lnTo>
                      <a:lnTo>
                        <a:pt x="4538" y="1754"/>
                      </a:lnTo>
                      <a:close/>
                    </a:path>
                  </a:pathLst>
                </a:custGeom>
                <a:solidFill>
                  <a:srgbClr val="242D54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471" name="Freeform 210"/>
                <p:cNvSpPr>
                  <a:spLocks/>
                </p:cNvSpPr>
                <p:nvPr/>
              </p:nvSpPr>
              <p:spPr bwMode="auto">
                <a:xfrm>
                  <a:off x="3132" y="2460"/>
                  <a:ext cx="652" cy="406"/>
                </a:xfrm>
                <a:custGeom>
                  <a:avLst/>
                  <a:gdLst>
                    <a:gd name="T0" fmla="*/ 0 w 4574"/>
                    <a:gd name="T1" fmla="*/ 0 h 2849"/>
                    <a:gd name="T2" fmla="*/ 0 w 4574"/>
                    <a:gd name="T3" fmla="*/ 0 h 2849"/>
                    <a:gd name="T4" fmla="*/ 0 w 4574"/>
                    <a:gd name="T5" fmla="*/ 0 h 2849"/>
                    <a:gd name="T6" fmla="*/ 0 w 4574"/>
                    <a:gd name="T7" fmla="*/ 0 h 2849"/>
                    <a:gd name="T8" fmla="*/ 0 w 4574"/>
                    <a:gd name="T9" fmla="*/ 0 h 2849"/>
                    <a:gd name="T10" fmla="*/ 0 w 4574"/>
                    <a:gd name="T11" fmla="*/ 0 h 2849"/>
                    <a:gd name="T12" fmla="*/ 0 w 4574"/>
                    <a:gd name="T13" fmla="*/ 0 h 2849"/>
                    <a:gd name="T14" fmla="*/ 0 w 4574"/>
                    <a:gd name="T15" fmla="*/ 0 h 2849"/>
                    <a:gd name="T16" fmla="*/ 0 w 4574"/>
                    <a:gd name="T17" fmla="*/ 0 h 2849"/>
                    <a:gd name="T18" fmla="*/ 0 w 4574"/>
                    <a:gd name="T19" fmla="*/ 0 h 2849"/>
                    <a:gd name="T20" fmla="*/ 0 w 4574"/>
                    <a:gd name="T21" fmla="*/ 0 h 2849"/>
                    <a:gd name="T22" fmla="*/ 0 w 4574"/>
                    <a:gd name="T23" fmla="*/ 0 h 2849"/>
                    <a:gd name="T24" fmla="*/ 0 w 4574"/>
                    <a:gd name="T25" fmla="*/ 0 h 2849"/>
                    <a:gd name="T26" fmla="*/ 0 w 4574"/>
                    <a:gd name="T27" fmla="*/ 0 h 2849"/>
                    <a:gd name="T28" fmla="*/ 0 w 4574"/>
                    <a:gd name="T29" fmla="*/ 0 h 2849"/>
                    <a:gd name="T30" fmla="*/ 0 w 4574"/>
                    <a:gd name="T31" fmla="*/ 0 h 2849"/>
                    <a:gd name="T32" fmla="*/ 0 w 4574"/>
                    <a:gd name="T33" fmla="*/ 0 h 2849"/>
                    <a:gd name="T34" fmla="*/ 0 w 4574"/>
                    <a:gd name="T35" fmla="*/ 0 h 2849"/>
                    <a:gd name="T36" fmla="*/ 0 w 4574"/>
                    <a:gd name="T37" fmla="*/ 0 h 2849"/>
                    <a:gd name="T38" fmla="*/ 0 w 4574"/>
                    <a:gd name="T39" fmla="*/ 0 h 2849"/>
                    <a:gd name="T40" fmla="*/ 0 w 4574"/>
                    <a:gd name="T41" fmla="*/ 0 h 2849"/>
                    <a:gd name="T42" fmla="*/ 0 w 4574"/>
                    <a:gd name="T43" fmla="*/ 0 h 2849"/>
                    <a:gd name="T44" fmla="*/ 0 w 4574"/>
                    <a:gd name="T45" fmla="*/ 0 h 2849"/>
                    <a:gd name="T46" fmla="*/ 0 w 4574"/>
                    <a:gd name="T47" fmla="*/ 0 h 2849"/>
                    <a:gd name="T48" fmla="*/ 0 w 4574"/>
                    <a:gd name="T49" fmla="*/ 0 h 2849"/>
                    <a:gd name="T50" fmla="*/ 0 w 4574"/>
                    <a:gd name="T51" fmla="*/ 0 h 2849"/>
                    <a:gd name="T52" fmla="*/ 0 w 4574"/>
                    <a:gd name="T53" fmla="*/ 0 h 2849"/>
                    <a:gd name="T54" fmla="*/ 0 w 4574"/>
                    <a:gd name="T55" fmla="*/ 0 h 2849"/>
                    <a:gd name="T56" fmla="*/ 0 w 4574"/>
                    <a:gd name="T57" fmla="*/ 0 h 2849"/>
                    <a:gd name="T58" fmla="*/ 0 w 4574"/>
                    <a:gd name="T59" fmla="*/ 0 h 2849"/>
                    <a:gd name="T60" fmla="*/ 0 w 4574"/>
                    <a:gd name="T61" fmla="*/ 0 h 2849"/>
                    <a:gd name="T62" fmla="*/ 0 w 4574"/>
                    <a:gd name="T63" fmla="*/ 0 h 2849"/>
                    <a:gd name="T64" fmla="*/ 0 w 4574"/>
                    <a:gd name="T65" fmla="*/ 0 h 2849"/>
                    <a:gd name="T66" fmla="*/ 0 w 4574"/>
                    <a:gd name="T67" fmla="*/ 0 h 2849"/>
                    <a:gd name="T68" fmla="*/ 0 w 4574"/>
                    <a:gd name="T69" fmla="*/ 0 h 2849"/>
                    <a:gd name="T70" fmla="*/ 0 w 4574"/>
                    <a:gd name="T71" fmla="*/ 0 h 2849"/>
                    <a:gd name="T72" fmla="*/ 0 w 4574"/>
                    <a:gd name="T73" fmla="*/ 0 h 2849"/>
                    <a:gd name="T74" fmla="*/ 0 w 4574"/>
                    <a:gd name="T75" fmla="*/ 0 h 2849"/>
                    <a:gd name="T76" fmla="*/ 0 w 4574"/>
                    <a:gd name="T77" fmla="*/ 0 h 2849"/>
                    <a:gd name="T78" fmla="*/ 0 w 4574"/>
                    <a:gd name="T79" fmla="*/ 0 h 2849"/>
                    <a:gd name="T80" fmla="*/ 0 w 4574"/>
                    <a:gd name="T81" fmla="*/ 0 h 2849"/>
                    <a:gd name="T82" fmla="*/ 0 w 4574"/>
                    <a:gd name="T83" fmla="*/ 0 h 2849"/>
                    <a:gd name="T84" fmla="*/ 0 w 4574"/>
                    <a:gd name="T85" fmla="*/ 0 h 2849"/>
                    <a:gd name="T86" fmla="*/ 0 w 4574"/>
                    <a:gd name="T87" fmla="*/ 0 h 2849"/>
                    <a:gd name="T88" fmla="*/ 0 w 4574"/>
                    <a:gd name="T89" fmla="*/ 0 h 2849"/>
                    <a:gd name="T90" fmla="*/ 0 w 4574"/>
                    <a:gd name="T91" fmla="*/ 0 h 2849"/>
                    <a:gd name="T92" fmla="*/ 0 w 4574"/>
                    <a:gd name="T93" fmla="*/ 0 h 2849"/>
                    <a:gd name="T94" fmla="*/ 0 w 4574"/>
                    <a:gd name="T95" fmla="*/ 0 h 2849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4574"/>
                    <a:gd name="T145" fmla="*/ 0 h 2849"/>
                    <a:gd name="T146" fmla="*/ 4574 w 4574"/>
                    <a:gd name="T147" fmla="*/ 2849 h 2849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4574" h="2849">
                      <a:moveTo>
                        <a:pt x="4538" y="693"/>
                      </a:moveTo>
                      <a:lnTo>
                        <a:pt x="4531" y="646"/>
                      </a:lnTo>
                      <a:lnTo>
                        <a:pt x="4523" y="601"/>
                      </a:lnTo>
                      <a:lnTo>
                        <a:pt x="4515" y="554"/>
                      </a:lnTo>
                      <a:lnTo>
                        <a:pt x="4505" y="509"/>
                      </a:lnTo>
                      <a:lnTo>
                        <a:pt x="4494" y="464"/>
                      </a:lnTo>
                      <a:lnTo>
                        <a:pt x="4482" y="419"/>
                      </a:lnTo>
                      <a:lnTo>
                        <a:pt x="4468" y="375"/>
                      </a:lnTo>
                      <a:lnTo>
                        <a:pt x="4453" y="331"/>
                      </a:lnTo>
                      <a:lnTo>
                        <a:pt x="4438" y="288"/>
                      </a:lnTo>
                      <a:lnTo>
                        <a:pt x="4421" y="246"/>
                      </a:lnTo>
                      <a:lnTo>
                        <a:pt x="4403" y="203"/>
                      </a:lnTo>
                      <a:lnTo>
                        <a:pt x="4384" y="161"/>
                      </a:lnTo>
                      <a:lnTo>
                        <a:pt x="4364" y="120"/>
                      </a:lnTo>
                      <a:lnTo>
                        <a:pt x="4343" y="80"/>
                      </a:lnTo>
                      <a:lnTo>
                        <a:pt x="4321" y="40"/>
                      </a:lnTo>
                      <a:lnTo>
                        <a:pt x="4297" y="0"/>
                      </a:lnTo>
                      <a:lnTo>
                        <a:pt x="4274" y="32"/>
                      </a:lnTo>
                      <a:lnTo>
                        <a:pt x="4251" y="64"/>
                      </a:lnTo>
                      <a:lnTo>
                        <a:pt x="4226" y="95"/>
                      </a:lnTo>
                      <a:lnTo>
                        <a:pt x="4200" y="125"/>
                      </a:lnTo>
                      <a:lnTo>
                        <a:pt x="4175" y="155"/>
                      </a:lnTo>
                      <a:lnTo>
                        <a:pt x="4148" y="184"/>
                      </a:lnTo>
                      <a:lnTo>
                        <a:pt x="4121" y="212"/>
                      </a:lnTo>
                      <a:lnTo>
                        <a:pt x="4094" y="239"/>
                      </a:lnTo>
                      <a:lnTo>
                        <a:pt x="4054" y="273"/>
                      </a:lnTo>
                      <a:lnTo>
                        <a:pt x="4012" y="307"/>
                      </a:lnTo>
                      <a:lnTo>
                        <a:pt x="3970" y="339"/>
                      </a:lnTo>
                      <a:lnTo>
                        <a:pt x="3926" y="370"/>
                      </a:lnTo>
                      <a:lnTo>
                        <a:pt x="3880" y="400"/>
                      </a:lnTo>
                      <a:lnTo>
                        <a:pt x="3833" y="429"/>
                      </a:lnTo>
                      <a:lnTo>
                        <a:pt x="3784" y="457"/>
                      </a:lnTo>
                      <a:lnTo>
                        <a:pt x="3735" y="484"/>
                      </a:lnTo>
                      <a:lnTo>
                        <a:pt x="3684" y="509"/>
                      </a:lnTo>
                      <a:lnTo>
                        <a:pt x="3633" y="534"/>
                      </a:lnTo>
                      <a:lnTo>
                        <a:pt x="3581" y="557"/>
                      </a:lnTo>
                      <a:lnTo>
                        <a:pt x="3527" y="579"/>
                      </a:lnTo>
                      <a:lnTo>
                        <a:pt x="3474" y="602"/>
                      </a:lnTo>
                      <a:lnTo>
                        <a:pt x="3419" y="623"/>
                      </a:lnTo>
                      <a:lnTo>
                        <a:pt x="3363" y="643"/>
                      </a:lnTo>
                      <a:lnTo>
                        <a:pt x="3309" y="662"/>
                      </a:lnTo>
                      <a:lnTo>
                        <a:pt x="3252" y="680"/>
                      </a:lnTo>
                      <a:lnTo>
                        <a:pt x="3197" y="697"/>
                      </a:lnTo>
                      <a:lnTo>
                        <a:pt x="3141" y="715"/>
                      </a:lnTo>
                      <a:lnTo>
                        <a:pt x="3084" y="731"/>
                      </a:lnTo>
                      <a:lnTo>
                        <a:pt x="2972" y="762"/>
                      </a:lnTo>
                      <a:lnTo>
                        <a:pt x="2860" y="790"/>
                      </a:lnTo>
                      <a:lnTo>
                        <a:pt x="2750" y="815"/>
                      </a:lnTo>
                      <a:lnTo>
                        <a:pt x="2643" y="840"/>
                      </a:lnTo>
                      <a:lnTo>
                        <a:pt x="2539" y="863"/>
                      </a:lnTo>
                      <a:lnTo>
                        <a:pt x="2439" y="884"/>
                      </a:lnTo>
                      <a:lnTo>
                        <a:pt x="2368" y="899"/>
                      </a:lnTo>
                      <a:lnTo>
                        <a:pt x="2297" y="910"/>
                      </a:lnTo>
                      <a:lnTo>
                        <a:pt x="2226" y="921"/>
                      </a:lnTo>
                      <a:lnTo>
                        <a:pt x="2154" y="929"/>
                      </a:lnTo>
                      <a:lnTo>
                        <a:pt x="2081" y="936"/>
                      </a:lnTo>
                      <a:lnTo>
                        <a:pt x="2009" y="941"/>
                      </a:lnTo>
                      <a:lnTo>
                        <a:pt x="1935" y="944"/>
                      </a:lnTo>
                      <a:lnTo>
                        <a:pt x="1862" y="948"/>
                      </a:lnTo>
                      <a:lnTo>
                        <a:pt x="1787" y="948"/>
                      </a:lnTo>
                      <a:lnTo>
                        <a:pt x="1713" y="948"/>
                      </a:lnTo>
                      <a:lnTo>
                        <a:pt x="1638" y="947"/>
                      </a:lnTo>
                      <a:lnTo>
                        <a:pt x="1563" y="944"/>
                      </a:lnTo>
                      <a:lnTo>
                        <a:pt x="1488" y="940"/>
                      </a:lnTo>
                      <a:lnTo>
                        <a:pt x="1412" y="936"/>
                      </a:lnTo>
                      <a:lnTo>
                        <a:pt x="1337" y="930"/>
                      </a:lnTo>
                      <a:lnTo>
                        <a:pt x="1261" y="924"/>
                      </a:lnTo>
                      <a:lnTo>
                        <a:pt x="1185" y="917"/>
                      </a:lnTo>
                      <a:lnTo>
                        <a:pt x="1111" y="910"/>
                      </a:lnTo>
                      <a:lnTo>
                        <a:pt x="1035" y="901"/>
                      </a:lnTo>
                      <a:lnTo>
                        <a:pt x="959" y="892"/>
                      </a:lnTo>
                      <a:lnTo>
                        <a:pt x="809" y="873"/>
                      </a:lnTo>
                      <a:lnTo>
                        <a:pt x="660" y="853"/>
                      </a:lnTo>
                      <a:lnTo>
                        <a:pt x="512" y="833"/>
                      </a:lnTo>
                      <a:lnTo>
                        <a:pt x="366" y="812"/>
                      </a:lnTo>
                      <a:lnTo>
                        <a:pt x="221" y="792"/>
                      </a:lnTo>
                      <a:lnTo>
                        <a:pt x="80" y="773"/>
                      </a:lnTo>
                      <a:lnTo>
                        <a:pt x="68" y="771"/>
                      </a:lnTo>
                      <a:lnTo>
                        <a:pt x="55" y="770"/>
                      </a:lnTo>
                      <a:lnTo>
                        <a:pt x="42" y="769"/>
                      </a:lnTo>
                      <a:lnTo>
                        <a:pt x="30" y="766"/>
                      </a:lnTo>
                      <a:lnTo>
                        <a:pt x="12" y="958"/>
                      </a:lnTo>
                      <a:lnTo>
                        <a:pt x="2" y="1137"/>
                      </a:lnTo>
                      <a:lnTo>
                        <a:pt x="0" y="1305"/>
                      </a:lnTo>
                      <a:lnTo>
                        <a:pt x="6" y="1461"/>
                      </a:lnTo>
                      <a:lnTo>
                        <a:pt x="18" y="1607"/>
                      </a:lnTo>
                      <a:lnTo>
                        <a:pt x="37" y="1741"/>
                      </a:lnTo>
                      <a:lnTo>
                        <a:pt x="62" y="1866"/>
                      </a:lnTo>
                      <a:lnTo>
                        <a:pt x="95" y="1981"/>
                      </a:lnTo>
                      <a:lnTo>
                        <a:pt x="132" y="2086"/>
                      </a:lnTo>
                      <a:lnTo>
                        <a:pt x="177" y="2183"/>
                      </a:lnTo>
                      <a:lnTo>
                        <a:pt x="227" y="2271"/>
                      </a:lnTo>
                      <a:lnTo>
                        <a:pt x="284" y="2351"/>
                      </a:lnTo>
                      <a:lnTo>
                        <a:pt x="345" y="2423"/>
                      </a:lnTo>
                      <a:lnTo>
                        <a:pt x="412" y="2489"/>
                      </a:lnTo>
                      <a:lnTo>
                        <a:pt x="483" y="2547"/>
                      </a:lnTo>
                      <a:lnTo>
                        <a:pt x="560" y="2598"/>
                      </a:lnTo>
                      <a:lnTo>
                        <a:pt x="641" y="2643"/>
                      </a:lnTo>
                      <a:lnTo>
                        <a:pt x="728" y="2683"/>
                      </a:lnTo>
                      <a:lnTo>
                        <a:pt x="818" y="2716"/>
                      </a:lnTo>
                      <a:lnTo>
                        <a:pt x="912" y="2745"/>
                      </a:lnTo>
                      <a:lnTo>
                        <a:pt x="1009" y="2770"/>
                      </a:lnTo>
                      <a:lnTo>
                        <a:pt x="1112" y="2791"/>
                      </a:lnTo>
                      <a:lnTo>
                        <a:pt x="1217" y="2806"/>
                      </a:lnTo>
                      <a:lnTo>
                        <a:pt x="1326" y="2820"/>
                      </a:lnTo>
                      <a:lnTo>
                        <a:pt x="1437" y="2830"/>
                      </a:lnTo>
                      <a:lnTo>
                        <a:pt x="1552" y="2837"/>
                      </a:lnTo>
                      <a:lnTo>
                        <a:pt x="1668" y="2842"/>
                      </a:lnTo>
                      <a:lnTo>
                        <a:pt x="1789" y="2845"/>
                      </a:lnTo>
                      <a:lnTo>
                        <a:pt x="1910" y="2847"/>
                      </a:lnTo>
                      <a:lnTo>
                        <a:pt x="2035" y="2849"/>
                      </a:lnTo>
                      <a:lnTo>
                        <a:pt x="2160" y="2849"/>
                      </a:lnTo>
                      <a:lnTo>
                        <a:pt x="2287" y="2849"/>
                      </a:lnTo>
                      <a:lnTo>
                        <a:pt x="2416" y="2849"/>
                      </a:lnTo>
                      <a:lnTo>
                        <a:pt x="2544" y="2849"/>
                      </a:lnTo>
                      <a:lnTo>
                        <a:pt x="2669" y="2846"/>
                      </a:lnTo>
                      <a:lnTo>
                        <a:pt x="2793" y="2844"/>
                      </a:lnTo>
                      <a:lnTo>
                        <a:pt x="2913" y="2841"/>
                      </a:lnTo>
                      <a:lnTo>
                        <a:pt x="3032" y="2834"/>
                      </a:lnTo>
                      <a:lnTo>
                        <a:pt x="3148" y="2826"/>
                      </a:lnTo>
                      <a:lnTo>
                        <a:pt x="3260" y="2815"/>
                      </a:lnTo>
                      <a:lnTo>
                        <a:pt x="3369" y="2801"/>
                      </a:lnTo>
                      <a:lnTo>
                        <a:pt x="3475" y="2783"/>
                      </a:lnTo>
                      <a:lnTo>
                        <a:pt x="3577" y="2761"/>
                      </a:lnTo>
                      <a:lnTo>
                        <a:pt x="3676" y="2735"/>
                      </a:lnTo>
                      <a:lnTo>
                        <a:pt x="3771" y="2704"/>
                      </a:lnTo>
                      <a:lnTo>
                        <a:pt x="3861" y="2668"/>
                      </a:lnTo>
                      <a:lnTo>
                        <a:pt x="3947" y="2627"/>
                      </a:lnTo>
                      <a:lnTo>
                        <a:pt x="4028" y="2579"/>
                      </a:lnTo>
                      <a:lnTo>
                        <a:pt x="4105" y="2526"/>
                      </a:lnTo>
                      <a:lnTo>
                        <a:pt x="4177" y="2465"/>
                      </a:lnTo>
                      <a:lnTo>
                        <a:pt x="4243" y="2398"/>
                      </a:lnTo>
                      <a:lnTo>
                        <a:pt x="4304" y="2322"/>
                      </a:lnTo>
                      <a:lnTo>
                        <a:pt x="4360" y="2240"/>
                      </a:lnTo>
                      <a:lnTo>
                        <a:pt x="4409" y="2149"/>
                      </a:lnTo>
                      <a:lnTo>
                        <a:pt x="4452" y="2048"/>
                      </a:lnTo>
                      <a:lnTo>
                        <a:pt x="4490" y="1939"/>
                      </a:lnTo>
                      <a:lnTo>
                        <a:pt x="4520" y="1820"/>
                      </a:lnTo>
                      <a:lnTo>
                        <a:pt x="4544" y="1692"/>
                      </a:lnTo>
                      <a:lnTo>
                        <a:pt x="4561" y="1554"/>
                      </a:lnTo>
                      <a:lnTo>
                        <a:pt x="4571" y="1404"/>
                      </a:lnTo>
                      <a:lnTo>
                        <a:pt x="4574" y="1244"/>
                      </a:lnTo>
                      <a:lnTo>
                        <a:pt x="4570" y="1072"/>
                      </a:lnTo>
                      <a:lnTo>
                        <a:pt x="4558" y="889"/>
                      </a:lnTo>
                      <a:lnTo>
                        <a:pt x="4538" y="693"/>
                      </a:lnTo>
                      <a:close/>
                    </a:path>
                  </a:pathLst>
                </a:custGeom>
                <a:solidFill>
                  <a:srgbClr val="1B233E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472" name="Freeform 211"/>
                <p:cNvSpPr>
                  <a:spLocks/>
                </p:cNvSpPr>
                <p:nvPr/>
              </p:nvSpPr>
              <p:spPr bwMode="auto">
                <a:xfrm>
                  <a:off x="2759" y="2608"/>
                  <a:ext cx="511" cy="319"/>
                </a:xfrm>
                <a:custGeom>
                  <a:avLst/>
                  <a:gdLst>
                    <a:gd name="T0" fmla="*/ 0 w 3582"/>
                    <a:gd name="T1" fmla="*/ 0 h 2227"/>
                    <a:gd name="T2" fmla="*/ 0 w 3582"/>
                    <a:gd name="T3" fmla="*/ 0 h 2227"/>
                    <a:gd name="T4" fmla="*/ 0 w 3582"/>
                    <a:gd name="T5" fmla="*/ 0 h 2227"/>
                    <a:gd name="T6" fmla="*/ 0 w 3582"/>
                    <a:gd name="T7" fmla="*/ 0 h 2227"/>
                    <a:gd name="T8" fmla="*/ 0 w 3582"/>
                    <a:gd name="T9" fmla="*/ 0 h 2227"/>
                    <a:gd name="T10" fmla="*/ 0 w 3582"/>
                    <a:gd name="T11" fmla="*/ 0 h 2227"/>
                    <a:gd name="T12" fmla="*/ 0 w 3582"/>
                    <a:gd name="T13" fmla="*/ 0 h 2227"/>
                    <a:gd name="T14" fmla="*/ 0 w 3582"/>
                    <a:gd name="T15" fmla="*/ 0 h 2227"/>
                    <a:gd name="T16" fmla="*/ 0 w 3582"/>
                    <a:gd name="T17" fmla="*/ 0 h 2227"/>
                    <a:gd name="T18" fmla="*/ 0 w 3582"/>
                    <a:gd name="T19" fmla="*/ 0 h 2227"/>
                    <a:gd name="T20" fmla="*/ 0 w 3582"/>
                    <a:gd name="T21" fmla="*/ 0 h 2227"/>
                    <a:gd name="T22" fmla="*/ 0 w 3582"/>
                    <a:gd name="T23" fmla="*/ 0 h 2227"/>
                    <a:gd name="T24" fmla="*/ 0 w 3582"/>
                    <a:gd name="T25" fmla="*/ 0 h 2227"/>
                    <a:gd name="T26" fmla="*/ 0 w 3582"/>
                    <a:gd name="T27" fmla="*/ 0 h 2227"/>
                    <a:gd name="T28" fmla="*/ 0 w 3582"/>
                    <a:gd name="T29" fmla="*/ 0 h 2227"/>
                    <a:gd name="T30" fmla="*/ 0 w 3582"/>
                    <a:gd name="T31" fmla="*/ 0 h 2227"/>
                    <a:gd name="T32" fmla="*/ 0 w 3582"/>
                    <a:gd name="T33" fmla="*/ 0 h 2227"/>
                    <a:gd name="T34" fmla="*/ 0 w 3582"/>
                    <a:gd name="T35" fmla="*/ 0 h 2227"/>
                    <a:gd name="T36" fmla="*/ 0 w 3582"/>
                    <a:gd name="T37" fmla="*/ 0 h 2227"/>
                    <a:gd name="T38" fmla="*/ 0 w 3582"/>
                    <a:gd name="T39" fmla="*/ 0 h 2227"/>
                    <a:gd name="T40" fmla="*/ 0 w 3582"/>
                    <a:gd name="T41" fmla="*/ 0 h 2227"/>
                    <a:gd name="T42" fmla="*/ 0 w 3582"/>
                    <a:gd name="T43" fmla="*/ 0 h 2227"/>
                    <a:gd name="T44" fmla="*/ 0 w 3582"/>
                    <a:gd name="T45" fmla="*/ 0 h 2227"/>
                    <a:gd name="T46" fmla="*/ 0 w 3582"/>
                    <a:gd name="T47" fmla="*/ 0 h 2227"/>
                    <a:gd name="T48" fmla="*/ 0 w 3582"/>
                    <a:gd name="T49" fmla="*/ 0 h 2227"/>
                    <a:gd name="T50" fmla="*/ 0 w 3582"/>
                    <a:gd name="T51" fmla="*/ 0 h 2227"/>
                    <a:gd name="T52" fmla="*/ 0 w 3582"/>
                    <a:gd name="T53" fmla="*/ 0 h 2227"/>
                    <a:gd name="T54" fmla="*/ 0 w 3582"/>
                    <a:gd name="T55" fmla="*/ 0 h 2227"/>
                    <a:gd name="T56" fmla="*/ 0 w 3582"/>
                    <a:gd name="T57" fmla="*/ 0 h 2227"/>
                    <a:gd name="T58" fmla="*/ 0 w 3582"/>
                    <a:gd name="T59" fmla="*/ 0 h 2227"/>
                    <a:gd name="T60" fmla="*/ 0 w 3582"/>
                    <a:gd name="T61" fmla="*/ 0 h 2227"/>
                    <a:gd name="T62" fmla="*/ 0 w 3582"/>
                    <a:gd name="T63" fmla="*/ 0 h 2227"/>
                    <a:gd name="T64" fmla="*/ 0 w 3582"/>
                    <a:gd name="T65" fmla="*/ 0 h 2227"/>
                    <a:gd name="T66" fmla="*/ 0 w 3582"/>
                    <a:gd name="T67" fmla="*/ 0 h 2227"/>
                    <a:gd name="T68" fmla="*/ 0 w 3582"/>
                    <a:gd name="T69" fmla="*/ 0 h 2227"/>
                    <a:gd name="T70" fmla="*/ 0 w 3582"/>
                    <a:gd name="T71" fmla="*/ 0 h 2227"/>
                    <a:gd name="T72" fmla="*/ 0 w 3582"/>
                    <a:gd name="T73" fmla="*/ 0 h 2227"/>
                    <a:gd name="T74" fmla="*/ 0 w 3582"/>
                    <a:gd name="T75" fmla="*/ 0 h 2227"/>
                    <a:gd name="T76" fmla="*/ 0 w 3582"/>
                    <a:gd name="T77" fmla="*/ 0 h 2227"/>
                    <a:gd name="T78" fmla="*/ 0 w 3582"/>
                    <a:gd name="T79" fmla="*/ 0 h 2227"/>
                    <a:gd name="T80" fmla="*/ 0 w 3582"/>
                    <a:gd name="T81" fmla="*/ 0 h 2227"/>
                    <a:gd name="T82" fmla="*/ 0 w 3582"/>
                    <a:gd name="T83" fmla="*/ 0 h 2227"/>
                    <a:gd name="T84" fmla="*/ 0 w 3582"/>
                    <a:gd name="T85" fmla="*/ 0 h 2227"/>
                    <a:gd name="T86" fmla="*/ 0 w 3582"/>
                    <a:gd name="T87" fmla="*/ 0 h 2227"/>
                    <a:gd name="T88" fmla="*/ 0 w 3582"/>
                    <a:gd name="T89" fmla="*/ 0 h 2227"/>
                    <a:gd name="T90" fmla="*/ 0 w 3582"/>
                    <a:gd name="T91" fmla="*/ 0 h 2227"/>
                    <a:gd name="T92" fmla="*/ 0 w 3582"/>
                    <a:gd name="T93" fmla="*/ 0 h 2227"/>
                    <a:gd name="T94" fmla="*/ 0 w 3582"/>
                    <a:gd name="T95" fmla="*/ 0 h 2227"/>
                    <a:gd name="T96" fmla="*/ 0 w 3582"/>
                    <a:gd name="T97" fmla="*/ 0 h 2227"/>
                    <a:gd name="T98" fmla="*/ 0 w 3582"/>
                    <a:gd name="T99" fmla="*/ 0 h 2227"/>
                    <a:gd name="T100" fmla="*/ 0 w 3582"/>
                    <a:gd name="T101" fmla="*/ 0 h 2227"/>
                    <a:gd name="T102" fmla="*/ 0 w 3582"/>
                    <a:gd name="T103" fmla="*/ 0 h 2227"/>
                    <a:gd name="T104" fmla="*/ 0 w 3582"/>
                    <a:gd name="T105" fmla="*/ 0 h 2227"/>
                    <a:gd name="T106" fmla="*/ 0 w 3582"/>
                    <a:gd name="T107" fmla="*/ 0 h 2227"/>
                    <a:gd name="T108" fmla="*/ 0 w 3582"/>
                    <a:gd name="T109" fmla="*/ 0 h 2227"/>
                    <a:gd name="T110" fmla="*/ 0 w 3582"/>
                    <a:gd name="T111" fmla="*/ 0 h 2227"/>
                    <a:gd name="T112" fmla="*/ 0 w 3582"/>
                    <a:gd name="T113" fmla="*/ 0 h 2227"/>
                    <a:gd name="T114" fmla="*/ 0 w 3582"/>
                    <a:gd name="T115" fmla="*/ 0 h 2227"/>
                    <a:gd name="T116" fmla="*/ 0 w 3582"/>
                    <a:gd name="T117" fmla="*/ 0 h 2227"/>
                    <a:gd name="T118" fmla="*/ 0 w 3582"/>
                    <a:gd name="T119" fmla="*/ 0 h 2227"/>
                    <a:gd name="T120" fmla="*/ 0 w 3582"/>
                    <a:gd name="T121" fmla="*/ 0 h 2227"/>
                    <a:gd name="T122" fmla="*/ 0 w 3582"/>
                    <a:gd name="T123" fmla="*/ 0 h 2227"/>
                    <a:gd name="T124" fmla="*/ 0 w 3582"/>
                    <a:gd name="T125" fmla="*/ 0 h 2227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60000 65536"/>
                    <a:gd name="T166" fmla="*/ 0 60000 65536"/>
                    <a:gd name="T167" fmla="*/ 0 60000 65536"/>
                    <a:gd name="T168" fmla="*/ 0 60000 65536"/>
                    <a:gd name="T169" fmla="*/ 0 60000 65536"/>
                    <a:gd name="T170" fmla="*/ 0 60000 65536"/>
                    <a:gd name="T171" fmla="*/ 0 60000 65536"/>
                    <a:gd name="T172" fmla="*/ 0 60000 65536"/>
                    <a:gd name="T173" fmla="*/ 0 60000 65536"/>
                    <a:gd name="T174" fmla="*/ 0 60000 65536"/>
                    <a:gd name="T175" fmla="*/ 0 60000 65536"/>
                    <a:gd name="T176" fmla="*/ 0 60000 65536"/>
                    <a:gd name="T177" fmla="*/ 0 60000 65536"/>
                    <a:gd name="T178" fmla="*/ 0 60000 65536"/>
                    <a:gd name="T179" fmla="*/ 0 60000 65536"/>
                    <a:gd name="T180" fmla="*/ 0 60000 65536"/>
                    <a:gd name="T181" fmla="*/ 0 60000 65536"/>
                    <a:gd name="T182" fmla="*/ 0 60000 65536"/>
                    <a:gd name="T183" fmla="*/ 0 60000 65536"/>
                    <a:gd name="T184" fmla="*/ 0 60000 65536"/>
                    <a:gd name="T185" fmla="*/ 0 60000 65536"/>
                    <a:gd name="T186" fmla="*/ 0 60000 65536"/>
                    <a:gd name="T187" fmla="*/ 0 60000 65536"/>
                    <a:gd name="T188" fmla="*/ 0 60000 65536"/>
                    <a:gd name="T189" fmla="*/ 0 w 3582"/>
                    <a:gd name="T190" fmla="*/ 0 h 2227"/>
                    <a:gd name="T191" fmla="*/ 3582 w 3582"/>
                    <a:gd name="T192" fmla="*/ 2227 h 2227"/>
                  </a:gdLst>
                  <a:ahLst/>
                  <a:cxnLst>
                    <a:cxn ang="T126">
                      <a:pos x="T0" y="T1"/>
                    </a:cxn>
                    <a:cxn ang="T127">
                      <a:pos x="T2" y="T3"/>
                    </a:cxn>
                    <a:cxn ang="T128">
                      <a:pos x="T4" y="T5"/>
                    </a:cxn>
                    <a:cxn ang="T129">
                      <a:pos x="T6" y="T7"/>
                    </a:cxn>
                    <a:cxn ang="T130">
                      <a:pos x="T8" y="T9"/>
                    </a:cxn>
                    <a:cxn ang="T131">
                      <a:pos x="T10" y="T11"/>
                    </a:cxn>
                    <a:cxn ang="T132">
                      <a:pos x="T12" y="T13"/>
                    </a:cxn>
                    <a:cxn ang="T133">
                      <a:pos x="T14" y="T15"/>
                    </a:cxn>
                    <a:cxn ang="T134">
                      <a:pos x="T16" y="T17"/>
                    </a:cxn>
                    <a:cxn ang="T135">
                      <a:pos x="T18" y="T19"/>
                    </a:cxn>
                    <a:cxn ang="T136">
                      <a:pos x="T20" y="T21"/>
                    </a:cxn>
                    <a:cxn ang="T137">
                      <a:pos x="T22" y="T23"/>
                    </a:cxn>
                    <a:cxn ang="T138">
                      <a:pos x="T24" y="T25"/>
                    </a:cxn>
                    <a:cxn ang="T139">
                      <a:pos x="T26" y="T27"/>
                    </a:cxn>
                    <a:cxn ang="T140">
                      <a:pos x="T28" y="T29"/>
                    </a:cxn>
                    <a:cxn ang="T141">
                      <a:pos x="T30" y="T31"/>
                    </a:cxn>
                    <a:cxn ang="T142">
                      <a:pos x="T32" y="T33"/>
                    </a:cxn>
                    <a:cxn ang="T143">
                      <a:pos x="T34" y="T35"/>
                    </a:cxn>
                    <a:cxn ang="T144">
                      <a:pos x="T36" y="T37"/>
                    </a:cxn>
                    <a:cxn ang="T145">
                      <a:pos x="T38" y="T39"/>
                    </a:cxn>
                    <a:cxn ang="T146">
                      <a:pos x="T40" y="T41"/>
                    </a:cxn>
                    <a:cxn ang="T147">
                      <a:pos x="T42" y="T43"/>
                    </a:cxn>
                    <a:cxn ang="T148">
                      <a:pos x="T44" y="T45"/>
                    </a:cxn>
                    <a:cxn ang="T149">
                      <a:pos x="T46" y="T47"/>
                    </a:cxn>
                    <a:cxn ang="T150">
                      <a:pos x="T48" y="T49"/>
                    </a:cxn>
                    <a:cxn ang="T151">
                      <a:pos x="T50" y="T51"/>
                    </a:cxn>
                    <a:cxn ang="T152">
                      <a:pos x="T52" y="T53"/>
                    </a:cxn>
                    <a:cxn ang="T153">
                      <a:pos x="T54" y="T55"/>
                    </a:cxn>
                    <a:cxn ang="T154">
                      <a:pos x="T56" y="T57"/>
                    </a:cxn>
                    <a:cxn ang="T155">
                      <a:pos x="T58" y="T59"/>
                    </a:cxn>
                    <a:cxn ang="T156">
                      <a:pos x="T60" y="T61"/>
                    </a:cxn>
                    <a:cxn ang="T157">
                      <a:pos x="T62" y="T63"/>
                    </a:cxn>
                    <a:cxn ang="T158">
                      <a:pos x="T64" y="T65"/>
                    </a:cxn>
                    <a:cxn ang="T159">
                      <a:pos x="T66" y="T67"/>
                    </a:cxn>
                    <a:cxn ang="T160">
                      <a:pos x="T68" y="T69"/>
                    </a:cxn>
                    <a:cxn ang="T161">
                      <a:pos x="T70" y="T71"/>
                    </a:cxn>
                    <a:cxn ang="T162">
                      <a:pos x="T72" y="T73"/>
                    </a:cxn>
                    <a:cxn ang="T163">
                      <a:pos x="T74" y="T75"/>
                    </a:cxn>
                    <a:cxn ang="T164">
                      <a:pos x="T76" y="T77"/>
                    </a:cxn>
                    <a:cxn ang="T165">
                      <a:pos x="T78" y="T79"/>
                    </a:cxn>
                    <a:cxn ang="T166">
                      <a:pos x="T80" y="T81"/>
                    </a:cxn>
                    <a:cxn ang="T167">
                      <a:pos x="T82" y="T83"/>
                    </a:cxn>
                    <a:cxn ang="T168">
                      <a:pos x="T84" y="T85"/>
                    </a:cxn>
                    <a:cxn ang="T169">
                      <a:pos x="T86" y="T87"/>
                    </a:cxn>
                    <a:cxn ang="T170">
                      <a:pos x="T88" y="T89"/>
                    </a:cxn>
                    <a:cxn ang="T171">
                      <a:pos x="T90" y="T91"/>
                    </a:cxn>
                    <a:cxn ang="T172">
                      <a:pos x="T92" y="T93"/>
                    </a:cxn>
                    <a:cxn ang="T173">
                      <a:pos x="T94" y="T95"/>
                    </a:cxn>
                    <a:cxn ang="T174">
                      <a:pos x="T96" y="T97"/>
                    </a:cxn>
                    <a:cxn ang="T175">
                      <a:pos x="T98" y="T99"/>
                    </a:cxn>
                    <a:cxn ang="T176">
                      <a:pos x="T100" y="T101"/>
                    </a:cxn>
                    <a:cxn ang="T177">
                      <a:pos x="T102" y="T103"/>
                    </a:cxn>
                    <a:cxn ang="T178">
                      <a:pos x="T104" y="T105"/>
                    </a:cxn>
                    <a:cxn ang="T179">
                      <a:pos x="T106" y="T107"/>
                    </a:cxn>
                    <a:cxn ang="T180">
                      <a:pos x="T108" y="T109"/>
                    </a:cxn>
                    <a:cxn ang="T181">
                      <a:pos x="T110" y="T111"/>
                    </a:cxn>
                    <a:cxn ang="T182">
                      <a:pos x="T112" y="T113"/>
                    </a:cxn>
                    <a:cxn ang="T183">
                      <a:pos x="T114" y="T115"/>
                    </a:cxn>
                    <a:cxn ang="T184">
                      <a:pos x="T116" y="T117"/>
                    </a:cxn>
                    <a:cxn ang="T185">
                      <a:pos x="T118" y="T119"/>
                    </a:cxn>
                    <a:cxn ang="T186">
                      <a:pos x="T120" y="T121"/>
                    </a:cxn>
                    <a:cxn ang="T187">
                      <a:pos x="T122" y="T123"/>
                    </a:cxn>
                    <a:cxn ang="T188">
                      <a:pos x="T124" y="T125"/>
                    </a:cxn>
                  </a:cxnLst>
                  <a:rect l="T189" t="T190" r="T191" b="T192"/>
                  <a:pathLst>
                    <a:path w="3582" h="2227">
                      <a:moveTo>
                        <a:pt x="29" y="1071"/>
                      </a:moveTo>
                      <a:lnTo>
                        <a:pt x="38" y="1035"/>
                      </a:lnTo>
                      <a:lnTo>
                        <a:pt x="49" y="998"/>
                      </a:lnTo>
                      <a:lnTo>
                        <a:pt x="63" y="962"/>
                      </a:lnTo>
                      <a:lnTo>
                        <a:pt x="77" y="925"/>
                      </a:lnTo>
                      <a:lnTo>
                        <a:pt x="93" y="887"/>
                      </a:lnTo>
                      <a:lnTo>
                        <a:pt x="109" y="849"/>
                      </a:lnTo>
                      <a:lnTo>
                        <a:pt x="128" y="810"/>
                      </a:lnTo>
                      <a:lnTo>
                        <a:pt x="148" y="771"/>
                      </a:lnTo>
                      <a:lnTo>
                        <a:pt x="169" y="733"/>
                      </a:lnTo>
                      <a:lnTo>
                        <a:pt x="192" y="694"/>
                      </a:lnTo>
                      <a:lnTo>
                        <a:pt x="215" y="657"/>
                      </a:lnTo>
                      <a:lnTo>
                        <a:pt x="240" y="619"/>
                      </a:lnTo>
                      <a:lnTo>
                        <a:pt x="265" y="581"/>
                      </a:lnTo>
                      <a:lnTo>
                        <a:pt x="292" y="544"/>
                      </a:lnTo>
                      <a:lnTo>
                        <a:pt x="320" y="508"/>
                      </a:lnTo>
                      <a:lnTo>
                        <a:pt x="347" y="472"/>
                      </a:lnTo>
                      <a:lnTo>
                        <a:pt x="378" y="437"/>
                      </a:lnTo>
                      <a:lnTo>
                        <a:pt x="408" y="404"/>
                      </a:lnTo>
                      <a:lnTo>
                        <a:pt x="438" y="372"/>
                      </a:lnTo>
                      <a:lnTo>
                        <a:pt x="470" y="340"/>
                      </a:lnTo>
                      <a:lnTo>
                        <a:pt x="502" y="309"/>
                      </a:lnTo>
                      <a:lnTo>
                        <a:pt x="534" y="282"/>
                      </a:lnTo>
                      <a:lnTo>
                        <a:pt x="568" y="254"/>
                      </a:lnTo>
                      <a:lnTo>
                        <a:pt x="602" y="228"/>
                      </a:lnTo>
                      <a:lnTo>
                        <a:pt x="637" y="205"/>
                      </a:lnTo>
                      <a:lnTo>
                        <a:pt x="671" y="183"/>
                      </a:lnTo>
                      <a:lnTo>
                        <a:pt x="707" y="163"/>
                      </a:lnTo>
                      <a:lnTo>
                        <a:pt x="743" y="145"/>
                      </a:lnTo>
                      <a:lnTo>
                        <a:pt x="778" y="128"/>
                      </a:lnTo>
                      <a:lnTo>
                        <a:pt x="814" y="115"/>
                      </a:lnTo>
                      <a:lnTo>
                        <a:pt x="849" y="104"/>
                      </a:lnTo>
                      <a:lnTo>
                        <a:pt x="886" y="95"/>
                      </a:lnTo>
                      <a:lnTo>
                        <a:pt x="967" y="79"/>
                      </a:lnTo>
                      <a:lnTo>
                        <a:pt x="1052" y="66"/>
                      </a:lnTo>
                      <a:lnTo>
                        <a:pt x="1138" y="52"/>
                      </a:lnTo>
                      <a:lnTo>
                        <a:pt x="1225" y="41"/>
                      </a:lnTo>
                      <a:lnTo>
                        <a:pt x="1314" y="32"/>
                      </a:lnTo>
                      <a:lnTo>
                        <a:pt x="1404" y="23"/>
                      </a:lnTo>
                      <a:lnTo>
                        <a:pt x="1494" y="17"/>
                      </a:lnTo>
                      <a:lnTo>
                        <a:pt x="1585" y="11"/>
                      </a:lnTo>
                      <a:lnTo>
                        <a:pt x="1676" y="7"/>
                      </a:lnTo>
                      <a:lnTo>
                        <a:pt x="1769" y="3"/>
                      </a:lnTo>
                      <a:lnTo>
                        <a:pt x="1860" y="1"/>
                      </a:lnTo>
                      <a:lnTo>
                        <a:pt x="1951" y="0"/>
                      </a:lnTo>
                      <a:lnTo>
                        <a:pt x="2043" y="0"/>
                      </a:lnTo>
                      <a:lnTo>
                        <a:pt x="2133" y="1"/>
                      </a:lnTo>
                      <a:lnTo>
                        <a:pt x="2222" y="3"/>
                      </a:lnTo>
                      <a:lnTo>
                        <a:pt x="2309" y="6"/>
                      </a:lnTo>
                      <a:lnTo>
                        <a:pt x="2395" y="9"/>
                      </a:lnTo>
                      <a:lnTo>
                        <a:pt x="2480" y="13"/>
                      </a:lnTo>
                      <a:lnTo>
                        <a:pt x="2561" y="18"/>
                      </a:lnTo>
                      <a:lnTo>
                        <a:pt x="2641" y="23"/>
                      </a:lnTo>
                      <a:lnTo>
                        <a:pt x="2719" y="30"/>
                      </a:lnTo>
                      <a:lnTo>
                        <a:pt x="2794" y="37"/>
                      </a:lnTo>
                      <a:lnTo>
                        <a:pt x="2866" y="43"/>
                      </a:lnTo>
                      <a:lnTo>
                        <a:pt x="2934" y="51"/>
                      </a:lnTo>
                      <a:lnTo>
                        <a:pt x="3000" y="59"/>
                      </a:lnTo>
                      <a:lnTo>
                        <a:pt x="3061" y="67"/>
                      </a:lnTo>
                      <a:lnTo>
                        <a:pt x="3119" y="76"/>
                      </a:lnTo>
                      <a:lnTo>
                        <a:pt x="3172" y="85"/>
                      </a:lnTo>
                      <a:lnTo>
                        <a:pt x="3220" y="94"/>
                      </a:lnTo>
                      <a:lnTo>
                        <a:pt x="3265" y="102"/>
                      </a:lnTo>
                      <a:lnTo>
                        <a:pt x="3304" y="111"/>
                      </a:lnTo>
                      <a:lnTo>
                        <a:pt x="3338" y="120"/>
                      </a:lnTo>
                      <a:lnTo>
                        <a:pt x="3368" y="130"/>
                      </a:lnTo>
                      <a:lnTo>
                        <a:pt x="3397" y="141"/>
                      </a:lnTo>
                      <a:lnTo>
                        <a:pt x="3423" y="155"/>
                      </a:lnTo>
                      <a:lnTo>
                        <a:pt x="3446" y="169"/>
                      </a:lnTo>
                      <a:lnTo>
                        <a:pt x="3467" y="186"/>
                      </a:lnTo>
                      <a:lnTo>
                        <a:pt x="3487" y="203"/>
                      </a:lnTo>
                      <a:lnTo>
                        <a:pt x="3504" y="222"/>
                      </a:lnTo>
                      <a:lnTo>
                        <a:pt x="3520" y="242"/>
                      </a:lnTo>
                      <a:lnTo>
                        <a:pt x="3533" y="264"/>
                      </a:lnTo>
                      <a:lnTo>
                        <a:pt x="3545" y="286"/>
                      </a:lnTo>
                      <a:lnTo>
                        <a:pt x="3555" y="309"/>
                      </a:lnTo>
                      <a:lnTo>
                        <a:pt x="3563" y="335"/>
                      </a:lnTo>
                      <a:lnTo>
                        <a:pt x="3570" y="361"/>
                      </a:lnTo>
                      <a:lnTo>
                        <a:pt x="3575" y="387"/>
                      </a:lnTo>
                      <a:lnTo>
                        <a:pt x="3579" y="414"/>
                      </a:lnTo>
                      <a:lnTo>
                        <a:pt x="3582" y="443"/>
                      </a:lnTo>
                      <a:lnTo>
                        <a:pt x="3582" y="472"/>
                      </a:lnTo>
                      <a:lnTo>
                        <a:pt x="3582" y="502"/>
                      </a:lnTo>
                      <a:lnTo>
                        <a:pt x="3581" y="532"/>
                      </a:lnTo>
                      <a:lnTo>
                        <a:pt x="3577" y="563"/>
                      </a:lnTo>
                      <a:lnTo>
                        <a:pt x="3574" y="594"/>
                      </a:lnTo>
                      <a:lnTo>
                        <a:pt x="3569" y="627"/>
                      </a:lnTo>
                      <a:lnTo>
                        <a:pt x="3563" y="659"/>
                      </a:lnTo>
                      <a:lnTo>
                        <a:pt x="3556" y="691"/>
                      </a:lnTo>
                      <a:lnTo>
                        <a:pt x="3548" y="723"/>
                      </a:lnTo>
                      <a:lnTo>
                        <a:pt x="3540" y="757"/>
                      </a:lnTo>
                      <a:lnTo>
                        <a:pt x="3531" y="789"/>
                      </a:lnTo>
                      <a:lnTo>
                        <a:pt x="3521" y="822"/>
                      </a:lnTo>
                      <a:lnTo>
                        <a:pt x="3500" y="889"/>
                      </a:lnTo>
                      <a:lnTo>
                        <a:pt x="3476" y="955"/>
                      </a:lnTo>
                      <a:lnTo>
                        <a:pt x="3464" y="987"/>
                      </a:lnTo>
                      <a:lnTo>
                        <a:pt x="3449" y="1021"/>
                      </a:lnTo>
                      <a:lnTo>
                        <a:pt x="3435" y="1053"/>
                      </a:lnTo>
                      <a:lnTo>
                        <a:pt x="3419" y="1085"/>
                      </a:lnTo>
                      <a:lnTo>
                        <a:pt x="3404" y="1117"/>
                      </a:lnTo>
                      <a:lnTo>
                        <a:pt x="3386" y="1149"/>
                      </a:lnTo>
                      <a:lnTo>
                        <a:pt x="3368" y="1179"/>
                      </a:lnTo>
                      <a:lnTo>
                        <a:pt x="3349" y="1210"/>
                      </a:lnTo>
                      <a:lnTo>
                        <a:pt x="3329" y="1240"/>
                      </a:lnTo>
                      <a:lnTo>
                        <a:pt x="3309" y="1269"/>
                      </a:lnTo>
                      <a:lnTo>
                        <a:pt x="3288" y="1299"/>
                      </a:lnTo>
                      <a:lnTo>
                        <a:pt x="3266" y="1327"/>
                      </a:lnTo>
                      <a:lnTo>
                        <a:pt x="3244" y="1356"/>
                      </a:lnTo>
                      <a:lnTo>
                        <a:pt x="3220" y="1383"/>
                      </a:lnTo>
                      <a:lnTo>
                        <a:pt x="3197" y="1410"/>
                      </a:lnTo>
                      <a:lnTo>
                        <a:pt x="3172" y="1437"/>
                      </a:lnTo>
                      <a:lnTo>
                        <a:pt x="3148" y="1463"/>
                      </a:lnTo>
                      <a:lnTo>
                        <a:pt x="3122" y="1489"/>
                      </a:lnTo>
                      <a:lnTo>
                        <a:pt x="3095" y="1515"/>
                      </a:lnTo>
                      <a:lnTo>
                        <a:pt x="3070" y="1539"/>
                      </a:lnTo>
                      <a:lnTo>
                        <a:pt x="3042" y="1564"/>
                      </a:lnTo>
                      <a:lnTo>
                        <a:pt x="3015" y="1587"/>
                      </a:lnTo>
                      <a:lnTo>
                        <a:pt x="2988" y="1609"/>
                      </a:lnTo>
                      <a:lnTo>
                        <a:pt x="2959" y="1632"/>
                      </a:lnTo>
                      <a:lnTo>
                        <a:pt x="2930" y="1654"/>
                      </a:lnTo>
                      <a:lnTo>
                        <a:pt x="2901" y="1675"/>
                      </a:lnTo>
                      <a:lnTo>
                        <a:pt x="2872" y="1696"/>
                      </a:lnTo>
                      <a:lnTo>
                        <a:pt x="2842" y="1715"/>
                      </a:lnTo>
                      <a:lnTo>
                        <a:pt x="2812" y="1735"/>
                      </a:lnTo>
                      <a:lnTo>
                        <a:pt x="2782" y="1753"/>
                      </a:lnTo>
                      <a:lnTo>
                        <a:pt x="2752" y="1772"/>
                      </a:lnTo>
                      <a:lnTo>
                        <a:pt x="2720" y="1788"/>
                      </a:lnTo>
                      <a:lnTo>
                        <a:pt x="2666" y="1818"/>
                      </a:lnTo>
                      <a:lnTo>
                        <a:pt x="2609" y="1847"/>
                      </a:lnTo>
                      <a:lnTo>
                        <a:pt x="2549" y="1876"/>
                      </a:lnTo>
                      <a:lnTo>
                        <a:pt x="2487" y="1905"/>
                      </a:lnTo>
                      <a:lnTo>
                        <a:pt x="2423" y="1934"/>
                      </a:lnTo>
                      <a:lnTo>
                        <a:pt x="2356" y="1962"/>
                      </a:lnTo>
                      <a:lnTo>
                        <a:pt x="2289" y="1989"/>
                      </a:lnTo>
                      <a:lnTo>
                        <a:pt x="2220" y="2015"/>
                      </a:lnTo>
                      <a:lnTo>
                        <a:pt x="2148" y="2040"/>
                      </a:lnTo>
                      <a:lnTo>
                        <a:pt x="2077" y="2064"/>
                      </a:lnTo>
                      <a:lnTo>
                        <a:pt x="2004" y="2088"/>
                      </a:lnTo>
                      <a:lnTo>
                        <a:pt x="1929" y="2110"/>
                      </a:lnTo>
                      <a:lnTo>
                        <a:pt x="1854" y="2130"/>
                      </a:lnTo>
                      <a:lnTo>
                        <a:pt x="1779" y="2149"/>
                      </a:lnTo>
                      <a:lnTo>
                        <a:pt x="1703" y="2166"/>
                      </a:lnTo>
                      <a:lnTo>
                        <a:pt x="1627" y="2181"/>
                      </a:lnTo>
                      <a:lnTo>
                        <a:pt x="1551" y="2195"/>
                      </a:lnTo>
                      <a:lnTo>
                        <a:pt x="1475" y="2206"/>
                      </a:lnTo>
                      <a:lnTo>
                        <a:pt x="1398" y="2215"/>
                      </a:lnTo>
                      <a:lnTo>
                        <a:pt x="1324" y="2221"/>
                      </a:lnTo>
                      <a:lnTo>
                        <a:pt x="1248" y="2225"/>
                      </a:lnTo>
                      <a:lnTo>
                        <a:pt x="1174" y="2227"/>
                      </a:lnTo>
                      <a:lnTo>
                        <a:pt x="1101" y="2226"/>
                      </a:lnTo>
                      <a:lnTo>
                        <a:pt x="1029" y="2221"/>
                      </a:lnTo>
                      <a:lnTo>
                        <a:pt x="959" y="2215"/>
                      </a:lnTo>
                      <a:lnTo>
                        <a:pt x="888" y="2205"/>
                      </a:lnTo>
                      <a:lnTo>
                        <a:pt x="822" y="2191"/>
                      </a:lnTo>
                      <a:lnTo>
                        <a:pt x="755" y="2175"/>
                      </a:lnTo>
                      <a:lnTo>
                        <a:pt x="691" y="2155"/>
                      </a:lnTo>
                      <a:lnTo>
                        <a:pt x="629" y="2131"/>
                      </a:lnTo>
                      <a:lnTo>
                        <a:pt x="570" y="2103"/>
                      </a:lnTo>
                      <a:lnTo>
                        <a:pt x="512" y="2072"/>
                      </a:lnTo>
                      <a:lnTo>
                        <a:pt x="479" y="2051"/>
                      </a:lnTo>
                      <a:lnTo>
                        <a:pt x="445" y="2030"/>
                      </a:lnTo>
                      <a:lnTo>
                        <a:pt x="412" y="2007"/>
                      </a:lnTo>
                      <a:lnTo>
                        <a:pt x="381" y="1984"/>
                      </a:lnTo>
                      <a:lnTo>
                        <a:pt x="351" y="1960"/>
                      </a:lnTo>
                      <a:lnTo>
                        <a:pt x="321" y="1935"/>
                      </a:lnTo>
                      <a:lnTo>
                        <a:pt x="293" y="1911"/>
                      </a:lnTo>
                      <a:lnTo>
                        <a:pt x="265" y="1885"/>
                      </a:lnTo>
                      <a:lnTo>
                        <a:pt x="240" y="1859"/>
                      </a:lnTo>
                      <a:lnTo>
                        <a:pt x="214" y="1832"/>
                      </a:lnTo>
                      <a:lnTo>
                        <a:pt x="191" y="1804"/>
                      </a:lnTo>
                      <a:lnTo>
                        <a:pt x="167" y="1775"/>
                      </a:lnTo>
                      <a:lnTo>
                        <a:pt x="146" y="1746"/>
                      </a:lnTo>
                      <a:lnTo>
                        <a:pt x="126" y="1716"/>
                      </a:lnTo>
                      <a:lnTo>
                        <a:pt x="107" y="1686"/>
                      </a:lnTo>
                      <a:lnTo>
                        <a:pt x="90" y="1655"/>
                      </a:lnTo>
                      <a:lnTo>
                        <a:pt x="74" y="1623"/>
                      </a:lnTo>
                      <a:lnTo>
                        <a:pt x="59" y="1590"/>
                      </a:lnTo>
                      <a:lnTo>
                        <a:pt x="47" y="1557"/>
                      </a:lnTo>
                      <a:lnTo>
                        <a:pt x="35" y="1524"/>
                      </a:lnTo>
                      <a:lnTo>
                        <a:pt x="25" y="1489"/>
                      </a:lnTo>
                      <a:lnTo>
                        <a:pt x="17" y="1455"/>
                      </a:lnTo>
                      <a:lnTo>
                        <a:pt x="10" y="1419"/>
                      </a:lnTo>
                      <a:lnTo>
                        <a:pt x="5" y="1382"/>
                      </a:lnTo>
                      <a:lnTo>
                        <a:pt x="1" y="1346"/>
                      </a:lnTo>
                      <a:lnTo>
                        <a:pt x="0" y="1308"/>
                      </a:lnTo>
                      <a:lnTo>
                        <a:pt x="0" y="1270"/>
                      </a:lnTo>
                      <a:lnTo>
                        <a:pt x="2" y="1231"/>
                      </a:lnTo>
                      <a:lnTo>
                        <a:pt x="6" y="1192"/>
                      </a:lnTo>
                      <a:lnTo>
                        <a:pt x="11" y="1152"/>
                      </a:lnTo>
                      <a:lnTo>
                        <a:pt x="19" y="1112"/>
                      </a:lnTo>
                      <a:lnTo>
                        <a:pt x="29" y="1071"/>
                      </a:lnTo>
                      <a:close/>
                    </a:path>
                  </a:pathLst>
                </a:custGeom>
                <a:solidFill>
                  <a:srgbClr val="242D54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473" name="Freeform 212"/>
                <p:cNvSpPr>
                  <a:spLocks/>
                </p:cNvSpPr>
                <p:nvPr/>
              </p:nvSpPr>
              <p:spPr bwMode="auto">
                <a:xfrm>
                  <a:off x="2763" y="2652"/>
                  <a:ext cx="509" cy="269"/>
                </a:xfrm>
                <a:custGeom>
                  <a:avLst/>
                  <a:gdLst>
                    <a:gd name="T0" fmla="*/ 0 w 3582"/>
                    <a:gd name="T1" fmla="*/ 0 h 1884"/>
                    <a:gd name="T2" fmla="*/ 0 w 3582"/>
                    <a:gd name="T3" fmla="*/ 0 h 1884"/>
                    <a:gd name="T4" fmla="*/ 0 w 3582"/>
                    <a:gd name="T5" fmla="*/ 0 h 1884"/>
                    <a:gd name="T6" fmla="*/ 0 w 3582"/>
                    <a:gd name="T7" fmla="*/ 0 h 1884"/>
                    <a:gd name="T8" fmla="*/ 0 w 3582"/>
                    <a:gd name="T9" fmla="*/ 0 h 1884"/>
                    <a:gd name="T10" fmla="*/ 0 w 3582"/>
                    <a:gd name="T11" fmla="*/ 0 h 1884"/>
                    <a:gd name="T12" fmla="*/ 0 w 3582"/>
                    <a:gd name="T13" fmla="*/ 0 h 1884"/>
                    <a:gd name="T14" fmla="*/ 0 w 3582"/>
                    <a:gd name="T15" fmla="*/ 0 h 1884"/>
                    <a:gd name="T16" fmla="*/ 0 w 3582"/>
                    <a:gd name="T17" fmla="*/ 0 h 1884"/>
                    <a:gd name="T18" fmla="*/ 0 w 3582"/>
                    <a:gd name="T19" fmla="*/ 0 h 1884"/>
                    <a:gd name="T20" fmla="*/ 0 w 3582"/>
                    <a:gd name="T21" fmla="*/ 0 h 1884"/>
                    <a:gd name="T22" fmla="*/ 0 w 3582"/>
                    <a:gd name="T23" fmla="*/ 0 h 1884"/>
                    <a:gd name="T24" fmla="*/ 0 w 3582"/>
                    <a:gd name="T25" fmla="*/ 0 h 1884"/>
                    <a:gd name="T26" fmla="*/ 0 w 3582"/>
                    <a:gd name="T27" fmla="*/ 0 h 1884"/>
                    <a:gd name="T28" fmla="*/ 0 w 3582"/>
                    <a:gd name="T29" fmla="*/ 0 h 1884"/>
                    <a:gd name="T30" fmla="*/ 0 w 3582"/>
                    <a:gd name="T31" fmla="*/ 0 h 1884"/>
                    <a:gd name="T32" fmla="*/ 0 w 3582"/>
                    <a:gd name="T33" fmla="*/ 0 h 1884"/>
                    <a:gd name="T34" fmla="*/ 0 w 3582"/>
                    <a:gd name="T35" fmla="*/ 0 h 1884"/>
                    <a:gd name="T36" fmla="*/ 0 w 3582"/>
                    <a:gd name="T37" fmla="*/ 0 h 1884"/>
                    <a:gd name="T38" fmla="*/ 0 w 3582"/>
                    <a:gd name="T39" fmla="*/ 0 h 1884"/>
                    <a:gd name="T40" fmla="*/ 0 w 3582"/>
                    <a:gd name="T41" fmla="*/ 0 h 1884"/>
                    <a:gd name="T42" fmla="*/ 0 w 3582"/>
                    <a:gd name="T43" fmla="*/ 0 h 1884"/>
                    <a:gd name="T44" fmla="*/ 0 w 3582"/>
                    <a:gd name="T45" fmla="*/ 0 h 1884"/>
                    <a:gd name="T46" fmla="*/ 0 w 3582"/>
                    <a:gd name="T47" fmla="*/ 0 h 1884"/>
                    <a:gd name="T48" fmla="*/ 0 w 3582"/>
                    <a:gd name="T49" fmla="*/ 0 h 1884"/>
                    <a:gd name="T50" fmla="*/ 0 w 3582"/>
                    <a:gd name="T51" fmla="*/ 0 h 1884"/>
                    <a:gd name="T52" fmla="*/ 0 w 3582"/>
                    <a:gd name="T53" fmla="*/ 0 h 1884"/>
                    <a:gd name="T54" fmla="*/ 0 w 3582"/>
                    <a:gd name="T55" fmla="*/ 0 h 1884"/>
                    <a:gd name="T56" fmla="*/ 0 w 3582"/>
                    <a:gd name="T57" fmla="*/ 0 h 1884"/>
                    <a:gd name="T58" fmla="*/ 0 w 3582"/>
                    <a:gd name="T59" fmla="*/ 0 h 1884"/>
                    <a:gd name="T60" fmla="*/ 0 w 3582"/>
                    <a:gd name="T61" fmla="*/ 0 h 1884"/>
                    <a:gd name="T62" fmla="*/ 0 w 3582"/>
                    <a:gd name="T63" fmla="*/ 0 h 1884"/>
                    <a:gd name="T64" fmla="*/ 0 w 3582"/>
                    <a:gd name="T65" fmla="*/ 0 h 1884"/>
                    <a:gd name="T66" fmla="*/ 0 w 3582"/>
                    <a:gd name="T67" fmla="*/ 0 h 1884"/>
                    <a:gd name="T68" fmla="*/ 0 w 3582"/>
                    <a:gd name="T69" fmla="*/ 0 h 1884"/>
                    <a:gd name="T70" fmla="*/ 0 w 3582"/>
                    <a:gd name="T71" fmla="*/ 0 h 1884"/>
                    <a:gd name="T72" fmla="*/ 0 w 3582"/>
                    <a:gd name="T73" fmla="*/ 0 h 1884"/>
                    <a:gd name="T74" fmla="*/ 0 w 3582"/>
                    <a:gd name="T75" fmla="*/ 0 h 1884"/>
                    <a:gd name="T76" fmla="*/ 0 w 3582"/>
                    <a:gd name="T77" fmla="*/ 0 h 1884"/>
                    <a:gd name="T78" fmla="*/ 0 w 3582"/>
                    <a:gd name="T79" fmla="*/ 0 h 1884"/>
                    <a:gd name="T80" fmla="*/ 0 w 3582"/>
                    <a:gd name="T81" fmla="*/ 0 h 1884"/>
                    <a:gd name="T82" fmla="*/ 0 w 3582"/>
                    <a:gd name="T83" fmla="*/ 0 h 1884"/>
                    <a:gd name="T84" fmla="*/ 0 w 3582"/>
                    <a:gd name="T85" fmla="*/ 0 h 1884"/>
                    <a:gd name="T86" fmla="*/ 0 w 3582"/>
                    <a:gd name="T87" fmla="*/ 0 h 1884"/>
                    <a:gd name="T88" fmla="*/ 0 w 3582"/>
                    <a:gd name="T89" fmla="*/ 0 h 1884"/>
                    <a:gd name="T90" fmla="*/ 0 w 3582"/>
                    <a:gd name="T91" fmla="*/ 0 h 1884"/>
                    <a:gd name="T92" fmla="*/ 0 w 3582"/>
                    <a:gd name="T93" fmla="*/ 0 h 1884"/>
                    <a:gd name="T94" fmla="*/ 0 w 3582"/>
                    <a:gd name="T95" fmla="*/ 0 h 1884"/>
                    <a:gd name="T96" fmla="*/ 0 w 3582"/>
                    <a:gd name="T97" fmla="*/ 0 h 1884"/>
                    <a:gd name="T98" fmla="*/ 0 w 3582"/>
                    <a:gd name="T99" fmla="*/ 0 h 1884"/>
                    <a:gd name="T100" fmla="*/ 0 w 3582"/>
                    <a:gd name="T101" fmla="*/ 0 h 1884"/>
                    <a:gd name="T102" fmla="*/ 0 w 3582"/>
                    <a:gd name="T103" fmla="*/ 0 h 1884"/>
                    <a:gd name="T104" fmla="*/ 0 w 3582"/>
                    <a:gd name="T105" fmla="*/ 0 h 1884"/>
                    <a:gd name="T106" fmla="*/ 0 w 3582"/>
                    <a:gd name="T107" fmla="*/ 0 h 1884"/>
                    <a:gd name="T108" fmla="*/ 0 w 3582"/>
                    <a:gd name="T109" fmla="*/ 0 h 1884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3582"/>
                    <a:gd name="T166" fmla="*/ 0 h 1884"/>
                    <a:gd name="T167" fmla="*/ 3582 w 3582"/>
                    <a:gd name="T168" fmla="*/ 1884 h 1884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3582" h="1884">
                      <a:moveTo>
                        <a:pt x="29" y="728"/>
                      </a:moveTo>
                      <a:lnTo>
                        <a:pt x="32" y="715"/>
                      </a:lnTo>
                      <a:lnTo>
                        <a:pt x="36" y="702"/>
                      </a:lnTo>
                      <a:lnTo>
                        <a:pt x="40" y="689"/>
                      </a:lnTo>
                      <a:lnTo>
                        <a:pt x="43" y="677"/>
                      </a:lnTo>
                      <a:lnTo>
                        <a:pt x="49" y="701"/>
                      </a:lnTo>
                      <a:lnTo>
                        <a:pt x="56" y="725"/>
                      </a:lnTo>
                      <a:lnTo>
                        <a:pt x="62" y="749"/>
                      </a:lnTo>
                      <a:lnTo>
                        <a:pt x="70" y="773"/>
                      </a:lnTo>
                      <a:lnTo>
                        <a:pt x="78" y="796"/>
                      </a:lnTo>
                      <a:lnTo>
                        <a:pt x="87" y="819"/>
                      </a:lnTo>
                      <a:lnTo>
                        <a:pt x="97" y="842"/>
                      </a:lnTo>
                      <a:lnTo>
                        <a:pt x="107" y="864"/>
                      </a:lnTo>
                      <a:lnTo>
                        <a:pt x="118" y="886"/>
                      </a:lnTo>
                      <a:lnTo>
                        <a:pt x="130" y="908"/>
                      </a:lnTo>
                      <a:lnTo>
                        <a:pt x="142" y="929"/>
                      </a:lnTo>
                      <a:lnTo>
                        <a:pt x="156" y="951"/>
                      </a:lnTo>
                      <a:lnTo>
                        <a:pt x="170" y="972"/>
                      </a:lnTo>
                      <a:lnTo>
                        <a:pt x="185" y="992"/>
                      </a:lnTo>
                      <a:lnTo>
                        <a:pt x="199" y="1012"/>
                      </a:lnTo>
                      <a:lnTo>
                        <a:pt x="216" y="1032"/>
                      </a:lnTo>
                      <a:lnTo>
                        <a:pt x="231" y="1052"/>
                      </a:lnTo>
                      <a:lnTo>
                        <a:pt x="249" y="1071"/>
                      </a:lnTo>
                      <a:lnTo>
                        <a:pt x="266" y="1090"/>
                      </a:lnTo>
                      <a:lnTo>
                        <a:pt x="285" y="1108"/>
                      </a:lnTo>
                      <a:lnTo>
                        <a:pt x="303" y="1126"/>
                      </a:lnTo>
                      <a:lnTo>
                        <a:pt x="322" y="1144"/>
                      </a:lnTo>
                      <a:lnTo>
                        <a:pt x="342" y="1162"/>
                      </a:lnTo>
                      <a:lnTo>
                        <a:pt x="362" y="1179"/>
                      </a:lnTo>
                      <a:lnTo>
                        <a:pt x="383" y="1195"/>
                      </a:lnTo>
                      <a:lnTo>
                        <a:pt x="404" y="1212"/>
                      </a:lnTo>
                      <a:lnTo>
                        <a:pt x="426" y="1229"/>
                      </a:lnTo>
                      <a:lnTo>
                        <a:pt x="448" y="1244"/>
                      </a:lnTo>
                      <a:lnTo>
                        <a:pt x="494" y="1276"/>
                      </a:lnTo>
                      <a:lnTo>
                        <a:pt x="541" y="1304"/>
                      </a:lnTo>
                      <a:lnTo>
                        <a:pt x="599" y="1336"/>
                      </a:lnTo>
                      <a:lnTo>
                        <a:pt x="658" y="1363"/>
                      </a:lnTo>
                      <a:lnTo>
                        <a:pt x="720" y="1387"/>
                      </a:lnTo>
                      <a:lnTo>
                        <a:pt x="783" y="1407"/>
                      </a:lnTo>
                      <a:lnTo>
                        <a:pt x="850" y="1424"/>
                      </a:lnTo>
                      <a:lnTo>
                        <a:pt x="917" y="1437"/>
                      </a:lnTo>
                      <a:lnTo>
                        <a:pt x="987" y="1447"/>
                      </a:lnTo>
                      <a:lnTo>
                        <a:pt x="1057" y="1455"/>
                      </a:lnTo>
                      <a:lnTo>
                        <a:pt x="1130" y="1458"/>
                      </a:lnTo>
                      <a:lnTo>
                        <a:pt x="1203" y="1459"/>
                      </a:lnTo>
                      <a:lnTo>
                        <a:pt x="1277" y="1458"/>
                      </a:lnTo>
                      <a:lnTo>
                        <a:pt x="1352" y="1454"/>
                      </a:lnTo>
                      <a:lnTo>
                        <a:pt x="1427" y="1447"/>
                      </a:lnTo>
                      <a:lnTo>
                        <a:pt x="1504" y="1438"/>
                      </a:lnTo>
                      <a:lnTo>
                        <a:pt x="1579" y="1427"/>
                      </a:lnTo>
                      <a:lnTo>
                        <a:pt x="1656" y="1414"/>
                      </a:lnTo>
                      <a:lnTo>
                        <a:pt x="1732" y="1398"/>
                      </a:lnTo>
                      <a:lnTo>
                        <a:pt x="1807" y="1381"/>
                      </a:lnTo>
                      <a:lnTo>
                        <a:pt x="1883" y="1362"/>
                      </a:lnTo>
                      <a:lnTo>
                        <a:pt x="1958" y="1342"/>
                      </a:lnTo>
                      <a:lnTo>
                        <a:pt x="2032" y="1320"/>
                      </a:lnTo>
                      <a:lnTo>
                        <a:pt x="2106" y="1298"/>
                      </a:lnTo>
                      <a:lnTo>
                        <a:pt x="2177" y="1273"/>
                      </a:lnTo>
                      <a:lnTo>
                        <a:pt x="2248" y="1248"/>
                      </a:lnTo>
                      <a:lnTo>
                        <a:pt x="2317" y="1221"/>
                      </a:lnTo>
                      <a:lnTo>
                        <a:pt x="2385" y="1194"/>
                      </a:lnTo>
                      <a:lnTo>
                        <a:pt x="2452" y="1166"/>
                      </a:lnTo>
                      <a:lnTo>
                        <a:pt x="2515" y="1139"/>
                      </a:lnTo>
                      <a:lnTo>
                        <a:pt x="2578" y="1110"/>
                      </a:lnTo>
                      <a:lnTo>
                        <a:pt x="2637" y="1080"/>
                      </a:lnTo>
                      <a:lnTo>
                        <a:pt x="2695" y="1051"/>
                      </a:lnTo>
                      <a:lnTo>
                        <a:pt x="2749" y="1022"/>
                      </a:lnTo>
                      <a:lnTo>
                        <a:pt x="2780" y="1004"/>
                      </a:lnTo>
                      <a:lnTo>
                        <a:pt x="2810" y="986"/>
                      </a:lnTo>
                      <a:lnTo>
                        <a:pt x="2840" y="967"/>
                      </a:lnTo>
                      <a:lnTo>
                        <a:pt x="2870" y="948"/>
                      </a:lnTo>
                      <a:lnTo>
                        <a:pt x="2900" y="928"/>
                      </a:lnTo>
                      <a:lnTo>
                        <a:pt x="2929" y="907"/>
                      </a:lnTo>
                      <a:lnTo>
                        <a:pt x="2958" y="886"/>
                      </a:lnTo>
                      <a:lnTo>
                        <a:pt x="2987" y="865"/>
                      </a:lnTo>
                      <a:lnTo>
                        <a:pt x="3015" y="843"/>
                      </a:lnTo>
                      <a:lnTo>
                        <a:pt x="3044" y="819"/>
                      </a:lnTo>
                      <a:lnTo>
                        <a:pt x="3071" y="796"/>
                      </a:lnTo>
                      <a:lnTo>
                        <a:pt x="3099" y="771"/>
                      </a:lnTo>
                      <a:lnTo>
                        <a:pt x="3124" y="747"/>
                      </a:lnTo>
                      <a:lnTo>
                        <a:pt x="3151" y="722"/>
                      </a:lnTo>
                      <a:lnTo>
                        <a:pt x="3176" y="696"/>
                      </a:lnTo>
                      <a:lnTo>
                        <a:pt x="3201" y="670"/>
                      </a:lnTo>
                      <a:lnTo>
                        <a:pt x="3225" y="643"/>
                      </a:lnTo>
                      <a:lnTo>
                        <a:pt x="3249" y="616"/>
                      </a:lnTo>
                      <a:lnTo>
                        <a:pt x="3272" y="588"/>
                      </a:lnTo>
                      <a:lnTo>
                        <a:pt x="3294" y="560"/>
                      </a:lnTo>
                      <a:lnTo>
                        <a:pt x="3317" y="531"/>
                      </a:lnTo>
                      <a:lnTo>
                        <a:pt x="3338" y="502"/>
                      </a:lnTo>
                      <a:lnTo>
                        <a:pt x="3358" y="472"/>
                      </a:lnTo>
                      <a:lnTo>
                        <a:pt x="3378" y="442"/>
                      </a:lnTo>
                      <a:lnTo>
                        <a:pt x="3397" y="412"/>
                      </a:lnTo>
                      <a:lnTo>
                        <a:pt x="3415" y="381"/>
                      </a:lnTo>
                      <a:lnTo>
                        <a:pt x="3431" y="350"/>
                      </a:lnTo>
                      <a:lnTo>
                        <a:pt x="3448" y="317"/>
                      </a:lnTo>
                      <a:lnTo>
                        <a:pt x="3464" y="286"/>
                      </a:lnTo>
                      <a:lnTo>
                        <a:pt x="3478" y="253"/>
                      </a:lnTo>
                      <a:lnTo>
                        <a:pt x="3493" y="221"/>
                      </a:lnTo>
                      <a:lnTo>
                        <a:pt x="3505" y="187"/>
                      </a:lnTo>
                      <a:lnTo>
                        <a:pt x="3514" y="164"/>
                      </a:lnTo>
                      <a:lnTo>
                        <a:pt x="3521" y="140"/>
                      </a:lnTo>
                      <a:lnTo>
                        <a:pt x="3529" y="117"/>
                      </a:lnTo>
                      <a:lnTo>
                        <a:pt x="3537" y="94"/>
                      </a:lnTo>
                      <a:lnTo>
                        <a:pt x="3545" y="70"/>
                      </a:lnTo>
                      <a:lnTo>
                        <a:pt x="3552" y="47"/>
                      </a:lnTo>
                      <a:lnTo>
                        <a:pt x="3558" y="24"/>
                      </a:lnTo>
                      <a:lnTo>
                        <a:pt x="3565" y="0"/>
                      </a:lnTo>
                      <a:lnTo>
                        <a:pt x="3569" y="16"/>
                      </a:lnTo>
                      <a:lnTo>
                        <a:pt x="3573" y="33"/>
                      </a:lnTo>
                      <a:lnTo>
                        <a:pt x="3576" y="49"/>
                      </a:lnTo>
                      <a:lnTo>
                        <a:pt x="3578" y="66"/>
                      </a:lnTo>
                      <a:lnTo>
                        <a:pt x="3582" y="100"/>
                      </a:lnTo>
                      <a:lnTo>
                        <a:pt x="3582" y="136"/>
                      </a:lnTo>
                      <a:lnTo>
                        <a:pt x="3582" y="173"/>
                      </a:lnTo>
                      <a:lnTo>
                        <a:pt x="3578" y="211"/>
                      </a:lnTo>
                      <a:lnTo>
                        <a:pt x="3574" y="250"/>
                      </a:lnTo>
                      <a:lnTo>
                        <a:pt x="3568" y="288"/>
                      </a:lnTo>
                      <a:lnTo>
                        <a:pt x="3560" y="329"/>
                      </a:lnTo>
                      <a:lnTo>
                        <a:pt x="3552" y="369"/>
                      </a:lnTo>
                      <a:lnTo>
                        <a:pt x="3541" y="409"/>
                      </a:lnTo>
                      <a:lnTo>
                        <a:pt x="3530" y="450"/>
                      </a:lnTo>
                      <a:lnTo>
                        <a:pt x="3518" y="491"/>
                      </a:lnTo>
                      <a:lnTo>
                        <a:pt x="3505" y="531"/>
                      </a:lnTo>
                      <a:lnTo>
                        <a:pt x="3491" y="572"/>
                      </a:lnTo>
                      <a:lnTo>
                        <a:pt x="3477" y="612"/>
                      </a:lnTo>
                      <a:lnTo>
                        <a:pt x="3464" y="646"/>
                      </a:lnTo>
                      <a:lnTo>
                        <a:pt x="3450" y="678"/>
                      </a:lnTo>
                      <a:lnTo>
                        <a:pt x="3436" y="710"/>
                      </a:lnTo>
                      <a:lnTo>
                        <a:pt x="3420" y="742"/>
                      </a:lnTo>
                      <a:lnTo>
                        <a:pt x="3403" y="775"/>
                      </a:lnTo>
                      <a:lnTo>
                        <a:pt x="3387" y="806"/>
                      </a:lnTo>
                      <a:lnTo>
                        <a:pt x="3368" y="837"/>
                      </a:lnTo>
                      <a:lnTo>
                        <a:pt x="3349" y="867"/>
                      </a:lnTo>
                      <a:lnTo>
                        <a:pt x="3330" y="897"/>
                      </a:lnTo>
                      <a:lnTo>
                        <a:pt x="3309" y="927"/>
                      </a:lnTo>
                      <a:lnTo>
                        <a:pt x="3288" y="956"/>
                      </a:lnTo>
                      <a:lnTo>
                        <a:pt x="3267" y="985"/>
                      </a:lnTo>
                      <a:lnTo>
                        <a:pt x="3244" y="1013"/>
                      </a:lnTo>
                      <a:lnTo>
                        <a:pt x="3221" y="1041"/>
                      </a:lnTo>
                      <a:lnTo>
                        <a:pt x="3196" y="1069"/>
                      </a:lnTo>
                      <a:lnTo>
                        <a:pt x="3173" y="1095"/>
                      </a:lnTo>
                      <a:lnTo>
                        <a:pt x="3147" y="1121"/>
                      </a:lnTo>
                      <a:lnTo>
                        <a:pt x="3122" y="1146"/>
                      </a:lnTo>
                      <a:lnTo>
                        <a:pt x="3096" y="1172"/>
                      </a:lnTo>
                      <a:lnTo>
                        <a:pt x="3070" y="1197"/>
                      </a:lnTo>
                      <a:lnTo>
                        <a:pt x="3043" y="1221"/>
                      </a:lnTo>
                      <a:lnTo>
                        <a:pt x="3015" y="1244"/>
                      </a:lnTo>
                      <a:lnTo>
                        <a:pt x="2987" y="1268"/>
                      </a:lnTo>
                      <a:lnTo>
                        <a:pt x="2959" y="1290"/>
                      </a:lnTo>
                      <a:lnTo>
                        <a:pt x="2930" y="1311"/>
                      </a:lnTo>
                      <a:lnTo>
                        <a:pt x="2902" y="1332"/>
                      </a:lnTo>
                      <a:lnTo>
                        <a:pt x="2871" y="1353"/>
                      </a:lnTo>
                      <a:lnTo>
                        <a:pt x="2843" y="1373"/>
                      </a:lnTo>
                      <a:lnTo>
                        <a:pt x="2812" y="1392"/>
                      </a:lnTo>
                      <a:lnTo>
                        <a:pt x="2781" y="1411"/>
                      </a:lnTo>
                      <a:lnTo>
                        <a:pt x="2751" y="1429"/>
                      </a:lnTo>
                      <a:lnTo>
                        <a:pt x="2721" y="1446"/>
                      </a:lnTo>
                      <a:lnTo>
                        <a:pt x="2666" y="1476"/>
                      </a:lnTo>
                      <a:lnTo>
                        <a:pt x="2609" y="1505"/>
                      </a:lnTo>
                      <a:lnTo>
                        <a:pt x="2549" y="1535"/>
                      </a:lnTo>
                      <a:lnTo>
                        <a:pt x="2487" y="1563"/>
                      </a:lnTo>
                      <a:lnTo>
                        <a:pt x="2423" y="1592"/>
                      </a:lnTo>
                      <a:lnTo>
                        <a:pt x="2357" y="1619"/>
                      </a:lnTo>
                      <a:lnTo>
                        <a:pt x="2289" y="1646"/>
                      </a:lnTo>
                      <a:lnTo>
                        <a:pt x="2220" y="1673"/>
                      </a:lnTo>
                      <a:lnTo>
                        <a:pt x="2149" y="1698"/>
                      </a:lnTo>
                      <a:lnTo>
                        <a:pt x="2077" y="1723"/>
                      </a:lnTo>
                      <a:lnTo>
                        <a:pt x="2003" y="1745"/>
                      </a:lnTo>
                      <a:lnTo>
                        <a:pt x="1930" y="1767"/>
                      </a:lnTo>
                      <a:lnTo>
                        <a:pt x="1854" y="1787"/>
                      </a:lnTo>
                      <a:lnTo>
                        <a:pt x="1780" y="1806"/>
                      </a:lnTo>
                      <a:lnTo>
                        <a:pt x="1703" y="1823"/>
                      </a:lnTo>
                      <a:lnTo>
                        <a:pt x="1627" y="1839"/>
                      </a:lnTo>
                      <a:lnTo>
                        <a:pt x="1550" y="1852"/>
                      </a:lnTo>
                      <a:lnTo>
                        <a:pt x="1475" y="1863"/>
                      </a:lnTo>
                      <a:lnTo>
                        <a:pt x="1399" y="1872"/>
                      </a:lnTo>
                      <a:lnTo>
                        <a:pt x="1323" y="1879"/>
                      </a:lnTo>
                      <a:lnTo>
                        <a:pt x="1249" y="1883"/>
                      </a:lnTo>
                      <a:lnTo>
                        <a:pt x="1174" y="1884"/>
                      </a:lnTo>
                      <a:lnTo>
                        <a:pt x="1102" y="1883"/>
                      </a:lnTo>
                      <a:lnTo>
                        <a:pt x="1029" y="1879"/>
                      </a:lnTo>
                      <a:lnTo>
                        <a:pt x="958" y="1872"/>
                      </a:lnTo>
                      <a:lnTo>
                        <a:pt x="889" y="1862"/>
                      </a:lnTo>
                      <a:lnTo>
                        <a:pt x="821" y="1849"/>
                      </a:lnTo>
                      <a:lnTo>
                        <a:pt x="756" y="1832"/>
                      </a:lnTo>
                      <a:lnTo>
                        <a:pt x="691" y="1812"/>
                      </a:lnTo>
                      <a:lnTo>
                        <a:pt x="630" y="1789"/>
                      </a:lnTo>
                      <a:lnTo>
                        <a:pt x="570" y="1761"/>
                      </a:lnTo>
                      <a:lnTo>
                        <a:pt x="513" y="1730"/>
                      </a:lnTo>
                      <a:lnTo>
                        <a:pt x="479" y="1708"/>
                      </a:lnTo>
                      <a:lnTo>
                        <a:pt x="445" y="1687"/>
                      </a:lnTo>
                      <a:lnTo>
                        <a:pt x="413" y="1665"/>
                      </a:lnTo>
                      <a:lnTo>
                        <a:pt x="382" y="1642"/>
                      </a:lnTo>
                      <a:lnTo>
                        <a:pt x="351" y="1618"/>
                      </a:lnTo>
                      <a:lnTo>
                        <a:pt x="322" y="1594"/>
                      </a:lnTo>
                      <a:lnTo>
                        <a:pt x="293" y="1568"/>
                      </a:lnTo>
                      <a:lnTo>
                        <a:pt x="266" y="1543"/>
                      </a:lnTo>
                      <a:lnTo>
                        <a:pt x="239" y="1516"/>
                      </a:lnTo>
                      <a:lnTo>
                        <a:pt x="215" y="1489"/>
                      </a:lnTo>
                      <a:lnTo>
                        <a:pt x="190" y="1461"/>
                      </a:lnTo>
                      <a:lnTo>
                        <a:pt x="168" y="1432"/>
                      </a:lnTo>
                      <a:lnTo>
                        <a:pt x="147" y="1404"/>
                      </a:lnTo>
                      <a:lnTo>
                        <a:pt x="127" y="1373"/>
                      </a:lnTo>
                      <a:lnTo>
                        <a:pt x="108" y="1343"/>
                      </a:lnTo>
                      <a:lnTo>
                        <a:pt x="90" y="1312"/>
                      </a:lnTo>
                      <a:lnTo>
                        <a:pt x="74" y="1280"/>
                      </a:lnTo>
                      <a:lnTo>
                        <a:pt x="60" y="1248"/>
                      </a:lnTo>
                      <a:lnTo>
                        <a:pt x="47" y="1215"/>
                      </a:lnTo>
                      <a:lnTo>
                        <a:pt x="36" y="1181"/>
                      </a:lnTo>
                      <a:lnTo>
                        <a:pt x="26" y="1148"/>
                      </a:lnTo>
                      <a:lnTo>
                        <a:pt x="17" y="1112"/>
                      </a:lnTo>
                      <a:lnTo>
                        <a:pt x="10" y="1076"/>
                      </a:lnTo>
                      <a:lnTo>
                        <a:pt x="5" y="1041"/>
                      </a:lnTo>
                      <a:lnTo>
                        <a:pt x="2" y="1003"/>
                      </a:lnTo>
                      <a:lnTo>
                        <a:pt x="0" y="966"/>
                      </a:lnTo>
                      <a:lnTo>
                        <a:pt x="0" y="928"/>
                      </a:lnTo>
                      <a:lnTo>
                        <a:pt x="2" y="889"/>
                      </a:lnTo>
                      <a:lnTo>
                        <a:pt x="7" y="849"/>
                      </a:lnTo>
                      <a:lnTo>
                        <a:pt x="12" y="809"/>
                      </a:lnTo>
                      <a:lnTo>
                        <a:pt x="20" y="769"/>
                      </a:lnTo>
                      <a:lnTo>
                        <a:pt x="29" y="728"/>
                      </a:lnTo>
                      <a:close/>
                    </a:path>
                  </a:pathLst>
                </a:custGeom>
                <a:solidFill>
                  <a:srgbClr val="1B233E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474" name="Freeform 213"/>
                <p:cNvSpPr>
                  <a:spLocks/>
                </p:cNvSpPr>
                <p:nvPr/>
              </p:nvSpPr>
              <p:spPr bwMode="auto">
                <a:xfrm>
                  <a:off x="2767" y="2612"/>
                  <a:ext cx="509" cy="230"/>
                </a:xfrm>
                <a:custGeom>
                  <a:avLst/>
                  <a:gdLst>
                    <a:gd name="T0" fmla="*/ 0 w 3578"/>
                    <a:gd name="T1" fmla="*/ 0 h 1617"/>
                    <a:gd name="T2" fmla="*/ 0 w 3578"/>
                    <a:gd name="T3" fmla="*/ 0 h 1617"/>
                    <a:gd name="T4" fmla="*/ 0 w 3578"/>
                    <a:gd name="T5" fmla="*/ 0 h 1617"/>
                    <a:gd name="T6" fmla="*/ 0 w 3578"/>
                    <a:gd name="T7" fmla="*/ 0 h 1617"/>
                    <a:gd name="T8" fmla="*/ 0 w 3578"/>
                    <a:gd name="T9" fmla="*/ 0 h 1617"/>
                    <a:gd name="T10" fmla="*/ 0 w 3578"/>
                    <a:gd name="T11" fmla="*/ 0 h 1617"/>
                    <a:gd name="T12" fmla="*/ 0 w 3578"/>
                    <a:gd name="T13" fmla="*/ 0 h 1617"/>
                    <a:gd name="T14" fmla="*/ 0 w 3578"/>
                    <a:gd name="T15" fmla="*/ 0 h 1617"/>
                    <a:gd name="T16" fmla="*/ 0 w 3578"/>
                    <a:gd name="T17" fmla="*/ 0 h 1617"/>
                    <a:gd name="T18" fmla="*/ 0 w 3578"/>
                    <a:gd name="T19" fmla="*/ 0 h 1617"/>
                    <a:gd name="T20" fmla="*/ 0 w 3578"/>
                    <a:gd name="T21" fmla="*/ 0 h 1617"/>
                    <a:gd name="T22" fmla="*/ 0 w 3578"/>
                    <a:gd name="T23" fmla="*/ 0 h 1617"/>
                    <a:gd name="T24" fmla="*/ 0 w 3578"/>
                    <a:gd name="T25" fmla="*/ 0 h 1617"/>
                    <a:gd name="T26" fmla="*/ 0 w 3578"/>
                    <a:gd name="T27" fmla="*/ 0 h 1617"/>
                    <a:gd name="T28" fmla="*/ 0 w 3578"/>
                    <a:gd name="T29" fmla="*/ 0 h 1617"/>
                    <a:gd name="T30" fmla="*/ 0 w 3578"/>
                    <a:gd name="T31" fmla="*/ 0 h 1617"/>
                    <a:gd name="T32" fmla="*/ 0 w 3578"/>
                    <a:gd name="T33" fmla="*/ 0 h 1617"/>
                    <a:gd name="T34" fmla="*/ 0 w 3578"/>
                    <a:gd name="T35" fmla="*/ 0 h 1617"/>
                    <a:gd name="T36" fmla="*/ 0 w 3578"/>
                    <a:gd name="T37" fmla="*/ 0 h 1617"/>
                    <a:gd name="T38" fmla="*/ 0 w 3578"/>
                    <a:gd name="T39" fmla="*/ 0 h 1617"/>
                    <a:gd name="T40" fmla="*/ 0 w 3578"/>
                    <a:gd name="T41" fmla="*/ 0 h 1617"/>
                    <a:gd name="T42" fmla="*/ 0 w 3578"/>
                    <a:gd name="T43" fmla="*/ 0 h 1617"/>
                    <a:gd name="T44" fmla="*/ 0 w 3578"/>
                    <a:gd name="T45" fmla="*/ 0 h 1617"/>
                    <a:gd name="T46" fmla="*/ 0 w 3578"/>
                    <a:gd name="T47" fmla="*/ 0 h 1617"/>
                    <a:gd name="T48" fmla="*/ 0 w 3578"/>
                    <a:gd name="T49" fmla="*/ 0 h 1617"/>
                    <a:gd name="T50" fmla="*/ 0 w 3578"/>
                    <a:gd name="T51" fmla="*/ 0 h 1617"/>
                    <a:gd name="T52" fmla="*/ 0 w 3578"/>
                    <a:gd name="T53" fmla="*/ 0 h 1617"/>
                    <a:gd name="T54" fmla="*/ 0 w 3578"/>
                    <a:gd name="T55" fmla="*/ 0 h 1617"/>
                    <a:gd name="T56" fmla="*/ 0 w 3578"/>
                    <a:gd name="T57" fmla="*/ 0 h 1617"/>
                    <a:gd name="T58" fmla="*/ 0 w 3578"/>
                    <a:gd name="T59" fmla="*/ 0 h 1617"/>
                    <a:gd name="T60" fmla="*/ 0 w 3578"/>
                    <a:gd name="T61" fmla="*/ 0 h 1617"/>
                    <a:gd name="T62" fmla="*/ 0 w 3578"/>
                    <a:gd name="T63" fmla="*/ 0 h 1617"/>
                    <a:gd name="T64" fmla="*/ 0 w 3578"/>
                    <a:gd name="T65" fmla="*/ 0 h 1617"/>
                    <a:gd name="T66" fmla="*/ 0 w 3578"/>
                    <a:gd name="T67" fmla="*/ 0 h 1617"/>
                    <a:gd name="T68" fmla="*/ 0 w 3578"/>
                    <a:gd name="T69" fmla="*/ 0 h 1617"/>
                    <a:gd name="T70" fmla="*/ 0 w 3578"/>
                    <a:gd name="T71" fmla="*/ 0 h 1617"/>
                    <a:gd name="T72" fmla="*/ 0 w 3578"/>
                    <a:gd name="T73" fmla="*/ 0 h 1617"/>
                    <a:gd name="T74" fmla="*/ 0 w 3578"/>
                    <a:gd name="T75" fmla="*/ 0 h 1617"/>
                    <a:gd name="T76" fmla="*/ 0 w 3578"/>
                    <a:gd name="T77" fmla="*/ 0 h 1617"/>
                    <a:gd name="T78" fmla="*/ 0 w 3578"/>
                    <a:gd name="T79" fmla="*/ 0 h 1617"/>
                    <a:gd name="T80" fmla="*/ 0 w 3578"/>
                    <a:gd name="T81" fmla="*/ 0 h 1617"/>
                    <a:gd name="T82" fmla="*/ 0 w 3578"/>
                    <a:gd name="T83" fmla="*/ 0 h 1617"/>
                    <a:gd name="T84" fmla="*/ 0 w 3578"/>
                    <a:gd name="T85" fmla="*/ 0 h 1617"/>
                    <a:gd name="T86" fmla="*/ 0 w 3578"/>
                    <a:gd name="T87" fmla="*/ 0 h 1617"/>
                    <a:gd name="T88" fmla="*/ 0 w 3578"/>
                    <a:gd name="T89" fmla="*/ 0 h 1617"/>
                    <a:gd name="T90" fmla="*/ 0 w 3578"/>
                    <a:gd name="T91" fmla="*/ 0 h 1617"/>
                    <a:gd name="T92" fmla="*/ 0 w 3578"/>
                    <a:gd name="T93" fmla="*/ 0 h 1617"/>
                    <a:gd name="T94" fmla="*/ 0 w 3578"/>
                    <a:gd name="T95" fmla="*/ 0 h 1617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3578"/>
                    <a:gd name="T145" fmla="*/ 0 h 1617"/>
                    <a:gd name="T146" fmla="*/ 3578 w 3578"/>
                    <a:gd name="T147" fmla="*/ 1617 h 1617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3578" h="1617">
                      <a:moveTo>
                        <a:pt x="3395" y="291"/>
                      </a:moveTo>
                      <a:lnTo>
                        <a:pt x="3360" y="282"/>
                      </a:lnTo>
                      <a:lnTo>
                        <a:pt x="3321" y="273"/>
                      </a:lnTo>
                      <a:lnTo>
                        <a:pt x="3277" y="263"/>
                      </a:lnTo>
                      <a:lnTo>
                        <a:pt x="3228" y="255"/>
                      </a:lnTo>
                      <a:lnTo>
                        <a:pt x="3174" y="246"/>
                      </a:lnTo>
                      <a:lnTo>
                        <a:pt x="3117" y="237"/>
                      </a:lnTo>
                      <a:lnTo>
                        <a:pt x="3056" y="229"/>
                      </a:lnTo>
                      <a:lnTo>
                        <a:pt x="2990" y="222"/>
                      </a:lnTo>
                      <a:lnTo>
                        <a:pt x="2921" y="214"/>
                      </a:lnTo>
                      <a:lnTo>
                        <a:pt x="2850" y="206"/>
                      </a:lnTo>
                      <a:lnTo>
                        <a:pt x="2776" y="201"/>
                      </a:lnTo>
                      <a:lnTo>
                        <a:pt x="2698" y="194"/>
                      </a:lnTo>
                      <a:lnTo>
                        <a:pt x="2618" y="188"/>
                      </a:lnTo>
                      <a:lnTo>
                        <a:pt x="2535" y="184"/>
                      </a:lnTo>
                      <a:lnTo>
                        <a:pt x="2452" y="179"/>
                      </a:lnTo>
                      <a:lnTo>
                        <a:pt x="2365" y="176"/>
                      </a:lnTo>
                      <a:lnTo>
                        <a:pt x="2277" y="173"/>
                      </a:lnTo>
                      <a:lnTo>
                        <a:pt x="2189" y="172"/>
                      </a:lnTo>
                      <a:lnTo>
                        <a:pt x="2099" y="170"/>
                      </a:lnTo>
                      <a:lnTo>
                        <a:pt x="2008" y="170"/>
                      </a:lnTo>
                      <a:lnTo>
                        <a:pt x="1916" y="172"/>
                      </a:lnTo>
                      <a:lnTo>
                        <a:pt x="1825" y="174"/>
                      </a:lnTo>
                      <a:lnTo>
                        <a:pt x="1733" y="177"/>
                      </a:lnTo>
                      <a:lnTo>
                        <a:pt x="1642" y="182"/>
                      </a:lnTo>
                      <a:lnTo>
                        <a:pt x="1550" y="187"/>
                      </a:lnTo>
                      <a:lnTo>
                        <a:pt x="1459" y="194"/>
                      </a:lnTo>
                      <a:lnTo>
                        <a:pt x="1370" y="203"/>
                      </a:lnTo>
                      <a:lnTo>
                        <a:pt x="1281" y="212"/>
                      </a:lnTo>
                      <a:lnTo>
                        <a:pt x="1194" y="223"/>
                      </a:lnTo>
                      <a:lnTo>
                        <a:pt x="1108" y="235"/>
                      </a:lnTo>
                      <a:lnTo>
                        <a:pt x="1024" y="250"/>
                      </a:lnTo>
                      <a:lnTo>
                        <a:pt x="943" y="265"/>
                      </a:lnTo>
                      <a:lnTo>
                        <a:pt x="906" y="274"/>
                      </a:lnTo>
                      <a:lnTo>
                        <a:pt x="870" y="285"/>
                      </a:lnTo>
                      <a:lnTo>
                        <a:pt x="834" y="298"/>
                      </a:lnTo>
                      <a:lnTo>
                        <a:pt x="798" y="314"/>
                      </a:lnTo>
                      <a:lnTo>
                        <a:pt x="762" y="333"/>
                      </a:lnTo>
                      <a:lnTo>
                        <a:pt x="728" y="353"/>
                      </a:lnTo>
                      <a:lnTo>
                        <a:pt x="692" y="374"/>
                      </a:lnTo>
                      <a:lnTo>
                        <a:pt x="659" y="399"/>
                      </a:lnTo>
                      <a:lnTo>
                        <a:pt x="624" y="424"/>
                      </a:lnTo>
                      <a:lnTo>
                        <a:pt x="591" y="451"/>
                      </a:lnTo>
                      <a:lnTo>
                        <a:pt x="557" y="480"/>
                      </a:lnTo>
                      <a:lnTo>
                        <a:pt x="526" y="510"/>
                      </a:lnTo>
                      <a:lnTo>
                        <a:pt x="494" y="542"/>
                      </a:lnTo>
                      <a:lnTo>
                        <a:pt x="463" y="574"/>
                      </a:lnTo>
                      <a:lnTo>
                        <a:pt x="433" y="608"/>
                      </a:lnTo>
                      <a:lnTo>
                        <a:pt x="404" y="642"/>
                      </a:lnTo>
                      <a:lnTo>
                        <a:pt x="375" y="678"/>
                      </a:lnTo>
                      <a:lnTo>
                        <a:pt x="348" y="715"/>
                      </a:lnTo>
                      <a:lnTo>
                        <a:pt x="322" y="751"/>
                      </a:lnTo>
                      <a:lnTo>
                        <a:pt x="296" y="789"/>
                      </a:lnTo>
                      <a:lnTo>
                        <a:pt x="271" y="827"/>
                      </a:lnTo>
                      <a:lnTo>
                        <a:pt x="248" y="865"/>
                      </a:lnTo>
                      <a:lnTo>
                        <a:pt x="226" y="904"/>
                      </a:lnTo>
                      <a:lnTo>
                        <a:pt x="205" y="942"/>
                      </a:lnTo>
                      <a:lnTo>
                        <a:pt x="185" y="981"/>
                      </a:lnTo>
                      <a:lnTo>
                        <a:pt x="166" y="1018"/>
                      </a:lnTo>
                      <a:lnTo>
                        <a:pt x="149" y="1057"/>
                      </a:lnTo>
                      <a:lnTo>
                        <a:pt x="133" y="1095"/>
                      </a:lnTo>
                      <a:lnTo>
                        <a:pt x="119" y="1132"/>
                      </a:lnTo>
                      <a:lnTo>
                        <a:pt x="106" y="1169"/>
                      </a:lnTo>
                      <a:lnTo>
                        <a:pt x="94" y="1205"/>
                      </a:lnTo>
                      <a:lnTo>
                        <a:pt x="86" y="1240"/>
                      </a:lnTo>
                      <a:lnTo>
                        <a:pt x="79" y="1266"/>
                      </a:lnTo>
                      <a:lnTo>
                        <a:pt x="73" y="1291"/>
                      </a:lnTo>
                      <a:lnTo>
                        <a:pt x="69" y="1316"/>
                      </a:lnTo>
                      <a:lnTo>
                        <a:pt x="66" y="1340"/>
                      </a:lnTo>
                      <a:lnTo>
                        <a:pt x="62" y="1365"/>
                      </a:lnTo>
                      <a:lnTo>
                        <a:pt x="60" y="1389"/>
                      </a:lnTo>
                      <a:lnTo>
                        <a:pt x="58" y="1412"/>
                      </a:lnTo>
                      <a:lnTo>
                        <a:pt x="57" y="1437"/>
                      </a:lnTo>
                      <a:lnTo>
                        <a:pt x="57" y="1460"/>
                      </a:lnTo>
                      <a:lnTo>
                        <a:pt x="57" y="1484"/>
                      </a:lnTo>
                      <a:lnTo>
                        <a:pt x="58" y="1506"/>
                      </a:lnTo>
                      <a:lnTo>
                        <a:pt x="59" y="1529"/>
                      </a:lnTo>
                      <a:lnTo>
                        <a:pt x="61" y="1552"/>
                      </a:lnTo>
                      <a:lnTo>
                        <a:pt x="64" y="1574"/>
                      </a:lnTo>
                      <a:lnTo>
                        <a:pt x="68" y="1596"/>
                      </a:lnTo>
                      <a:lnTo>
                        <a:pt x="72" y="1617"/>
                      </a:lnTo>
                      <a:lnTo>
                        <a:pt x="59" y="1587"/>
                      </a:lnTo>
                      <a:lnTo>
                        <a:pt x="47" y="1557"/>
                      </a:lnTo>
                      <a:lnTo>
                        <a:pt x="35" y="1526"/>
                      </a:lnTo>
                      <a:lnTo>
                        <a:pt x="27" y="1494"/>
                      </a:lnTo>
                      <a:lnTo>
                        <a:pt x="19" y="1461"/>
                      </a:lnTo>
                      <a:lnTo>
                        <a:pt x="12" y="1429"/>
                      </a:lnTo>
                      <a:lnTo>
                        <a:pt x="7" y="1396"/>
                      </a:lnTo>
                      <a:lnTo>
                        <a:pt x="3" y="1361"/>
                      </a:lnTo>
                      <a:lnTo>
                        <a:pt x="1" y="1327"/>
                      </a:lnTo>
                      <a:lnTo>
                        <a:pt x="0" y="1292"/>
                      </a:lnTo>
                      <a:lnTo>
                        <a:pt x="1" y="1257"/>
                      </a:lnTo>
                      <a:lnTo>
                        <a:pt x="3" y="1220"/>
                      </a:lnTo>
                      <a:lnTo>
                        <a:pt x="7" y="1183"/>
                      </a:lnTo>
                      <a:lnTo>
                        <a:pt x="12" y="1146"/>
                      </a:lnTo>
                      <a:lnTo>
                        <a:pt x="20" y="1109"/>
                      </a:lnTo>
                      <a:lnTo>
                        <a:pt x="29" y="1071"/>
                      </a:lnTo>
                      <a:lnTo>
                        <a:pt x="38" y="1035"/>
                      </a:lnTo>
                      <a:lnTo>
                        <a:pt x="49" y="1000"/>
                      </a:lnTo>
                      <a:lnTo>
                        <a:pt x="62" y="963"/>
                      </a:lnTo>
                      <a:lnTo>
                        <a:pt x="77" y="925"/>
                      </a:lnTo>
                      <a:lnTo>
                        <a:pt x="92" y="887"/>
                      </a:lnTo>
                      <a:lnTo>
                        <a:pt x="109" y="849"/>
                      </a:lnTo>
                      <a:lnTo>
                        <a:pt x="128" y="810"/>
                      </a:lnTo>
                      <a:lnTo>
                        <a:pt x="148" y="773"/>
                      </a:lnTo>
                      <a:lnTo>
                        <a:pt x="169" y="734"/>
                      </a:lnTo>
                      <a:lnTo>
                        <a:pt x="191" y="695"/>
                      </a:lnTo>
                      <a:lnTo>
                        <a:pt x="215" y="657"/>
                      </a:lnTo>
                      <a:lnTo>
                        <a:pt x="239" y="619"/>
                      </a:lnTo>
                      <a:lnTo>
                        <a:pt x="265" y="581"/>
                      </a:lnTo>
                      <a:lnTo>
                        <a:pt x="291" y="544"/>
                      </a:lnTo>
                      <a:lnTo>
                        <a:pt x="319" y="509"/>
                      </a:lnTo>
                      <a:lnTo>
                        <a:pt x="347" y="473"/>
                      </a:lnTo>
                      <a:lnTo>
                        <a:pt x="376" y="438"/>
                      </a:lnTo>
                      <a:lnTo>
                        <a:pt x="407" y="404"/>
                      </a:lnTo>
                      <a:lnTo>
                        <a:pt x="437" y="372"/>
                      </a:lnTo>
                      <a:lnTo>
                        <a:pt x="470" y="341"/>
                      </a:lnTo>
                      <a:lnTo>
                        <a:pt x="502" y="311"/>
                      </a:lnTo>
                      <a:lnTo>
                        <a:pt x="534" y="282"/>
                      </a:lnTo>
                      <a:lnTo>
                        <a:pt x="567" y="254"/>
                      </a:lnTo>
                      <a:lnTo>
                        <a:pt x="602" y="228"/>
                      </a:lnTo>
                      <a:lnTo>
                        <a:pt x="637" y="205"/>
                      </a:lnTo>
                      <a:lnTo>
                        <a:pt x="671" y="183"/>
                      </a:lnTo>
                      <a:lnTo>
                        <a:pt x="706" y="163"/>
                      </a:lnTo>
                      <a:lnTo>
                        <a:pt x="741" y="145"/>
                      </a:lnTo>
                      <a:lnTo>
                        <a:pt x="777" y="128"/>
                      </a:lnTo>
                      <a:lnTo>
                        <a:pt x="813" y="115"/>
                      </a:lnTo>
                      <a:lnTo>
                        <a:pt x="849" y="104"/>
                      </a:lnTo>
                      <a:lnTo>
                        <a:pt x="886" y="95"/>
                      </a:lnTo>
                      <a:lnTo>
                        <a:pt x="967" y="79"/>
                      </a:lnTo>
                      <a:lnTo>
                        <a:pt x="1052" y="66"/>
                      </a:lnTo>
                      <a:lnTo>
                        <a:pt x="1137" y="53"/>
                      </a:lnTo>
                      <a:lnTo>
                        <a:pt x="1224" y="41"/>
                      </a:lnTo>
                      <a:lnTo>
                        <a:pt x="1313" y="33"/>
                      </a:lnTo>
                      <a:lnTo>
                        <a:pt x="1403" y="24"/>
                      </a:lnTo>
                      <a:lnTo>
                        <a:pt x="1494" y="17"/>
                      </a:lnTo>
                      <a:lnTo>
                        <a:pt x="1585" y="11"/>
                      </a:lnTo>
                      <a:lnTo>
                        <a:pt x="1676" y="7"/>
                      </a:lnTo>
                      <a:lnTo>
                        <a:pt x="1768" y="4"/>
                      </a:lnTo>
                      <a:lnTo>
                        <a:pt x="1860" y="1"/>
                      </a:lnTo>
                      <a:lnTo>
                        <a:pt x="1951" y="0"/>
                      </a:lnTo>
                      <a:lnTo>
                        <a:pt x="2042" y="0"/>
                      </a:lnTo>
                      <a:lnTo>
                        <a:pt x="2132" y="1"/>
                      </a:lnTo>
                      <a:lnTo>
                        <a:pt x="2221" y="4"/>
                      </a:lnTo>
                      <a:lnTo>
                        <a:pt x="2308" y="6"/>
                      </a:lnTo>
                      <a:lnTo>
                        <a:pt x="2395" y="9"/>
                      </a:lnTo>
                      <a:lnTo>
                        <a:pt x="2479" y="14"/>
                      </a:lnTo>
                      <a:lnTo>
                        <a:pt x="2561" y="18"/>
                      </a:lnTo>
                      <a:lnTo>
                        <a:pt x="2641" y="24"/>
                      </a:lnTo>
                      <a:lnTo>
                        <a:pt x="2719" y="30"/>
                      </a:lnTo>
                      <a:lnTo>
                        <a:pt x="2793" y="37"/>
                      </a:lnTo>
                      <a:lnTo>
                        <a:pt x="2866" y="44"/>
                      </a:lnTo>
                      <a:lnTo>
                        <a:pt x="2934" y="51"/>
                      </a:lnTo>
                      <a:lnTo>
                        <a:pt x="2999" y="59"/>
                      </a:lnTo>
                      <a:lnTo>
                        <a:pt x="3061" y="67"/>
                      </a:lnTo>
                      <a:lnTo>
                        <a:pt x="3117" y="76"/>
                      </a:lnTo>
                      <a:lnTo>
                        <a:pt x="3171" y="85"/>
                      </a:lnTo>
                      <a:lnTo>
                        <a:pt x="3220" y="94"/>
                      </a:lnTo>
                      <a:lnTo>
                        <a:pt x="3264" y="103"/>
                      </a:lnTo>
                      <a:lnTo>
                        <a:pt x="3303" y="112"/>
                      </a:lnTo>
                      <a:lnTo>
                        <a:pt x="3338" y="120"/>
                      </a:lnTo>
                      <a:lnTo>
                        <a:pt x="3367" y="129"/>
                      </a:lnTo>
                      <a:lnTo>
                        <a:pt x="3393" y="140"/>
                      </a:lnTo>
                      <a:lnTo>
                        <a:pt x="3418" y="153"/>
                      </a:lnTo>
                      <a:lnTo>
                        <a:pt x="3440" y="166"/>
                      </a:lnTo>
                      <a:lnTo>
                        <a:pt x="3460" y="181"/>
                      </a:lnTo>
                      <a:lnTo>
                        <a:pt x="3479" y="197"/>
                      </a:lnTo>
                      <a:lnTo>
                        <a:pt x="3496" y="214"/>
                      </a:lnTo>
                      <a:lnTo>
                        <a:pt x="3511" y="233"/>
                      </a:lnTo>
                      <a:lnTo>
                        <a:pt x="3525" y="252"/>
                      </a:lnTo>
                      <a:lnTo>
                        <a:pt x="3537" y="273"/>
                      </a:lnTo>
                      <a:lnTo>
                        <a:pt x="3547" y="294"/>
                      </a:lnTo>
                      <a:lnTo>
                        <a:pt x="3556" y="317"/>
                      </a:lnTo>
                      <a:lnTo>
                        <a:pt x="3564" y="341"/>
                      </a:lnTo>
                      <a:lnTo>
                        <a:pt x="3570" y="365"/>
                      </a:lnTo>
                      <a:lnTo>
                        <a:pt x="3575" y="390"/>
                      </a:lnTo>
                      <a:lnTo>
                        <a:pt x="3578" y="416"/>
                      </a:lnTo>
                      <a:lnTo>
                        <a:pt x="3570" y="405"/>
                      </a:lnTo>
                      <a:lnTo>
                        <a:pt x="3563" y="395"/>
                      </a:lnTo>
                      <a:lnTo>
                        <a:pt x="3554" y="385"/>
                      </a:lnTo>
                      <a:lnTo>
                        <a:pt x="3545" y="375"/>
                      </a:lnTo>
                      <a:lnTo>
                        <a:pt x="3536" y="366"/>
                      </a:lnTo>
                      <a:lnTo>
                        <a:pt x="3526" y="357"/>
                      </a:lnTo>
                      <a:lnTo>
                        <a:pt x="3515" y="349"/>
                      </a:lnTo>
                      <a:lnTo>
                        <a:pt x="3504" y="341"/>
                      </a:lnTo>
                      <a:lnTo>
                        <a:pt x="3492" y="333"/>
                      </a:lnTo>
                      <a:lnTo>
                        <a:pt x="3480" y="326"/>
                      </a:lnTo>
                      <a:lnTo>
                        <a:pt x="3467" y="319"/>
                      </a:lnTo>
                      <a:lnTo>
                        <a:pt x="3454" y="312"/>
                      </a:lnTo>
                      <a:lnTo>
                        <a:pt x="3440" y="306"/>
                      </a:lnTo>
                      <a:lnTo>
                        <a:pt x="3426" y="301"/>
                      </a:lnTo>
                      <a:lnTo>
                        <a:pt x="3410" y="295"/>
                      </a:lnTo>
                      <a:lnTo>
                        <a:pt x="3395" y="291"/>
                      </a:lnTo>
                      <a:close/>
                    </a:path>
                  </a:pathLst>
                </a:custGeom>
                <a:solidFill>
                  <a:srgbClr val="1B457C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475" name="Freeform 214"/>
                <p:cNvSpPr>
                  <a:spLocks/>
                </p:cNvSpPr>
                <p:nvPr/>
              </p:nvSpPr>
              <p:spPr bwMode="auto">
                <a:xfrm>
                  <a:off x="2950" y="2489"/>
                  <a:ext cx="984" cy="575"/>
                </a:xfrm>
                <a:custGeom>
                  <a:avLst/>
                  <a:gdLst>
                    <a:gd name="T0" fmla="*/ 0 w 6882"/>
                    <a:gd name="T1" fmla="*/ 0 h 4066"/>
                    <a:gd name="T2" fmla="*/ 0 w 6882"/>
                    <a:gd name="T3" fmla="*/ 0 h 4066"/>
                    <a:gd name="T4" fmla="*/ 0 w 6882"/>
                    <a:gd name="T5" fmla="*/ 0 h 4066"/>
                    <a:gd name="T6" fmla="*/ 0 w 6882"/>
                    <a:gd name="T7" fmla="*/ 0 h 4066"/>
                    <a:gd name="T8" fmla="*/ 0 w 6882"/>
                    <a:gd name="T9" fmla="*/ 0 h 4066"/>
                    <a:gd name="T10" fmla="*/ 0 w 6882"/>
                    <a:gd name="T11" fmla="*/ 0 h 4066"/>
                    <a:gd name="T12" fmla="*/ 0 w 6882"/>
                    <a:gd name="T13" fmla="*/ 0 h 4066"/>
                    <a:gd name="T14" fmla="*/ 0 w 6882"/>
                    <a:gd name="T15" fmla="*/ 0 h 4066"/>
                    <a:gd name="T16" fmla="*/ 0 w 6882"/>
                    <a:gd name="T17" fmla="*/ 0 h 4066"/>
                    <a:gd name="T18" fmla="*/ 0 w 6882"/>
                    <a:gd name="T19" fmla="*/ 0 h 4066"/>
                    <a:gd name="T20" fmla="*/ 0 w 6882"/>
                    <a:gd name="T21" fmla="*/ 0 h 4066"/>
                    <a:gd name="T22" fmla="*/ 0 w 6882"/>
                    <a:gd name="T23" fmla="*/ 0 h 4066"/>
                    <a:gd name="T24" fmla="*/ 0 w 6882"/>
                    <a:gd name="T25" fmla="*/ 0 h 4066"/>
                    <a:gd name="T26" fmla="*/ 0 w 6882"/>
                    <a:gd name="T27" fmla="*/ 0 h 4066"/>
                    <a:gd name="T28" fmla="*/ 0 w 6882"/>
                    <a:gd name="T29" fmla="*/ 0 h 4066"/>
                    <a:gd name="T30" fmla="*/ 0 w 6882"/>
                    <a:gd name="T31" fmla="*/ 0 h 4066"/>
                    <a:gd name="T32" fmla="*/ 0 w 6882"/>
                    <a:gd name="T33" fmla="*/ 0 h 4066"/>
                    <a:gd name="T34" fmla="*/ 0 w 6882"/>
                    <a:gd name="T35" fmla="*/ 0 h 4066"/>
                    <a:gd name="T36" fmla="*/ 0 w 6882"/>
                    <a:gd name="T37" fmla="*/ 0 h 4066"/>
                    <a:gd name="T38" fmla="*/ 0 w 6882"/>
                    <a:gd name="T39" fmla="*/ 0 h 4066"/>
                    <a:gd name="T40" fmla="*/ 0 w 6882"/>
                    <a:gd name="T41" fmla="*/ 0 h 4066"/>
                    <a:gd name="T42" fmla="*/ 0 w 6882"/>
                    <a:gd name="T43" fmla="*/ 0 h 4066"/>
                    <a:gd name="T44" fmla="*/ 0 w 6882"/>
                    <a:gd name="T45" fmla="*/ 0 h 4066"/>
                    <a:gd name="T46" fmla="*/ 0 w 6882"/>
                    <a:gd name="T47" fmla="*/ 0 h 4066"/>
                    <a:gd name="T48" fmla="*/ 0 w 6882"/>
                    <a:gd name="T49" fmla="*/ 0 h 4066"/>
                    <a:gd name="T50" fmla="*/ 0 w 6882"/>
                    <a:gd name="T51" fmla="*/ 0 h 4066"/>
                    <a:gd name="T52" fmla="*/ 0 w 6882"/>
                    <a:gd name="T53" fmla="*/ 0 h 4066"/>
                    <a:gd name="T54" fmla="*/ 0 w 6882"/>
                    <a:gd name="T55" fmla="*/ 0 h 4066"/>
                    <a:gd name="T56" fmla="*/ 0 w 6882"/>
                    <a:gd name="T57" fmla="*/ 0 h 4066"/>
                    <a:gd name="T58" fmla="*/ 0 w 6882"/>
                    <a:gd name="T59" fmla="*/ 0 h 4066"/>
                    <a:gd name="T60" fmla="*/ 0 w 6882"/>
                    <a:gd name="T61" fmla="*/ 0 h 4066"/>
                    <a:gd name="T62" fmla="*/ 0 w 6882"/>
                    <a:gd name="T63" fmla="*/ 0 h 4066"/>
                    <a:gd name="T64" fmla="*/ 0 w 6882"/>
                    <a:gd name="T65" fmla="*/ 0 h 4066"/>
                    <a:gd name="T66" fmla="*/ 0 w 6882"/>
                    <a:gd name="T67" fmla="*/ 0 h 4066"/>
                    <a:gd name="T68" fmla="*/ 0 w 6882"/>
                    <a:gd name="T69" fmla="*/ 0 h 4066"/>
                    <a:gd name="T70" fmla="*/ 0 w 6882"/>
                    <a:gd name="T71" fmla="*/ 0 h 4066"/>
                    <a:gd name="T72" fmla="*/ 0 w 6882"/>
                    <a:gd name="T73" fmla="*/ 0 h 4066"/>
                    <a:gd name="T74" fmla="*/ 0 w 6882"/>
                    <a:gd name="T75" fmla="*/ 0 h 4066"/>
                    <a:gd name="T76" fmla="*/ 0 w 6882"/>
                    <a:gd name="T77" fmla="*/ 0 h 4066"/>
                    <a:gd name="T78" fmla="*/ 0 w 6882"/>
                    <a:gd name="T79" fmla="*/ 0 h 4066"/>
                    <a:gd name="T80" fmla="*/ 0 w 6882"/>
                    <a:gd name="T81" fmla="*/ 0 h 4066"/>
                    <a:gd name="T82" fmla="*/ 0 w 6882"/>
                    <a:gd name="T83" fmla="*/ 0 h 4066"/>
                    <a:gd name="T84" fmla="*/ 0 w 6882"/>
                    <a:gd name="T85" fmla="*/ 0 h 4066"/>
                    <a:gd name="T86" fmla="*/ 0 w 6882"/>
                    <a:gd name="T87" fmla="*/ 0 h 4066"/>
                    <a:gd name="T88" fmla="*/ 0 w 6882"/>
                    <a:gd name="T89" fmla="*/ 0 h 4066"/>
                    <a:gd name="T90" fmla="*/ 0 w 6882"/>
                    <a:gd name="T91" fmla="*/ 0 h 4066"/>
                    <a:gd name="T92" fmla="*/ 0 w 6882"/>
                    <a:gd name="T93" fmla="*/ 0 h 4066"/>
                    <a:gd name="T94" fmla="*/ 0 w 6882"/>
                    <a:gd name="T95" fmla="*/ 0 h 4066"/>
                    <a:gd name="T96" fmla="*/ 0 60000 65536"/>
                    <a:gd name="T97" fmla="*/ 0 60000 65536"/>
                    <a:gd name="T98" fmla="*/ 0 60000 65536"/>
                    <a:gd name="T99" fmla="*/ 0 60000 65536"/>
                    <a:gd name="T100" fmla="*/ 0 60000 65536"/>
                    <a:gd name="T101" fmla="*/ 0 60000 65536"/>
                    <a:gd name="T102" fmla="*/ 0 60000 65536"/>
                    <a:gd name="T103" fmla="*/ 0 60000 65536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w 6882"/>
                    <a:gd name="T145" fmla="*/ 0 h 4066"/>
                    <a:gd name="T146" fmla="*/ 6882 w 6882"/>
                    <a:gd name="T147" fmla="*/ 4066 h 4066"/>
                  </a:gdLst>
                  <a:ahLst/>
                  <a:cxnLst>
                    <a:cxn ang="T96">
                      <a:pos x="T0" y="T1"/>
                    </a:cxn>
                    <a:cxn ang="T97">
                      <a:pos x="T2" y="T3"/>
                    </a:cxn>
                    <a:cxn ang="T98">
                      <a:pos x="T4" y="T5"/>
                    </a:cxn>
                    <a:cxn ang="T99">
                      <a:pos x="T6" y="T7"/>
                    </a:cxn>
                    <a:cxn ang="T100">
                      <a:pos x="T8" y="T9"/>
                    </a:cxn>
                    <a:cxn ang="T101">
                      <a:pos x="T10" y="T11"/>
                    </a:cxn>
                    <a:cxn ang="T102">
                      <a:pos x="T12" y="T13"/>
                    </a:cxn>
                    <a:cxn ang="T103">
                      <a:pos x="T14" y="T15"/>
                    </a:cxn>
                    <a:cxn ang="T104">
                      <a:pos x="T16" y="T17"/>
                    </a:cxn>
                    <a:cxn ang="T105">
                      <a:pos x="T18" y="T19"/>
                    </a:cxn>
                    <a:cxn ang="T106">
                      <a:pos x="T20" y="T21"/>
                    </a:cxn>
                    <a:cxn ang="T107">
                      <a:pos x="T22" y="T23"/>
                    </a:cxn>
                    <a:cxn ang="T108">
                      <a:pos x="T24" y="T25"/>
                    </a:cxn>
                    <a:cxn ang="T109">
                      <a:pos x="T26" y="T27"/>
                    </a:cxn>
                    <a:cxn ang="T110">
                      <a:pos x="T28" y="T29"/>
                    </a:cxn>
                    <a:cxn ang="T111">
                      <a:pos x="T30" y="T31"/>
                    </a:cxn>
                    <a:cxn ang="T112">
                      <a:pos x="T32" y="T33"/>
                    </a:cxn>
                    <a:cxn ang="T113">
                      <a:pos x="T34" y="T35"/>
                    </a:cxn>
                    <a:cxn ang="T114">
                      <a:pos x="T36" y="T37"/>
                    </a:cxn>
                    <a:cxn ang="T115">
                      <a:pos x="T38" y="T39"/>
                    </a:cxn>
                    <a:cxn ang="T116">
                      <a:pos x="T40" y="T41"/>
                    </a:cxn>
                    <a:cxn ang="T117">
                      <a:pos x="T42" y="T43"/>
                    </a:cxn>
                    <a:cxn ang="T118">
                      <a:pos x="T44" y="T45"/>
                    </a:cxn>
                    <a:cxn ang="T119">
                      <a:pos x="T46" y="T47"/>
                    </a:cxn>
                    <a:cxn ang="T120">
                      <a:pos x="T48" y="T49"/>
                    </a:cxn>
                    <a:cxn ang="T121">
                      <a:pos x="T50" y="T51"/>
                    </a:cxn>
                    <a:cxn ang="T122">
                      <a:pos x="T52" y="T53"/>
                    </a:cxn>
                    <a:cxn ang="T123">
                      <a:pos x="T54" y="T55"/>
                    </a:cxn>
                    <a:cxn ang="T124">
                      <a:pos x="T56" y="T57"/>
                    </a:cxn>
                    <a:cxn ang="T125">
                      <a:pos x="T58" y="T59"/>
                    </a:cxn>
                    <a:cxn ang="T126">
                      <a:pos x="T60" y="T61"/>
                    </a:cxn>
                    <a:cxn ang="T127">
                      <a:pos x="T62" y="T63"/>
                    </a:cxn>
                    <a:cxn ang="T128">
                      <a:pos x="T64" y="T65"/>
                    </a:cxn>
                    <a:cxn ang="T129">
                      <a:pos x="T66" y="T67"/>
                    </a:cxn>
                    <a:cxn ang="T130">
                      <a:pos x="T68" y="T69"/>
                    </a:cxn>
                    <a:cxn ang="T131">
                      <a:pos x="T70" y="T71"/>
                    </a:cxn>
                    <a:cxn ang="T132">
                      <a:pos x="T72" y="T73"/>
                    </a:cxn>
                    <a:cxn ang="T133">
                      <a:pos x="T74" y="T75"/>
                    </a:cxn>
                    <a:cxn ang="T134">
                      <a:pos x="T76" y="T77"/>
                    </a:cxn>
                    <a:cxn ang="T135">
                      <a:pos x="T78" y="T79"/>
                    </a:cxn>
                    <a:cxn ang="T136">
                      <a:pos x="T80" y="T81"/>
                    </a:cxn>
                    <a:cxn ang="T137">
                      <a:pos x="T82" y="T83"/>
                    </a:cxn>
                    <a:cxn ang="T138">
                      <a:pos x="T84" y="T85"/>
                    </a:cxn>
                    <a:cxn ang="T139">
                      <a:pos x="T86" y="T87"/>
                    </a:cxn>
                    <a:cxn ang="T140">
                      <a:pos x="T88" y="T89"/>
                    </a:cxn>
                    <a:cxn ang="T141">
                      <a:pos x="T90" y="T91"/>
                    </a:cxn>
                    <a:cxn ang="T142">
                      <a:pos x="T92" y="T93"/>
                    </a:cxn>
                    <a:cxn ang="T143">
                      <a:pos x="T94" y="T95"/>
                    </a:cxn>
                  </a:cxnLst>
                  <a:rect l="T144" t="T145" r="T146" b="T147"/>
                  <a:pathLst>
                    <a:path w="6882" h="4066">
                      <a:moveTo>
                        <a:pt x="6852" y="4060"/>
                      </a:moveTo>
                      <a:lnTo>
                        <a:pt x="6873" y="3833"/>
                      </a:lnTo>
                      <a:lnTo>
                        <a:pt x="6882" y="3612"/>
                      </a:lnTo>
                      <a:lnTo>
                        <a:pt x="6877" y="3395"/>
                      </a:lnTo>
                      <a:lnTo>
                        <a:pt x="6863" y="3183"/>
                      </a:lnTo>
                      <a:lnTo>
                        <a:pt x="6836" y="2978"/>
                      </a:lnTo>
                      <a:lnTo>
                        <a:pt x="6799" y="2777"/>
                      </a:lnTo>
                      <a:lnTo>
                        <a:pt x="6752" y="2582"/>
                      </a:lnTo>
                      <a:lnTo>
                        <a:pt x="6694" y="2394"/>
                      </a:lnTo>
                      <a:lnTo>
                        <a:pt x="6627" y="2211"/>
                      </a:lnTo>
                      <a:lnTo>
                        <a:pt x="6551" y="2035"/>
                      </a:lnTo>
                      <a:lnTo>
                        <a:pt x="6467" y="1865"/>
                      </a:lnTo>
                      <a:lnTo>
                        <a:pt x="6373" y="1701"/>
                      </a:lnTo>
                      <a:lnTo>
                        <a:pt x="6273" y="1543"/>
                      </a:lnTo>
                      <a:lnTo>
                        <a:pt x="6165" y="1393"/>
                      </a:lnTo>
                      <a:lnTo>
                        <a:pt x="6050" y="1249"/>
                      </a:lnTo>
                      <a:lnTo>
                        <a:pt x="5929" y="1112"/>
                      </a:lnTo>
                      <a:lnTo>
                        <a:pt x="5801" y="983"/>
                      </a:lnTo>
                      <a:lnTo>
                        <a:pt x="5669" y="861"/>
                      </a:lnTo>
                      <a:lnTo>
                        <a:pt x="5531" y="746"/>
                      </a:lnTo>
                      <a:lnTo>
                        <a:pt x="5387" y="639"/>
                      </a:lnTo>
                      <a:lnTo>
                        <a:pt x="5240" y="540"/>
                      </a:lnTo>
                      <a:lnTo>
                        <a:pt x="5089" y="449"/>
                      </a:lnTo>
                      <a:lnTo>
                        <a:pt x="4934" y="366"/>
                      </a:lnTo>
                      <a:lnTo>
                        <a:pt x="4777" y="290"/>
                      </a:lnTo>
                      <a:lnTo>
                        <a:pt x="4617" y="223"/>
                      </a:lnTo>
                      <a:lnTo>
                        <a:pt x="4454" y="164"/>
                      </a:lnTo>
                      <a:lnTo>
                        <a:pt x="4290" y="114"/>
                      </a:lnTo>
                      <a:lnTo>
                        <a:pt x="4125" y="73"/>
                      </a:lnTo>
                      <a:lnTo>
                        <a:pt x="3958" y="42"/>
                      </a:lnTo>
                      <a:lnTo>
                        <a:pt x="3792" y="18"/>
                      </a:lnTo>
                      <a:lnTo>
                        <a:pt x="3625" y="4"/>
                      </a:lnTo>
                      <a:lnTo>
                        <a:pt x="3459" y="0"/>
                      </a:lnTo>
                      <a:lnTo>
                        <a:pt x="3292" y="4"/>
                      </a:lnTo>
                      <a:lnTo>
                        <a:pt x="3124" y="20"/>
                      </a:lnTo>
                      <a:lnTo>
                        <a:pt x="2956" y="43"/>
                      </a:lnTo>
                      <a:lnTo>
                        <a:pt x="2789" y="77"/>
                      </a:lnTo>
                      <a:lnTo>
                        <a:pt x="2622" y="121"/>
                      </a:lnTo>
                      <a:lnTo>
                        <a:pt x="2456" y="172"/>
                      </a:lnTo>
                      <a:lnTo>
                        <a:pt x="2292" y="233"/>
                      </a:lnTo>
                      <a:lnTo>
                        <a:pt x="2130" y="302"/>
                      </a:lnTo>
                      <a:lnTo>
                        <a:pt x="1970" y="381"/>
                      </a:lnTo>
                      <a:lnTo>
                        <a:pt x="1813" y="467"/>
                      </a:lnTo>
                      <a:lnTo>
                        <a:pt x="1660" y="562"/>
                      </a:lnTo>
                      <a:lnTo>
                        <a:pt x="1510" y="664"/>
                      </a:lnTo>
                      <a:lnTo>
                        <a:pt x="1365" y="773"/>
                      </a:lnTo>
                      <a:lnTo>
                        <a:pt x="1224" y="891"/>
                      </a:lnTo>
                      <a:lnTo>
                        <a:pt x="1089" y="1016"/>
                      </a:lnTo>
                      <a:lnTo>
                        <a:pt x="959" y="1147"/>
                      </a:lnTo>
                      <a:lnTo>
                        <a:pt x="836" y="1286"/>
                      </a:lnTo>
                      <a:lnTo>
                        <a:pt x="719" y="1432"/>
                      </a:lnTo>
                      <a:lnTo>
                        <a:pt x="609" y="1583"/>
                      </a:lnTo>
                      <a:lnTo>
                        <a:pt x="506" y="1742"/>
                      </a:lnTo>
                      <a:lnTo>
                        <a:pt x="413" y="1906"/>
                      </a:lnTo>
                      <a:lnTo>
                        <a:pt x="327" y="2077"/>
                      </a:lnTo>
                      <a:lnTo>
                        <a:pt x="250" y="2253"/>
                      </a:lnTo>
                      <a:lnTo>
                        <a:pt x="183" y="2434"/>
                      </a:lnTo>
                      <a:lnTo>
                        <a:pt x="125" y="2621"/>
                      </a:lnTo>
                      <a:lnTo>
                        <a:pt x="77" y="2814"/>
                      </a:lnTo>
                      <a:lnTo>
                        <a:pt x="40" y="3011"/>
                      </a:lnTo>
                      <a:lnTo>
                        <a:pt x="16" y="3213"/>
                      </a:lnTo>
                      <a:lnTo>
                        <a:pt x="1" y="3420"/>
                      </a:lnTo>
                      <a:lnTo>
                        <a:pt x="0" y="3631"/>
                      </a:lnTo>
                      <a:lnTo>
                        <a:pt x="10" y="3847"/>
                      </a:lnTo>
                      <a:lnTo>
                        <a:pt x="35" y="4066"/>
                      </a:lnTo>
                      <a:lnTo>
                        <a:pt x="101" y="4016"/>
                      </a:lnTo>
                      <a:lnTo>
                        <a:pt x="181" y="3959"/>
                      </a:lnTo>
                      <a:lnTo>
                        <a:pt x="274" y="3897"/>
                      </a:lnTo>
                      <a:lnTo>
                        <a:pt x="378" y="3829"/>
                      </a:lnTo>
                      <a:lnTo>
                        <a:pt x="494" y="3757"/>
                      </a:lnTo>
                      <a:lnTo>
                        <a:pt x="622" y="3681"/>
                      </a:lnTo>
                      <a:lnTo>
                        <a:pt x="761" y="3604"/>
                      </a:lnTo>
                      <a:lnTo>
                        <a:pt x="912" y="3525"/>
                      </a:lnTo>
                      <a:lnTo>
                        <a:pt x="1072" y="3447"/>
                      </a:lnTo>
                      <a:lnTo>
                        <a:pt x="1243" y="3369"/>
                      </a:lnTo>
                      <a:lnTo>
                        <a:pt x="1424" y="3295"/>
                      </a:lnTo>
                      <a:lnTo>
                        <a:pt x="1613" y="3222"/>
                      </a:lnTo>
                      <a:lnTo>
                        <a:pt x="1812" y="3154"/>
                      </a:lnTo>
                      <a:lnTo>
                        <a:pt x="2019" y="3092"/>
                      </a:lnTo>
                      <a:lnTo>
                        <a:pt x="2235" y="3037"/>
                      </a:lnTo>
                      <a:lnTo>
                        <a:pt x="2460" y="2988"/>
                      </a:lnTo>
                      <a:lnTo>
                        <a:pt x="2691" y="2946"/>
                      </a:lnTo>
                      <a:lnTo>
                        <a:pt x="2931" y="2916"/>
                      </a:lnTo>
                      <a:lnTo>
                        <a:pt x="3177" y="2895"/>
                      </a:lnTo>
                      <a:lnTo>
                        <a:pt x="3429" y="2886"/>
                      </a:lnTo>
                      <a:lnTo>
                        <a:pt x="3687" y="2891"/>
                      </a:lnTo>
                      <a:lnTo>
                        <a:pt x="3952" y="2907"/>
                      </a:lnTo>
                      <a:lnTo>
                        <a:pt x="4223" y="2940"/>
                      </a:lnTo>
                      <a:lnTo>
                        <a:pt x="4499" y="2988"/>
                      </a:lnTo>
                      <a:lnTo>
                        <a:pt x="4779" y="3052"/>
                      </a:lnTo>
                      <a:lnTo>
                        <a:pt x="5064" y="3134"/>
                      </a:lnTo>
                      <a:lnTo>
                        <a:pt x="5354" y="3236"/>
                      </a:lnTo>
                      <a:lnTo>
                        <a:pt x="5647" y="3356"/>
                      </a:lnTo>
                      <a:lnTo>
                        <a:pt x="5943" y="3498"/>
                      </a:lnTo>
                      <a:lnTo>
                        <a:pt x="6244" y="3662"/>
                      </a:lnTo>
                      <a:lnTo>
                        <a:pt x="6547" y="3849"/>
                      </a:lnTo>
                      <a:lnTo>
                        <a:pt x="6852" y="4060"/>
                      </a:lnTo>
                      <a:close/>
                    </a:path>
                  </a:pathLst>
                </a:custGeom>
                <a:solidFill>
                  <a:srgbClr val="242D54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476" name="Freeform 215"/>
                <p:cNvSpPr>
                  <a:spLocks/>
                </p:cNvSpPr>
                <p:nvPr/>
              </p:nvSpPr>
              <p:spPr bwMode="auto">
                <a:xfrm>
                  <a:off x="2950" y="2628"/>
                  <a:ext cx="984" cy="436"/>
                </a:xfrm>
                <a:custGeom>
                  <a:avLst/>
                  <a:gdLst>
                    <a:gd name="T0" fmla="*/ 0 w 6883"/>
                    <a:gd name="T1" fmla="*/ 0 h 3057"/>
                    <a:gd name="T2" fmla="*/ 0 w 6883"/>
                    <a:gd name="T3" fmla="*/ 0 h 3057"/>
                    <a:gd name="T4" fmla="*/ 0 w 6883"/>
                    <a:gd name="T5" fmla="*/ 0 h 3057"/>
                    <a:gd name="T6" fmla="*/ 0 w 6883"/>
                    <a:gd name="T7" fmla="*/ 0 h 3057"/>
                    <a:gd name="T8" fmla="*/ 0 w 6883"/>
                    <a:gd name="T9" fmla="*/ 0 h 3057"/>
                    <a:gd name="T10" fmla="*/ 0 w 6883"/>
                    <a:gd name="T11" fmla="*/ 0 h 3057"/>
                    <a:gd name="T12" fmla="*/ 0 w 6883"/>
                    <a:gd name="T13" fmla="*/ 0 h 3057"/>
                    <a:gd name="T14" fmla="*/ 0 w 6883"/>
                    <a:gd name="T15" fmla="*/ 0 h 3057"/>
                    <a:gd name="T16" fmla="*/ 0 w 6883"/>
                    <a:gd name="T17" fmla="*/ 0 h 3057"/>
                    <a:gd name="T18" fmla="*/ 0 w 6883"/>
                    <a:gd name="T19" fmla="*/ 0 h 3057"/>
                    <a:gd name="T20" fmla="*/ 0 w 6883"/>
                    <a:gd name="T21" fmla="*/ 0 h 3057"/>
                    <a:gd name="T22" fmla="*/ 0 w 6883"/>
                    <a:gd name="T23" fmla="*/ 0 h 3057"/>
                    <a:gd name="T24" fmla="*/ 0 w 6883"/>
                    <a:gd name="T25" fmla="*/ 0 h 3057"/>
                    <a:gd name="T26" fmla="*/ 0 w 6883"/>
                    <a:gd name="T27" fmla="*/ 0 h 3057"/>
                    <a:gd name="T28" fmla="*/ 0 w 6883"/>
                    <a:gd name="T29" fmla="*/ 0 h 3057"/>
                    <a:gd name="T30" fmla="*/ 0 w 6883"/>
                    <a:gd name="T31" fmla="*/ 0 h 3057"/>
                    <a:gd name="T32" fmla="*/ 0 w 6883"/>
                    <a:gd name="T33" fmla="*/ 0 h 3057"/>
                    <a:gd name="T34" fmla="*/ 0 w 6883"/>
                    <a:gd name="T35" fmla="*/ 0 h 3057"/>
                    <a:gd name="T36" fmla="*/ 0 w 6883"/>
                    <a:gd name="T37" fmla="*/ 0 h 3057"/>
                    <a:gd name="T38" fmla="*/ 0 w 6883"/>
                    <a:gd name="T39" fmla="*/ 0 h 3057"/>
                    <a:gd name="T40" fmla="*/ 0 w 6883"/>
                    <a:gd name="T41" fmla="*/ 0 h 3057"/>
                    <a:gd name="T42" fmla="*/ 0 w 6883"/>
                    <a:gd name="T43" fmla="*/ 0 h 3057"/>
                    <a:gd name="T44" fmla="*/ 0 w 6883"/>
                    <a:gd name="T45" fmla="*/ 0 h 3057"/>
                    <a:gd name="T46" fmla="*/ 0 w 6883"/>
                    <a:gd name="T47" fmla="*/ 0 h 3057"/>
                    <a:gd name="T48" fmla="*/ 0 w 6883"/>
                    <a:gd name="T49" fmla="*/ 0 h 3057"/>
                    <a:gd name="T50" fmla="*/ 0 w 6883"/>
                    <a:gd name="T51" fmla="*/ 0 h 3057"/>
                    <a:gd name="T52" fmla="*/ 0 w 6883"/>
                    <a:gd name="T53" fmla="*/ 0 h 3057"/>
                    <a:gd name="T54" fmla="*/ 0 w 6883"/>
                    <a:gd name="T55" fmla="*/ 0 h 3057"/>
                    <a:gd name="T56" fmla="*/ 0 w 6883"/>
                    <a:gd name="T57" fmla="*/ 0 h 3057"/>
                    <a:gd name="T58" fmla="*/ 0 w 6883"/>
                    <a:gd name="T59" fmla="*/ 0 h 3057"/>
                    <a:gd name="T60" fmla="*/ 0 w 6883"/>
                    <a:gd name="T61" fmla="*/ 0 h 3057"/>
                    <a:gd name="T62" fmla="*/ 0 w 6883"/>
                    <a:gd name="T63" fmla="*/ 0 h 3057"/>
                    <a:gd name="T64" fmla="*/ 0 w 6883"/>
                    <a:gd name="T65" fmla="*/ 0 h 3057"/>
                    <a:gd name="T66" fmla="*/ 0 w 6883"/>
                    <a:gd name="T67" fmla="*/ 0 h 3057"/>
                    <a:gd name="T68" fmla="*/ 0 w 6883"/>
                    <a:gd name="T69" fmla="*/ 0 h 3057"/>
                    <a:gd name="T70" fmla="*/ 0 w 6883"/>
                    <a:gd name="T71" fmla="*/ 0 h 3057"/>
                    <a:gd name="T72" fmla="*/ 0 w 6883"/>
                    <a:gd name="T73" fmla="*/ 0 h 3057"/>
                    <a:gd name="T74" fmla="*/ 0 w 6883"/>
                    <a:gd name="T75" fmla="*/ 0 h 3057"/>
                    <a:gd name="T76" fmla="*/ 0 w 6883"/>
                    <a:gd name="T77" fmla="*/ 0 h 3057"/>
                    <a:gd name="T78" fmla="*/ 0 w 6883"/>
                    <a:gd name="T79" fmla="*/ 0 h 3057"/>
                    <a:gd name="T80" fmla="*/ 0 w 6883"/>
                    <a:gd name="T81" fmla="*/ 0 h 3057"/>
                    <a:gd name="T82" fmla="*/ 0 w 6883"/>
                    <a:gd name="T83" fmla="*/ 0 h 3057"/>
                    <a:gd name="T84" fmla="*/ 0 w 6883"/>
                    <a:gd name="T85" fmla="*/ 0 h 3057"/>
                    <a:gd name="T86" fmla="*/ 0 w 6883"/>
                    <a:gd name="T87" fmla="*/ 0 h 3057"/>
                    <a:gd name="T88" fmla="*/ 0 w 6883"/>
                    <a:gd name="T89" fmla="*/ 0 h 3057"/>
                    <a:gd name="T90" fmla="*/ 0 w 6883"/>
                    <a:gd name="T91" fmla="*/ 0 h 3057"/>
                    <a:gd name="T92" fmla="*/ 0 w 6883"/>
                    <a:gd name="T93" fmla="*/ 0 h 3057"/>
                    <a:gd name="T94" fmla="*/ 0 w 6883"/>
                    <a:gd name="T95" fmla="*/ 0 h 3057"/>
                    <a:gd name="T96" fmla="*/ 0 w 6883"/>
                    <a:gd name="T97" fmla="*/ 0 h 3057"/>
                    <a:gd name="T98" fmla="*/ 0 w 6883"/>
                    <a:gd name="T99" fmla="*/ 0 h 3057"/>
                    <a:gd name="T100" fmla="*/ 0 w 6883"/>
                    <a:gd name="T101" fmla="*/ 0 h 3057"/>
                    <a:gd name="T102" fmla="*/ 0 w 6883"/>
                    <a:gd name="T103" fmla="*/ 0 h 3057"/>
                    <a:gd name="T104" fmla="*/ 0 w 6883"/>
                    <a:gd name="T105" fmla="*/ 0 h 3057"/>
                    <a:gd name="T106" fmla="*/ 0 w 6883"/>
                    <a:gd name="T107" fmla="*/ 0 h 3057"/>
                    <a:gd name="T108" fmla="*/ 0 w 6883"/>
                    <a:gd name="T109" fmla="*/ 0 h 3057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60000 65536"/>
                    <a:gd name="T157" fmla="*/ 0 60000 65536"/>
                    <a:gd name="T158" fmla="*/ 0 60000 65536"/>
                    <a:gd name="T159" fmla="*/ 0 60000 65536"/>
                    <a:gd name="T160" fmla="*/ 0 60000 65536"/>
                    <a:gd name="T161" fmla="*/ 0 60000 65536"/>
                    <a:gd name="T162" fmla="*/ 0 60000 65536"/>
                    <a:gd name="T163" fmla="*/ 0 60000 65536"/>
                    <a:gd name="T164" fmla="*/ 0 60000 65536"/>
                    <a:gd name="T165" fmla="*/ 0 w 6883"/>
                    <a:gd name="T166" fmla="*/ 0 h 3057"/>
                    <a:gd name="T167" fmla="*/ 6883 w 6883"/>
                    <a:gd name="T168" fmla="*/ 3057 h 3057"/>
                  </a:gdLst>
                  <a:ahLst/>
                  <a:cxnLst>
                    <a:cxn ang="T110">
                      <a:pos x="T0" y="T1"/>
                    </a:cxn>
                    <a:cxn ang="T111">
                      <a:pos x="T2" y="T3"/>
                    </a:cxn>
                    <a:cxn ang="T112">
                      <a:pos x="T4" y="T5"/>
                    </a:cxn>
                    <a:cxn ang="T113">
                      <a:pos x="T6" y="T7"/>
                    </a:cxn>
                    <a:cxn ang="T114">
                      <a:pos x="T8" y="T9"/>
                    </a:cxn>
                    <a:cxn ang="T115">
                      <a:pos x="T10" y="T11"/>
                    </a:cxn>
                    <a:cxn ang="T116">
                      <a:pos x="T12" y="T13"/>
                    </a:cxn>
                    <a:cxn ang="T117">
                      <a:pos x="T14" y="T15"/>
                    </a:cxn>
                    <a:cxn ang="T118">
                      <a:pos x="T16" y="T17"/>
                    </a:cxn>
                    <a:cxn ang="T119">
                      <a:pos x="T18" y="T19"/>
                    </a:cxn>
                    <a:cxn ang="T120">
                      <a:pos x="T20" y="T21"/>
                    </a:cxn>
                    <a:cxn ang="T121">
                      <a:pos x="T22" y="T23"/>
                    </a:cxn>
                    <a:cxn ang="T122">
                      <a:pos x="T24" y="T25"/>
                    </a:cxn>
                    <a:cxn ang="T123">
                      <a:pos x="T26" y="T27"/>
                    </a:cxn>
                    <a:cxn ang="T124">
                      <a:pos x="T28" y="T29"/>
                    </a:cxn>
                    <a:cxn ang="T125">
                      <a:pos x="T30" y="T31"/>
                    </a:cxn>
                    <a:cxn ang="T126">
                      <a:pos x="T32" y="T33"/>
                    </a:cxn>
                    <a:cxn ang="T127">
                      <a:pos x="T34" y="T35"/>
                    </a:cxn>
                    <a:cxn ang="T128">
                      <a:pos x="T36" y="T37"/>
                    </a:cxn>
                    <a:cxn ang="T129">
                      <a:pos x="T38" y="T39"/>
                    </a:cxn>
                    <a:cxn ang="T130">
                      <a:pos x="T40" y="T41"/>
                    </a:cxn>
                    <a:cxn ang="T131">
                      <a:pos x="T42" y="T43"/>
                    </a:cxn>
                    <a:cxn ang="T132">
                      <a:pos x="T44" y="T45"/>
                    </a:cxn>
                    <a:cxn ang="T133">
                      <a:pos x="T46" y="T47"/>
                    </a:cxn>
                    <a:cxn ang="T134">
                      <a:pos x="T48" y="T49"/>
                    </a:cxn>
                    <a:cxn ang="T135">
                      <a:pos x="T50" y="T51"/>
                    </a:cxn>
                    <a:cxn ang="T136">
                      <a:pos x="T52" y="T53"/>
                    </a:cxn>
                    <a:cxn ang="T137">
                      <a:pos x="T54" y="T55"/>
                    </a:cxn>
                    <a:cxn ang="T138">
                      <a:pos x="T56" y="T57"/>
                    </a:cxn>
                    <a:cxn ang="T139">
                      <a:pos x="T58" y="T59"/>
                    </a:cxn>
                    <a:cxn ang="T140">
                      <a:pos x="T60" y="T61"/>
                    </a:cxn>
                    <a:cxn ang="T141">
                      <a:pos x="T62" y="T63"/>
                    </a:cxn>
                    <a:cxn ang="T142">
                      <a:pos x="T64" y="T65"/>
                    </a:cxn>
                    <a:cxn ang="T143">
                      <a:pos x="T66" y="T67"/>
                    </a:cxn>
                    <a:cxn ang="T144">
                      <a:pos x="T68" y="T69"/>
                    </a:cxn>
                    <a:cxn ang="T145">
                      <a:pos x="T70" y="T71"/>
                    </a:cxn>
                    <a:cxn ang="T146">
                      <a:pos x="T72" y="T73"/>
                    </a:cxn>
                    <a:cxn ang="T147">
                      <a:pos x="T74" y="T75"/>
                    </a:cxn>
                    <a:cxn ang="T148">
                      <a:pos x="T76" y="T77"/>
                    </a:cxn>
                    <a:cxn ang="T149">
                      <a:pos x="T78" y="T79"/>
                    </a:cxn>
                    <a:cxn ang="T150">
                      <a:pos x="T80" y="T81"/>
                    </a:cxn>
                    <a:cxn ang="T151">
                      <a:pos x="T82" y="T83"/>
                    </a:cxn>
                    <a:cxn ang="T152">
                      <a:pos x="T84" y="T85"/>
                    </a:cxn>
                    <a:cxn ang="T153">
                      <a:pos x="T86" y="T87"/>
                    </a:cxn>
                    <a:cxn ang="T154">
                      <a:pos x="T88" y="T89"/>
                    </a:cxn>
                    <a:cxn ang="T155">
                      <a:pos x="T90" y="T91"/>
                    </a:cxn>
                    <a:cxn ang="T156">
                      <a:pos x="T92" y="T93"/>
                    </a:cxn>
                    <a:cxn ang="T157">
                      <a:pos x="T94" y="T95"/>
                    </a:cxn>
                    <a:cxn ang="T158">
                      <a:pos x="T96" y="T97"/>
                    </a:cxn>
                    <a:cxn ang="T159">
                      <a:pos x="T98" y="T99"/>
                    </a:cxn>
                    <a:cxn ang="T160">
                      <a:pos x="T100" y="T101"/>
                    </a:cxn>
                    <a:cxn ang="T161">
                      <a:pos x="T102" y="T103"/>
                    </a:cxn>
                    <a:cxn ang="T162">
                      <a:pos x="T104" y="T105"/>
                    </a:cxn>
                    <a:cxn ang="T163">
                      <a:pos x="T106" y="T107"/>
                    </a:cxn>
                    <a:cxn ang="T164">
                      <a:pos x="T108" y="T109"/>
                    </a:cxn>
                  </a:cxnLst>
                  <a:rect l="T165" t="T166" r="T167" b="T168"/>
                  <a:pathLst>
                    <a:path w="6883" h="3057">
                      <a:moveTo>
                        <a:pt x="5829" y="0"/>
                      </a:moveTo>
                      <a:lnTo>
                        <a:pt x="5815" y="20"/>
                      </a:lnTo>
                      <a:lnTo>
                        <a:pt x="5804" y="39"/>
                      </a:lnTo>
                      <a:lnTo>
                        <a:pt x="5793" y="58"/>
                      </a:lnTo>
                      <a:lnTo>
                        <a:pt x="5782" y="75"/>
                      </a:lnTo>
                      <a:lnTo>
                        <a:pt x="5760" y="113"/>
                      </a:lnTo>
                      <a:lnTo>
                        <a:pt x="5736" y="150"/>
                      </a:lnTo>
                      <a:lnTo>
                        <a:pt x="5714" y="186"/>
                      </a:lnTo>
                      <a:lnTo>
                        <a:pt x="5691" y="220"/>
                      </a:lnTo>
                      <a:lnTo>
                        <a:pt x="5667" y="252"/>
                      </a:lnTo>
                      <a:lnTo>
                        <a:pt x="5644" y="285"/>
                      </a:lnTo>
                      <a:lnTo>
                        <a:pt x="5619" y="315"/>
                      </a:lnTo>
                      <a:lnTo>
                        <a:pt x="5595" y="345"/>
                      </a:lnTo>
                      <a:lnTo>
                        <a:pt x="5571" y="374"/>
                      </a:lnTo>
                      <a:lnTo>
                        <a:pt x="5546" y="401"/>
                      </a:lnTo>
                      <a:lnTo>
                        <a:pt x="5520" y="428"/>
                      </a:lnTo>
                      <a:lnTo>
                        <a:pt x="5495" y="454"/>
                      </a:lnTo>
                      <a:lnTo>
                        <a:pt x="5469" y="478"/>
                      </a:lnTo>
                      <a:lnTo>
                        <a:pt x="5443" y="503"/>
                      </a:lnTo>
                      <a:lnTo>
                        <a:pt x="5416" y="526"/>
                      </a:lnTo>
                      <a:lnTo>
                        <a:pt x="5388" y="549"/>
                      </a:lnTo>
                      <a:lnTo>
                        <a:pt x="5360" y="572"/>
                      </a:lnTo>
                      <a:lnTo>
                        <a:pt x="5331" y="593"/>
                      </a:lnTo>
                      <a:lnTo>
                        <a:pt x="5302" y="614"/>
                      </a:lnTo>
                      <a:lnTo>
                        <a:pt x="5272" y="635"/>
                      </a:lnTo>
                      <a:lnTo>
                        <a:pt x="5242" y="655"/>
                      </a:lnTo>
                      <a:lnTo>
                        <a:pt x="5212" y="674"/>
                      </a:lnTo>
                      <a:lnTo>
                        <a:pt x="5180" y="693"/>
                      </a:lnTo>
                      <a:lnTo>
                        <a:pt x="5149" y="712"/>
                      </a:lnTo>
                      <a:lnTo>
                        <a:pt x="5082" y="749"/>
                      </a:lnTo>
                      <a:lnTo>
                        <a:pt x="5013" y="784"/>
                      </a:lnTo>
                      <a:lnTo>
                        <a:pt x="4942" y="820"/>
                      </a:lnTo>
                      <a:lnTo>
                        <a:pt x="4866" y="856"/>
                      </a:lnTo>
                      <a:lnTo>
                        <a:pt x="4803" y="883"/>
                      </a:lnTo>
                      <a:lnTo>
                        <a:pt x="4739" y="910"/>
                      </a:lnTo>
                      <a:lnTo>
                        <a:pt x="4677" y="935"/>
                      </a:lnTo>
                      <a:lnTo>
                        <a:pt x="4613" y="958"/>
                      </a:lnTo>
                      <a:lnTo>
                        <a:pt x="4551" y="979"/>
                      </a:lnTo>
                      <a:lnTo>
                        <a:pt x="4489" y="999"/>
                      </a:lnTo>
                      <a:lnTo>
                        <a:pt x="4427" y="1017"/>
                      </a:lnTo>
                      <a:lnTo>
                        <a:pt x="4365" y="1034"/>
                      </a:lnTo>
                      <a:lnTo>
                        <a:pt x="4304" y="1049"/>
                      </a:lnTo>
                      <a:lnTo>
                        <a:pt x="4243" y="1064"/>
                      </a:lnTo>
                      <a:lnTo>
                        <a:pt x="4180" y="1076"/>
                      </a:lnTo>
                      <a:lnTo>
                        <a:pt x="4119" y="1087"/>
                      </a:lnTo>
                      <a:lnTo>
                        <a:pt x="4058" y="1098"/>
                      </a:lnTo>
                      <a:lnTo>
                        <a:pt x="3997" y="1107"/>
                      </a:lnTo>
                      <a:lnTo>
                        <a:pt x="3934" y="1115"/>
                      </a:lnTo>
                      <a:lnTo>
                        <a:pt x="3873" y="1123"/>
                      </a:lnTo>
                      <a:lnTo>
                        <a:pt x="3812" y="1128"/>
                      </a:lnTo>
                      <a:lnTo>
                        <a:pt x="3750" y="1134"/>
                      </a:lnTo>
                      <a:lnTo>
                        <a:pt x="3687" y="1139"/>
                      </a:lnTo>
                      <a:lnTo>
                        <a:pt x="3625" y="1143"/>
                      </a:lnTo>
                      <a:lnTo>
                        <a:pt x="3563" y="1146"/>
                      </a:lnTo>
                      <a:lnTo>
                        <a:pt x="3500" y="1148"/>
                      </a:lnTo>
                      <a:lnTo>
                        <a:pt x="3437" y="1150"/>
                      </a:lnTo>
                      <a:lnTo>
                        <a:pt x="3373" y="1153"/>
                      </a:lnTo>
                      <a:lnTo>
                        <a:pt x="3245" y="1155"/>
                      </a:lnTo>
                      <a:lnTo>
                        <a:pt x="3115" y="1155"/>
                      </a:lnTo>
                      <a:lnTo>
                        <a:pt x="2983" y="1156"/>
                      </a:lnTo>
                      <a:lnTo>
                        <a:pt x="2848" y="1156"/>
                      </a:lnTo>
                      <a:lnTo>
                        <a:pt x="2790" y="1157"/>
                      </a:lnTo>
                      <a:lnTo>
                        <a:pt x="2729" y="1159"/>
                      </a:lnTo>
                      <a:lnTo>
                        <a:pt x="2663" y="1165"/>
                      </a:lnTo>
                      <a:lnTo>
                        <a:pt x="2594" y="1172"/>
                      </a:lnTo>
                      <a:lnTo>
                        <a:pt x="2521" y="1182"/>
                      </a:lnTo>
                      <a:lnTo>
                        <a:pt x="2445" y="1193"/>
                      </a:lnTo>
                      <a:lnTo>
                        <a:pt x="2366" y="1207"/>
                      </a:lnTo>
                      <a:lnTo>
                        <a:pt x="2285" y="1223"/>
                      </a:lnTo>
                      <a:lnTo>
                        <a:pt x="2200" y="1241"/>
                      </a:lnTo>
                      <a:lnTo>
                        <a:pt x="2114" y="1262"/>
                      </a:lnTo>
                      <a:lnTo>
                        <a:pt x="2024" y="1284"/>
                      </a:lnTo>
                      <a:lnTo>
                        <a:pt x="1934" y="1310"/>
                      </a:lnTo>
                      <a:lnTo>
                        <a:pt x="1841" y="1337"/>
                      </a:lnTo>
                      <a:lnTo>
                        <a:pt x="1747" y="1367"/>
                      </a:lnTo>
                      <a:lnTo>
                        <a:pt x="1652" y="1400"/>
                      </a:lnTo>
                      <a:lnTo>
                        <a:pt x="1555" y="1434"/>
                      </a:lnTo>
                      <a:lnTo>
                        <a:pt x="1457" y="1472"/>
                      </a:lnTo>
                      <a:lnTo>
                        <a:pt x="1358" y="1512"/>
                      </a:lnTo>
                      <a:lnTo>
                        <a:pt x="1259" y="1554"/>
                      </a:lnTo>
                      <a:lnTo>
                        <a:pt x="1159" y="1600"/>
                      </a:lnTo>
                      <a:lnTo>
                        <a:pt x="1058" y="1648"/>
                      </a:lnTo>
                      <a:lnTo>
                        <a:pt x="959" y="1698"/>
                      </a:lnTo>
                      <a:lnTo>
                        <a:pt x="859" y="1751"/>
                      </a:lnTo>
                      <a:lnTo>
                        <a:pt x="760" y="1807"/>
                      </a:lnTo>
                      <a:lnTo>
                        <a:pt x="661" y="1866"/>
                      </a:lnTo>
                      <a:lnTo>
                        <a:pt x="563" y="1928"/>
                      </a:lnTo>
                      <a:lnTo>
                        <a:pt x="466" y="1992"/>
                      </a:lnTo>
                      <a:lnTo>
                        <a:pt x="372" y="2060"/>
                      </a:lnTo>
                      <a:lnTo>
                        <a:pt x="277" y="2130"/>
                      </a:lnTo>
                      <a:lnTo>
                        <a:pt x="185" y="2203"/>
                      </a:lnTo>
                      <a:lnTo>
                        <a:pt x="93" y="2279"/>
                      </a:lnTo>
                      <a:lnTo>
                        <a:pt x="6" y="2358"/>
                      </a:lnTo>
                      <a:lnTo>
                        <a:pt x="2" y="2442"/>
                      </a:lnTo>
                      <a:lnTo>
                        <a:pt x="0" y="2528"/>
                      </a:lnTo>
                      <a:lnTo>
                        <a:pt x="1" y="2615"/>
                      </a:lnTo>
                      <a:lnTo>
                        <a:pt x="3" y="2702"/>
                      </a:lnTo>
                      <a:lnTo>
                        <a:pt x="8" y="2790"/>
                      </a:lnTo>
                      <a:lnTo>
                        <a:pt x="16" y="2878"/>
                      </a:lnTo>
                      <a:lnTo>
                        <a:pt x="24" y="2968"/>
                      </a:lnTo>
                      <a:lnTo>
                        <a:pt x="36" y="3057"/>
                      </a:lnTo>
                      <a:lnTo>
                        <a:pt x="102" y="3008"/>
                      </a:lnTo>
                      <a:lnTo>
                        <a:pt x="182" y="2951"/>
                      </a:lnTo>
                      <a:lnTo>
                        <a:pt x="275" y="2888"/>
                      </a:lnTo>
                      <a:lnTo>
                        <a:pt x="379" y="2820"/>
                      </a:lnTo>
                      <a:lnTo>
                        <a:pt x="495" y="2747"/>
                      </a:lnTo>
                      <a:lnTo>
                        <a:pt x="623" y="2672"/>
                      </a:lnTo>
                      <a:lnTo>
                        <a:pt x="762" y="2595"/>
                      </a:lnTo>
                      <a:lnTo>
                        <a:pt x="913" y="2516"/>
                      </a:lnTo>
                      <a:lnTo>
                        <a:pt x="1073" y="2438"/>
                      </a:lnTo>
                      <a:lnTo>
                        <a:pt x="1244" y="2360"/>
                      </a:lnTo>
                      <a:lnTo>
                        <a:pt x="1425" y="2286"/>
                      </a:lnTo>
                      <a:lnTo>
                        <a:pt x="1614" y="2213"/>
                      </a:lnTo>
                      <a:lnTo>
                        <a:pt x="1813" y="2145"/>
                      </a:lnTo>
                      <a:lnTo>
                        <a:pt x="2020" y="2083"/>
                      </a:lnTo>
                      <a:lnTo>
                        <a:pt x="2236" y="2027"/>
                      </a:lnTo>
                      <a:lnTo>
                        <a:pt x="2461" y="1978"/>
                      </a:lnTo>
                      <a:lnTo>
                        <a:pt x="2692" y="1938"/>
                      </a:lnTo>
                      <a:lnTo>
                        <a:pt x="2932" y="1907"/>
                      </a:lnTo>
                      <a:lnTo>
                        <a:pt x="3178" y="1887"/>
                      </a:lnTo>
                      <a:lnTo>
                        <a:pt x="3430" y="1878"/>
                      </a:lnTo>
                      <a:lnTo>
                        <a:pt x="3688" y="1882"/>
                      </a:lnTo>
                      <a:lnTo>
                        <a:pt x="3953" y="1898"/>
                      </a:lnTo>
                      <a:lnTo>
                        <a:pt x="4224" y="1931"/>
                      </a:lnTo>
                      <a:lnTo>
                        <a:pt x="4500" y="1978"/>
                      </a:lnTo>
                      <a:lnTo>
                        <a:pt x="4780" y="2043"/>
                      </a:lnTo>
                      <a:lnTo>
                        <a:pt x="5065" y="2125"/>
                      </a:lnTo>
                      <a:lnTo>
                        <a:pt x="5355" y="2227"/>
                      </a:lnTo>
                      <a:lnTo>
                        <a:pt x="5648" y="2348"/>
                      </a:lnTo>
                      <a:lnTo>
                        <a:pt x="5946" y="2489"/>
                      </a:lnTo>
                      <a:lnTo>
                        <a:pt x="6245" y="2654"/>
                      </a:lnTo>
                      <a:lnTo>
                        <a:pt x="6548" y="2841"/>
                      </a:lnTo>
                      <a:lnTo>
                        <a:pt x="6853" y="3051"/>
                      </a:lnTo>
                      <a:lnTo>
                        <a:pt x="6866" y="2932"/>
                      </a:lnTo>
                      <a:lnTo>
                        <a:pt x="6875" y="2813"/>
                      </a:lnTo>
                      <a:lnTo>
                        <a:pt x="6881" y="2696"/>
                      </a:lnTo>
                      <a:lnTo>
                        <a:pt x="6883" y="2582"/>
                      </a:lnTo>
                      <a:lnTo>
                        <a:pt x="6882" y="2467"/>
                      </a:lnTo>
                      <a:lnTo>
                        <a:pt x="6877" y="2355"/>
                      </a:lnTo>
                      <a:lnTo>
                        <a:pt x="6869" y="2243"/>
                      </a:lnTo>
                      <a:lnTo>
                        <a:pt x="6859" y="2133"/>
                      </a:lnTo>
                      <a:lnTo>
                        <a:pt x="6846" y="2025"/>
                      </a:lnTo>
                      <a:lnTo>
                        <a:pt x="6829" y="1918"/>
                      </a:lnTo>
                      <a:lnTo>
                        <a:pt x="6809" y="1814"/>
                      </a:lnTo>
                      <a:lnTo>
                        <a:pt x="6787" y="1709"/>
                      </a:lnTo>
                      <a:lnTo>
                        <a:pt x="6761" y="1608"/>
                      </a:lnTo>
                      <a:lnTo>
                        <a:pt x="6734" y="1508"/>
                      </a:lnTo>
                      <a:lnTo>
                        <a:pt x="6702" y="1409"/>
                      </a:lnTo>
                      <a:lnTo>
                        <a:pt x="6669" y="1312"/>
                      </a:lnTo>
                      <a:lnTo>
                        <a:pt x="6633" y="1216"/>
                      </a:lnTo>
                      <a:lnTo>
                        <a:pt x="6594" y="1123"/>
                      </a:lnTo>
                      <a:lnTo>
                        <a:pt x="6554" y="1030"/>
                      </a:lnTo>
                      <a:lnTo>
                        <a:pt x="6511" y="940"/>
                      </a:lnTo>
                      <a:lnTo>
                        <a:pt x="6465" y="851"/>
                      </a:lnTo>
                      <a:lnTo>
                        <a:pt x="6418" y="765"/>
                      </a:lnTo>
                      <a:lnTo>
                        <a:pt x="6367" y="680"/>
                      </a:lnTo>
                      <a:lnTo>
                        <a:pt x="6315" y="596"/>
                      </a:lnTo>
                      <a:lnTo>
                        <a:pt x="6261" y="515"/>
                      </a:lnTo>
                      <a:lnTo>
                        <a:pt x="6205" y="436"/>
                      </a:lnTo>
                      <a:lnTo>
                        <a:pt x="6146" y="358"/>
                      </a:lnTo>
                      <a:lnTo>
                        <a:pt x="6086" y="282"/>
                      </a:lnTo>
                      <a:lnTo>
                        <a:pt x="6025" y="209"/>
                      </a:lnTo>
                      <a:lnTo>
                        <a:pt x="5961" y="138"/>
                      </a:lnTo>
                      <a:lnTo>
                        <a:pt x="5896" y="68"/>
                      </a:lnTo>
                      <a:lnTo>
                        <a:pt x="5829" y="0"/>
                      </a:lnTo>
                      <a:close/>
                    </a:path>
                  </a:pathLst>
                </a:custGeom>
                <a:solidFill>
                  <a:srgbClr val="1B233E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  <p:sp>
              <p:nvSpPr>
                <p:cNvPr id="477" name="Freeform 216"/>
                <p:cNvSpPr>
                  <a:spLocks/>
                </p:cNvSpPr>
                <p:nvPr/>
              </p:nvSpPr>
              <p:spPr bwMode="auto">
                <a:xfrm>
                  <a:off x="3077" y="2487"/>
                  <a:ext cx="441" cy="208"/>
                </a:xfrm>
                <a:custGeom>
                  <a:avLst/>
                  <a:gdLst>
                    <a:gd name="T0" fmla="*/ 0 w 3086"/>
                    <a:gd name="T1" fmla="*/ 0 h 1483"/>
                    <a:gd name="T2" fmla="*/ 0 w 3086"/>
                    <a:gd name="T3" fmla="*/ 0 h 1483"/>
                    <a:gd name="T4" fmla="*/ 0 w 3086"/>
                    <a:gd name="T5" fmla="*/ 0 h 1483"/>
                    <a:gd name="T6" fmla="*/ 0 w 3086"/>
                    <a:gd name="T7" fmla="*/ 0 h 1483"/>
                    <a:gd name="T8" fmla="*/ 0 w 3086"/>
                    <a:gd name="T9" fmla="*/ 0 h 1483"/>
                    <a:gd name="T10" fmla="*/ 0 w 3086"/>
                    <a:gd name="T11" fmla="*/ 0 h 1483"/>
                    <a:gd name="T12" fmla="*/ 0 w 3086"/>
                    <a:gd name="T13" fmla="*/ 0 h 1483"/>
                    <a:gd name="T14" fmla="*/ 0 w 3086"/>
                    <a:gd name="T15" fmla="*/ 0 h 1483"/>
                    <a:gd name="T16" fmla="*/ 0 w 3086"/>
                    <a:gd name="T17" fmla="*/ 0 h 1483"/>
                    <a:gd name="T18" fmla="*/ 0 w 3086"/>
                    <a:gd name="T19" fmla="*/ 0 h 1483"/>
                    <a:gd name="T20" fmla="*/ 0 w 3086"/>
                    <a:gd name="T21" fmla="*/ 0 h 1483"/>
                    <a:gd name="T22" fmla="*/ 0 w 3086"/>
                    <a:gd name="T23" fmla="*/ 0 h 1483"/>
                    <a:gd name="T24" fmla="*/ 0 w 3086"/>
                    <a:gd name="T25" fmla="*/ 0 h 1483"/>
                    <a:gd name="T26" fmla="*/ 0 w 3086"/>
                    <a:gd name="T27" fmla="*/ 0 h 1483"/>
                    <a:gd name="T28" fmla="*/ 0 w 3086"/>
                    <a:gd name="T29" fmla="*/ 0 h 1483"/>
                    <a:gd name="T30" fmla="*/ 0 w 3086"/>
                    <a:gd name="T31" fmla="*/ 0 h 1483"/>
                    <a:gd name="T32" fmla="*/ 0 w 3086"/>
                    <a:gd name="T33" fmla="*/ 0 h 1483"/>
                    <a:gd name="T34" fmla="*/ 0 w 3086"/>
                    <a:gd name="T35" fmla="*/ 0 h 1483"/>
                    <a:gd name="T36" fmla="*/ 0 w 3086"/>
                    <a:gd name="T37" fmla="*/ 0 h 1483"/>
                    <a:gd name="T38" fmla="*/ 0 w 3086"/>
                    <a:gd name="T39" fmla="*/ 0 h 1483"/>
                    <a:gd name="T40" fmla="*/ 0 w 3086"/>
                    <a:gd name="T41" fmla="*/ 0 h 1483"/>
                    <a:gd name="T42" fmla="*/ 0 w 3086"/>
                    <a:gd name="T43" fmla="*/ 0 h 1483"/>
                    <a:gd name="T44" fmla="*/ 0 w 3086"/>
                    <a:gd name="T45" fmla="*/ 0 h 1483"/>
                    <a:gd name="T46" fmla="*/ 0 w 3086"/>
                    <a:gd name="T47" fmla="*/ 0 h 1483"/>
                    <a:gd name="T48" fmla="*/ 0 w 3086"/>
                    <a:gd name="T49" fmla="*/ 0 h 1483"/>
                    <a:gd name="T50" fmla="*/ 0 w 3086"/>
                    <a:gd name="T51" fmla="*/ 0 h 1483"/>
                    <a:gd name="T52" fmla="*/ 0 w 3086"/>
                    <a:gd name="T53" fmla="*/ 0 h 1483"/>
                    <a:gd name="T54" fmla="*/ 0 w 3086"/>
                    <a:gd name="T55" fmla="*/ 0 h 1483"/>
                    <a:gd name="T56" fmla="*/ 0 w 3086"/>
                    <a:gd name="T57" fmla="*/ 0 h 1483"/>
                    <a:gd name="T58" fmla="*/ 0 w 3086"/>
                    <a:gd name="T59" fmla="*/ 0 h 1483"/>
                    <a:gd name="T60" fmla="*/ 0 w 3086"/>
                    <a:gd name="T61" fmla="*/ 0 h 1483"/>
                    <a:gd name="T62" fmla="*/ 0 w 3086"/>
                    <a:gd name="T63" fmla="*/ 0 h 1483"/>
                    <a:gd name="T64" fmla="*/ 0 w 3086"/>
                    <a:gd name="T65" fmla="*/ 0 h 1483"/>
                    <a:gd name="T66" fmla="*/ 0 w 3086"/>
                    <a:gd name="T67" fmla="*/ 0 h 1483"/>
                    <a:gd name="T68" fmla="*/ 0 w 3086"/>
                    <a:gd name="T69" fmla="*/ 0 h 1483"/>
                    <a:gd name="T70" fmla="*/ 0 w 3086"/>
                    <a:gd name="T71" fmla="*/ 0 h 1483"/>
                    <a:gd name="T72" fmla="*/ 0 w 3086"/>
                    <a:gd name="T73" fmla="*/ 0 h 1483"/>
                    <a:gd name="T74" fmla="*/ 0 w 3086"/>
                    <a:gd name="T75" fmla="*/ 0 h 1483"/>
                    <a:gd name="T76" fmla="*/ 0 w 3086"/>
                    <a:gd name="T77" fmla="*/ 0 h 1483"/>
                    <a:gd name="T78" fmla="*/ 0 w 3086"/>
                    <a:gd name="T79" fmla="*/ 0 h 1483"/>
                    <a:gd name="T80" fmla="*/ 0 w 3086"/>
                    <a:gd name="T81" fmla="*/ 0 h 1483"/>
                    <a:gd name="T82" fmla="*/ 0 w 3086"/>
                    <a:gd name="T83" fmla="*/ 0 h 1483"/>
                    <a:gd name="T84" fmla="*/ 0 w 3086"/>
                    <a:gd name="T85" fmla="*/ 0 h 1483"/>
                    <a:gd name="T86" fmla="*/ 0 w 3086"/>
                    <a:gd name="T87" fmla="*/ 0 h 1483"/>
                    <a:gd name="T88" fmla="*/ 0 w 3086"/>
                    <a:gd name="T89" fmla="*/ 0 h 1483"/>
                    <a:gd name="T90" fmla="*/ 0 w 3086"/>
                    <a:gd name="T91" fmla="*/ 0 h 1483"/>
                    <a:gd name="T92" fmla="*/ 0 w 3086"/>
                    <a:gd name="T93" fmla="*/ 0 h 1483"/>
                    <a:gd name="T94" fmla="*/ 0 w 3086"/>
                    <a:gd name="T95" fmla="*/ 0 h 1483"/>
                    <a:gd name="T96" fmla="*/ 0 w 3086"/>
                    <a:gd name="T97" fmla="*/ 0 h 1483"/>
                    <a:gd name="T98" fmla="*/ 0 w 3086"/>
                    <a:gd name="T99" fmla="*/ 0 h 1483"/>
                    <a:gd name="T100" fmla="*/ 0 w 3086"/>
                    <a:gd name="T101" fmla="*/ 0 h 1483"/>
                    <a:gd name="T102" fmla="*/ 0 w 3086"/>
                    <a:gd name="T103" fmla="*/ 0 h 1483"/>
                    <a:gd name="T104" fmla="*/ 0 60000 65536"/>
                    <a:gd name="T105" fmla="*/ 0 60000 65536"/>
                    <a:gd name="T106" fmla="*/ 0 60000 65536"/>
                    <a:gd name="T107" fmla="*/ 0 60000 65536"/>
                    <a:gd name="T108" fmla="*/ 0 60000 65536"/>
                    <a:gd name="T109" fmla="*/ 0 60000 65536"/>
                    <a:gd name="T110" fmla="*/ 0 60000 65536"/>
                    <a:gd name="T111" fmla="*/ 0 60000 65536"/>
                    <a:gd name="T112" fmla="*/ 0 60000 65536"/>
                    <a:gd name="T113" fmla="*/ 0 60000 65536"/>
                    <a:gd name="T114" fmla="*/ 0 60000 65536"/>
                    <a:gd name="T115" fmla="*/ 0 60000 65536"/>
                    <a:gd name="T116" fmla="*/ 0 60000 65536"/>
                    <a:gd name="T117" fmla="*/ 0 60000 65536"/>
                    <a:gd name="T118" fmla="*/ 0 60000 65536"/>
                    <a:gd name="T119" fmla="*/ 0 60000 65536"/>
                    <a:gd name="T120" fmla="*/ 0 60000 65536"/>
                    <a:gd name="T121" fmla="*/ 0 60000 65536"/>
                    <a:gd name="T122" fmla="*/ 0 60000 65536"/>
                    <a:gd name="T123" fmla="*/ 0 60000 65536"/>
                    <a:gd name="T124" fmla="*/ 0 60000 65536"/>
                    <a:gd name="T125" fmla="*/ 0 60000 65536"/>
                    <a:gd name="T126" fmla="*/ 0 60000 65536"/>
                    <a:gd name="T127" fmla="*/ 0 60000 65536"/>
                    <a:gd name="T128" fmla="*/ 0 60000 65536"/>
                    <a:gd name="T129" fmla="*/ 0 60000 65536"/>
                    <a:gd name="T130" fmla="*/ 0 60000 65536"/>
                    <a:gd name="T131" fmla="*/ 0 60000 65536"/>
                    <a:gd name="T132" fmla="*/ 0 60000 65536"/>
                    <a:gd name="T133" fmla="*/ 0 60000 65536"/>
                    <a:gd name="T134" fmla="*/ 0 60000 65536"/>
                    <a:gd name="T135" fmla="*/ 0 60000 65536"/>
                    <a:gd name="T136" fmla="*/ 0 60000 65536"/>
                    <a:gd name="T137" fmla="*/ 0 60000 65536"/>
                    <a:gd name="T138" fmla="*/ 0 60000 65536"/>
                    <a:gd name="T139" fmla="*/ 0 60000 65536"/>
                    <a:gd name="T140" fmla="*/ 0 60000 65536"/>
                    <a:gd name="T141" fmla="*/ 0 60000 65536"/>
                    <a:gd name="T142" fmla="*/ 0 60000 65536"/>
                    <a:gd name="T143" fmla="*/ 0 60000 65536"/>
                    <a:gd name="T144" fmla="*/ 0 60000 65536"/>
                    <a:gd name="T145" fmla="*/ 0 60000 65536"/>
                    <a:gd name="T146" fmla="*/ 0 60000 65536"/>
                    <a:gd name="T147" fmla="*/ 0 60000 65536"/>
                    <a:gd name="T148" fmla="*/ 0 60000 65536"/>
                    <a:gd name="T149" fmla="*/ 0 60000 65536"/>
                    <a:gd name="T150" fmla="*/ 0 60000 65536"/>
                    <a:gd name="T151" fmla="*/ 0 60000 65536"/>
                    <a:gd name="T152" fmla="*/ 0 60000 65536"/>
                    <a:gd name="T153" fmla="*/ 0 60000 65536"/>
                    <a:gd name="T154" fmla="*/ 0 60000 65536"/>
                    <a:gd name="T155" fmla="*/ 0 60000 65536"/>
                    <a:gd name="T156" fmla="*/ 0 w 3086"/>
                    <a:gd name="T157" fmla="*/ 0 h 1483"/>
                    <a:gd name="T158" fmla="*/ 3086 w 3086"/>
                    <a:gd name="T159" fmla="*/ 1483 h 1483"/>
                  </a:gdLst>
                  <a:ahLst/>
                  <a:cxnLst>
                    <a:cxn ang="T104">
                      <a:pos x="T0" y="T1"/>
                    </a:cxn>
                    <a:cxn ang="T105">
                      <a:pos x="T2" y="T3"/>
                    </a:cxn>
                    <a:cxn ang="T106">
                      <a:pos x="T4" y="T5"/>
                    </a:cxn>
                    <a:cxn ang="T107">
                      <a:pos x="T6" y="T7"/>
                    </a:cxn>
                    <a:cxn ang="T108">
                      <a:pos x="T8" y="T9"/>
                    </a:cxn>
                    <a:cxn ang="T109">
                      <a:pos x="T10" y="T11"/>
                    </a:cxn>
                    <a:cxn ang="T110">
                      <a:pos x="T12" y="T13"/>
                    </a:cxn>
                    <a:cxn ang="T111">
                      <a:pos x="T14" y="T15"/>
                    </a:cxn>
                    <a:cxn ang="T112">
                      <a:pos x="T16" y="T17"/>
                    </a:cxn>
                    <a:cxn ang="T113">
                      <a:pos x="T18" y="T19"/>
                    </a:cxn>
                    <a:cxn ang="T114">
                      <a:pos x="T20" y="T21"/>
                    </a:cxn>
                    <a:cxn ang="T115">
                      <a:pos x="T22" y="T23"/>
                    </a:cxn>
                    <a:cxn ang="T116">
                      <a:pos x="T24" y="T25"/>
                    </a:cxn>
                    <a:cxn ang="T117">
                      <a:pos x="T26" y="T27"/>
                    </a:cxn>
                    <a:cxn ang="T118">
                      <a:pos x="T28" y="T29"/>
                    </a:cxn>
                    <a:cxn ang="T119">
                      <a:pos x="T30" y="T31"/>
                    </a:cxn>
                    <a:cxn ang="T120">
                      <a:pos x="T32" y="T33"/>
                    </a:cxn>
                    <a:cxn ang="T121">
                      <a:pos x="T34" y="T35"/>
                    </a:cxn>
                    <a:cxn ang="T122">
                      <a:pos x="T36" y="T37"/>
                    </a:cxn>
                    <a:cxn ang="T123">
                      <a:pos x="T38" y="T39"/>
                    </a:cxn>
                    <a:cxn ang="T124">
                      <a:pos x="T40" y="T41"/>
                    </a:cxn>
                    <a:cxn ang="T125">
                      <a:pos x="T42" y="T43"/>
                    </a:cxn>
                    <a:cxn ang="T126">
                      <a:pos x="T44" y="T45"/>
                    </a:cxn>
                    <a:cxn ang="T127">
                      <a:pos x="T46" y="T47"/>
                    </a:cxn>
                    <a:cxn ang="T128">
                      <a:pos x="T48" y="T49"/>
                    </a:cxn>
                    <a:cxn ang="T129">
                      <a:pos x="T50" y="T51"/>
                    </a:cxn>
                    <a:cxn ang="T130">
                      <a:pos x="T52" y="T53"/>
                    </a:cxn>
                    <a:cxn ang="T131">
                      <a:pos x="T54" y="T55"/>
                    </a:cxn>
                    <a:cxn ang="T132">
                      <a:pos x="T56" y="T57"/>
                    </a:cxn>
                    <a:cxn ang="T133">
                      <a:pos x="T58" y="T59"/>
                    </a:cxn>
                    <a:cxn ang="T134">
                      <a:pos x="T60" y="T61"/>
                    </a:cxn>
                    <a:cxn ang="T135">
                      <a:pos x="T62" y="T63"/>
                    </a:cxn>
                    <a:cxn ang="T136">
                      <a:pos x="T64" y="T65"/>
                    </a:cxn>
                    <a:cxn ang="T137">
                      <a:pos x="T66" y="T67"/>
                    </a:cxn>
                    <a:cxn ang="T138">
                      <a:pos x="T68" y="T69"/>
                    </a:cxn>
                    <a:cxn ang="T139">
                      <a:pos x="T70" y="T71"/>
                    </a:cxn>
                    <a:cxn ang="T140">
                      <a:pos x="T72" y="T73"/>
                    </a:cxn>
                    <a:cxn ang="T141">
                      <a:pos x="T74" y="T75"/>
                    </a:cxn>
                    <a:cxn ang="T142">
                      <a:pos x="T76" y="T77"/>
                    </a:cxn>
                    <a:cxn ang="T143">
                      <a:pos x="T78" y="T79"/>
                    </a:cxn>
                    <a:cxn ang="T144">
                      <a:pos x="T80" y="T81"/>
                    </a:cxn>
                    <a:cxn ang="T145">
                      <a:pos x="T82" y="T83"/>
                    </a:cxn>
                    <a:cxn ang="T146">
                      <a:pos x="T84" y="T85"/>
                    </a:cxn>
                    <a:cxn ang="T147">
                      <a:pos x="T86" y="T87"/>
                    </a:cxn>
                    <a:cxn ang="T148">
                      <a:pos x="T88" y="T89"/>
                    </a:cxn>
                    <a:cxn ang="T149">
                      <a:pos x="T90" y="T91"/>
                    </a:cxn>
                    <a:cxn ang="T150">
                      <a:pos x="T92" y="T93"/>
                    </a:cxn>
                    <a:cxn ang="T151">
                      <a:pos x="T94" y="T95"/>
                    </a:cxn>
                    <a:cxn ang="T152">
                      <a:pos x="T96" y="T97"/>
                    </a:cxn>
                    <a:cxn ang="T153">
                      <a:pos x="T98" y="T99"/>
                    </a:cxn>
                    <a:cxn ang="T154">
                      <a:pos x="T100" y="T101"/>
                    </a:cxn>
                    <a:cxn ang="T155">
                      <a:pos x="T102" y="T103"/>
                    </a:cxn>
                  </a:cxnLst>
                  <a:rect l="T156" t="T157" r="T158" b="T159"/>
                  <a:pathLst>
                    <a:path w="3086" h="1483">
                      <a:moveTo>
                        <a:pt x="1769" y="1302"/>
                      </a:moveTo>
                      <a:lnTo>
                        <a:pt x="1826" y="1278"/>
                      </a:lnTo>
                      <a:lnTo>
                        <a:pt x="1881" y="1252"/>
                      </a:lnTo>
                      <a:lnTo>
                        <a:pt x="1937" y="1224"/>
                      </a:lnTo>
                      <a:lnTo>
                        <a:pt x="1990" y="1196"/>
                      </a:lnTo>
                      <a:lnTo>
                        <a:pt x="2043" y="1167"/>
                      </a:lnTo>
                      <a:lnTo>
                        <a:pt x="2094" y="1138"/>
                      </a:lnTo>
                      <a:lnTo>
                        <a:pt x="2145" y="1107"/>
                      </a:lnTo>
                      <a:lnTo>
                        <a:pt x="2194" y="1075"/>
                      </a:lnTo>
                      <a:lnTo>
                        <a:pt x="2242" y="1043"/>
                      </a:lnTo>
                      <a:lnTo>
                        <a:pt x="2289" y="1008"/>
                      </a:lnTo>
                      <a:lnTo>
                        <a:pt x="2335" y="974"/>
                      </a:lnTo>
                      <a:lnTo>
                        <a:pt x="2380" y="938"/>
                      </a:lnTo>
                      <a:lnTo>
                        <a:pt x="2424" y="901"/>
                      </a:lnTo>
                      <a:lnTo>
                        <a:pt x="2467" y="864"/>
                      </a:lnTo>
                      <a:lnTo>
                        <a:pt x="2509" y="825"/>
                      </a:lnTo>
                      <a:lnTo>
                        <a:pt x="2550" y="786"/>
                      </a:lnTo>
                      <a:lnTo>
                        <a:pt x="2590" y="744"/>
                      </a:lnTo>
                      <a:lnTo>
                        <a:pt x="2629" y="703"/>
                      </a:lnTo>
                      <a:lnTo>
                        <a:pt x="2667" y="661"/>
                      </a:lnTo>
                      <a:lnTo>
                        <a:pt x="2704" y="617"/>
                      </a:lnTo>
                      <a:lnTo>
                        <a:pt x="2741" y="573"/>
                      </a:lnTo>
                      <a:lnTo>
                        <a:pt x="2776" y="527"/>
                      </a:lnTo>
                      <a:lnTo>
                        <a:pt x="2811" y="481"/>
                      </a:lnTo>
                      <a:lnTo>
                        <a:pt x="2844" y="433"/>
                      </a:lnTo>
                      <a:lnTo>
                        <a:pt x="2877" y="385"/>
                      </a:lnTo>
                      <a:lnTo>
                        <a:pt x="2910" y="336"/>
                      </a:lnTo>
                      <a:lnTo>
                        <a:pt x="2941" y="286"/>
                      </a:lnTo>
                      <a:lnTo>
                        <a:pt x="2971" y="235"/>
                      </a:lnTo>
                      <a:lnTo>
                        <a:pt x="3001" y="182"/>
                      </a:lnTo>
                      <a:lnTo>
                        <a:pt x="3030" y="129"/>
                      </a:lnTo>
                      <a:lnTo>
                        <a:pt x="3058" y="76"/>
                      </a:lnTo>
                      <a:lnTo>
                        <a:pt x="3086" y="20"/>
                      </a:lnTo>
                      <a:lnTo>
                        <a:pt x="3042" y="16"/>
                      </a:lnTo>
                      <a:lnTo>
                        <a:pt x="2999" y="11"/>
                      </a:lnTo>
                      <a:lnTo>
                        <a:pt x="2955" y="8"/>
                      </a:lnTo>
                      <a:lnTo>
                        <a:pt x="2913" y="6"/>
                      </a:lnTo>
                      <a:lnTo>
                        <a:pt x="2870" y="3"/>
                      </a:lnTo>
                      <a:lnTo>
                        <a:pt x="2826" y="1"/>
                      </a:lnTo>
                      <a:lnTo>
                        <a:pt x="2783" y="0"/>
                      </a:lnTo>
                      <a:lnTo>
                        <a:pt x="2739" y="0"/>
                      </a:lnTo>
                      <a:lnTo>
                        <a:pt x="2646" y="1"/>
                      </a:lnTo>
                      <a:lnTo>
                        <a:pt x="2552" y="7"/>
                      </a:lnTo>
                      <a:lnTo>
                        <a:pt x="2458" y="14"/>
                      </a:lnTo>
                      <a:lnTo>
                        <a:pt x="2363" y="24"/>
                      </a:lnTo>
                      <a:lnTo>
                        <a:pt x="2270" y="39"/>
                      </a:lnTo>
                      <a:lnTo>
                        <a:pt x="2175" y="56"/>
                      </a:lnTo>
                      <a:lnTo>
                        <a:pt x="2081" y="76"/>
                      </a:lnTo>
                      <a:lnTo>
                        <a:pt x="1987" y="98"/>
                      </a:lnTo>
                      <a:lnTo>
                        <a:pt x="1892" y="124"/>
                      </a:lnTo>
                      <a:lnTo>
                        <a:pt x="1800" y="152"/>
                      </a:lnTo>
                      <a:lnTo>
                        <a:pt x="1707" y="184"/>
                      </a:lnTo>
                      <a:lnTo>
                        <a:pt x="1614" y="218"/>
                      </a:lnTo>
                      <a:lnTo>
                        <a:pt x="1522" y="255"/>
                      </a:lnTo>
                      <a:lnTo>
                        <a:pt x="1432" y="294"/>
                      </a:lnTo>
                      <a:lnTo>
                        <a:pt x="1340" y="336"/>
                      </a:lnTo>
                      <a:lnTo>
                        <a:pt x="1251" y="381"/>
                      </a:lnTo>
                      <a:lnTo>
                        <a:pt x="1162" y="428"/>
                      </a:lnTo>
                      <a:lnTo>
                        <a:pt x="1076" y="479"/>
                      </a:lnTo>
                      <a:lnTo>
                        <a:pt x="989" y="532"/>
                      </a:lnTo>
                      <a:lnTo>
                        <a:pt x="903" y="586"/>
                      </a:lnTo>
                      <a:lnTo>
                        <a:pt x="820" y="644"/>
                      </a:lnTo>
                      <a:lnTo>
                        <a:pt x="736" y="704"/>
                      </a:lnTo>
                      <a:lnTo>
                        <a:pt x="655" y="767"/>
                      </a:lnTo>
                      <a:lnTo>
                        <a:pt x="576" y="831"/>
                      </a:lnTo>
                      <a:lnTo>
                        <a:pt x="497" y="898"/>
                      </a:lnTo>
                      <a:lnTo>
                        <a:pt x="421" y="968"/>
                      </a:lnTo>
                      <a:lnTo>
                        <a:pt x="345" y="1039"/>
                      </a:lnTo>
                      <a:lnTo>
                        <a:pt x="273" y="1114"/>
                      </a:lnTo>
                      <a:lnTo>
                        <a:pt x="202" y="1190"/>
                      </a:lnTo>
                      <a:lnTo>
                        <a:pt x="133" y="1269"/>
                      </a:lnTo>
                      <a:lnTo>
                        <a:pt x="66" y="1349"/>
                      </a:lnTo>
                      <a:lnTo>
                        <a:pt x="0" y="1431"/>
                      </a:lnTo>
                      <a:lnTo>
                        <a:pt x="58" y="1440"/>
                      </a:lnTo>
                      <a:lnTo>
                        <a:pt x="116" y="1449"/>
                      </a:lnTo>
                      <a:lnTo>
                        <a:pt x="175" y="1457"/>
                      </a:lnTo>
                      <a:lnTo>
                        <a:pt x="234" y="1462"/>
                      </a:lnTo>
                      <a:lnTo>
                        <a:pt x="294" y="1468"/>
                      </a:lnTo>
                      <a:lnTo>
                        <a:pt x="353" y="1473"/>
                      </a:lnTo>
                      <a:lnTo>
                        <a:pt x="413" y="1477"/>
                      </a:lnTo>
                      <a:lnTo>
                        <a:pt x="474" y="1480"/>
                      </a:lnTo>
                      <a:lnTo>
                        <a:pt x="535" y="1482"/>
                      </a:lnTo>
                      <a:lnTo>
                        <a:pt x="595" y="1483"/>
                      </a:lnTo>
                      <a:lnTo>
                        <a:pt x="655" y="1483"/>
                      </a:lnTo>
                      <a:lnTo>
                        <a:pt x="715" y="1483"/>
                      </a:lnTo>
                      <a:lnTo>
                        <a:pt x="775" y="1481"/>
                      </a:lnTo>
                      <a:lnTo>
                        <a:pt x="835" y="1480"/>
                      </a:lnTo>
                      <a:lnTo>
                        <a:pt x="894" y="1477"/>
                      </a:lnTo>
                      <a:lnTo>
                        <a:pt x="953" y="1472"/>
                      </a:lnTo>
                      <a:lnTo>
                        <a:pt x="1012" y="1468"/>
                      </a:lnTo>
                      <a:lnTo>
                        <a:pt x="1069" y="1462"/>
                      </a:lnTo>
                      <a:lnTo>
                        <a:pt x="1127" y="1457"/>
                      </a:lnTo>
                      <a:lnTo>
                        <a:pt x="1182" y="1449"/>
                      </a:lnTo>
                      <a:lnTo>
                        <a:pt x="1238" y="1441"/>
                      </a:lnTo>
                      <a:lnTo>
                        <a:pt x="1293" y="1432"/>
                      </a:lnTo>
                      <a:lnTo>
                        <a:pt x="1346" y="1423"/>
                      </a:lnTo>
                      <a:lnTo>
                        <a:pt x="1398" y="1413"/>
                      </a:lnTo>
                      <a:lnTo>
                        <a:pt x="1449" y="1402"/>
                      </a:lnTo>
                      <a:lnTo>
                        <a:pt x="1500" y="1390"/>
                      </a:lnTo>
                      <a:lnTo>
                        <a:pt x="1547" y="1378"/>
                      </a:lnTo>
                      <a:lnTo>
                        <a:pt x="1595" y="1363"/>
                      </a:lnTo>
                      <a:lnTo>
                        <a:pt x="1641" y="1350"/>
                      </a:lnTo>
                      <a:lnTo>
                        <a:pt x="1685" y="1334"/>
                      </a:lnTo>
                      <a:lnTo>
                        <a:pt x="1728" y="1319"/>
                      </a:lnTo>
                      <a:lnTo>
                        <a:pt x="1769" y="1302"/>
                      </a:lnTo>
                      <a:close/>
                    </a:path>
                  </a:pathLst>
                </a:custGeom>
                <a:solidFill>
                  <a:srgbClr val="243D6A"/>
                </a:solidFill>
                <a:ln>
                  <a:noFill/>
                </a:ln>
                <a:extLst/>
              </p:spPr>
              <p:txBody>
                <a:bodyPr/>
                <a:lstStyle/>
                <a:p>
                  <a:pPr defTabSz="1042872" fontAlgn="auto" latinLnBrk="0">
                    <a:spcBef>
                      <a:spcPts val="0"/>
                    </a:spcBef>
                    <a:spcAft>
                      <a:spcPts val="0"/>
                    </a:spcAft>
                    <a:defRPr/>
                  </a:pPr>
                  <a:endParaRPr kumimoji="0" lang="ko-KR" altLang="en-US" sz="2100" kern="0">
                    <a:solidFill>
                      <a:sysClr val="windowText" lastClr="000000"/>
                    </a:solidFill>
                    <a:latin typeface="맑은 고딕"/>
                    <a:ea typeface="맑은 고딕"/>
                  </a:endParaRPr>
                </a:p>
              </p:txBody>
            </p:sp>
          </p:grpSp>
        </p:grpSp>
        <p:grpSp>
          <p:nvGrpSpPr>
            <p:cNvPr id="575" name="그룹 574"/>
            <p:cNvGrpSpPr/>
            <p:nvPr/>
          </p:nvGrpSpPr>
          <p:grpSpPr>
            <a:xfrm>
              <a:off x="727191" y="3928409"/>
              <a:ext cx="1530350" cy="1692367"/>
              <a:chOff x="570669" y="3928409"/>
              <a:chExt cx="1530350" cy="1692367"/>
            </a:xfrm>
          </p:grpSpPr>
          <p:pic>
            <p:nvPicPr>
              <p:cNvPr id="44" name="Picture 40" descr="한우클립아트3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70669" y="4049151"/>
                <a:ext cx="469905" cy="7143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5" name="Picture 40" descr="한우클립아트3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65960" y="4049151"/>
                <a:ext cx="469905" cy="7143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6" name="Picture 40" descr="한우클립아트3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89366" y="4049151"/>
                <a:ext cx="469905" cy="7143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7" name="Picture 40" descr="한우클립아트3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812418" y="4315854"/>
                <a:ext cx="469905" cy="7143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8" name="Picture 40" descr="한우클립아트3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207709" y="4315854"/>
                <a:ext cx="469905" cy="7143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9" name="Picture 40" descr="한우클립아트3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31114" y="4315854"/>
                <a:ext cx="469905" cy="7143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0" name="Picture 40" descr="한우클립아트3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29438" y="4611129"/>
                <a:ext cx="469905" cy="7143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1" name="Picture 40" descr="한우클립아트3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424729" y="4611129"/>
                <a:ext cx="469905" cy="7143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52" name="Picture 40" descr="한우클립아트3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315193" y="4906404"/>
                <a:ext cx="469905" cy="71437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53" name="Oval 56"/>
              <p:cNvSpPr>
                <a:spLocks noChangeArrowheads="1"/>
              </p:cNvSpPr>
              <p:nvPr/>
            </p:nvSpPr>
            <p:spPr bwMode="gray">
              <a:xfrm>
                <a:off x="743683" y="4192021"/>
                <a:ext cx="500071" cy="928690"/>
              </a:xfrm>
              <a:prstGeom prst="ellipse">
                <a:avLst/>
              </a:prstGeom>
              <a:noFill/>
              <a:ln w="38100">
                <a:solidFill>
                  <a:srgbClr val="FF0000"/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>
                <a:lvl1pPr>
                  <a:defRPr b="1">
                    <a:solidFill>
                      <a:schemeClr val="tx1"/>
                    </a:solidFill>
                    <a:latin typeface="Arial" charset="0"/>
                    <a:ea typeface="굴림" pitchFamily="50" charset="-127"/>
                  </a:defRPr>
                </a:lvl1pPr>
                <a:lvl2pPr marL="742950" indent="-285750">
                  <a:defRPr b="1">
                    <a:solidFill>
                      <a:schemeClr val="tx1"/>
                    </a:solidFill>
                    <a:latin typeface="Arial" charset="0"/>
                    <a:ea typeface="굴림" pitchFamily="50" charset="-127"/>
                  </a:defRPr>
                </a:lvl2pPr>
                <a:lvl3pPr marL="1143000" indent="-228600">
                  <a:defRPr b="1">
                    <a:solidFill>
                      <a:schemeClr val="tx1"/>
                    </a:solidFill>
                    <a:latin typeface="Arial" charset="0"/>
                    <a:ea typeface="굴림" pitchFamily="50" charset="-127"/>
                  </a:defRPr>
                </a:lvl3pPr>
                <a:lvl4pPr marL="1600200" indent="-228600">
                  <a:defRPr b="1">
                    <a:solidFill>
                      <a:schemeClr val="tx1"/>
                    </a:solidFill>
                    <a:latin typeface="Arial" charset="0"/>
                    <a:ea typeface="굴림" pitchFamily="50" charset="-127"/>
                  </a:defRPr>
                </a:lvl4pPr>
                <a:lvl5pPr marL="2057400" indent="-228600">
                  <a:defRPr b="1">
                    <a:solidFill>
                      <a:schemeClr val="tx1"/>
                    </a:solidFill>
                    <a:latin typeface="Arial" charset="0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굴림" pitchFamily="50" charset="-127"/>
                  </a:defRPr>
                </a:lvl9pPr>
              </a:lstStyle>
              <a:p>
                <a:pPr defTabSz="1042872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2100">
                  <a:solidFill>
                    <a:prstClr val="black"/>
                  </a:solidFill>
                </a:endParaRPr>
              </a:p>
            </p:txBody>
          </p:sp>
          <p:sp>
            <p:nvSpPr>
              <p:cNvPr id="570" name="Oval 56"/>
              <p:cNvSpPr>
                <a:spLocks noChangeArrowheads="1"/>
              </p:cNvSpPr>
              <p:nvPr/>
            </p:nvSpPr>
            <p:spPr bwMode="gray">
              <a:xfrm>
                <a:off x="1390353" y="4533891"/>
                <a:ext cx="500071" cy="928690"/>
              </a:xfrm>
              <a:prstGeom prst="ellipse">
                <a:avLst/>
              </a:prstGeom>
              <a:noFill/>
              <a:ln w="38100">
                <a:solidFill>
                  <a:srgbClr val="FF0000"/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>
                <a:lvl1pPr>
                  <a:defRPr b="1">
                    <a:solidFill>
                      <a:schemeClr val="tx1"/>
                    </a:solidFill>
                    <a:latin typeface="Arial" charset="0"/>
                    <a:ea typeface="굴림" pitchFamily="50" charset="-127"/>
                  </a:defRPr>
                </a:lvl1pPr>
                <a:lvl2pPr marL="742950" indent="-285750">
                  <a:defRPr b="1">
                    <a:solidFill>
                      <a:schemeClr val="tx1"/>
                    </a:solidFill>
                    <a:latin typeface="Arial" charset="0"/>
                    <a:ea typeface="굴림" pitchFamily="50" charset="-127"/>
                  </a:defRPr>
                </a:lvl2pPr>
                <a:lvl3pPr marL="1143000" indent="-228600">
                  <a:defRPr b="1">
                    <a:solidFill>
                      <a:schemeClr val="tx1"/>
                    </a:solidFill>
                    <a:latin typeface="Arial" charset="0"/>
                    <a:ea typeface="굴림" pitchFamily="50" charset="-127"/>
                  </a:defRPr>
                </a:lvl3pPr>
                <a:lvl4pPr marL="1600200" indent="-228600">
                  <a:defRPr b="1">
                    <a:solidFill>
                      <a:schemeClr val="tx1"/>
                    </a:solidFill>
                    <a:latin typeface="Arial" charset="0"/>
                    <a:ea typeface="굴림" pitchFamily="50" charset="-127"/>
                  </a:defRPr>
                </a:lvl4pPr>
                <a:lvl5pPr marL="2057400" indent="-228600">
                  <a:defRPr b="1">
                    <a:solidFill>
                      <a:schemeClr val="tx1"/>
                    </a:solidFill>
                    <a:latin typeface="Arial" charset="0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굴림" pitchFamily="50" charset="-127"/>
                  </a:defRPr>
                </a:lvl9pPr>
              </a:lstStyle>
              <a:p>
                <a:pPr defTabSz="1042872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2100">
                  <a:solidFill>
                    <a:prstClr val="black"/>
                  </a:solidFill>
                </a:endParaRPr>
              </a:p>
            </p:txBody>
          </p:sp>
          <p:sp>
            <p:nvSpPr>
              <p:cNvPr id="571" name="Oval 56"/>
              <p:cNvSpPr>
                <a:spLocks noChangeArrowheads="1"/>
              </p:cNvSpPr>
              <p:nvPr/>
            </p:nvSpPr>
            <p:spPr bwMode="gray">
              <a:xfrm>
                <a:off x="1361520" y="3928409"/>
                <a:ext cx="500071" cy="928690"/>
              </a:xfrm>
              <a:prstGeom prst="ellipse">
                <a:avLst/>
              </a:prstGeom>
              <a:noFill/>
              <a:ln w="38100">
                <a:solidFill>
                  <a:srgbClr val="FF0000"/>
                </a:solidFill>
                <a:prstDash val="sysDot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wrap="none" anchor="ctr"/>
              <a:lstStyle>
                <a:lvl1pPr>
                  <a:defRPr b="1">
                    <a:solidFill>
                      <a:schemeClr val="tx1"/>
                    </a:solidFill>
                    <a:latin typeface="Arial" charset="0"/>
                    <a:ea typeface="굴림" pitchFamily="50" charset="-127"/>
                  </a:defRPr>
                </a:lvl1pPr>
                <a:lvl2pPr marL="742950" indent="-285750">
                  <a:defRPr b="1">
                    <a:solidFill>
                      <a:schemeClr val="tx1"/>
                    </a:solidFill>
                    <a:latin typeface="Arial" charset="0"/>
                    <a:ea typeface="굴림" pitchFamily="50" charset="-127"/>
                  </a:defRPr>
                </a:lvl2pPr>
                <a:lvl3pPr marL="1143000" indent="-228600">
                  <a:defRPr b="1">
                    <a:solidFill>
                      <a:schemeClr val="tx1"/>
                    </a:solidFill>
                    <a:latin typeface="Arial" charset="0"/>
                    <a:ea typeface="굴림" pitchFamily="50" charset="-127"/>
                  </a:defRPr>
                </a:lvl3pPr>
                <a:lvl4pPr marL="1600200" indent="-228600">
                  <a:defRPr b="1">
                    <a:solidFill>
                      <a:schemeClr val="tx1"/>
                    </a:solidFill>
                    <a:latin typeface="Arial" charset="0"/>
                    <a:ea typeface="굴림" pitchFamily="50" charset="-127"/>
                  </a:defRPr>
                </a:lvl4pPr>
                <a:lvl5pPr marL="2057400" indent="-228600">
                  <a:defRPr b="1">
                    <a:solidFill>
                      <a:schemeClr val="tx1"/>
                    </a:solidFill>
                    <a:latin typeface="Arial" charset="0"/>
                    <a:ea typeface="굴림" pitchFamily="50" charset="-127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굴림" pitchFamily="50" charset="-127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굴림" pitchFamily="50" charset="-127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굴림" pitchFamily="50" charset="-127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b="1">
                    <a:solidFill>
                      <a:schemeClr val="tx1"/>
                    </a:solidFill>
                    <a:latin typeface="Arial" charset="0"/>
                    <a:ea typeface="굴림" pitchFamily="50" charset="-127"/>
                  </a:defRPr>
                </a:lvl9pPr>
              </a:lstStyle>
              <a:p>
                <a:pPr defTabSz="1042872" fontAlgn="auto">
                  <a:spcBef>
                    <a:spcPts val="0"/>
                  </a:spcBef>
                  <a:spcAft>
                    <a:spcPts val="0"/>
                  </a:spcAft>
                </a:pPr>
                <a:endParaRPr kumimoji="0" lang="ko-KR" altLang="en-US" sz="210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578" name="그룹 577"/>
            <p:cNvGrpSpPr/>
            <p:nvPr/>
          </p:nvGrpSpPr>
          <p:grpSpPr>
            <a:xfrm rot="10800000">
              <a:off x="4805415" y="2401188"/>
              <a:ext cx="481957" cy="419223"/>
              <a:chOff x="3021920" y="5057890"/>
              <a:chExt cx="481957" cy="419223"/>
            </a:xfrm>
          </p:grpSpPr>
          <p:cxnSp>
            <p:nvCxnSpPr>
              <p:cNvPr id="579" name="직선 연결선 578"/>
              <p:cNvCxnSpPr/>
              <p:nvPr/>
            </p:nvCxnSpPr>
            <p:spPr>
              <a:xfrm>
                <a:off x="3294638" y="5057890"/>
                <a:ext cx="209239" cy="209238"/>
              </a:xfrm>
              <a:prstGeom prst="line">
                <a:avLst/>
              </a:prstGeom>
              <a:ln w="28575" cap="sq">
                <a:solidFill>
                  <a:schemeClr val="tx2">
                    <a:lumMod val="90000"/>
                    <a:lumOff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0" name="직선 연결선 579"/>
              <p:cNvCxnSpPr/>
              <p:nvPr/>
            </p:nvCxnSpPr>
            <p:spPr>
              <a:xfrm flipH="1">
                <a:off x="3295042" y="5268869"/>
                <a:ext cx="208244" cy="208244"/>
              </a:xfrm>
              <a:prstGeom prst="line">
                <a:avLst/>
              </a:prstGeom>
              <a:ln w="28575" cap="sq">
                <a:solidFill>
                  <a:schemeClr val="tx2">
                    <a:lumMod val="90000"/>
                    <a:lumOff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81" name="직선 연결선 580"/>
              <p:cNvCxnSpPr/>
              <p:nvPr/>
            </p:nvCxnSpPr>
            <p:spPr>
              <a:xfrm rot="10800000">
                <a:off x="3021920" y="5267940"/>
                <a:ext cx="478079" cy="0"/>
              </a:xfrm>
              <a:prstGeom prst="line">
                <a:avLst/>
              </a:prstGeom>
              <a:ln w="28575">
                <a:solidFill>
                  <a:schemeClr val="tx2">
                    <a:lumMod val="90000"/>
                    <a:lumOff val="10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aphicFrame>
        <p:nvGraphicFramePr>
          <p:cNvPr id="373" name="표 372"/>
          <p:cNvGraphicFramePr>
            <a:graphicFrameLocks noGrp="1"/>
          </p:cNvGraphicFramePr>
          <p:nvPr/>
        </p:nvGraphicFramePr>
        <p:xfrm>
          <a:off x="0" y="0"/>
          <a:ext cx="10693400" cy="757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7238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T="45672" marB="4567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374" name="Text Box 8"/>
          <p:cNvSpPr txBox="1">
            <a:spLocks noChangeArrowheads="1"/>
          </p:cNvSpPr>
          <p:nvPr/>
        </p:nvSpPr>
        <p:spPr bwMode="auto">
          <a:xfrm>
            <a:off x="3" y="217493"/>
            <a:ext cx="6877050" cy="446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86683" tIns="0" rIns="0" bIns="0">
            <a:spAutoFit/>
          </a:bodyPr>
          <a:lstStyle/>
          <a:p>
            <a:pPr>
              <a:defRPr/>
            </a:pPr>
            <a:r>
              <a:rPr lang="ko-KR" altLang="en-US" sz="29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올바른 선발과 도태 방법</a:t>
            </a:r>
            <a:endParaRPr lang="ko-KR" altLang="en-US" sz="29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375" name="Rectangle 1"/>
          <p:cNvSpPr>
            <a:spLocks noChangeArrowheads="1"/>
          </p:cNvSpPr>
          <p:nvPr/>
        </p:nvSpPr>
        <p:spPr bwMode="auto">
          <a:xfrm>
            <a:off x="17" y="121097"/>
            <a:ext cx="183890" cy="2150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024" tIns="45513" rIns="91024" bIns="45513" anchor="ctr">
            <a:spAutoFit/>
          </a:bodyPr>
          <a:lstStyle/>
          <a:p>
            <a:endParaRPr lang="ko-KR" altLang="en-US"/>
          </a:p>
        </p:txBody>
      </p:sp>
      <p:sp>
        <p:nvSpPr>
          <p:cNvPr id="376" name="Rectangle 2"/>
          <p:cNvSpPr>
            <a:spLocks noChangeArrowheads="1"/>
          </p:cNvSpPr>
          <p:nvPr/>
        </p:nvSpPr>
        <p:spPr bwMode="auto">
          <a:xfrm>
            <a:off x="0" y="-33333"/>
            <a:ext cx="184150" cy="446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86683" tIns="0" rIns="0" bIns="0">
            <a:spAutoFit/>
          </a:bodyPr>
          <a:lstStyle/>
          <a:p>
            <a:pPr>
              <a:defRPr/>
            </a:pPr>
            <a:endParaRPr lang="ko-KR" altLang="en-US" sz="29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itchFamily="18" charset="-127"/>
              <a:ea typeface="HY견고딕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988715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Rectangle 3"/>
          <p:cNvSpPr>
            <a:spLocks noChangeArrowheads="1"/>
          </p:cNvSpPr>
          <p:nvPr/>
        </p:nvSpPr>
        <p:spPr bwMode="auto">
          <a:xfrm>
            <a:off x="417742" y="418350"/>
            <a:ext cx="10104563" cy="715869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lIns="103831" tIns="51916" rIns="103831" bIns="51916" anchor="ctr"/>
          <a:lstStyle/>
          <a:p>
            <a:pPr>
              <a:defRPr/>
            </a:pPr>
            <a:endParaRPr lang="ko-KR" altLang="en-US"/>
          </a:p>
        </p:txBody>
      </p:sp>
      <p:sp>
        <p:nvSpPr>
          <p:cNvPr id="124933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914400" y="382588"/>
            <a:ext cx="10067925" cy="6985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ko-KR" altLang="en-US" sz="4100" b="0">
                <a:solidFill>
                  <a:srgbClr val="FFFFFF"/>
                </a:solidFill>
                <a:latin typeface="HY헤드라인M" pitchFamily="18" charset="-127"/>
                <a:ea typeface="HY헤드라인M" pitchFamily="18" charset="-127"/>
              </a:rPr>
              <a:t>좋은 암소 보유 </a:t>
            </a:r>
            <a:r>
              <a:rPr lang="en-US" altLang="ko-KR" sz="4100" b="0">
                <a:solidFill>
                  <a:srgbClr val="FFFFFF"/>
                </a:solidFill>
                <a:latin typeface="HY헤드라인M" pitchFamily="18" charset="-127"/>
                <a:ea typeface="HY헤드라인M" pitchFamily="18" charset="-127"/>
              </a:rPr>
              <a:t>-&gt; </a:t>
            </a:r>
            <a:r>
              <a:rPr lang="ko-KR" altLang="en-US" sz="4100" b="0">
                <a:solidFill>
                  <a:srgbClr val="FFFFFF"/>
                </a:solidFill>
                <a:latin typeface="HY헤드라인M" pitchFamily="18" charset="-127"/>
                <a:ea typeface="HY헤드라인M" pitchFamily="18" charset="-127"/>
              </a:rPr>
              <a:t>후대 암소 보유</a:t>
            </a:r>
            <a:r>
              <a:rPr lang="en-US" altLang="ko-KR" sz="4100" b="0">
                <a:solidFill>
                  <a:srgbClr val="FFFFFF"/>
                </a:solidFill>
                <a:latin typeface="HY헤드라인M" pitchFamily="18" charset="-127"/>
                <a:ea typeface="HY헤드라인M" pitchFamily="18" charset="-127"/>
              </a:rPr>
              <a:t>(</a:t>
            </a:r>
            <a:r>
              <a:rPr lang="ko-KR" altLang="en-US" sz="4100" b="0">
                <a:solidFill>
                  <a:srgbClr val="FFFFFF"/>
                </a:solidFill>
                <a:latin typeface="HY헤드라인M" pitchFamily="18" charset="-127"/>
                <a:ea typeface="HY헤드라인M" pitchFamily="18" charset="-127"/>
              </a:rPr>
              <a:t>반복</a:t>
            </a:r>
            <a:r>
              <a:rPr lang="en-US" altLang="ko-KR" sz="4100" b="0">
                <a:solidFill>
                  <a:srgbClr val="FFFFFF"/>
                </a:solidFill>
                <a:latin typeface="HY헤드라인M" pitchFamily="18" charset="-127"/>
                <a:ea typeface="HY헤드라인M" pitchFamily="18" charset="-127"/>
              </a:rPr>
              <a:t>)</a:t>
            </a:r>
            <a:endParaRPr lang="ko-KR" altLang="en-US" sz="4100" b="0">
              <a:solidFill>
                <a:srgbClr val="FFFFFF"/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" y="1561651"/>
            <a:ext cx="10522276" cy="40202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9" name="Text Box 2"/>
          <p:cNvSpPr txBox="1">
            <a:spLocks noChangeArrowheads="1"/>
          </p:cNvSpPr>
          <p:nvPr/>
        </p:nvSpPr>
        <p:spPr bwMode="auto">
          <a:xfrm>
            <a:off x="180345" y="5842387"/>
            <a:ext cx="10521950" cy="728554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103831" tIns="51916" rIns="103831" bIns="51916">
            <a:spAutoFit/>
          </a:bodyPr>
          <a:lstStyle/>
          <a:p>
            <a:pPr marL="455179" indent="-455179">
              <a:lnSpc>
                <a:spcPct val="150000"/>
              </a:lnSpc>
              <a:buClr>
                <a:srgbClr val="FF9900"/>
              </a:buClr>
              <a:buFont typeface="Arial" panose="020B0604020202020204" pitchFamily="34" charset="0"/>
              <a:buChar char="•"/>
              <a:defRPr/>
            </a:pPr>
            <a:r>
              <a:rPr lang="ko-KR" altLang="en-US" sz="2700" dirty="0">
                <a:latin typeface="HY견고딕" pitchFamily="18" charset="-127"/>
                <a:ea typeface="HY견고딕" pitchFamily="18" charset="-127"/>
              </a:rPr>
              <a:t>후대에 전달되는 유전능력이 우수한 암소를 번식에 이용하면</a:t>
            </a:r>
            <a:r>
              <a:rPr lang="en-US" altLang="ko-KR" sz="2700" dirty="0">
                <a:latin typeface="HY견고딕" pitchFamily="18" charset="-127"/>
                <a:ea typeface="HY견고딕" pitchFamily="18" charset="-127"/>
              </a:rPr>
              <a:t>,</a:t>
            </a:r>
            <a:endParaRPr lang="ko-KR" altLang="en-US" sz="2700" dirty="0">
              <a:latin typeface="HY견고딕" pitchFamily="18" charset="-127"/>
              <a:ea typeface="HY견고딕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7680322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Rectangle 3"/>
          <p:cNvSpPr>
            <a:spLocks noChangeArrowheads="1"/>
          </p:cNvSpPr>
          <p:nvPr/>
        </p:nvSpPr>
        <p:spPr bwMode="auto">
          <a:xfrm>
            <a:off x="417742" y="418350"/>
            <a:ext cx="10104563" cy="715869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lIns="103831" tIns="51916" rIns="103831" bIns="51916" anchor="ctr"/>
          <a:lstStyle/>
          <a:p>
            <a:pPr>
              <a:defRPr/>
            </a:pPr>
            <a:endParaRPr lang="ko-KR" altLang="en-US"/>
          </a:p>
        </p:txBody>
      </p:sp>
      <p:sp>
        <p:nvSpPr>
          <p:cNvPr id="124933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914400" y="382588"/>
            <a:ext cx="10067925" cy="6985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ko-KR" altLang="en-US" sz="4100" b="0">
                <a:solidFill>
                  <a:srgbClr val="FFFFFF"/>
                </a:solidFill>
                <a:latin typeface="HY헤드라인M" pitchFamily="18" charset="-127"/>
                <a:ea typeface="HY헤드라인M" pitchFamily="18" charset="-127"/>
              </a:rPr>
              <a:t>좋은 암소 보유 </a:t>
            </a:r>
            <a:r>
              <a:rPr lang="en-US" altLang="ko-KR" sz="4100" b="0">
                <a:solidFill>
                  <a:srgbClr val="FFFFFF"/>
                </a:solidFill>
                <a:latin typeface="HY헤드라인M" pitchFamily="18" charset="-127"/>
                <a:ea typeface="HY헤드라인M" pitchFamily="18" charset="-127"/>
              </a:rPr>
              <a:t>-&gt; </a:t>
            </a:r>
            <a:r>
              <a:rPr lang="ko-KR" altLang="en-US" sz="4100" b="0">
                <a:solidFill>
                  <a:srgbClr val="FFFFFF"/>
                </a:solidFill>
                <a:latin typeface="HY헤드라인M" pitchFamily="18" charset="-127"/>
                <a:ea typeface="HY헤드라인M" pitchFamily="18" charset="-127"/>
              </a:rPr>
              <a:t>후대 암소 보유</a:t>
            </a:r>
            <a:r>
              <a:rPr lang="en-US" altLang="ko-KR" sz="4100" b="0">
                <a:solidFill>
                  <a:srgbClr val="FFFFFF"/>
                </a:solidFill>
                <a:latin typeface="HY헤드라인M" pitchFamily="18" charset="-127"/>
                <a:ea typeface="HY헤드라인M" pitchFamily="18" charset="-127"/>
              </a:rPr>
              <a:t>(</a:t>
            </a:r>
            <a:r>
              <a:rPr lang="ko-KR" altLang="en-US" sz="4100" b="0">
                <a:solidFill>
                  <a:srgbClr val="FFFFFF"/>
                </a:solidFill>
                <a:latin typeface="HY헤드라인M" pitchFamily="18" charset="-127"/>
                <a:ea typeface="HY헤드라인M" pitchFamily="18" charset="-127"/>
              </a:rPr>
              <a:t>반복</a:t>
            </a:r>
            <a:r>
              <a:rPr lang="en-US" altLang="ko-KR" sz="4100" b="0">
                <a:solidFill>
                  <a:srgbClr val="FFFFFF"/>
                </a:solidFill>
                <a:latin typeface="HY헤드라인M" pitchFamily="18" charset="-127"/>
                <a:ea typeface="HY헤드라인M" pitchFamily="18" charset="-127"/>
              </a:rPr>
              <a:t>)</a:t>
            </a:r>
            <a:endParaRPr lang="ko-KR" altLang="en-US" sz="4100" b="0">
              <a:solidFill>
                <a:srgbClr val="FFFFFF"/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29" name="Text Box 2"/>
          <p:cNvSpPr txBox="1">
            <a:spLocks noChangeArrowheads="1"/>
          </p:cNvSpPr>
          <p:nvPr/>
        </p:nvSpPr>
        <p:spPr bwMode="auto">
          <a:xfrm>
            <a:off x="209020" y="1440371"/>
            <a:ext cx="10521950" cy="728536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103831" tIns="51916" rIns="103831" bIns="51916">
            <a:spAutoFit/>
          </a:bodyPr>
          <a:lstStyle/>
          <a:p>
            <a:pPr marL="455179" indent="-455179">
              <a:lnSpc>
                <a:spcPct val="150000"/>
              </a:lnSpc>
              <a:buClr>
                <a:srgbClr val="FF9900"/>
              </a:buClr>
              <a:buFont typeface="Arial" panose="020B0604020202020204" pitchFamily="34" charset="0"/>
              <a:buChar char="•"/>
              <a:defRPr/>
            </a:pPr>
            <a:r>
              <a:rPr lang="ko-KR" altLang="en-US" sz="2700" dirty="0">
                <a:latin typeface="HY견고딕" pitchFamily="18" charset="-127"/>
                <a:ea typeface="HY견고딕" pitchFamily="18" charset="-127"/>
              </a:rPr>
              <a:t>농장의 우수능력을 </a:t>
            </a:r>
            <a:r>
              <a:rPr lang="en-US" altLang="ko-KR" sz="2700" dirty="0">
                <a:latin typeface="HY견고딕" pitchFamily="18" charset="-127"/>
                <a:ea typeface="HY견고딕" pitchFamily="18" charset="-127"/>
              </a:rPr>
              <a:t>“</a:t>
            </a:r>
            <a:r>
              <a:rPr lang="ko-KR" altLang="en-US" sz="2700" dirty="0">
                <a:latin typeface="HY견고딕" pitchFamily="18" charset="-127"/>
                <a:ea typeface="HY견고딕" pitchFamily="18" charset="-127"/>
              </a:rPr>
              <a:t>복리이자</a:t>
            </a:r>
            <a:r>
              <a:rPr lang="en-US" altLang="ko-KR" sz="2700" dirty="0">
                <a:latin typeface="HY견고딕" pitchFamily="18" charset="-127"/>
                <a:ea typeface="HY견고딕" pitchFamily="18" charset="-127"/>
              </a:rPr>
              <a:t>”</a:t>
            </a:r>
            <a:r>
              <a:rPr lang="ko-KR" altLang="en-US" sz="2700" dirty="0">
                <a:latin typeface="HY견고딕" pitchFamily="18" charset="-127"/>
                <a:ea typeface="HY견고딕" pitchFamily="18" charset="-127"/>
              </a:rPr>
              <a:t>처럼 </a:t>
            </a:r>
            <a:r>
              <a:rPr lang="ko-KR" altLang="en-US" sz="2700" dirty="0" err="1">
                <a:latin typeface="HY견고딕" pitchFamily="18" charset="-127"/>
                <a:ea typeface="HY견고딕" pitchFamily="18" charset="-127"/>
              </a:rPr>
              <a:t>후대축에</a:t>
            </a:r>
            <a:r>
              <a:rPr lang="ko-KR" altLang="en-US" sz="2700" dirty="0">
                <a:latin typeface="HY견고딕" pitchFamily="18" charset="-127"/>
                <a:ea typeface="HY견고딕" pitchFamily="18" charset="-127"/>
              </a:rPr>
              <a:t> 누적시킴</a:t>
            </a:r>
            <a:r>
              <a:rPr lang="en-US" altLang="ko-KR" sz="2700" dirty="0">
                <a:latin typeface="HY견고딕" pitchFamily="18" charset="-127"/>
                <a:ea typeface="HY견고딕" pitchFamily="18" charset="-127"/>
              </a:rPr>
              <a:t>.</a:t>
            </a:r>
            <a:r>
              <a:rPr lang="ko-KR" altLang="en-US" sz="2700" dirty="0">
                <a:latin typeface="HY견고딕" pitchFamily="18" charset="-127"/>
                <a:ea typeface="HY견고딕" pitchFamily="18" charset="-127"/>
              </a:rPr>
              <a:t> </a:t>
            </a:r>
          </a:p>
        </p:txBody>
      </p:sp>
      <p:pic>
        <p:nvPicPr>
          <p:cNvPr id="6" name="_x205737736" descr="EMB00002704be58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61237" y="2205457"/>
            <a:ext cx="8190911" cy="5166184"/>
          </a:xfrm>
          <a:prstGeom prst="rect">
            <a:avLst/>
          </a:prstGeom>
          <a:noFill/>
        </p:spPr>
      </p:pic>
      <p:cxnSp>
        <p:nvCxnSpPr>
          <p:cNvPr id="3" name="직선 화살표 연결선 2"/>
          <p:cNvCxnSpPr/>
          <p:nvPr/>
        </p:nvCxnSpPr>
        <p:spPr bwMode="auto">
          <a:xfrm flipV="1">
            <a:off x="6696879" y="3330584"/>
            <a:ext cx="2070231" cy="1710191"/>
          </a:xfrm>
          <a:prstGeom prst="straightConnector1">
            <a:avLst/>
          </a:prstGeom>
          <a:ln>
            <a:solidFill>
              <a:srgbClr val="FF0000"/>
            </a:solidFill>
            <a:headEnd type="none" w="med" len="med"/>
            <a:tailEnd type="arrow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727391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ko-KR" altLang="en-US" dirty="0" smtClean="0"/>
              <a:t>우리나라 한우 유전적 개량추세</a:t>
            </a:r>
            <a:endParaRPr lang="ko-KR" altLang="en-US" dirty="0"/>
          </a:p>
        </p:txBody>
      </p:sp>
      <p:graphicFrame>
        <p:nvGraphicFramePr>
          <p:cNvPr id="3" name="Object 3"/>
          <p:cNvGraphicFramePr>
            <a:graphicFrameLocks noChangeAspect="1"/>
          </p:cNvGraphicFramePr>
          <p:nvPr/>
        </p:nvGraphicFramePr>
        <p:xfrm>
          <a:off x="453321" y="1708338"/>
          <a:ext cx="9445837" cy="53803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70" name="차트" r:id="rId4" imgW="5670000" imgH="3374640" progId="Excel.Sheet.8">
                  <p:embed/>
                </p:oleObj>
              </mc:Choice>
              <mc:Fallback>
                <p:oleObj name="차트" r:id="rId4" imgW="5670000" imgH="3374640" progId="Excel.Sheet.8">
                  <p:embed/>
                  <p:pic>
                    <p:nvPicPr>
                      <p:cNvPr id="0" name="Picture 10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3321" y="1708338"/>
                        <a:ext cx="9445837" cy="53803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Line 4"/>
          <p:cNvSpPr>
            <a:spLocks noChangeShapeType="1"/>
          </p:cNvSpPr>
          <p:nvPr/>
        </p:nvSpPr>
        <p:spPr bwMode="auto">
          <a:xfrm>
            <a:off x="3661341" y="4228730"/>
            <a:ext cx="0" cy="1176196"/>
          </a:xfrm>
          <a:prstGeom prst="line">
            <a:avLst/>
          </a:prstGeom>
          <a:noFill/>
          <a:ln w="9525">
            <a:solidFill>
              <a:srgbClr val="FF0066"/>
            </a:solidFill>
            <a:round/>
            <a:headEnd/>
            <a:tailEnd type="triangle" w="med" len="med"/>
          </a:ln>
          <a:effectLst/>
        </p:spPr>
        <p:txBody>
          <a:bodyPr wrap="none" lIns="103831" tIns="51916" rIns="103831" bIns="51916" anchor="ctr"/>
          <a:lstStyle/>
          <a:p>
            <a:pPr defTabSz="1038279" fontAlgn="auto">
              <a:spcBef>
                <a:spcPts val="0"/>
              </a:spcBef>
              <a:spcAft>
                <a:spcPts val="0"/>
              </a:spcAft>
            </a:pPr>
            <a:endParaRPr kumimoji="0" lang="ko-KR" altLang="en-US" sz="2100">
              <a:solidFill>
                <a:prstClr val="black"/>
              </a:solidFill>
              <a:latin typeface="Century Schoolbook"/>
              <a:ea typeface="휴먼매직체"/>
            </a:endParaRPr>
          </a:p>
        </p:txBody>
      </p:sp>
      <p:sp>
        <p:nvSpPr>
          <p:cNvPr id="5" name="Text Box 5"/>
          <p:cNvSpPr txBox="1">
            <a:spLocks noChangeArrowheads="1"/>
          </p:cNvSpPr>
          <p:nvPr/>
        </p:nvSpPr>
        <p:spPr bwMode="auto">
          <a:xfrm>
            <a:off x="3394037" y="3857668"/>
            <a:ext cx="3672143" cy="3823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03831" tIns="51916" rIns="103831" bIns="51916">
            <a:spAutoFit/>
          </a:bodyPr>
          <a:lstStyle/>
          <a:p>
            <a:pPr defTabSz="1038279" fontAlgn="auto">
              <a:spcBef>
                <a:spcPts val="0"/>
              </a:spcBef>
              <a:spcAft>
                <a:spcPts val="0"/>
              </a:spcAft>
            </a:pPr>
            <a:r>
              <a:rPr lang="ko-KR" altLang="en-US" sz="1800" dirty="0">
                <a:solidFill>
                  <a:prstClr val="black"/>
                </a:solidFill>
                <a:latin typeface="Century Schoolbook"/>
                <a:ea typeface="휴먼매직체"/>
              </a:rPr>
              <a:t>국가단위 유전능력평가 개시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7066151" y="7088710"/>
            <a:ext cx="2736304" cy="215444"/>
          </a:xfrm>
          <a:prstGeom prst="rect">
            <a:avLst/>
          </a:prstGeom>
          <a:noFill/>
        </p:spPr>
        <p:txBody>
          <a:bodyPr wrap="square" lIns="91040" tIns="45521" rIns="91040" bIns="45521" rtlCol="0">
            <a:spAutoFit/>
          </a:bodyPr>
          <a:lstStyle/>
          <a:p>
            <a:pPr algn="r"/>
            <a:r>
              <a:rPr lang="ko-KR" altLang="en-US" dirty="0" smtClean="0">
                <a:solidFill>
                  <a:prstClr val="black"/>
                </a:solidFill>
              </a:rPr>
              <a:t>농촌진흥청 국립축산과학원</a:t>
            </a:r>
            <a:endParaRPr lang="ko-KR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20127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1" name="Rectangle 3"/>
          <p:cNvSpPr>
            <a:spLocks noChangeArrowheads="1"/>
          </p:cNvSpPr>
          <p:nvPr/>
        </p:nvSpPr>
        <p:spPr bwMode="auto">
          <a:xfrm>
            <a:off x="417742" y="418350"/>
            <a:ext cx="10104563" cy="715869"/>
          </a:xfrm>
          <a:prstGeom prst="rect">
            <a:avLst/>
          </a:prstGeom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lIns="103831" tIns="51916" rIns="103831" bIns="51916" anchor="ctr"/>
          <a:lstStyle/>
          <a:p>
            <a:pPr>
              <a:defRPr/>
            </a:pPr>
            <a:endParaRPr lang="ko-KR" altLang="en-US"/>
          </a:p>
        </p:txBody>
      </p:sp>
      <p:sp>
        <p:nvSpPr>
          <p:cNvPr id="124933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914400" y="382588"/>
            <a:ext cx="10067925" cy="6985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ko-KR" altLang="en-US" sz="4100" b="0">
                <a:solidFill>
                  <a:srgbClr val="FFFFFF"/>
                </a:solidFill>
                <a:latin typeface="HY헤드라인M" pitchFamily="18" charset="-127"/>
                <a:ea typeface="HY헤드라인M" pitchFamily="18" charset="-127"/>
              </a:rPr>
              <a:t>좋은 암소 보유 </a:t>
            </a:r>
            <a:r>
              <a:rPr lang="en-US" altLang="ko-KR" sz="4100" b="0">
                <a:solidFill>
                  <a:srgbClr val="FFFFFF"/>
                </a:solidFill>
                <a:latin typeface="HY헤드라인M" pitchFamily="18" charset="-127"/>
                <a:ea typeface="HY헤드라인M" pitchFamily="18" charset="-127"/>
              </a:rPr>
              <a:t>-&gt; </a:t>
            </a:r>
            <a:r>
              <a:rPr lang="ko-KR" altLang="en-US" sz="4100" b="0">
                <a:solidFill>
                  <a:srgbClr val="FFFFFF"/>
                </a:solidFill>
                <a:latin typeface="HY헤드라인M" pitchFamily="18" charset="-127"/>
                <a:ea typeface="HY헤드라인M" pitchFamily="18" charset="-127"/>
              </a:rPr>
              <a:t>후대 암소 보유</a:t>
            </a:r>
            <a:r>
              <a:rPr lang="en-US" altLang="ko-KR" sz="4100" b="0">
                <a:solidFill>
                  <a:srgbClr val="FFFFFF"/>
                </a:solidFill>
                <a:latin typeface="HY헤드라인M" pitchFamily="18" charset="-127"/>
                <a:ea typeface="HY헤드라인M" pitchFamily="18" charset="-127"/>
              </a:rPr>
              <a:t>(</a:t>
            </a:r>
            <a:r>
              <a:rPr lang="ko-KR" altLang="en-US" sz="4100" b="0">
                <a:solidFill>
                  <a:srgbClr val="FFFFFF"/>
                </a:solidFill>
                <a:latin typeface="HY헤드라인M" pitchFamily="18" charset="-127"/>
                <a:ea typeface="HY헤드라인M" pitchFamily="18" charset="-127"/>
              </a:rPr>
              <a:t>반복</a:t>
            </a:r>
            <a:r>
              <a:rPr lang="en-US" altLang="ko-KR" sz="4100" b="0">
                <a:solidFill>
                  <a:srgbClr val="FFFFFF"/>
                </a:solidFill>
                <a:latin typeface="HY헤드라인M" pitchFamily="18" charset="-127"/>
                <a:ea typeface="HY헤드라인M" pitchFamily="18" charset="-127"/>
              </a:rPr>
              <a:t>)</a:t>
            </a:r>
            <a:endParaRPr lang="ko-KR" altLang="en-US" sz="4100" b="0">
              <a:solidFill>
                <a:srgbClr val="FFFFFF"/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29" name="Text Box 2"/>
          <p:cNvSpPr txBox="1">
            <a:spLocks noChangeArrowheads="1"/>
          </p:cNvSpPr>
          <p:nvPr/>
        </p:nvSpPr>
        <p:spPr bwMode="auto">
          <a:xfrm>
            <a:off x="209020" y="1350361"/>
            <a:ext cx="10521950" cy="728536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103831" tIns="51916" rIns="103831" bIns="51916">
            <a:spAutoFit/>
          </a:bodyPr>
          <a:lstStyle/>
          <a:p>
            <a:pPr marL="455179" indent="-455179">
              <a:lnSpc>
                <a:spcPct val="150000"/>
              </a:lnSpc>
              <a:buClr>
                <a:srgbClr val="FF9900"/>
              </a:buClr>
              <a:buFont typeface="Arial" panose="020B0604020202020204" pitchFamily="34" charset="0"/>
              <a:buChar char="•"/>
              <a:defRPr/>
            </a:pPr>
            <a:r>
              <a:rPr lang="ko-KR" altLang="en-US" sz="2700" dirty="0">
                <a:latin typeface="HY견고딕" pitchFamily="18" charset="-127"/>
                <a:ea typeface="HY견고딕" pitchFamily="18" charset="-127"/>
              </a:rPr>
              <a:t>농장의 우수능력을 </a:t>
            </a:r>
            <a:r>
              <a:rPr lang="en-US" altLang="ko-KR" sz="2700" dirty="0">
                <a:latin typeface="HY견고딕" pitchFamily="18" charset="-127"/>
                <a:ea typeface="HY견고딕" pitchFamily="18" charset="-127"/>
              </a:rPr>
              <a:t>“</a:t>
            </a:r>
            <a:r>
              <a:rPr lang="ko-KR" altLang="en-US" sz="2700" dirty="0">
                <a:latin typeface="HY견고딕" pitchFamily="18" charset="-127"/>
                <a:ea typeface="HY견고딕" pitchFamily="18" charset="-127"/>
              </a:rPr>
              <a:t>복리이자</a:t>
            </a:r>
            <a:r>
              <a:rPr lang="en-US" altLang="ko-KR" sz="2700" dirty="0">
                <a:latin typeface="HY견고딕" pitchFamily="18" charset="-127"/>
                <a:ea typeface="HY견고딕" pitchFamily="18" charset="-127"/>
              </a:rPr>
              <a:t>”</a:t>
            </a:r>
            <a:r>
              <a:rPr lang="ko-KR" altLang="en-US" sz="2700" dirty="0">
                <a:latin typeface="HY견고딕" pitchFamily="18" charset="-127"/>
                <a:ea typeface="HY견고딕" pitchFamily="18" charset="-127"/>
              </a:rPr>
              <a:t>처럼 </a:t>
            </a:r>
            <a:r>
              <a:rPr lang="ko-KR" altLang="en-US" sz="2700" dirty="0" err="1">
                <a:latin typeface="HY견고딕" pitchFamily="18" charset="-127"/>
                <a:ea typeface="HY견고딕" pitchFamily="18" charset="-127"/>
              </a:rPr>
              <a:t>후대축에</a:t>
            </a:r>
            <a:r>
              <a:rPr lang="ko-KR" altLang="en-US" sz="2700" dirty="0">
                <a:latin typeface="HY견고딕" pitchFamily="18" charset="-127"/>
                <a:ea typeface="HY견고딕" pitchFamily="18" charset="-127"/>
              </a:rPr>
              <a:t> 누적시킴</a:t>
            </a:r>
            <a:r>
              <a:rPr lang="en-US" altLang="ko-KR" sz="2700" dirty="0">
                <a:latin typeface="HY견고딕" pitchFamily="18" charset="-127"/>
                <a:ea typeface="HY견고딕" pitchFamily="18" charset="-127"/>
              </a:rPr>
              <a:t>.</a:t>
            </a:r>
            <a:r>
              <a:rPr lang="ko-KR" altLang="en-US" sz="2700" dirty="0">
                <a:latin typeface="HY견고딕" pitchFamily="18" charset="-127"/>
                <a:ea typeface="HY견고딕" pitchFamily="18" charset="-127"/>
              </a:rPr>
              <a:t> </a:t>
            </a:r>
          </a:p>
        </p:txBody>
      </p:sp>
      <p:graphicFrame>
        <p:nvGraphicFramePr>
          <p:cNvPr id="12" name="표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0611790"/>
              </p:ext>
            </p:extLst>
          </p:nvPr>
        </p:nvGraphicFramePr>
        <p:xfrm>
          <a:off x="874222" y="2823624"/>
          <a:ext cx="9017984" cy="3600450"/>
        </p:xfrm>
        <a:graphic>
          <a:graphicData uri="http://schemas.openxmlformats.org/drawingml/2006/table">
            <a:tbl>
              <a:tblPr/>
              <a:tblGrid>
                <a:gridCol w="1178107"/>
                <a:gridCol w="1806429"/>
                <a:gridCol w="1256646"/>
                <a:gridCol w="1806429"/>
                <a:gridCol w="1178107"/>
                <a:gridCol w="1792266"/>
              </a:tblGrid>
              <a:tr h="514350"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400" b="1" dirty="0"/>
                        <a:t>구분</a:t>
                      </a:r>
                      <a:endParaRPr lang="ko-KR" altLang="en-US" sz="14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400" b="1" dirty="0"/>
                        <a:t>정액번호 </a:t>
                      </a:r>
                      <a:r>
                        <a:rPr lang="en-US" altLang="ko-KR" sz="1400" b="1" dirty="0"/>
                        <a:t>/ </a:t>
                      </a:r>
                      <a:r>
                        <a:rPr lang="ko-KR" altLang="en-US" sz="1400" b="1" dirty="0"/>
                        <a:t>명호</a:t>
                      </a:r>
                      <a:endParaRPr lang="ko-KR" altLang="en-US" sz="14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400" b="1" dirty="0"/>
                        <a:t>생년월일</a:t>
                      </a:r>
                      <a:endParaRPr lang="ko-KR" altLang="en-US" sz="14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400" b="1" dirty="0"/>
                        <a:t>개체식별번호</a:t>
                      </a:r>
                      <a:endParaRPr lang="ko-KR" altLang="en-US" sz="14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400" b="1" dirty="0"/>
                        <a:t>등록구분</a:t>
                      </a:r>
                      <a:endParaRPr lang="ko-KR" altLang="en-US" sz="1400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400" b="1" u="none" dirty="0"/>
                        <a:t>등록번호</a:t>
                      </a:r>
                      <a:endParaRPr lang="ko-KR" altLang="en-US" sz="1400" u="none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14350">
                <a:tc>
                  <a:txBody>
                    <a:bodyPr/>
                    <a:lstStyle/>
                    <a:p>
                      <a:pPr algn="l"/>
                      <a:r>
                        <a:rPr lang="ko-KR" altLang="en-US" sz="1400" dirty="0" smtClean="0"/>
                        <a:t>  ┏ </a:t>
                      </a:r>
                      <a:r>
                        <a:rPr lang="ko-KR" altLang="en-US" sz="1400" dirty="0"/>
                        <a:t>조부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/>
                        <a:t>KPN338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400" dirty="0"/>
                        <a:t>1997-03-10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400" dirty="0"/>
                        <a:t>00014024067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400"/>
                        <a:t>고등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400" u="none" dirty="0">
                          <a:hlinkClick r:id=""/>
                        </a:rPr>
                        <a:t>221268287</a:t>
                      </a:r>
                      <a:endParaRPr lang="ko-KR" altLang="en-US" sz="1400" u="none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14350">
                <a:tc>
                  <a:txBody>
                    <a:bodyPr/>
                    <a:lstStyle/>
                    <a:p>
                      <a:pPr algn="l"/>
                      <a:r>
                        <a:rPr lang="ko-KR" altLang="en-US" sz="14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     부 </a:t>
                      </a:r>
                      <a:endParaRPr lang="ko-KR" altLang="en-US" sz="14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KPN685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4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2004-09-13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4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000186257311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4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고등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400" b="1" u="none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hlinkClick r:id=""/>
                        </a:rPr>
                        <a:t>221951633</a:t>
                      </a:r>
                      <a:endParaRPr lang="ko-KR" altLang="en-US" sz="1400" b="1" u="none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  <a:alpha val="70000"/>
                      </a:schemeClr>
                    </a:solidFill>
                  </a:tcPr>
                </a:tc>
              </a:tr>
              <a:tr h="514350">
                <a:tc>
                  <a:txBody>
                    <a:bodyPr/>
                    <a:lstStyle/>
                    <a:p>
                      <a:pPr algn="l"/>
                      <a:r>
                        <a:rPr lang="ko-KR" altLang="en-US" sz="1400" dirty="0" smtClean="0"/>
                        <a:t>  ┗ </a:t>
                      </a:r>
                      <a:r>
                        <a:rPr lang="ko-KR" altLang="en-US" sz="1400" dirty="0"/>
                        <a:t>조모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400"/>
                        <a:t>강현</a:t>
                      </a:r>
                      <a:r>
                        <a:rPr lang="en-US" altLang="ko-KR" sz="1400"/>
                        <a:t>00-05-0091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400"/>
                        <a:t>2000-05-2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ko-KR" altLang="en-US" sz="140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400"/>
                        <a:t>고등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400" u="none" dirty="0">
                          <a:hlinkClick r:id=""/>
                        </a:rPr>
                        <a:t>221458775</a:t>
                      </a:r>
                      <a:endParaRPr lang="ko-KR" altLang="en-US" sz="1400" u="none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14350">
                <a:tc>
                  <a:txBody>
                    <a:bodyPr/>
                    <a:lstStyle/>
                    <a:p>
                      <a:pPr algn="l"/>
                      <a:r>
                        <a:rPr lang="ko-KR" altLang="en-US" sz="1400" dirty="0" smtClean="0"/>
                        <a:t>  ┏ </a:t>
                      </a:r>
                      <a:r>
                        <a:rPr lang="ko-KR" altLang="en-US" sz="1400" dirty="0"/>
                        <a:t>외조부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KPN505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400"/>
                        <a:t>2000-03-15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400"/>
                        <a:t>000163407862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400"/>
                        <a:t>고등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400" u="none" dirty="0">
                          <a:hlinkClick r:id=""/>
                        </a:rPr>
                        <a:t>221421823</a:t>
                      </a:r>
                      <a:endParaRPr lang="ko-KR" altLang="en-US" sz="1400" u="none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514350">
                <a:tc>
                  <a:txBody>
                    <a:bodyPr/>
                    <a:lstStyle/>
                    <a:p>
                      <a:pPr algn="l"/>
                      <a:r>
                        <a:rPr lang="ko-KR" altLang="en-US" sz="1400" b="1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      모 </a:t>
                      </a:r>
                      <a:endParaRPr lang="ko-KR" altLang="en-US" sz="1400" b="1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4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순천</a:t>
                      </a:r>
                      <a:r>
                        <a:rPr lang="en-US" altLang="ko-KR" sz="14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08-04-0760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4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2008-11-0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4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002033464076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400" b="1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혈통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400" b="1" u="none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hlinkClick r:id=""/>
                        </a:rPr>
                        <a:t>224091480</a:t>
                      </a:r>
                      <a:endParaRPr lang="ko-KR" altLang="en-US" sz="1400" b="1" u="none" dirty="0"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</a:endParaRP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  <a:alpha val="70000"/>
                      </a:schemeClr>
                    </a:solidFill>
                  </a:tcPr>
                </a:tc>
              </a:tr>
              <a:tr h="514350">
                <a:tc>
                  <a:txBody>
                    <a:bodyPr/>
                    <a:lstStyle/>
                    <a:p>
                      <a:pPr algn="l"/>
                      <a:r>
                        <a:rPr lang="ko-KR" altLang="en-US" sz="1400" dirty="0" smtClean="0"/>
                        <a:t>  ┗ </a:t>
                      </a:r>
                      <a:r>
                        <a:rPr lang="ko-KR" altLang="en-US" sz="1400" dirty="0"/>
                        <a:t>외조모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400"/>
                        <a:t>별량</a:t>
                      </a:r>
                      <a:r>
                        <a:rPr lang="en-US" altLang="ko-KR" sz="1400"/>
                        <a:t>98-03-0020 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400" dirty="0"/>
                        <a:t>1998-02-09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400"/>
                        <a:t>000143190247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ko-KR" altLang="en-US" sz="1400"/>
                        <a:t>고등</a:t>
                      </a:r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ko-KR" sz="1400" u="none" dirty="0">
                          <a:hlinkClick r:id=""/>
                        </a:rPr>
                        <a:t>221325481</a:t>
                      </a:r>
                      <a:endParaRPr lang="ko-KR" altLang="en-US" sz="1400" u="none" dirty="0"/>
                    </a:p>
                  </a:txBody>
                  <a:tcPr marL="0" marR="0" marT="0" marB="0" anchor="ctr">
                    <a:lnL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3" name="TextBox 12"/>
          <p:cNvSpPr txBox="1"/>
          <p:nvPr/>
        </p:nvSpPr>
        <p:spPr>
          <a:xfrm>
            <a:off x="2701053" y="2246166"/>
            <a:ext cx="7191152" cy="477054"/>
          </a:xfrm>
          <a:prstGeom prst="rect">
            <a:avLst/>
          </a:prstGeom>
          <a:solidFill>
            <a:schemeClr val="tx2">
              <a:lumMod val="60000"/>
              <a:lumOff val="40000"/>
              <a:alpha val="22000"/>
            </a:schemeClr>
          </a:solidFill>
        </p:spPr>
        <p:txBody>
          <a:bodyPr wrap="square" lIns="91040" tIns="45521" rIns="91040" bIns="45521">
            <a:spAutoFit/>
          </a:bodyPr>
          <a:lstStyle/>
          <a:p>
            <a:pPr>
              <a:defRPr/>
            </a:pPr>
            <a:r>
              <a:rPr lang="ko-KR" altLang="en-US" sz="2500" b="1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HY견고딕" pitchFamily="18" charset="-127"/>
                <a:ea typeface="HY견고딕" pitchFamily="18" charset="-127"/>
              </a:rPr>
              <a:t>등심단면적이 </a:t>
            </a:r>
            <a:r>
              <a:rPr lang="en-US" altLang="ko-KR" sz="2500" b="1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HY견고딕" pitchFamily="18" charset="-127"/>
                <a:ea typeface="HY견고딕" pitchFamily="18" charset="-127"/>
              </a:rPr>
              <a:t>188㎠</a:t>
            </a:r>
            <a:r>
              <a:rPr lang="ko-KR" altLang="en-US" sz="2500" b="1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HY견고딕" pitchFamily="18" charset="-127"/>
                <a:ea typeface="HY견고딕" pitchFamily="18" charset="-127"/>
              </a:rPr>
              <a:t>이나 나온 개체</a:t>
            </a:r>
            <a:r>
              <a:rPr lang="en-US" altLang="ko-KR" sz="2500" b="1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HY견고딕" pitchFamily="18" charset="-127"/>
                <a:ea typeface="HY견고딕" pitchFamily="18" charset="-127"/>
              </a:rPr>
              <a:t> </a:t>
            </a:r>
            <a:r>
              <a:rPr lang="ko-KR" altLang="en-US" sz="2500" b="1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HY견고딕" pitchFamily="18" charset="-127"/>
                <a:ea typeface="HY견고딕" pitchFamily="18" charset="-127"/>
              </a:rPr>
              <a:t>구경하세요</a:t>
            </a:r>
            <a:r>
              <a:rPr lang="en-US" altLang="ko-KR" sz="2500" b="1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HY견고딕" pitchFamily="18" charset="-127"/>
                <a:ea typeface="HY견고딕" pitchFamily="18" charset="-127"/>
              </a:rPr>
              <a:t>!</a:t>
            </a:r>
            <a:endParaRPr lang="ko-KR" altLang="en-US" sz="2500" b="1" dirty="0">
              <a:ln w="17780" cmpd="sng">
                <a:solidFill>
                  <a:srgbClr val="FFFFFF"/>
                </a:solidFill>
                <a:prstDash val="solid"/>
                <a:miter lim="800000"/>
              </a:ln>
              <a:gradFill rotWithShape="1">
                <a:gsLst>
                  <a:gs pos="0">
                    <a:srgbClr val="000000">
                      <a:tint val="92000"/>
                      <a:shade val="100000"/>
                      <a:satMod val="150000"/>
                    </a:srgbClr>
                  </a:gs>
                  <a:gs pos="49000">
                    <a:srgbClr val="000000">
                      <a:tint val="89000"/>
                      <a:shade val="90000"/>
                      <a:satMod val="150000"/>
                    </a:srgbClr>
                  </a:gs>
                  <a:gs pos="50000">
                    <a:srgbClr val="000000">
                      <a:tint val="100000"/>
                      <a:shade val="75000"/>
                      <a:satMod val="150000"/>
                    </a:srgbClr>
                  </a:gs>
                  <a:gs pos="95000">
                    <a:srgbClr val="000000">
                      <a:shade val="47000"/>
                      <a:satMod val="150000"/>
                    </a:srgbClr>
                  </a:gs>
                  <a:gs pos="100000">
                    <a:srgbClr val="000000">
                      <a:shade val="39000"/>
                      <a:satMod val="150000"/>
                    </a:srgbClr>
                  </a:gs>
                </a:gsLst>
                <a:lin ang="5400000"/>
              </a:gradFill>
              <a:effectLst>
                <a:outerShdw blurRad="50800" algn="tl" rotWithShape="0">
                  <a:srgbClr val="000000"/>
                </a:outerShdw>
              </a:effectLst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14" name="직사각형 18"/>
          <p:cNvSpPr>
            <a:spLocks noChangeArrowheads="1"/>
          </p:cNvSpPr>
          <p:nvPr/>
        </p:nvSpPr>
        <p:spPr bwMode="auto">
          <a:xfrm>
            <a:off x="971758" y="2247371"/>
            <a:ext cx="1713123" cy="4920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40" tIns="45521" rIns="91040" bIns="45521">
            <a:spAutoFit/>
          </a:bodyPr>
          <a:lstStyle>
            <a:lvl1pPr eaLnBrk="0" hangingPunct="0"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1pPr>
            <a:lvl2pPr marL="742950" indent="-28575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2pPr>
            <a:lvl3pPr marL="11430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3pPr>
            <a:lvl4pPr marL="16002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4pPr>
            <a:lvl5pPr marL="2057400" indent="-228600" eaLnBrk="0" hangingPunct="0"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kumimoji="1">
                <a:solidFill>
                  <a:schemeClr val="tx1"/>
                </a:solidFill>
                <a:latin typeface="Arial" pitchFamily="34" charset="0"/>
                <a:ea typeface="굴림" pitchFamily="50" charset="-127"/>
              </a:defRPr>
            </a:lvl9pPr>
          </a:lstStyle>
          <a:p>
            <a:pPr algn="ctr" eaLnBrk="1" hangingPunct="1"/>
            <a:r>
              <a:rPr lang="en-US" altLang="ko-KR" sz="2600" b="1"/>
              <a:t>[</a:t>
            </a:r>
            <a:r>
              <a:rPr lang="ko-KR" altLang="en-US" sz="2600" b="1"/>
              <a:t>혈통정보</a:t>
            </a:r>
            <a:r>
              <a:rPr lang="en-US" altLang="ko-KR" sz="2600" b="1"/>
              <a:t>]</a:t>
            </a:r>
            <a:endParaRPr lang="ko-KR" altLang="en-US" sz="2600"/>
          </a:p>
        </p:txBody>
      </p:sp>
      <p:sp>
        <p:nvSpPr>
          <p:cNvPr id="15" name="직사각형 14"/>
          <p:cNvSpPr/>
          <p:nvPr/>
        </p:nvSpPr>
        <p:spPr>
          <a:xfrm>
            <a:off x="801208" y="6671732"/>
            <a:ext cx="8997168" cy="415096"/>
          </a:xfrm>
          <a:prstGeom prst="rect">
            <a:avLst/>
          </a:prstGeom>
        </p:spPr>
        <p:txBody>
          <a:bodyPr wrap="none" lIns="91040" tIns="45521" rIns="91040" bIns="45521">
            <a:spAutoFit/>
          </a:bodyPr>
          <a:lstStyle/>
          <a:p>
            <a:pPr>
              <a:defRPr/>
            </a:pPr>
            <a:r>
              <a:rPr lang="en-US" altLang="ko-KR" sz="21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“1990</a:t>
            </a:r>
            <a:r>
              <a:rPr lang="ko-KR" altLang="en-US" sz="21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년대부터 계획적인 교배로 </a:t>
            </a:r>
            <a:r>
              <a:rPr lang="en-US" altLang="ko-KR" sz="2100" b="1" u="sng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5</a:t>
            </a:r>
            <a:r>
              <a:rPr lang="ko-KR" altLang="en-US" sz="2100" b="1" u="sng" dirty="0" err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계대까지</a:t>
            </a:r>
            <a:r>
              <a:rPr lang="ko-KR" altLang="en-US" sz="2100" b="1" u="sng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개량한 </a:t>
            </a:r>
            <a:r>
              <a:rPr lang="ko-KR" altLang="en-US" sz="21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결과 </a:t>
            </a:r>
            <a:r>
              <a:rPr lang="ko-KR" altLang="en-US" sz="2100" b="1" dirty="0" err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우량후대축</a:t>
            </a:r>
            <a:r>
              <a:rPr lang="ko-KR" altLang="en-US" sz="21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생산</a:t>
            </a:r>
            <a:r>
              <a:rPr lang="en-US" altLang="ko-KR" sz="21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”</a:t>
            </a:r>
            <a:endParaRPr lang="ko-KR" altLang="en-US" sz="21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911106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0" y="0"/>
          <a:ext cx="10693400" cy="7580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8032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6" y="121088"/>
            <a:ext cx="183923" cy="215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040" tIns="45521" rIns="91040" bIns="45521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16" y="121088"/>
            <a:ext cx="183923" cy="215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040" tIns="45521" rIns="91040" bIns="45521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grpSp>
        <p:nvGrpSpPr>
          <p:cNvPr id="3" name="Group 11"/>
          <p:cNvGrpSpPr>
            <a:grpSpLocks/>
          </p:cNvGrpSpPr>
          <p:nvPr/>
        </p:nvGrpSpPr>
        <p:grpSpPr bwMode="auto">
          <a:xfrm>
            <a:off x="629822" y="2867648"/>
            <a:ext cx="339715" cy="339715"/>
            <a:chOff x="2078" y="1680"/>
            <a:chExt cx="1615" cy="1615"/>
          </a:xfrm>
        </p:grpSpPr>
        <p:sp>
          <p:nvSpPr>
            <p:cNvPr id="11" name="Oval 12"/>
            <p:cNvSpPr>
              <a:spLocks noChangeArrowheads="1"/>
            </p:cNvSpPr>
            <p:nvPr/>
          </p:nvSpPr>
          <p:spPr bwMode="gray">
            <a:xfrm>
              <a:off x="2078" y="1680"/>
              <a:ext cx="1615" cy="1615"/>
            </a:xfrm>
            <a:prstGeom prst="ellipse">
              <a:avLst/>
            </a:prstGeom>
            <a:gradFill rotWithShape="1">
              <a:gsLst>
                <a:gs pos="0">
                  <a:srgbClr val="767676"/>
                </a:gs>
                <a:gs pos="50000">
                  <a:srgbClr val="FFFFFF"/>
                </a:gs>
                <a:gs pos="100000">
                  <a:srgbClr val="767676"/>
                </a:gs>
              </a:gsLst>
              <a:lin ang="5400000" scaled="1"/>
            </a:gradFill>
            <a:ln w="5715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latinLnBrk="0"/>
              <a:endParaRPr kumimoji="0" lang="ko-KR" altLang="en-US"/>
            </a:p>
          </p:txBody>
        </p:sp>
        <p:sp>
          <p:nvSpPr>
            <p:cNvPr id="12" name="Oval 13"/>
            <p:cNvSpPr>
              <a:spLocks noChangeArrowheads="1"/>
            </p:cNvSpPr>
            <p:nvPr/>
          </p:nvSpPr>
          <p:spPr bwMode="gray">
            <a:xfrm>
              <a:off x="2170" y="1771"/>
              <a:ext cx="1430" cy="1430"/>
            </a:xfrm>
            <a:prstGeom prst="ellipse">
              <a:avLst/>
            </a:prstGeom>
            <a:gradFill rotWithShape="1">
              <a:gsLst>
                <a:gs pos="0">
                  <a:srgbClr val="A2A2A2"/>
                </a:gs>
                <a:gs pos="50000">
                  <a:srgbClr val="FFFFFF"/>
                </a:gs>
                <a:gs pos="100000">
                  <a:srgbClr val="A2A2A2"/>
                </a:gs>
              </a:gsLst>
              <a:lin ang="0" scaled="1"/>
            </a:gra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latinLnBrk="0"/>
              <a:endParaRPr kumimoji="0" lang="ko-KR" altLang="en-US"/>
            </a:p>
          </p:txBody>
        </p:sp>
        <p:sp>
          <p:nvSpPr>
            <p:cNvPr id="13" name="Oval 14"/>
            <p:cNvSpPr>
              <a:spLocks noChangeArrowheads="1"/>
            </p:cNvSpPr>
            <p:nvPr/>
          </p:nvSpPr>
          <p:spPr bwMode="gray">
            <a:xfrm>
              <a:off x="2253" y="1855"/>
              <a:ext cx="1265" cy="1265"/>
            </a:xfrm>
            <a:prstGeom prst="ellipse">
              <a:avLst/>
            </a:prstGeom>
            <a:gradFill rotWithShape="1">
              <a:gsLst>
                <a:gs pos="0">
                  <a:schemeClr val="hlink">
                    <a:gamma/>
                    <a:tint val="0"/>
                    <a:invGamma/>
                  </a:schemeClr>
                </a:gs>
                <a:gs pos="50000">
                  <a:schemeClr val="hlink"/>
                </a:gs>
                <a:gs pos="100000">
                  <a:schemeClr val="hlink">
                    <a:gamma/>
                    <a:tint val="0"/>
                    <a:invGamma/>
                  </a:schemeClr>
                </a:gs>
              </a:gsLst>
              <a:lin ang="27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latinLnBrk="0">
                <a:defRPr/>
              </a:pPr>
              <a:endParaRPr kumimoji="0" lang="ko-KR" altLang="en-US"/>
            </a:p>
          </p:txBody>
        </p:sp>
        <p:sp>
          <p:nvSpPr>
            <p:cNvPr id="14" name="Oval 15"/>
            <p:cNvSpPr>
              <a:spLocks noChangeArrowheads="1"/>
            </p:cNvSpPr>
            <p:nvPr/>
          </p:nvSpPr>
          <p:spPr bwMode="gray">
            <a:xfrm>
              <a:off x="2253" y="1855"/>
              <a:ext cx="1265" cy="1265"/>
            </a:xfrm>
            <a:prstGeom prst="ellipse">
              <a:avLst/>
            </a:prstGeom>
            <a:gradFill rotWithShape="1">
              <a:gsLst>
                <a:gs pos="0">
                  <a:schemeClr val="hlink">
                    <a:gamma/>
                    <a:shade val="0"/>
                    <a:invGamma/>
                  </a:schemeClr>
                </a:gs>
                <a:gs pos="100000">
                  <a:schemeClr val="hlink"/>
                </a:gs>
              </a:gsLst>
              <a:lin ang="27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latinLnBrk="0">
                <a:defRPr/>
              </a:pPr>
              <a:endParaRPr kumimoji="0" lang="ko-KR" altLang="en-US"/>
            </a:p>
          </p:txBody>
        </p:sp>
        <p:sp>
          <p:nvSpPr>
            <p:cNvPr id="15" name="Oval 16"/>
            <p:cNvSpPr>
              <a:spLocks noChangeArrowheads="1"/>
            </p:cNvSpPr>
            <p:nvPr/>
          </p:nvSpPr>
          <p:spPr bwMode="gray">
            <a:xfrm>
              <a:off x="2334" y="1936"/>
              <a:ext cx="1097" cy="1104"/>
            </a:xfrm>
            <a:prstGeom prst="ellipse">
              <a:avLst/>
            </a:prstGeom>
            <a:gradFill rotWithShape="1">
              <a:gsLst>
                <a:gs pos="0">
                  <a:schemeClr val="hlink">
                    <a:gamma/>
                    <a:shade val="54118"/>
                    <a:invGamma/>
                  </a:schemeClr>
                </a:gs>
                <a:gs pos="50000">
                  <a:schemeClr val="hlink"/>
                </a:gs>
                <a:gs pos="100000">
                  <a:schemeClr val="hlink">
                    <a:gamma/>
                    <a:shade val="54118"/>
                    <a:invGamma/>
                  </a:schemeClr>
                </a:gs>
              </a:gsLst>
              <a:lin ang="189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anchor="ctr">
              <a:spAutoFit/>
            </a:bodyPr>
            <a:lstStyle/>
            <a:p>
              <a:pPr latinLnBrk="0">
                <a:defRPr/>
              </a:pPr>
              <a:endParaRPr kumimoji="0" lang="ko-KR" altLang="en-US"/>
            </a:p>
          </p:txBody>
        </p:sp>
        <p:sp>
          <p:nvSpPr>
            <p:cNvPr id="16" name="Oval 17"/>
            <p:cNvSpPr>
              <a:spLocks noChangeArrowheads="1"/>
            </p:cNvSpPr>
            <p:nvPr/>
          </p:nvSpPr>
          <p:spPr bwMode="gray">
            <a:xfrm>
              <a:off x="2334" y="1936"/>
              <a:ext cx="1097" cy="1104"/>
            </a:xfrm>
            <a:prstGeom prst="ellipse">
              <a:avLst/>
            </a:prstGeom>
            <a:gradFill rotWithShape="1">
              <a:gsLst>
                <a:gs pos="0">
                  <a:schemeClr val="hlink"/>
                </a:gs>
                <a:gs pos="100000">
                  <a:schemeClr val="hlink">
                    <a:gamma/>
                    <a:shade val="48627"/>
                    <a:invGamma/>
                  </a:schemeClr>
                </a:gs>
              </a:gsLst>
              <a:lin ang="27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anchor="ctr">
              <a:spAutoFit/>
            </a:bodyPr>
            <a:lstStyle/>
            <a:p>
              <a:pPr latinLnBrk="0">
                <a:defRPr/>
              </a:pPr>
              <a:endParaRPr kumimoji="0" lang="ko-KR" altLang="en-US"/>
            </a:p>
          </p:txBody>
        </p:sp>
      </p:grpSp>
      <p:grpSp>
        <p:nvGrpSpPr>
          <p:cNvPr id="6" name="Group 11"/>
          <p:cNvGrpSpPr>
            <a:grpSpLocks/>
          </p:cNvGrpSpPr>
          <p:nvPr/>
        </p:nvGrpSpPr>
        <p:grpSpPr bwMode="auto">
          <a:xfrm>
            <a:off x="608118" y="1541095"/>
            <a:ext cx="339715" cy="320606"/>
            <a:chOff x="2078" y="1680"/>
            <a:chExt cx="1615" cy="1615"/>
          </a:xfrm>
        </p:grpSpPr>
        <p:sp>
          <p:nvSpPr>
            <p:cNvPr id="18" name="Oval 12"/>
            <p:cNvSpPr>
              <a:spLocks noChangeArrowheads="1"/>
            </p:cNvSpPr>
            <p:nvPr/>
          </p:nvSpPr>
          <p:spPr bwMode="gray">
            <a:xfrm>
              <a:off x="2078" y="1680"/>
              <a:ext cx="1615" cy="1615"/>
            </a:xfrm>
            <a:prstGeom prst="ellipse">
              <a:avLst/>
            </a:prstGeom>
            <a:gradFill rotWithShape="1">
              <a:gsLst>
                <a:gs pos="0">
                  <a:srgbClr val="767676"/>
                </a:gs>
                <a:gs pos="50000">
                  <a:srgbClr val="FFFFFF"/>
                </a:gs>
                <a:gs pos="100000">
                  <a:srgbClr val="767676"/>
                </a:gs>
              </a:gsLst>
              <a:lin ang="5400000" scaled="1"/>
            </a:gradFill>
            <a:ln w="57150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latinLnBrk="0"/>
              <a:endParaRPr kumimoji="0" lang="ko-KR" altLang="en-US"/>
            </a:p>
          </p:txBody>
        </p:sp>
        <p:sp>
          <p:nvSpPr>
            <p:cNvPr id="19" name="Oval 13"/>
            <p:cNvSpPr>
              <a:spLocks noChangeArrowheads="1"/>
            </p:cNvSpPr>
            <p:nvPr/>
          </p:nvSpPr>
          <p:spPr bwMode="gray">
            <a:xfrm>
              <a:off x="2170" y="1771"/>
              <a:ext cx="1430" cy="1430"/>
            </a:xfrm>
            <a:prstGeom prst="ellipse">
              <a:avLst/>
            </a:prstGeom>
            <a:gradFill rotWithShape="1">
              <a:gsLst>
                <a:gs pos="0">
                  <a:srgbClr val="A2A2A2"/>
                </a:gs>
                <a:gs pos="50000">
                  <a:srgbClr val="FFFFFF"/>
                </a:gs>
                <a:gs pos="100000">
                  <a:srgbClr val="A2A2A2"/>
                </a:gs>
              </a:gsLst>
              <a:lin ang="0" scaled="1"/>
            </a:gradFill>
            <a:ln w="9525" algn="ctr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latinLnBrk="0"/>
              <a:endParaRPr kumimoji="0" lang="ko-KR" altLang="en-US"/>
            </a:p>
          </p:txBody>
        </p:sp>
        <p:sp>
          <p:nvSpPr>
            <p:cNvPr id="20" name="Oval 14"/>
            <p:cNvSpPr>
              <a:spLocks noChangeArrowheads="1"/>
            </p:cNvSpPr>
            <p:nvPr/>
          </p:nvSpPr>
          <p:spPr bwMode="gray">
            <a:xfrm>
              <a:off x="2253" y="1855"/>
              <a:ext cx="1265" cy="1265"/>
            </a:xfrm>
            <a:prstGeom prst="ellipse">
              <a:avLst/>
            </a:prstGeom>
            <a:gradFill rotWithShape="1">
              <a:gsLst>
                <a:gs pos="0">
                  <a:schemeClr val="hlink">
                    <a:gamma/>
                    <a:tint val="0"/>
                    <a:invGamma/>
                  </a:schemeClr>
                </a:gs>
                <a:gs pos="50000">
                  <a:schemeClr val="hlink"/>
                </a:gs>
                <a:gs pos="100000">
                  <a:schemeClr val="hlink">
                    <a:gamma/>
                    <a:tint val="0"/>
                    <a:invGamma/>
                  </a:schemeClr>
                </a:gs>
              </a:gsLst>
              <a:lin ang="27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latinLnBrk="0">
                <a:defRPr/>
              </a:pPr>
              <a:endParaRPr kumimoji="0" lang="ko-KR" altLang="en-US"/>
            </a:p>
          </p:txBody>
        </p:sp>
        <p:sp>
          <p:nvSpPr>
            <p:cNvPr id="21" name="Oval 15"/>
            <p:cNvSpPr>
              <a:spLocks noChangeArrowheads="1"/>
            </p:cNvSpPr>
            <p:nvPr/>
          </p:nvSpPr>
          <p:spPr bwMode="gray">
            <a:xfrm>
              <a:off x="2253" y="1855"/>
              <a:ext cx="1265" cy="1265"/>
            </a:xfrm>
            <a:prstGeom prst="ellipse">
              <a:avLst/>
            </a:prstGeom>
            <a:gradFill rotWithShape="1">
              <a:gsLst>
                <a:gs pos="0">
                  <a:schemeClr val="hlink">
                    <a:gamma/>
                    <a:shade val="0"/>
                    <a:invGamma/>
                  </a:schemeClr>
                </a:gs>
                <a:gs pos="100000">
                  <a:schemeClr val="hlink"/>
                </a:gs>
              </a:gsLst>
              <a:lin ang="27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wrap="none" anchor="ctr">
              <a:spAutoFit/>
            </a:bodyPr>
            <a:lstStyle/>
            <a:p>
              <a:pPr latinLnBrk="0">
                <a:defRPr/>
              </a:pPr>
              <a:endParaRPr kumimoji="0" lang="ko-KR" altLang="en-US"/>
            </a:p>
          </p:txBody>
        </p:sp>
        <p:sp>
          <p:nvSpPr>
            <p:cNvPr id="22" name="Oval 16"/>
            <p:cNvSpPr>
              <a:spLocks noChangeArrowheads="1"/>
            </p:cNvSpPr>
            <p:nvPr/>
          </p:nvSpPr>
          <p:spPr bwMode="gray">
            <a:xfrm>
              <a:off x="2334" y="1936"/>
              <a:ext cx="1097" cy="1104"/>
            </a:xfrm>
            <a:prstGeom prst="ellipse">
              <a:avLst/>
            </a:prstGeom>
            <a:gradFill rotWithShape="1">
              <a:gsLst>
                <a:gs pos="0">
                  <a:schemeClr val="hlink">
                    <a:gamma/>
                    <a:shade val="54118"/>
                    <a:invGamma/>
                  </a:schemeClr>
                </a:gs>
                <a:gs pos="50000">
                  <a:schemeClr val="hlink"/>
                </a:gs>
                <a:gs pos="100000">
                  <a:schemeClr val="hlink">
                    <a:gamma/>
                    <a:shade val="54118"/>
                    <a:invGamma/>
                  </a:schemeClr>
                </a:gs>
              </a:gsLst>
              <a:lin ang="189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anchor="ctr">
              <a:spAutoFit/>
            </a:bodyPr>
            <a:lstStyle/>
            <a:p>
              <a:pPr latinLnBrk="0">
                <a:defRPr/>
              </a:pPr>
              <a:endParaRPr kumimoji="0" lang="ko-KR" altLang="en-US"/>
            </a:p>
          </p:txBody>
        </p:sp>
        <p:sp>
          <p:nvSpPr>
            <p:cNvPr id="23" name="Oval 17"/>
            <p:cNvSpPr>
              <a:spLocks noChangeArrowheads="1"/>
            </p:cNvSpPr>
            <p:nvPr/>
          </p:nvSpPr>
          <p:spPr bwMode="gray">
            <a:xfrm>
              <a:off x="2334" y="1936"/>
              <a:ext cx="1097" cy="1104"/>
            </a:xfrm>
            <a:prstGeom prst="ellipse">
              <a:avLst/>
            </a:prstGeom>
            <a:gradFill rotWithShape="1">
              <a:gsLst>
                <a:gs pos="0">
                  <a:schemeClr val="hlink"/>
                </a:gs>
                <a:gs pos="100000">
                  <a:schemeClr val="hlink">
                    <a:gamma/>
                    <a:shade val="48627"/>
                    <a:invGamma/>
                  </a:schemeClr>
                </a:gs>
              </a:gsLst>
              <a:lin ang="2700000" scaled="1"/>
            </a:gradFill>
            <a:ln w="38100" algn="ctr">
              <a:noFill/>
              <a:round/>
              <a:headEnd/>
              <a:tailEnd/>
            </a:ln>
            <a:effectLst/>
          </p:spPr>
          <p:txBody>
            <a:bodyPr anchor="ctr">
              <a:spAutoFit/>
            </a:bodyPr>
            <a:lstStyle/>
            <a:p>
              <a:pPr latinLnBrk="0">
                <a:defRPr/>
              </a:pPr>
              <a:endParaRPr kumimoji="0" lang="ko-KR" altLang="en-US"/>
            </a:p>
          </p:txBody>
        </p:sp>
      </p:grpSp>
      <p:sp>
        <p:nvSpPr>
          <p:cNvPr id="24" name="Rectangle 101"/>
          <p:cNvSpPr>
            <a:spLocks noChangeArrowheads="1"/>
          </p:cNvSpPr>
          <p:nvPr/>
        </p:nvSpPr>
        <p:spPr bwMode="auto">
          <a:xfrm>
            <a:off x="-8895" y="159188"/>
            <a:ext cx="5652120" cy="641356"/>
          </a:xfrm>
          <a:prstGeom prst="rect">
            <a:avLst/>
          </a:prstGeom>
          <a:gradFill rotWithShape="1">
            <a:gsLst>
              <a:gs pos="0">
                <a:schemeClr val="bg1"/>
              </a:gs>
              <a:gs pos="100000">
                <a:srgbClr val="99CCFF"/>
              </a:gs>
            </a:gsLst>
            <a:path path="shape">
              <a:fillToRect l="50000" t="50000" r="50000" b="50000"/>
            </a:path>
          </a:gradFill>
          <a:ln w="9525" algn="ctr">
            <a:noFill/>
            <a:miter lim="800000"/>
            <a:headEnd/>
            <a:tailEnd/>
          </a:ln>
          <a:effectLst/>
          <a:scene3d>
            <a:camera prst="legacyObliqueTopRight"/>
            <a:lightRig rig="legacyFlat3" dir="b"/>
          </a:scene3d>
          <a:sp3d extrusionH="430200" prstMaterial="legacyMatte">
            <a:bevelT w="13500" h="13500" prst="angle"/>
            <a:bevelB w="13500" h="13500" prst="angle"/>
            <a:extrusionClr>
              <a:srgbClr val="99CCFF"/>
            </a:extrusionClr>
          </a:sp3d>
        </p:spPr>
        <p:txBody>
          <a:bodyPr anchor="ctr" anchorCtr="1">
            <a:flatTx/>
          </a:bodyPr>
          <a:lstStyle/>
          <a:p>
            <a:pPr marL="180975" algn="l">
              <a:defRPr/>
            </a:pPr>
            <a:r>
              <a:rPr lang="ko-KR" altLang="en-US" sz="3200" dirty="0" smtClean="0">
                <a:latin typeface="HY견고딕" pitchFamily="18" charset="-127"/>
                <a:ea typeface="HY견고딕" pitchFamily="18" charset="-127"/>
              </a:rPr>
              <a:t>암소 유전형질 개량사업</a:t>
            </a:r>
            <a:endParaRPr lang="ko-KR" altLang="en-US" sz="3200" dirty="0"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25" name="모서리가 둥근 직사각형 24"/>
          <p:cNvSpPr/>
          <p:nvPr/>
        </p:nvSpPr>
        <p:spPr>
          <a:xfrm>
            <a:off x="251520" y="945316"/>
            <a:ext cx="10225750" cy="6120680"/>
          </a:xfrm>
          <a:prstGeom prst="roundRect">
            <a:avLst/>
          </a:prstGeom>
          <a:noFill/>
          <a:effectLst>
            <a:innerShdw blurRad="63500" dist="50800" dir="18900000">
              <a:prstClr val="black">
                <a:alpha val="50000"/>
              </a:prstClr>
            </a:inn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endParaRPr lang="ko-KR" altLang="en-US" dirty="0">
              <a:latin typeface="HY중고딕" pitchFamily="18" charset="-127"/>
              <a:ea typeface="HY중고딕" pitchFamily="18" charset="-127"/>
            </a:endParaRPr>
          </a:p>
        </p:txBody>
      </p:sp>
      <p:sp>
        <p:nvSpPr>
          <p:cNvPr id="26" name="직사각형 25"/>
          <p:cNvSpPr/>
          <p:nvPr/>
        </p:nvSpPr>
        <p:spPr>
          <a:xfrm>
            <a:off x="479492" y="1305356"/>
            <a:ext cx="9846050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ko-KR" altLang="en-US" sz="2800" b="1" dirty="0" smtClean="0">
                <a:latin typeface="HY견고딕" pitchFamily="18" charset="-127"/>
                <a:ea typeface="HY견고딕" pitchFamily="18" charset="-127"/>
              </a:rPr>
              <a:t>    </a:t>
            </a:r>
            <a:r>
              <a:rPr lang="ko-KR" altLang="en-US" sz="2400" b="1" dirty="0" smtClean="0">
                <a:latin typeface="HY견고딕" pitchFamily="18" charset="-127"/>
                <a:ea typeface="HY견고딕" pitchFamily="18" charset="-127"/>
              </a:rPr>
              <a:t>목 적 </a:t>
            </a:r>
            <a:endParaRPr lang="en-US" altLang="ko-KR" sz="2400" b="1" dirty="0" smtClean="0">
              <a:latin typeface="HY견고딕" pitchFamily="18" charset="-127"/>
              <a:ea typeface="HY견고딕" pitchFamily="18" charset="-127"/>
            </a:endParaRPr>
          </a:p>
          <a:p>
            <a:r>
              <a:rPr lang="en-US" altLang="ko-KR" sz="2800" b="1" dirty="0" smtClean="0">
                <a:latin typeface="HY견고딕" pitchFamily="18" charset="-127"/>
                <a:ea typeface="HY견고딕" pitchFamily="18" charset="-127"/>
              </a:rPr>
              <a:t>    </a:t>
            </a:r>
            <a:r>
              <a:rPr lang="ko-KR" altLang="en-US" sz="1800" dirty="0" smtClean="0">
                <a:latin typeface="HY중고딕" pitchFamily="18" charset="-127"/>
                <a:ea typeface="HY중고딕" pitchFamily="18" charset="-127"/>
              </a:rPr>
              <a:t>가</a:t>
            </a:r>
            <a:r>
              <a:rPr lang="en-US" altLang="ko-KR" sz="1800" dirty="0" smtClean="0">
                <a:latin typeface="HY중고딕" pitchFamily="18" charset="-127"/>
                <a:ea typeface="HY중고딕" pitchFamily="18" charset="-127"/>
              </a:rPr>
              <a:t>. </a:t>
            </a:r>
            <a:r>
              <a:rPr lang="ko-KR" altLang="en-US" sz="1800" spc="-150" dirty="0" smtClean="0">
                <a:latin typeface="HY중고딕" pitchFamily="18" charset="-127"/>
                <a:ea typeface="HY중고딕" pitchFamily="18" charset="-127"/>
              </a:rPr>
              <a:t>암소 유전형질개량으로 </a:t>
            </a:r>
            <a:r>
              <a:rPr lang="ko-KR" altLang="en-US" sz="1800" spc="-150" dirty="0" err="1" smtClean="0">
                <a:latin typeface="HY중고딕" pitchFamily="18" charset="-127"/>
                <a:ea typeface="HY중고딕" pitchFamily="18" charset="-127"/>
              </a:rPr>
              <a:t>고급육</a:t>
            </a:r>
            <a:r>
              <a:rPr lang="ko-KR" altLang="en-US" sz="1800" spc="-150" dirty="0" smtClean="0">
                <a:latin typeface="HY중고딕" pitchFamily="18" charset="-127"/>
                <a:ea typeface="HY중고딕" pitchFamily="18" charset="-127"/>
              </a:rPr>
              <a:t> 생산을 위한 우량 암소기반 구축 및 우수한 경제형질 육성</a:t>
            </a:r>
          </a:p>
          <a:p>
            <a:r>
              <a:rPr lang="ko-KR" altLang="en-US" sz="1800" dirty="0" smtClean="0">
                <a:latin typeface="HY중고딕" pitchFamily="18" charset="-127"/>
                <a:ea typeface="HY중고딕" pitchFamily="18" charset="-127"/>
              </a:rPr>
              <a:t>      나</a:t>
            </a:r>
            <a:r>
              <a:rPr lang="en-US" altLang="ko-KR" sz="1800" dirty="0" smtClean="0">
                <a:latin typeface="HY중고딕" pitchFamily="18" charset="-127"/>
                <a:ea typeface="HY중고딕" pitchFamily="18" charset="-127"/>
              </a:rPr>
              <a:t>. </a:t>
            </a:r>
            <a:r>
              <a:rPr lang="ko-KR" altLang="en-US" sz="1800" dirty="0" smtClean="0">
                <a:latin typeface="HY중고딕" pitchFamily="18" charset="-127"/>
                <a:ea typeface="HY중고딕" pitchFamily="18" charset="-127"/>
              </a:rPr>
              <a:t>가축개량을 통한 우량가축 생산으로 생산성 향상 및 소득증대</a:t>
            </a:r>
            <a:endParaRPr lang="ko-KR" altLang="en-US" sz="1800" dirty="0">
              <a:latin typeface="HY중고딕" pitchFamily="18" charset="-127"/>
              <a:ea typeface="HY중고딕" pitchFamily="18" charset="-127"/>
            </a:endParaRPr>
          </a:p>
        </p:txBody>
      </p:sp>
      <p:graphicFrame>
        <p:nvGraphicFramePr>
          <p:cNvPr id="27" name="표 26"/>
          <p:cNvGraphicFramePr>
            <a:graphicFrameLocks noGrp="1"/>
          </p:cNvGraphicFramePr>
          <p:nvPr/>
        </p:nvGraphicFramePr>
        <p:xfrm>
          <a:off x="861038" y="3615002"/>
          <a:ext cx="8704564" cy="3127390"/>
        </p:xfrm>
        <a:graphic>
          <a:graphicData uri="http://schemas.openxmlformats.org/drawingml/2006/table">
            <a:tbl>
              <a:tblPr/>
              <a:tblGrid>
                <a:gridCol w="1306109"/>
                <a:gridCol w="979053"/>
                <a:gridCol w="1306106"/>
                <a:gridCol w="1414741"/>
                <a:gridCol w="1414741"/>
                <a:gridCol w="1332018"/>
                <a:gridCol w="951796"/>
              </a:tblGrid>
              <a:tr h="426354"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b="1" dirty="0">
                          <a:solidFill>
                            <a:srgbClr val="000000"/>
                          </a:solidFill>
                          <a:latin typeface="HY중고딕" pitchFamily="18" charset="-127"/>
                          <a:ea typeface="HY중고딕" pitchFamily="18" charset="-127"/>
                        </a:rPr>
                        <a:t>구 분</a:t>
                      </a:r>
                    </a:p>
                  </a:txBody>
                  <a:tcPr marL="17907" marR="17907" marT="17907" marB="17907" anchor="ctr">
                    <a:lnL>
                      <a:noFill/>
                    </a:lnL>
                    <a:lnR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2385" cap="flat" cmpd="thickThin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b="1" dirty="0" err="1">
                          <a:solidFill>
                            <a:srgbClr val="000000"/>
                          </a:solidFill>
                          <a:latin typeface="HY중고딕" pitchFamily="18" charset="-127"/>
                          <a:ea typeface="HY중고딕" pitchFamily="18" charset="-127"/>
                        </a:rPr>
                        <a:t>사업량</a:t>
                      </a:r>
                      <a:endParaRPr lang="ko-KR" altLang="en-US" sz="1600" b="1" dirty="0">
                        <a:solidFill>
                          <a:srgbClr val="000000"/>
                        </a:solidFill>
                        <a:latin typeface="HY중고딕" pitchFamily="18" charset="-127"/>
                        <a:ea typeface="HY중고딕" pitchFamily="18" charset="-127"/>
                      </a:endParaRP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600" b="1" dirty="0">
                          <a:solidFill>
                            <a:srgbClr val="000000"/>
                          </a:solidFill>
                          <a:latin typeface="HY중고딕" pitchFamily="18" charset="-127"/>
                          <a:ea typeface="HY중고딕" pitchFamily="18" charset="-127"/>
                        </a:rPr>
                        <a:t>(</a:t>
                      </a:r>
                      <a:r>
                        <a:rPr lang="ko-KR" altLang="en-US" sz="1600" b="1" dirty="0">
                          <a:solidFill>
                            <a:srgbClr val="000000"/>
                          </a:solidFill>
                          <a:latin typeface="HY중고딕" pitchFamily="18" charset="-127"/>
                          <a:ea typeface="HY중고딕" pitchFamily="18" charset="-127"/>
                        </a:rPr>
                        <a:t>두</a:t>
                      </a:r>
                      <a:r>
                        <a:rPr lang="en-US" altLang="ko-KR" sz="1600" b="1" dirty="0">
                          <a:solidFill>
                            <a:srgbClr val="000000"/>
                          </a:solidFill>
                          <a:latin typeface="HY중고딕" pitchFamily="18" charset="-127"/>
                          <a:ea typeface="HY중고딕" pitchFamily="18" charset="-127"/>
                        </a:rPr>
                        <a:t>)</a:t>
                      </a:r>
                      <a:endParaRPr lang="ko-KR" altLang="en-US" sz="1600" b="1" dirty="0">
                        <a:solidFill>
                          <a:srgbClr val="000000"/>
                        </a:solidFill>
                        <a:latin typeface="HY중고딕" pitchFamily="18" charset="-127"/>
                        <a:ea typeface="HY중고딕" pitchFamily="18" charset="-127"/>
                      </a:endParaRPr>
                    </a:p>
                  </a:txBody>
                  <a:tcPr marL="17907" marR="17907" marT="17907" marB="17907" anchor="ctr">
                    <a:lnL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2385" cap="flat" cmpd="thickThin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b="1" dirty="0">
                          <a:solidFill>
                            <a:srgbClr val="000000"/>
                          </a:solidFill>
                          <a:latin typeface="HY중고딕" pitchFamily="18" charset="-127"/>
                          <a:ea typeface="HY중고딕" pitchFamily="18" charset="-127"/>
                        </a:rPr>
                        <a:t>사 업 비 </a:t>
                      </a:r>
                      <a:r>
                        <a:rPr lang="en-US" altLang="ko-KR" sz="1600" b="1" dirty="0">
                          <a:solidFill>
                            <a:srgbClr val="000000"/>
                          </a:solidFill>
                          <a:latin typeface="HY중고딕" pitchFamily="18" charset="-127"/>
                          <a:ea typeface="HY중고딕" pitchFamily="18" charset="-127"/>
                        </a:rPr>
                        <a:t>(</a:t>
                      </a:r>
                      <a:r>
                        <a:rPr lang="ko-KR" altLang="en-US" sz="1600" b="1" dirty="0">
                          <a:solidFill>
                            <a:srgbClr val="000000"/>
                          </a:solidFill>
                          <a:latin typeface="HY중고딕" pitchFamily="18" charset="-127"/>
                          <a:ea typeface="HY중고딕" pitchFamily="18" charset="-127"/>
                        </a:rPr>
                        <a:t>천원</a:t>
                      </a:r>
                      <a:r>
                        <a:rPr lang="en-US" altLang="ko-KR" sz="1600" b="1" dirty="0">
                          <a:solidFill>
                            <a:srgbClr val="000000"/>
                          </a:solidFill>
                          <a:latin typeface="HY중고딕" pitchFamily="18" charset="-127"/>
                          <a:ea typeface="HY중고딕" pitchFamily="18" charset="-127"/>
                        </a:rPr>
                        <a:t>)</a:t>
                      </a:r>
                      <a:endParaRPr lang="ko-KR" altLang="en-US" sz="1600" b="1" dirty="0">
                        <a:solidFill>
                          <a:srgbClr val="000000"/>
                        </a:solidFill>
                        <a:latin typeface="HY중고딕" pitchFamily="18" charset="-127"/>
                        <a:ea typeface="HY중고딕" pitchFamily="18" charset="-127"/>
                      </a:endParaRPr>
                    </a:p>
                  </a:txBody>
                  <a:tcPr marL="17907" marR="17907" marT="17907" marB="17907" anchor="ctr">
                    <a:lnL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2385" cap="flat" cmpd="thickThin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b="1">
                          <a:solidFill>
                            <a:srgbClr val="000000"/>
                          </a:solidFill>
                          <a:latin typeface="HY중고딕" pitchFamily="18" charset="-127"/>
                          <a:ea typeface="HY중고딕" pitchFamily="18" charset="-127"/>
                        </a:rPr>
                        <a:t>비고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600" b="1">
                          <a:solidFill>
                            <a:srgbClr val="000000"/>
                          </a:solidFill>
                          <a:latin typeface="HY중고딕" pitchFamily="18" charset="-127"/>
                          <a:ea typeface="HY중고딕" pitchFamily="18" charset="-127"/>
                        </a:rPr>
                        <a:t>(</a:t>
                      </a:r>
                      <a:r>
                        <a:rPr lang="ko-KR" altLang="en-US" sz="1600" b="1">
                          <a:solidFill>
                            <a:srgbClr val="000000"/>
                          </a:solidFill>
                          <a:latin typeface="HY중고딕" pitchFamily="18" charset="-127"/>
                          <a:ea typeface="HY중고딕" pitchFamily="18" charset="-127"/>
                        </a:rPr>
                        <a:t>보조율</a:t>
                      </a:r>
                      <a:r>
                        <a:rPr lang="en-US" altLang="ko-KR" sz="1600" b="1">
                          <a:solidFill>
                            <a:srgbClr val="000000"/>
                          </a:solidFill>
                          <a:latin typeface="HY중고딕" pitchFamily="18" charset="-127"/>
                          <a:ea typeface="HY중고딕" pitchFamily="18" charset="-127"/>
                        </a:rPr>
                        <a:t>)</a:t>
                      </a:r>
                      <a:endParaRPr lang="ko-KR" altLang="en-US" sz="1600" b="1">
                        <a:solidFill>
                          <a:srgbClr val="000000"/>
                        </a:solidFill>
                        <a:latin typeface="HY중고딕" pitchFamily="18" charset="-127"/>
                        <a:ea typeface="HY중고딕" pitchFamily="18" charset="-127"/>
                      </a:endParaRPr>
                    </a:p>
                  </a:txBody>
                  <a:tcPr marL="17907" marR="17907" marT="17907" marB="17907" anchor="ctr">
                    <a:lnL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2385" cap="flat" cmpd="thickThin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75259"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b="1" dirty="0">
                          <a:solidFill>
                            <a:srgbClr val="000000"/>
                          </a:solidFill>
                          <a:latin typeface="HY중고딕" pitchFamily="18" charset="-127"/>
                          <a:ea typeface="HY중고딕" pitchFamily="18" charset="-127"/>
                        </a:rPr>
                        <a:t>계</a:t>
                      </a:r>
                    </a:p>
                  </a:txBody>
                  <a:tcPr marL="17907" marR="17907" marT="17907" marB="17907" anchor="ctr">
                    <a:lnL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b="1" dirty="0">
                          <a:solidFill>
                            <a:srgbClr val="000000"/>
                          </a:solidFill>
                          <a:latin typeface="HY중고딕" pitchFamily="18" charset="-127"/>
                          <a:ea typeface="HY중고딕" pitchFamily="18" charset="-127"/>
                        </a:rPr>
                        <a:t>도비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600" b="1" dirty="0">
                          <a:solidFill>
                            <a:srgbClr val="000000"/>
                          </a:solidFill>
                          <a:latin typeface="HY중고딕" pitchFamily="18" charset="-127"/>
                          <a:ea typeface="HY중고딕" pitchFamily="18" charset="-127"/>
                        </a:rPr>
                        <a:t>(20%)</a:t>
                      </a:r>
                      <a:endParaRPr lang="ko-KR" altLang="en-US" sz="1600" b="1" dirty="0">
                        <a:solidFill>
                          <a:srgbClr val="000000"/>
                        </a:solidFill>
                        <a:latin typeface="HY중고딕" pitchFamily="18" charset="-127"/>
                        <a:ea typeface="HY중고딕" pitchFamily="18" charset="-127"/>
                      </a:endParaRPr>
                    </a:p>
                  </a:txBody>
                  <a:tcPr marL="17907" marR="17907" marT="17907" marB="17907" anchor="ctr">
                    <a:lnL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b="1" dirty="0" err="1">
                          <a:solidFill>
                            <a:srgbClr val="000000"/>
                          </a:solidFill>
                          <a:latin typeface="HY중고딕" pitchFamily="18" charset="-127"/>
                          <a:ea typeface="HY중고딕" pitchFamily="18" charset="-127"/>
                        </a:rPr>
                        <a:t>시군비</a:t>
                      </a:r>
                      <a:endParaRPr lang="ko-KR" altLang="en-US" sz="1600" b="1" dirty="0">
                        <a:solidFill>
                          <a:srgbClr val="000000"/>
                        </a:solidFill>
                        <a:latin typeface="HY중고딕" pitchFamily="18" charset="-127"/>
                        <a:ea typeface="HY중고딕" pitchFamily="18" charset="-127"/>
                      </a:endParaRP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600" b="1" dirty="0">
                          <a:solidFill>
                            <a:srgbClr val="000000"/>
                          </a:solidFill>
                          <a:latin typeface="HY중고딕" pitchFamily="18" charset="-127"/>
                          <a:ea typeface="HY중고딕" pitchFamily="18" charset="-127"/>
                        </a:rPr>
                        <a:t>(40%)</a:t>
                      </a:r>
                      <a:endParaRPr lang="ko-KR" altLang="en-US" sz="1600" b="1" dirty="0">
                        <a:solidFill>
                          <a:srgbClr val="000000"/>
                        </a:solidFill>
                        <a:latin typeface="HY중고딕" pitchFamily="18" charset="-127"/>
                        <a:ea typeface="HY중고딕" pitchFamily="18" charset="-127"/>
                      </a:endParaRPr>
                    </a:p>
                  </a:txBody>
                  <a:tcPr marL="17907" marR="17907" marT="17907" marB="17907" anchor="ctr">
                    <a:lnL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b="1" dirty="0">
                          <a:solidFill>
                            <a:srgbClr val="000000"/>
                          </a:solidFill>
                          <a:latin typeface="HY중고딕" pitchFamily="18" charset="-127"/>
                          <a:ea typeface="HY중고딕" pitchFamily="18" charset="-127"/>
                        </a:rPr>
                        <a:t>자 담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altLang="ko-KR" sz="1600" b="1" dirty="0">
                          <a:solidFill>
                            <a:srgbClr val="000000"/>
                          </a:solidFill>
                          <a:latin typeface="HY중고딕" pitchFamily="18" charset="-127"/>
                          <a:ea typeface="HY중고딕" pitchFamily="18" charset="-127"/>
                        </a:rPr>
                        <a:t>(40%)</a:t>
                      </a:r>
                      <a:endParaRPr lang="ko-KR" altLang="en-US" sz="1600" b="1" dirty="0">
                        <a:solidFill>
                          <a:srgbClr val="000000"/>
                        </a:solidFill>
                        <a:latin typeface="HY중고딕" pitchFamily="18" charset="-127"/>
                        <a:ea typeface="HY중고딕" pitchFamily="18" charset="-127"/>
                      </a:endParaRPr>
                    </a:p>
                  </a:txBody>
                  <a:tcPr marL="17907" marR="17907" marT="17907" marB="17907" anchor="ctr">
                    <a:lnL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vMerge="1">
                  <a:txBody>
                    <a:bodyPr/>
                    <a:lstStyle/>
                    <a:p>
                      <a:pPr latinLnBrk="1"/>
                      <a:endParaRPr lang="ko-KR" altLang="en-US"/>
                    </a:p>
                  </a:txBody>
                  <a:tcPr/>
                </a:tc>
              </a:tr>
              <a:tr h="67525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b="1">
                          <a:solidFill>
                            <a:srgbClr val="000000"/>
                          </a:solidFill>
                          <a:latin typeface="HY중고딕" pitchFamily="18" charset="-127"/>
                          <a:ea typeface="HY중고딕" pitchFamily="18" charset="-127"/>
                        </a:rPr>
                        <a:t>계</a:t>
                      </a:r>
                    </a:p>
                  </a:txBody>
                  <a:tcPr marL="17907" marR="17907" marT="17907" marB="17907" anchor="ctr">
                    <a:lnL>
                      <a:noFill/>
                    </a:lnL>
                    <a:lnR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latin typeface="HY중고딕" pitchFamily="18" charset="-127"/>
                          <a:ea typeface="HY중고딕" pitchFamily="18" charset="-127"/>
                        </a:rPr>
                        <a:t>154,000</a:t>
                      </a:r>
                    </a:p>
                  </a:txBody>
                  <a:tcPr marL="17907" marR="17907" marT="17907" marB="17907" anchor="ctr">
                    <a:lnL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latin typeface="HY중고딕" pitchFamily="18" charset="-127"/>
                          <a:ea typeface="HY중고딕" pitchFamily="18" charset="-127"/>
                        </a:rPr>
                        <a:t>1,540,000</a:t>
                      </a:r>
                    </a:p>
                  </a:txBody>
                  <a:tcPr marL="17907" marR="17907" marT="17907" marB="17907" anchor="ctr">
                    <a:lnL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latin typeface="HY중고딕" pitchFamily="18" charset="-127"/>
                          <a:ea typeface="HY중고딕" pitchFamily="18" charset="-127"/>
                        </a:rPr>
                        <a:t>308,000</a:t>
                      </a:r>
                    </a:p>
                  </a:txBody>
                  <a:tcPr marL="17907" marR="17907" marT="17907" marB="17907" anchor="ctr">
                    <a:lnL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latin typeface="HY중고딕" pitchFamily="18" charset="-127"/>
                          <a:ea typeface="HY중고딕" pitchFamily="18" charset="-127"/>
                        </a:rPr>
                        <a:t>616,000</a:t>
                      </a:r>
                    </a:p>
                  </a:txBody>
                  <a:tcPr marL="17907" marR="17907" marT="17907" marB="17907" anchor="ctr">
                    <a:lnL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latin typeface="HY중고딕" pitchFamily="18" charset="-127"/>
                          <a:ea typeface="HY중고딕" pitchFamily="18" charset="-127"/>
                        </a:rPr>
                        <a:t>616,000</a:t>
                      </a:r>
                    </a:p>
                  </a:txBody>
                  <a:tcPr marL="17907" marR="17907" marT="17907" marB="17907" anchor="ctr">
                    <a:lnL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600" b="1" dirty="0">
                        <a:solidFill>
                          <a:srgbClr val="000000"/>
                        </a:solidFill>
                        <a:latin typeface="HY중고딕" pitchFamily="18" charset="-127"/>
                        <a:ea typeface="HY중고딕" pitchFamily="18" charset="-127"/>
                      </a:endParaRPr>
                    </a:p>
                  </a:txBody>
                  <a:tcPr marL="17907" marR="17907" marT="17907" marB="17907" anchor="ctr">
                    <a:lnL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7525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b="1">
                          <a:solidFill>
                            <a:srgbClr val="000000"/>
                          </a:solidFill>
                          <a:latin typeface="HY중고딕" pitchFamily="18" charset="-127"/>
                          <a:ea typeface="HY중고딕" pitchFamily="18" charset="-127"/>
                        </a:rPr>
                        <a:t>등록</a:t>
                      </a:r>
                      <a:r>
                        <a:rPr lang="en-US" altLang="ko-KR" sz="1600" b="1">
                          <a:solidFill>
                            <a:srgbClr val="000000"/>
                          </a:solidFill>
                          <a:latin typeface="HY중고딕" pitchFamily="18" charset="-127"/>
                          <a:ea typeface="HY중고딕" pitchFamily="18" charset="-127"/>
                        </a:rPr>
                        <a:t>·</a:t>
                      </a:r>
                      <a:r>
                        <a:rPr lang="ko-KR" altLang="en-US" sz="1600" b="1">
                          <a:solidFill>
                            <a:srgbClr val="000000"/>
                          </a:solidFill>
                          <a:latin typeface="HY중고딕" pitchFamily="18" charset="-127"/>
                          <a:ea typeface="HY중고딕" pitchFamily="18" charset="-127"/>
                        </a:rPr>
                        <a:t>선형</a:t>
                      </a:r>
                    </a:p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b="1">
                          <a:solidFill>
                            <a:srgbClr val="000000"/>
                          </a:solidFill>
                          <a:latin typeface="HY중고딕" pitchFamily="18" charset="-127"/>
                          <a:ea typeface="HY중고딕" pitchFamily="18" charset="-127"/>
                        </a:rPr>
                        <a:t>심사</a:t>
                      </a:r>
                    </a:p>
                  </a:txBody>
                  <a:tcPr marL="17907" marR="17907" marT="17907" marB="17907" anchor="ctr">
                    <a:lnL>
                      <a:noFill/>
                    </a:lnL>
                    <a:lnR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latin typeface="HY중고딕" pitchFamily="18" charset="-127"/>
                          <a:ea typeface="HY중고딕" pitchFamily="18" charset="-127"/>
                        </a:rPr>
                        <a:t>69,304</a:t>
                      </a:r>
                    </a:p>
                  </a:txBody>
                  <a:tcPr marL="17907" marR="17907" marT="17907" marB="17907" anchor="ctr">
                    <a:lnL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latin typeface="HY중고딕" pitchFamily="18" charset="-127"/>
                          <a:ea typeface="HY중고딕" pitchFamily="18" charset="-127"/>
                        </a:rPr>
                        <a:t>693,040</a:t>
                      </a:r>
                    </a:p>
                  </a:txBody>
                  <a:tcPr marL="17907" marR="17907" marT="17907" marB="17907" anchor="ctr">
                    <a:lnL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latin typeface="HY중고딕" pitchFamily="18" charset="-127"/>
                          <a:ea typeface="HY중고딕" pitchFamily="18" charset="-127"/>
                        </a:rPr>
                        <a:t>207,912</a:t>
                      </a:r>
                    </a:p>
                    <a:p>
                      <a:pPr marL="0" marR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latin typeface="HY중고딕" pitchFamily="18" charset="-127"/>
                          <a:ea typeface="HY중고딕" pitchFamily="18" charset="-127"/>
                        </a:rPr>
                        <a:t>(30%)</a:t>
                      </a:r>
                    </a:p>
                  </a:txBody>
                  <a:tcPr marL="17907" marR="17907" marT="17907" marB="17907" anchor="ctr">
                    <a:lnL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latin typeface="HY중고딕" pitchFamily="18" charset="-127"/>
                          <a:ea typeface="HY중고딕" pitchFamily="18" charset="-127"/>
                        </a:rPr>
                        <a:t>485,128</a:t>
                      </a:r>
                    </a:p>
                    <a:p>
                      <a:pPr marL="0" marR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latin typeface="HY중고딕" pitchFamily="18" charset="-127"/>
                          <a:ea typeface="HY중고딕" pitchFamily="18" charset="-127"/>
                        </a:rPr>
                        <a:t>(70%)</a:t>
                      </a:r>
                    </a:p>
                  </a:txBody>
                  <a:tcPr marL="17907" marR="17907" marT="17907" marB="17907" anchor="ctr">
                    <a:lnL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600" b="1">
                        <a:solidFill>
                          <a:srgbClr val="000000"/>
                        </a:solidFill>
                        <a:latin typeface="HY중고딕" pitchFamily="18" charset="-127"/>
                        <a:ea typeface="HY중고딕" pitchFamily="18" charset="-127"/>
                      </a:endParaRPr>
                    </a:p>
                  </a:txBody>
                  <a:tcPr marL="17907" marR="17907" marT="17907" marB="17907" anchor="ctr">
                    <a:lnL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600" b="1" dirty="0">
                        <a:solidFill>
                          <a:srgbClr val="000000"/>
                        </a:solidFill>
                        <a:latin typeface="HY중고딕" pitchFamily="18" charset="-127"/>
                        <a:ea typeface="HY중고딕" pitchFamily="18" charset="-127"/>
                      </a:endParaRPr>
                    </a:p>
                  </a:txBody>
                  <a:tcPr marL="17907" marR="17907" marT="17907" marB="17907" anchor="ctr">
                    <a:lnL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7525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ko-KR" altLang="en-US" sz="1600" b="1">
                          <a:solidFill>
                            <a:srgbClr val="000000"/>
                          </a:solidFill>
                          <a:latin typeface="HY중고딕" pitchFamily="18" charset="-127"/>
                          <a:ea typeface="HY중고딕" pitchFamily="18" charset="-127"/>
                        </a:rPr>
                        <a:t>정액지원 </a:t>
                      </a:r>
                    </a:p>
                  </a:txBody>
                  <a:tcPr marL="17907" marR="17907" marT="17907" marB="17907" anchor="ctr">
                    <a:lnL>
                      <a:noFill/>
                    </a:lnL>
                    <a:lnR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2385" cap="flat" cmpd="thickThin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 dirty="0">
                          <a:solidFill>
                            <a:srgbClr val="000000"/>
                          </a:solidFill>
                          <a:latin typeface="HY중고딕" pitchFamily="18" charset="-127"/>
                          <a:ea typeface="HY중고딕" pitchFamily="18" charset="-127"/>
                        </a:rPr>
                        <a:t>84,696</a:t>
                      </a:r>
                    </a:p>
                  </a:txBody>
                  <a:tcPr marL="17907" marR="17907" marT="17907" marB="17907" anchor="ctr">
                    <a:lnL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2385" cap="flat" cmpd="thickThin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latin typeface="HY중고딕" pitchFamily="18" charset="-127"/>
                          <a:ea typeface="HY중고딕" pitchFamily="18" charset="-127"/>
                        </a:rPr>
                        <a:t>846,960</a:t>
                      </a:r>
                    </a:p>
                  </a:txBody>
                  <a:tcPr marL="17907" marR="17907" marT="17907" marB="17907" anchor="ctr">
                    <a:lnL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2385" cap="flat" cmpd="thickThin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latin typeface="HY중고딕" pitchFamily="18" charset="-127"/>
                          <a:ea typeface="HY중고딕" pitchFamily="18" charset="-127"/>
                        </a:rPr>
                        <a:t>100,088</a:t>
                      </a:r>
                    </a:p>
                    <a:p>
                      <a:pPr marL="0" marR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latin typeface="HY중고딕" pitchFamily="18" charset="-127"/>
                          <a:ea typeface="HY중고딕" pitchFamily="18" charset="-127"/>
                        </a:rPr>
                        <a:t>(12%)</a:t>
                      </a:r>
                    </a:p>
                  </a:txBody>
                  <a:tcPr marL="17907" marR="17907" marT="17907" marB="17907" anchor="ctr">
                    <a:lnL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2385" cap="flat" cmpd="thickThin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latin typeface="HY중고딕" pitchFamily="18" charset="-127"/>
                          <a:ea typeface="HY중고딕" pitchFamily="18" charset="-127"/>
                        </a:rPr>
                        <a:t>130,872</a:t>
                      </a:r>
                    </a:p>
                    <a:p>
                      <a:pPr marL="0" marR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latin typeface="HY중고딕" pitchFamily="18" charset="-127"/>
                          <a:ea typeface="HY중고딕" pitchFamily="18" charset="-127"/>
                        </a:rPr>
                        <a:t>(15%)</a:t>
                      </a:r>
                    </a:p>
                  </a:txBody>
                  <a:tcPr marL="17907" marR="17907" marT="17907" marB="17907" anchor="ctr">
                    <a:lnL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2385" cap="flat" cmpd="thickThin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latin typeface="HY중고딕" pitchFamily="18" charset="-127"/>
                          <a:ea typeface="HY중고딕" pitchFamily="18" charset="-127"/>
                        </a:rPr>
                        <a:t>616,000</a:t>
                      </a:r>
                    </a:p>
                    <a:p>
                      <a:pPr marL="0" marR="0" algn="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b="1">
                          <a:solidFill>
                            <a:srgbClr val="000000"/>
                          </a:solidFill>
                          <a:latin typeface="HY중고딕" pitchFamily="18" charset="-127"/>
                          <a:ea typeface="HY중고딕" pitchFamily="18" charset="-127"/>
                        </a:rPr>
                        <a:t>(73%)</a:t>
                      </a:r>
                    </a:p>
                  </a:txBody>
                  <a:tcPr marL="17907" marR="17907" marT="17907" marB="17907" anchor="ctr">
                    <a:lnL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2385" cap="flat" cmpd="thickThin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ko-KR" altLang="en-US" sz="1600" b="1" dirty="0">
                        <a:solidFill>
                          <a:srgbClr val="000000"/>
                        </a:solidFill>
                        <a:latin typeface="HY중고딕" pitchFamily="18" charset="-127"/>
                        <a:ea typeface="HY중고딕" pitchFamily="18" charset="-127"/>
                      </a:endParaRPr>
                    </a:p>
                  </a:txBody>
                  <a:tcPr marL="17907" marR="17907" marT="17907" marB="17907" anchor="ctr">
                    <a:lnL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3556" cap="flat" cmpd="sng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2385" cap="flat" cmpd="thickThin" algn="ctr">
                      <a:solidFill>
                        <a:srgbClr val="4B87C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28" name="Rectangle 1"/>
          <p:cNvSpPr>
            <a:spLocks noChangeArrowheads="1"/>
          </p:cNvSpPr>
          <p:nvPr/>
        </p:nvSpPr>
        <p:spPr bwMode="auto">
          <a:xfrm>
            <a:off x="479492" y="2741625"/>
            <a:ext cx="9675837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1" fontAlgn="base" latinLnBrk="1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en-US" altLang="ko-KR" sz="2800" b="1" i="0" u="none" strike="noStrike" cap="none" normalizeH="0" baseline="0" dirty="0" smtClean="0">
                <a:ln>
                  <a:noFill/>
                </a:ln>
                <a:effectLst/>
                <a:latin typeface="HY견고딕" pitchFamily="18" charset="-127"/>
                <a:ea typeface="HY견고딕" pitchFamily="18" charset="-127"/>
                <a:cs typeface="굴림" pitchFamily="50" charset="-127"/>
              </a:rPr>
              <a:t>   </a:t>
            </a:r>
            <a:r>
              <a:rPr kumimoji="1" lang="ko-KR" altLang="ko-KR" sz="2800" b="1" i="0" u="none" strike="noStrike" cap="none" normalizeH="0" baseline="0" dirty="0" smtClean="0">
                <a:ln>
                  <a:noFill/>
                </a:ln>
                <a:effectLst/>
                <a:latin typeface="HY견고딕" pitchFamily="18" charset="-127"/>
                <a:ea typeface="HY견고딕" pitchFamily="18" charset="-127"/>
                <a:cs typeface="굴림" pitchFamily="50" charset="-127"/>
              </a:rPr>
              <a:t> </a:t>
            </a:r>
            <a:r>
              <a:rPr kumimoji="1" lang="ko-KR" sz="2400" b="1" i="0" u="none" strike="noStrike" cap="none" normalizeH="0" baseline="0" dirty="0" smtClean="0">
                <a:ln>
                  <a:noFill/>
                </a:ln>
                <a:effectLst/>
                <a:latin typeface="HY견고딕" pitchFamily="18" charset="-127"/>
                <a:ea typeface="HY견고딕" pitchFamily="18" charset="-127"/>
                <a:cs typeface="굴림" pitchFamily="50" charset="-127"/>
              </a:rPr>
              <a:t>사</a:t>
            </a:r>
            <a:r>
              <a:rPr kumimoji="1" lang="en-US" altLang="ko-KR" sz="2400" b="1" i="0" u="none" strike="noStrike" cap="none" normalizeH="0" baseline="0" dirty="0" smtClean="0">
                <a:ln>
                  <a:noFill/>
                </a:ln>
                <a:effectLst/>
                <a:latin typeface="HY견고딕" pitchFamily="18" charset="-127"/>
                <a:ea typeface="HY견고딕" pitchFamily="18" charset="-127"/>
                <a:cs typeface="굴림" pitchFamily="50" charset="-127"/>
              </a:rPr>
              <a:t> </a:t>
            </a:r>
            <a:r>
              <a:rPr kumimoji="1" lang="ko-KR" sz="2400" b="1" i="0" u="none" strike="noStrike" cap="none" normalizeH="0" baseline="0" dirty="0" smtClean="0">
                <a:ln>
                  <a:noFill/>
                </a:ln>
                <a:effectLst/>
                <a:latin typeface="HY견고딕" pitchFamily="18" charset="-127"/>
                <a:ea typeface="HY견고딕" pitchFamily="18" charset="-127"/>
                <a:cs typeface="굴림" pitchFamily="50" charset="-127"/>
              </a:rPr>
              <a:t>업</a:t>
            </a:r>
            <a:r>
              <a:rPr kumimoji="1" lang="en-US" altLang="ko-KR" sz="2400" b="1" i="0" u="none" strike="noStrike" cap="none" normalizeH="0" baseline="0" dirty="0" smtClean="0">
                <a:ln>
                  <a:noFill/>
                </a:ln>
                <a:effectLst/>
                <a:latin typeface="HY견고딕" pitchFamily="18" charset="-127"/>
                <a:ea typeface="HY견고딕" pitchFamily="18" charset="-127"/>
                <a:cs typeface="굴림" pitchFamily="50" charset="-127"/>
              </a:rPr>
              <a:t> </a:t>
            </a:r>
            <a:r>
              <a:rPr kumimoji="1" lang="ko-KR" sz="2400" b="1" i="0" u="none" strike="noStrike" cap="none" normalizeH="0" baseline="0" dirty="0" smtClean="0">
                <a:ln>
                  <a:noFill/>
                </a:ln>
                <a:effectLst/>
                <a:latin typeface="HY견고딕" pitchFamily="18" charset="-127"/>
                <a:ea typeface="HY견고딕" pitchFamily="18" charset="-127"/>
                <a:cs typeface="굴림" pitchFamily="50" charset="-127"/>
              </a:rPr>
              <a:t>개</a:t>
            </a:r>
            <a:r>
              <a:rPr kumimoji="1" lang="en-US" altLang="ko-KR" sz="2400" b="1" i="0" u="none" strike="noStrike" cap="none" normalizeH="0" baseline="0" dirty="0" smtClean="0">
                <a:ln>
                  <a:noFill/>
                </a:ln>
                <a:effectLst/>
                <a:latin typeface="HY견고딕" pitchFamily="18" charset="-127"/>
                <a:ea typeface="HY견고딕" pitchFamily="18" charset="-127"/>
                <a:cs typeface="굴림" pitchFamily="50" charset="-127"/>
              </a:rPr>
              <a:t> </a:t>
            </a:r>
            <a:r>
              <a:rPr kumimoji="1" lang="ko-KR" sz="2400" b="1" i="0" u="none" strike="noStrike" cap="none" normalizeH="0" baseline="0" dirty="0" smtClean="0">
                <a:ln>
                  <a:noFill/>
                </a:ln>
                <a:effectLst/>
                <a:latin typeface="HY견고딕" pitchFamily="18" charset="-127"/>
                <a:ea typeface="HY견고딕" pitchFamily="18" charset="-127"/>
                <a:cs typeface="굴림" pitchFamily="50" charset="-127"/>
              </a:rPr>
              <a:t>요</a:t>
            </a: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18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HY견고딕" pitchFamily="18" charset="-127"/>
                <a:ea typeface="HY견고딕" pitchFamily="18" charset="-127"/>
                <a:cs typeface="굴림" pitchFamily="50" charset="-127"/>
              </a:rPr>
              <a:t>  </a:t>
            </a:r>
            <a:r>
              <a:rPr kumimoji="1" lang="ko-KR" altLang="en-US" sz="18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HY중고딕" pitchFamily="18" charset="-127"/>
                <a:ea typeface="HY중고딕" pitchFamily="18" charset="-127"/>
                <a:cs typeface="굴림" pitchFamily="50" charset="-127"/>
              </a:rPr>
              <a:t>가</a:t>
            </a:r>
            <a:r>
              <a:rPr kumimoji="1" lang="en-US" altLang="ko-KR" sz="18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HY중고딕" pitchFamily="18" charset="-127"/>
                <a:ea typeface="HY중고딕" pitchFamily="18" charset="-127"/>
                <a:cs typeface="굴림" pitchFamily="50" charset="-127"/>
              </a:rPr>
              <a:t>. </a:t>
            </a:r>
            <a:r>
              <a:rPr kumimoji="1" lang="ko-KR" altLang="en-US" sz="18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HY중고딕" pitchFamily="18" charset="-127"/>
                <a:ea typeface="HY중고딕" pitchFamily="18" charset="-127"/>
                <a:cs typeface="굴림" pitchFamily="50" charset="-127"/>
              </a:rPr>
              <a:t>사업내용 및 사업비</a:t>
            </a:r>
            <a:endParaRPr kumimoji="1" lang="ko-KR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HY중고딕" pitchFamily="18" charset="-127"/>
              <a:ea typeface="HY중고딕" pitchFamily="18" charset="-127"/>
              <a:cs typeface="굴림" pitchFamily="50" charset="-127"/>
            </a:endParaRPr>
          </a:p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1" lang="ko-KR" altLang="en-US" sz="2800" b="0" i="0" u="none" strike="noStrike" cap="none" normalizeH="0" baseline="0" dirty="0" smtClean="0">
                <a:ln>
                  <a:noFill/>
                </a:ln>
                <a:solidFill>
                  <a:srgbClr val="000000"/>
                </a:solidFill>
                <a:effectLst/>
                <a:latin typeface="HY견고딕" pitchFamily="18" charset="-127"/>
                <a:ea typeface="HY견고딕" pitchFamily="18" charset="-127"/>
                <a:cs typeface="굴림" pitchFamily="50" charset="-127"/>
              </a:rPr>
              <a:t>  </a:t>
            </a:r>
            <a:endParaRPr kumimoji="1" lang="ko-KR" altLang="en-US" sz="2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HY견고딕" pitchFamily="18" charset="-127"/>
              <a:ea typeface="HY견고딕" pitchFamily="18" charset="-127"/>
              <a:cs typeface="굴림" pitchFamily="50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9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9975" y="544515"/>
            <a:ext cx="8553450" cy="64690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882210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0" y="0"/>
          <a:ext cx="10693400" cy="757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7238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T="45672" marB="4567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86020" name="Rectangle 1"/>
          <p:cNvSpPr>
            <a:spLocks noChangeArrowheads="1"/>
          </p:cNvSpPr>
          <p:nvPr/>
        </p:nvSpPr>
        <p:spPr bwMode="auto">
          <a:xfrm>
            <a:off x="17" y="121106"/>
            <a:ext cx="183858" cy="215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008" tIns="45505" rIns="91008" bIns="45505" anchor="ctr">
            <a:spAutoFit/>
          </a:bodyPr>
          <a:lstStyle/>
          <a:p>
            <a:endParaRPr lang="ko-KR" altLang="en-US"/>
          </a:p>
        </p:txBody>
      </p:sp>
      <p:sp>
        <p:nvSpPr>
          <p:cNvPr id="86021" name="Rectangle 2"/>
          <p:cNvSpPr>
            <a:spLocks noChangeArrowheads="1"/>
          </p:cNvSpPr>
          <p:nvPr/>
        </p:nvSpPr>
        <p:spPr bwMode="auto">
          <a:xfrm>
            <a:off x="17" y="121106"/>
            <a:ext cx="183858" cy="2150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008" tIns="45505" rIns="91008" bIns="45505" anchor="ctr">
            <a:spAutoFit/>
          </a:bodyPr>
          <a:lstStyle/>
          <a:p>
            <a:endParaRPr lang="ko-KR" altLang="en-US"/>
          </a:p>
        </p:txBody>
      </p:sp>
      <p:sp>
        <p:nvSpPr>
          <p:cNvPr id="6" name="Rectangle 4"/>
          <p:cNvSpPr txBox="1">
            <a:spLocks noChangeArrowheads="1"/>
          </p:cNvSpPr>
          <p:nvPr/>
        </p:nvSpPr>
        <p:spPr bwMode="auto">
          <a:xfrm>
            <a:off x="1467168" y="2970547"/>
            <a:ext cx="8065000" cy="1710086"/>
          </a:xfrm>
          <a:prstGeom prst="rect">
            <a:avLst/>
          </a:prstGeom>
          <a:solidFill>
            <a:srgbClr val="0000FF"/>
          </a:solidFill>
          <a:ln w="9525">
            <a:noFill/>
            <a:miter lim="800000"/>
            <a:headEnd/>
            <a:tailEnd/>
          </a:ln>
          <a:effectLst>
            <a:outerShdw dist="17961" dir="2700000" algn="ctr" rotWithShape="0">
              <a:srgbClr val="FFFFFF"/>
            </a:outerShdw>
          </a:effectLst>
        </p:spPr>
        <p:txBody>
          <a:bodyPr lIns="91008" tIns="45505" rIns="91008" bIns="45505" anchor="ctr"/>
          <a:lstStyle/>
          <a:p>
            <a:pPr algn="ctr">
              <a:defRPr/>
            </a:pPr>
            <a:r>
              <a:rPr kumimoji="0" lang="ko-KR" altLang="en-US" sz="4000" kern="0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solidFill>
                  <a:schemeClr val="bg1"/>
                </a:solidFill>
                <a:latin typeface="HY헤드라인M" pitchFamily="18" charset="-127"/>
                <a:ea typeface="HY헤드라인M" pitchFamily="18" charset="-127"/>
                <a:cs typeface="+mj-cs"/>
              </a:rPr>
              <a:t>계획교배</a:t>
            </a:r>
            <a:endParaRPr kumimoji="0" lang="en-US" altLang="ko-KR" sz="4000" kern="0" dirty="0">
              <a:ln w="17780" cmpd="sng">
                <a:solidFill>
                  <a:srgbClr val="FFFFFF"/>
                </a:solidFill>
                <a:prstDash val="solid"/>
                <a:miter lim="800000"/>
              </a:ln>
              <a:solidFill>
                <a:schemeClr val="bg1"/>
              </a:solidFill>
              <a:latin typeface="HY헤드라인M" pitchFamily="18" charset="-127"/>
              <a:ea typeface="HY헤드라인M" pitchFamily="18" charset="-127"/>
              <a:cs typeface="+mj-cs"/>
            </a:endParaRPr>
          </a:p>
          <a:p>
            <a:pPr algn="ctr">
              <a:defRPr/>
            </a:pPr>
            <a:r>
              <a:rPr lang="en-US" altLang="ko-KR" sz="3700" kern="0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solidFill>
                  <a:schemeClr val="bg1"/>
                </a:solidFill>
                <a:latin typeface="HY헤드라인M" pitchFamily="18" charset="-127"/>
                <a:ea typeface="HY헤드라인M" pitchFamily="18" charset="-127"/>
                <a:cs typeface="+mj-cs"/>
              </a:rPr>
              <a:t>-</a:t>
            </a:r>
            <a:r>
              <a:rPr lang="ko-KR" altLang="en-US" sz="3700" kern="0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solidFill>
                  <a:schemeClr val="bg1"/>
                </a:solidFill>
                <a:latin typeface="HY헤드라인M" pitchFamily="18" charset="-127"/>
                <a:ea typeface="HY헤드라인M" pitchFamily="18" charset="-127"/>
                <a:cs typeface="+mj-cs"/>
              </a:rPr>
              <a:t>농장목표 달성을 위한 교배</a:t>
            </a:r>
            <a:r>
              <a:rPr lang="en-US" altLang="ko-KR" sz="3700" kern="0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solidFill>
                  <a:schemeClr val="bg1"/>
                </a:solidFill>
                <a:latin typeface="HY헤드라인M" pitchFamily="18" charset="-127"/>
                <a:ea typeface="HY헤드라인M" pitchFamily="18" charset="-127"/>
                <a:cs typeface="+mj-cs"/>
              </a:rPr>
              <a:t>-</a:t>
            </a:r>
            <a:endParaRPr kumimoji="0" lang="ko-KR" altLang="en-US" sz="3700" kern="0" dirty="0">
              <a:ln w="17780" cmpd="sng">
                <a:solidFill>
                  <a:srgbClr val="FFFFFF"/>
                </a:solidFill>
                <a:prstDash val="solid"/>
                <a:miter lim="800000"/>
              </a:ln>
              <a:solidFill>
                <a:schemeClr val="bg1"/>
              </a:solidFill>
              <a:latin typeface="HY헤드라인M" pitchFamily="18" charset="-127"/>
              <a:ea typeface="HY헤드라인M" pitchFamily="18" charset="-127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0" y="0"/>
          <a:ext cx="10693400" cy="757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7238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T="45672" marB="4567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93188" name="Rectangle 1"/>
          <p:cNvSpPr>
            <a:spLocks noChangeArrowheads="1"/>
          </p:cNvSpPr>
          <p:nvPr/>
        </p:nvSpPr>
        <p:spPr bwMode="auto">
          <a:xfrm>
            <a:off x="16" y="121088"/>
            <a:ext cx="183923" cy="215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040" tIns="45521" rIns="91040" bIns="45521" anchor="ctr">
            <a:spAutoFit/>
          </a:bodyPr>
          <a:lstStyle/>
          <a:p>
            <a:endParaRPr lang="ko-KR" altLang="en-US"/>
          </a:p>
        </p:txBody>
      </p:sp>
      <p:sp>
        <p:nvSpPr>
          <p:cNvPr id="93189" name="Rectangle 2"/>
          <p:cNvSpPr>
            <a:spLocks noChangeArrowheads="1"/>
          </p:cNvSpPr>
          <p:nvPr/>
        </p:nvSpPr>
        <p:spPr bwMode="auto">
          <a:xfrm>
            <a:off x="16" y="121088"/>
            <a:ext cx="183923" cy="215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040" tIns="45521" rIns="91040" bIns="45521" anchor="ctr">
            <a:spAutoFit/>
          </a:bodyPr>
          <a:lstStyle/>
          <a:p>
            <a:endParaRPr lang="ko-KR" altLang="en-US"/>
          </a:p>
        </p:txBody>
      </p:sp>
      <p:sp>
        <p:nvSpPr>
          <p:cNvPr id="7" name="Text Box 8"/>
          <p:cNvSpPr txBox="1">
            <a:spLocks noChangeArrowheads="1"/>
          </p:cNvSpPr>
          <p:nvPr/>
        </p:nvSpPr>
        <p:spPr bwMode="auto">
          <a:xfrm>
            <a:off x="152428" y="90251"/>
            <a:ext cx="8794701" cy="5693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286734" tIns="0" rIns="0" bIns="0">
            <a:spAutoFit/>
          </a:bodyPr>
          <a:lstStyle/>
          <a:p>
            <a:pPr>
              <a:defRPr/>
            </a:pPr>
            <a:r>
              <a:rPr lang="ko-KR" altLang="en-US" sz="37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결론</a:t>
            </a:r>
          </a:p>
        </p:txBody>
      </p:sp>
      <p:sp>
        <p:nvSpPr>
          <p:cNvPr id="93191" name="Rectangle 1"/>
          <p:cNvSpPr>
            <a:spLocks noChangeArrowheads="1"/>
          </p:cNvSpPr>
          <p:nvPr/>
        </p:nvSpPr>
        <p:spPr bwMode="auto">
          <a:xfrm>
            <a:off x="152411" y="273491"/>
            <a:ext cx="183923" cy="215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040" tIns="45521" rIns="91040" bIns="45521" anchor="ctr">
            <a:spAutoFit/>
          </a:bodyPr>
          <a:lstStyle/>
          <a:p>
            <a:endParaRPr lang="ko-KR" altLang="en-US"/>
          </a:p>
        </p:txBody>
      </p:sp>
      <p:sp>
        <p:nvSpPr>
          <p:cNvPr id="93192" name="Rectangle 2"/>
          <p:cNvSpPr>
            <a:spLocks noChangeArrowheads="1"/>
          </p:cNvSpPr>
          <p:nvPr/>
        </p:nvSpPr>
        <p:spPr bwMode="auto">
          <a:xfrm>
            <a:off x="16" y="121088"/>
            <a:ext cx="183923" cy="215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040" tIns="45521" rIns="91040" bIns="45521" anchor="ctr">
            <a:spAutoFit/>
          </a:bodyPr>
          <a:lstStyle/>
          <a:p>
            <a:endParaRPr lang="ko-KR" altLang="en-US"/>
          </a:p>
        </p:txBody>
      </p:sp>
      <p:sp>
        <p:nvSpPr>
          <p:cNvPr id="93193" name="Rectangle 3"/>
          <p:cNvSpPr>
            <a:spLocks noChangeArrowheads="1"/>
          </p:cNvSpPr>
          <p:nvPr/>
        </p:nvSpPr>
        <p:spPr bwMode="auto">
          <a:xfrm>
            <a:off x="16" y="121088"/>
            <a:ext cx="183923" cy="215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040" tIns="45521" rIns="91040" bIns="45521" anchor="ctr">
            <a:spAutoFit/>
          </a:bodyPr>
          <a:lstStyle/>
          <a:p>
            <a:endParaRPr lang="ko-KR" altLang="en-US"/>
          </a:p>
        </p:txBody>
      </p:sp>
      <p:sp>
        <p:nvSpPr>
          <p:cNvPr id="93194" name="Rectangle 1"/>
          <p:cNvSpPr>
            <a:spLocks noChangeArrowheads="1"/>
          </p:cNvSpPr>
          <p:nvPr/>
        </p:nvSpPr>
        <p:spPr bwMode="auto">
          <a:xfrm>
            <a:off x="441327" y="741998"/>
            <a:ext cx="9847263" cy="650271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040" tIns="45521" rIns="91040" bIns="45521" anchor="ctr">
            <a:spAutoFit/>
          </a:bodyPr>
          <a:lstStyle/>
          <a:p>
            <a:pPr algn="just"/>
            <a:r>
              <a:rPr kumimoji="0" lang="ko-KR" altLang="en-US" sz="24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❍ </a:t>
            </a:r>
            <a:r>
              <a:rPr kumimoji="0" lang="ko-KR" altLang="en-US" sz="2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한우조</a:t>
            </a:r>
            <a:r>
              <a:rPr kumimoji="0" lang="ko-KR" altLang="en-US" sz="24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합</a:t>
            </a:r>
            <a:r>
              <a:rPr kumimoji="0" lang="ko-KR" altLang="en-US" sz="2400" b="1" dirty="0" smtClean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의 </a:t>
            </a:r>
            <a:r>
              <a:rPr kumimoji="0" lang="ko-KR" altLang="en-US" sz="24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지속적인 지원과</a:t>
            </a:r>
            <a:r>
              <a:rPr kumimoji="0" lang="en-US" altLang="ko-KR" sz="24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, </a:t>
            </a:r>
            <a:r>
              <a:rPr kumimoji="0" lang="ko-KR" altLang="en-US" sz="24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농가 및 인공수정사의 참여로 </a:t>
            </a:r>
            <a:endParaRPr kumimoji="0" lang="en-US" altLang="ko-KR" sz="24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휴먼명조" pitchFamily="2" charset="-127"/>
            </a:endParaRPr>
          </a:p>
          <a:p>
            <a:pPr algn="just"/>
            <a:r>
              <a:rPr kumimoji="0" lang="en-US" altLang="ko-KR" sz="24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    </a:t>
            </a:r>
            <a:r>
              <a:rPr kumimoji="0" lang="ko-KR" altLang="en-US" sz="2400" b="1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개량량이</a:t>
            </a:r>
            <a:r>
              <a:rPr kumimoji="0" lang="ko-KR" altLang="en-US" sz="24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 꾸준히 증가되는 추세임</a:t>
            </a:r>
            <a:r>
              <a:rPr kumimoji="0" lang="en-US" altLang="ko-KR" sz="24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.</a:t>
            </a:r>
            <a:endParaRPr kumimoji="0" lang="en-US" altLang="ko-KR" sz="24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휴먼명조" pitchFamily="2" charset="-127"/>
            </a:endParaRPr>
          </a:p>
          <a:p>
            <a:pPr algn="just"/>
            <a:r>
              <a:rPr kumimoji="0" lang="en-US" altLang="ko-KR" sz="2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   - </a:t>
            </a:r>
            <a:r>
              <a:rPr kumimoji="0" lang="ko-KR" altLang="en-US" sz="2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농가 소득증대 효과 발생</a:t>
            </a:r>
            <a:r>
              <a:rPr kumimoji="0" lang="en-US" altLang="ko-KR" sz="2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, </a:t>
            </a:r>
            <a:r>
              <a:rPr kumimoji="0" lang="ko-KR" altLang="en-US" sz="240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고능력암소</a:t>
            </a:r>
            <a:r>
              <a:rPr kumimoji="0" lang="ko-KR" altLang="en-US" sz="2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 보존</a:t>
            </a:r>
            <a:r>
              <a:rPr kumimoji="0" lang="en-US" altLang="ko-KR" sz="2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, </a:t>
            </a:r>
            <a:r>
              <a:rPr kumimoji="0" lang="ko-KR" altLang="en-US" sz="2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다산 유도</a:t>
            </a:r>
            <a:r>
              <a:rPr kumimoji="0" lang="en-US" altLang="ko-KR" sz="2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.</a:t>
            </a:r>
          </a:p>
          <a:p>
            <a:pPr algn="just"/>
            <a:endParaRPr kumimoji="0" lang="en-US" altLang="ko-KR" sz="24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휴먼명조" pitchFamily="2" charset="-127"/>
            </a:endParaRPr>
          </a:p>
          <a:p>
            <a:pPr algn="just"/>
            <a:r>
              <a:rPr kumimoji="0" lang="ko-KR" altLang="en-US" sz="24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❍</a:t>
            </a:r>
            <a:r>
              <a:rPr lang="en-US" altLang="ko-KR" sz="24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 </a:t>
            </a:r>
            <a:r>
              <a:rPr lang="ko-KR" altLang="en-US" sz="24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굴림" pitchFamily="50" charset="-127"/>
              </a:rPr>
              <a:t>관내 농가수익 증대를 위한 지속적인 육량 개량 필요</a:t>
            </a:r>
            <a:endParaRPr lang="en-US" altLang="ko-KR" sz="24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굴림" pitchFamily="50" charset="-127"/>
            </a:endParaRPr>
          </a:p>
          <a:p>
            <a:pPr algn="just"/>
            <a:endParaRPr lang="ko-KR" altLang="en-US" sz="1000" dirty="0">
              <a:latin typeface="맑은 고딕" pitchFamily="50" charset="-127"/>
              <a:ea typeface="맑은 고딕" pitchFamily="50" charset="-127"/>
              <a:cs typeface="휴먼명조" pitchFamily="2" charset="-127"/>
            </a:endParaRPr>
          </a:p>
          <a:p>
            <a:r>
              <a:rPr lang="en-US" altLang="ko-KR" sz="2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   - </a:t>
            </a:r>
            <a:r>
              <a:rPr lang="ko-KR" altLang="en-US" sz="2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 농가에서 </a:t>
            </a:r>
            <a:r>
              <a:rPr lang="ko-KR" altLang="en-US" sz="240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근내지방도가</a:t>
            </a:r>
            <a:r>
              <a:rPr lang="ko-KR" altLang="en-US" sz="2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 우수한 개체를 출하하여 경락가격을 높게 </a:t>
            </a:r>
            <a:endParaRPr lang="en-US" altLang="ko-KR" sz="24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휴먼명조" pitchFamily="2" charset="-127"/>
            </a:endParaRPr>
          </a:p>
          <a:p>
            <a:r>
              <a:rPr lang="en-US" altLang="ko-KR" sz="2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       </a:t>
            </a:r>
            <a:r>
              <a:rPr lang="ko-KR" altLang="en-US" sz="2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받더라도 </a:t>
            </a:r>
            <a:r>
              <a:rPr lang="ko-KR" altLang="en-US" sz="240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도체중이</a:t>
            </a:r>
            <a:r>
              <a:rPr lang="ko-KR" altLang="en-US" sz="2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 낮으면 결국 농가 수취가격 자체는 낮음</a:t>
            </a:r>
            <a:endParaRPr lang="en-US" altLang="ko-KR" sz="24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휴먼명조" pitchFamily="2" charset="-127"/>
            </a:endParaRPr>
          </a:p>
          <a:p>
            <a:r>
              <a:rPr lang="en-US" altLang="ko-KR" sz="2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   - </a:t>
            </a:r>
            <a:r>
              <a:rPr lang="ko-KR" altLang="en-US" sz="2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육량성적이 향상될 수 있도록 개량목표를 설정함</a:t>
            </a:r>
            <a:r>
              <a:rPr lang="en-US" altLang="ko-KR" sz="2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.</a:t>
            </a:r>
          </a:p>
          <a:p>
            <a:endParaRPr lang="ko-KR" altLang="en-US" sz="2100" dirty="0">
              <a:latin typeface="맑은 고딕" pitchFamily="50" charset="-127"/>
              <a:ea typeface="맑은 고딕" pitchFamily="50" charset="-127"/>
              <a:cs typeface="굴림" pitchFamily="50" charset="-127"/>
            </a:endParaRPr>
          </a:p>
          <a:p>
            <a:pPr algn="just" eaLnBrk="0" latinLnBrk="0" hangingPunct="0"/>
            <a:r>
              <a:rPr kumimoji="0" lang="ko-KR" altLang="en-US" sz="24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❍</a:t>
            </a:r>
            <a:r>
              <a:rPr lang="ko-KR" altLang="en-US" sz="24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 관내 우량암소선발 및 </a:t>
            </a:r>
            <a:r>
              <a:rPr lang="ko-KR" altLang="en-US" sz="2400" b="1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저능력우</a:t>
            </a:r>
            <a:r>
              <a:rPr lang="en-US" altLang="ko-KR" sz="24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 </a:t>
            </a:r>
            <a:r>
              <a:rPr lang="ko-KR" altLang="en-US" sz="24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도태권고 활성화</a:t>
            </a:r>
            <a:endParaRPr lang="en-US" altLang="ko-KR" sz="24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휴먼명조" pitchFamily="2" charset="-127"/>
            </a:endParaRPr>
          </a:p>
          <a:p>
            <a:pPr algn="just"/>
            <a:endParaRPr lang="ko-KR" altLang="en-US" sz="1000" dirty="0">
              <a:latin typeface="맑은 고딕" pitchFamily="50" charset="-127"/>
              <a:ea typeface="맑은 고딕" pitchFamily="50" charset="-127"/>
              <a:cs typeface="휴먼명조" pitchFamily="2" charset="-127"/>
            </a:endParaRPr>
          </a:p>
          <a:p>
            <a:pPr algn="just" eaLnBrk="0" latinLnBrk="0" hangingPunct="0"/>
            <a:r>
              <a:rPr lang="ko-KR" altLang="en-US" sz="2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   </a:t>
            </a:r>
            <a:r>
              <a:rPr lang="en-US" altLang="ko-KR" sz="2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- </a:t>
            </a:r>
            <a:r>
              <a:rPr lang="ko-KR" altLang="en-US" sz="2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우량 </a:t>
            </a:r>
            <a:r>
              <a:rPr lang="ko-KR" altLang="en-US" sz="240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암소군조성을</a:t>
            </a:r>
            <a:r>
              <a:rPr lang="ko-KR" altLang="en-US" sz="2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 위해 객관적인 전문 분석자료를 참고하여</a:t>
            </a:r>
            <a:endParaRPr lang="en-US" altLang="ko-KR" sz="24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휴먼명조" pitchFamily="2" charset="-127"/>
            </a:endParaRPr>
          </a:p>
          <a:p>
            <a:pPr algn="just" eaLnBrk="0" latinLnBrk="0" hangingPunct="0"/>
            <a:r>
              <a:rPr lang="en-US" altLang="ko-KR" sz="2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      </a:t>
            </a:r>
            <a:r>
              <a:rPr lang="ko-KR" altLang="en-US" sz="2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암소선발 및 </a:t>
            </a:r>
            <a:r>
              <a:rPr lang="ko-KR" altLang="en-US" sz="240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저능력우</a:t>
            </a:r>
            <a:r>
              <a:rPr lang="ko-KR" altLang="en-US" sz="2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 도태를 지속적으로 추진</a:t>
            </a:r>
            <a:r>
              <a:rPr lang="en-US" altLang="ko-KR" sz="2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.</a:t>
            </a:r>
          </a:p>
          <a:p>
            <a:pPr algn="just" eaLnBrk="0" latinLnBrk="0" hangingPunct="0"/>
            <a:r>
              <a:rPr lang="ko-KR" altLang="en-US" sz="21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  </a:t>
            </a:r>
            <a:endParaRPr lang="ko-KR" altLang="en-US" sz="2100" dirty="0">
              <a:latin typeface="맑은 고딕" pitchFamily="50" charset="-127"/>
              <a:ea typeface="맑은 고딕" pitchFamily="50" charset="-127"/>
              <a:cs typeface="휴먼명조" pitchFamily="2" charset="-127"/>
            </a:endParaRPr>
          </a:p>
          <a:p>
            <a:pPr algn="just" eaLnBrk="0" latinLnBrk="0" hangingPunct="0"/>
            <a:r>
              <a:rPr kumimoji="0" lang="ko-KR" altLang="en-US" sz="24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❍</a:t>
            </a:r>
            <a:r>
              <a:rPr lang="ko-KR" altLang="en-US" sz="24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 교육 및 지도 실시로 개량자료의 농가 활용도 향상</a:t>
            </a:r>
            <a:endParaRPr lang="en-US" altLang="ko-KR" sz="24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휴먼명조" pitchFamily="2" charset="-127"/>
            </a:endParaRPr>
          </a:p>
          <a:p>
            <a:pPr algn="just"/>
            <a:endParaRPr lang="ko-KR" altLang="en-US" sz="1000" dirty="0">
              <a:latin typeface="맑은 고딕" pitchFamily="50" charset="-127"/>
              <a:ea typeface="맑은 고딕" pitchFamily="50" charset="-127"/>
              <a:cs typeface="휴먼명조" pitchFamily="2" charset="-127"/>
            </a:endParaRPr>
          </a:p>
          <a:p>
            <a:pPr algn="just" eaLnBrk="0" latinLnBrk="0" hangingPunct="0"/>
            <a:r>
              <a:rPr lang="ko-KR" altLang="en-US" sz="2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   </a:t>
            </a:r>
            <a:r>
              <a:rPr lang="en-US" altLang="ko-KR" sz="2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- </a:t>
            </a:r>
            <a:r>
              <a:rPr lang="ko-KR" altLang="en-US" sz="2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 관내 암소 개량에 관심이 높은 농가를 대상으로 지속적인    </a:t>
            </a:r>
            <a:endParaRPr lang="en-US" altLang="ko-KR" sz="24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휴먼명조" pitchFamily="2" charset="-127"/>
            </a:endParaRPr>
          </a:p>
          <a:p>
            <a:pPr algn="just" eaLnBrk="0" latinLnBrk="0" hangingPunct="0"/>
            <a:r>
              <a:rPr lang="en-US" altLang="ko-KR" sz="2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       </a:t>
            </a:r>
            <a:r>
              <a:rPr lang="ko-KR" altLang="en-US" sz="24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  <a:cs typeface="휴먼명조" pitchFamily="2" charset="-127"/>
              </a:rPr>
              <a:t>개량자료를 활용한 암소 선발 및 도태권고 등 지도교육 추진</a:t>
            </a:r>
            <a:endParaRPr lang="en-US" altLang="ko-KR" sz="24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  <a:cs typeface="휴먼명조" pitchFamily="2" charset="-127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0" y="0"/>
          <a:ext cx="10693400" cy="757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7238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T="45672" marB="4567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136196" name="Rectangle 1"/>
          <p:cNvSpPr>
            <a:spLocks noChangeArrowheads="1"/>
          </p:cNvSpPr>
          <p:nvPr/>
        </p:nvSpPr>
        <p:spPr bwMode="auto">
          <a:xfrm>
            <a:off x="17" y="121106"/>
            <a:ext cx="183858" cy="215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08" tIns="45505" rIns="91008" bIns="45505" anchor="ctr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ko-KR" altLang="en-US" sz="800">
              <a:solidFill>
                <a:schemeClr val="tx1"/>
              </a:solidFill>
              <a:latin typeface="Trebuchet MS" pitchFamily="34" charset="0"/>
            </a:endParaRPr>
          </a:p>
        </p:txBody>
      </p:sp>
      <p:sp>
        <p:nvSpPr>
          <p:cNvPr id="136197" name="Rectangle 2"/>
          <p:cNvSpPr>
            <a:spLocks noChangeArrowheads="1"/>
          </p:cNvSpPr>
          <p:nvPr/>
        </p:nvSpPr>
        <p:spPr bwMode="auto">
          <a:xfrm>
            <a:off x="17" y="121106"/>
            <a:ext cx="183858" cy="215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08" tIns="45505" rIns="91008" bIns="45505" anchor="ctr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ko-KR" altLang="en-US" sz="800">
              <a:solidFill>
                <a:schemeClr val="tx1"/>
              </a:solidFill>
              <a:latin typeface="Trebuchet MS" pitchFamily="34" charset="0"/>
            </a:endParaRPr>
          </a:p>
        </p:txBody>
      </p:sp>
      <p:sp>
        <p:nvSpPr>
          <p:cNvPr id="6" name="Rectangle 4"/>
          <p:cNvSpPr txBox="1">
            <a:spLocks noChangeArrowheads="1"/>
          </p:cNvSpPr>
          <p:nvPr/>
        </p:nvSpPr>
        <p:spPr bwMode="auto">
          <a:xfrm>
            <a:off x="1467196" y="2970547"/>
            <a:ext cx="7794971" cy="1710086"/>
          </a:xfrm>
          <a:prstGeom prst="rect">
            <a:avLst/>
          </a:prstGeom>
          <a:solidFill>
            <a:srgbClr val="0000FF"/>
          </a:solidFill>
          <a:ln w="9525">
            <a:noFill/>
            <a:miter lim="800000"/>
            <a:headEnd/>
            <a:tailEnd/>
          </a:ln>
          <a:effectLst>
            <a:outerShdw dist="17961" dir="2700000" algn="ctr" rotWithShape="0">
              <a:srgbClr val="FFFFFF"/>
            </a:outerShdw>
          </a:effectLst>
        </p:spPr>
        <p:txBody>
          <a:bodyPr lIns="91008" tIns="45505" rIns="91008" bIns="45505" anchor="ctr"/>
          <a:lstStyle/>
          <a:p>
            <a:pPr algn="ctr">
              <a:defRPr/>
            </a:pPr>
            <a:r>
              <a:rPr kumimoji="0" lang="ko-KR" altLang="en-US" sz="3700" kern="0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solidFill>
                  <a:schemeClr val="bg1"/>
                </a:solidFill>
                <a:latin typeface="HY헤드라인M" pitchFamily="18" charset="-127"/>
                <a:ea typeface="HY헤드라인M" pitchFamily="18" charset="-127"/>
                <a:cs typeface="+mj-cs"/>
              </a:rPr>
              <a:t>혈통정보에 오류</a:t>
            </a:r>
            <a:r>
              <a:rPr kumimoji="0" lang="en-US" altLang="ko-KR" sz="3700" kern="0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solidFill>
                  <a:schemeClr val="bg1"/>
                </a:solidFill>
                <a:latin typeface="HY헤드라인M" pitchFamily="18" charset="-127"/>
                <a:ea typeface="HY헤드라인M" pitchFamily="18" charset="-127"/>
                <a:cs typeface="+mj-cs"/>
              </a:rPr>
              <a:t>(</a:t>
            </a:r>
            <a:r>
              <a:rPr kumimoji="0" lang="ko-KR" altLang="en-US" sz="3700" kern="0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solidFill>
                  <a:schemeClr val="bg1"/>
                </a:solidFill>
                <a:latin typeface="HY헤드라인M" pitchFamily="18" charset="-127"/>
                <a:ea typeface="HY헤드라인M" pitchFamily="18" charset="-127"/>
                <a:cs typeface="+mj-cs"/>
              </a:rPr>
              <a:t>친자부정</a:t>
            </a:r>
            <a:r>
              <a:rPr kumimoji="0" lang="en-US" altLang="ko-KR" sz="3700" kern="0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solidFill>
                  <a:schemeClr val="bg1"/>
                </a:solidFill>
                <a:latin typeface="HY헤드라인M" pitchFamily="18" charset="-127"/>
                <a:ea typeface="HY헤드라인M" pitchFamily="18" charset="-127"/>
                <a:cs typeface="+mj-cs"/>
              </a:rPr>
              <a:t>)</a:t>
            </a:r>
            <a:r>
              <a:rPr kumimoji="0" lang="ko-KR" altLang="en-US" sz="3700" kern="0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solidFill>
                  <a:schemeClr val="bg1"/>
                </a:solidFill>
                <a:latin typeface="HY헤드라인M" pitchFamily="18" charset="-127"/>
                <a:ea typeface="HY헤드라인M" pitchFamily="18" charset="-127"/>
                <a:cs typeface="+mj-cs"/>
              </a:rPr>
              <a:t>에 따른</a:t>
            </a:r>
            <a:endParaRPr kumimoji="0" lang="en-US" altLang="ko-KR" sz="3700" kern="0" dirty="0">
              <a:ln w="17780" cmpd="sng">
                <a:solidFill>
                  <a:srgbClr val="FFFFFF"/>
                </a:solidFill>
                <a:prstDash val="solid"/>
                <a:miter lim="800000"/>
              </a:ln>
              <a:solidFill>
                <a:schemeClr val="bg1"/>
              </a:solidFill>
              <a:latin typeface="HY헤드라인M" pitchFamily="18" charset="-127"/>
              <a:ea typeface="HY헤드라인M" pitchFamily="18" charset="-127"/>
              <a:cs typeface="+mj-cs"/>
            </a:endParaRPr>
          </a:p>
          <a:p>
            <a:pPr algn="ctr">
              <a:defRPr/>
            </a:pPr>
            <a:r>
              <a:rPr kumimoji="0" lang="ko-KR" altLang="en-US" sz="3700" kern="0" dirty="0" err="1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solidFill>
                  <a:schemeClr val="bg1"/>
                </a:solidFill>
                <a:latin typeface="HY헤드라인M" pitchFamily="18" charset="-127"/>
                <a:ea typeface="HY헤드라인M" pitchFamily="18" charset="-127"/>
                <a:cs typeface="+mj-cs"/>
              </a:rPr>
              <a:t>육종가</a:t>
            </a:r>
            <a:r>
              <a:rPr kumimoji="0" lang="ko-KR" altLang="en-US" sz="3700" kern="0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solidFill>
                  <a:schemeClr val="bg1"/>
                </a:solidFill>
                <a:latin typeface="HY헤드라인M" pitchFamily="18" charset="-127"/>
                <a:ea typeface="HY헤드라인M" pitchFamily="18" charset="-127"/>
                <a:cs typeface="+mj-cs"/>
              </a:rPr>
              <a:t> 변화</a:t>
            </a:r>
          </a:p>
        </p:txBody>
      </p:sp>
    </p:spTree>
    <p:extLst>
      <p:ext uri="{BB962C8B-B14F-4D97-AF65-F5344CB8AC3E}">
        <p14:creationId xmlns:p14="http://schemas.microsoft.com/office/powerpoint/2010/main" val="1974244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0" y="0"/>
          <a:ext cx="10693400" cy="757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7238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T="45672" marB="4567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137220" name="Rectangle 1"/>
          <p:cNvSpPr>
            <a:spLocks noChangeArrowheads="1"/>
          </p:cNvSpPr>
          <p:nvPr/>
        </p:nvSpPr>
        <p:spPr bwMode="auto">
          <a:xfrm>
            <a:off x="17" y="121106"/>
            <a:ext cx="183858" cy="215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08" tIns="45505" rIns="91008" bIns="45505" anchor="ctr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ko-KR" altLang="en-US" sz="800">
              <a:solidFill>
                <a:schemeClr val="tx1"/>
              </a:solidFill>
              <a:latin typeface="Trebuchet MS" pitchFamily="34" charset="0"/>
            </a:endParaRPr>
          </a:p>
        </p:txBody>
      </p:sp>
      <p:sp>
        <p:nvSpPr>
          <p:cNvPr id="137221" name="Rectangle 2"/>
          <p:cNvSpPr>
            <a:spLocks noChangeArrowheads="1"/>
          </p:cNvSpPr>
          <p:nvPr/>
        </p:nvSpPr>
        <p:spPr bwMode="auto">
          <a:xfrm>
            <a:off x="17" y="121106"/>
            <a:ext cx="183858" cy="215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08" tIns="45505" rIns="91008" bIns="45505" anchor="ctr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ko-KR" altLang="en-US" sz="800">
              <a:solidFill>
                <a:schemeClr val="tx1"/>
              </a:solidFill>
              <a:latin typeface="Trebuchet MS" pitchFamily="34" charset="0"/>
            </a:endParaRPr>
          </a:p>
        </p:txBody>
      </p:sp>
      <p:grpSp>
        <p:nvGrpSpPr>
          <p:cNvPr id="137222" name="Group 2"/>
          <p:cNvGrpSpPr>
            <a:grpSpLocks/>
          </p:cNvGrpSpPr>
          <p:nvPr/>
        </p:nvGrpSpPr>
        <p:grpSpPr bwMode="auto">
          <a:xfrm>
            <a:off x="1325567" y="1933602"/>
            <a:ext cx="1511300" cy="1584325"/>
            <a:chOff x="1488" y="480"/>
            <a:chExt cx="1347" cy="1735"/>
          </a:xfrm>
        </p:grpSpPr>
        <p:grpSp>
          <p:nvGrpSpPr>
            <p:cNvPr id="137423" name="Group 3"/>
            <p:cNvGrpSpPr>
              <a:grpSpLocks/>
            </p:cNvGrpSpPr>
            <p:nvPr/>
          </p:nvGrpSpPr>
          <p:grpSpPr bwMode="auto">
            <a:xfrm>
              <a:off x="1488" y="907"/>
              <a:ext cx="1347" cy="821"/>
              <a:chOff x="2880" y="922"/>
              <a:chExt cx="1347" cy="821"/>
            </a:xfrm>
          </p:grpSpPr>
          <p:sp>
            <p:nvSpPr>
              <p:cNvPr id="137530" name="Freeform 4"/>
              <p:cNvSpPr>
                <a:spLocks/>
              </p:cNvSpPr>
              <p:nvPr/>
            </p:nvSpPr>
            <p:spPr bwMode="auto">
              <a:xfrm>
                <a:off x="2884" y="927"/>
                <a:ext cx="1343" cy="82"/>
              </a:xfrm>
              <a:custGeom>
                <a:avLst/>
                <a:gdLst>
                  <a:gd name="T0" fmla="*/ 0 w 9401"/>
                  <a:gd name="T1" fmla="*/ 0 h 576"/>
                  <a:gd name="T2" fmla="*/ 0 w 9401"/>
                  <a:gd name="T3" fmla="*/ 0 h 576"/>
                  <a:gd name="T4" fmla="*/ 0 w 9401"/>
                  <a:gd name="T5" fmla="*/ 0 h 576"/>
                  <a:gd name="T6" fmla="*/ 0 w 9401"/>
                  <a:gd name="T7" fmla="*/ 0 h 576"/>
                  <a:gd name="T8" fmla="*/ 0 w 9401"/>
                  <a:gd name="T9" fmla="*/ 0 h 576"/>
                  <a:gd name="T10" fmla="*/ 0 w 9401"/>
                  <a:gd name="T11" fmla="*/ 0 h 576"/>
                  <a:gd name="T12" fmla="*/ 0 w 9401"/>
                  <a:gd name="T13" fmla="*/ 0 h 576"/>
                  <a:gd name="T14" fmla="*/ 0 w 9401"/>
                  <a:gd name="T15" fmla="*/ 0 h 576"/>
                  <a:gd name="T16" fmla="*/ 0 w 9401"/>
                  <a:gd name="T17" fmla="*/ 0 h 576"/>
                  <a:gd name="T18" fmla="*/ 0 w 9401"/>
                  <a:gd name="T19" fmla="*/ 0 h 576"/>
                  <a:gd name="T20" fmla="*/ 0 w 9401"/>
                  <a:gd name="T21" fmla="*/ 0 h 576"/>
                  <a:gd name="T22" fmla="*/ 0 w 9401"/>
                  <a:gd name="T23" fmla="*/ 0 h 576"/>
                  <a:gd name="T24" fmla="*/ 0 w 9401"/>
                  <a:gd name="T25" fmla="*/ 0 h 576"/>
                  <a:gd name="T26" fmla="*/ 0 w 9401"/>
                  <a:gd name="T27" fmla="*/ 0 h 576"/>
                  <a:gd name="T28" fmla="*/ 0 w 9401"/>
                  <a:gd name="T29" fmla="*/ 0 h 576"/>
                  <a:gd name="T30" fmla="*/ 0 w 9401"/>
                  <a:gd name="T31" fmla="*/ 0 h 576"/>
                  <a:gd name="T32" fmla="*/ 0 w 9401"/>
                  <a:gd name="T33" fmla="*/ 0 h 576"/>
                  <a:gd name="T34" fmla="*/ 0 w 9401"/>
                  <a:gd name="T35" fmla="*/ 0 h 576"/>
                  <a:gd name="T36" fmla="*/ 0 w 9401"/>
                  <a:gd name="T37" fmla="*/ 0 h 576"/>
                  <a:gd name="T38" fmla="*/ 0 w 9401"/>
                  <a:gd name="T39" fmla="*/ 0 h 576"/>
                  <a:gd name="T40" fmla="*/ 0 w 9401"/>
                  <a:gd name="T41" fmla="*/ 0 h 576"/>
                  <a:gd name="T42" fmla="*/ 0 w 9401"/>
                  <a:gd name="T43" fmla="*/ 0 h 576"/>
                  <a:gd name="T44" fmla="*/ 0 w 9401"/>
                  <a:gd name="T45" fmla="*/ 0 h 576"/>
                  <a:gd name="T46" fmla="*/ 0 w 9401"/>
                  <a:gd name="T47" fmla="*/ 0 h 576"/>
                  <a:gd name="T48" fmla="*/ 0 w 9401"/>
                  <a:gd name="T49" fmla="*/ 0 h 576"/>
                  <a:gd name="T50" fmla="*/ 0 w 9401"/>
                  <a:gd name="T51" fmla="*/ 0 h 576"/>
                  <a:gd name="T52" fmla="*/ 0 w 9401"/>
                  <a:gd name="T53" fmla="*/ 0 h 576"/>
                  <a:gd name="T54" fmla="*/ 0 w 9401"/>
                  <a:gd name="T55" fmla="*/ 0 h 576"/>
                  <a:gd name="T56" fmla="*/ 0 w 9401"/>
                  <a:gd name="T57" fmla="*/ 0 h 576"/>
                  <a:gd name="T58" fmla="*/ 0 w 9401"/>
                  <a:gd name="T59" fmla="*/ 0 h 576"/>
                  <a:gd name="T60" fmla="*/ 0 w 9401"/>
                  <a:gd name="T61" fmla="*/ 0 h 576"/>
                  <a:gd name="T62" fmla="*/ 0 w 9401"/>
                  <a:gd name="T63" fmla="*/ 0 h 576"/>
                  <a:gd name="T64" fmla="*/ 0 w 9401"/>
                  <a:gd name="T65" fmla="*/ 0 h 576"/>
                  <a:gd name="T66" fmla="*/ 0 w 9401"/>
                  <a:gd name="T67" fmla="*/ 0 h 576"/>
                  <a:gd name="T68" fmla="*/ 0 w 9401"/>
                  <a:gd name="T69" fmla="*/ 0 h 576"/>
                  <a:gd name="T70" fmla="*/ 0 w 9401"/>
                  <a:gd name="T71" fmla="*/ 0 h 576"/>
                  <a:gd name="T72" fmla="*/ 0 w 9401"/>
                  <a:gd name="T73" fmla="*/ 0 h 576"/>
                  <a:gd name="T74" fmla="*/ 0 w 9401"/>
                  <a:gd name="T75" fmla="*/ 0 h 576"/>
                  <a:gd name="T76" fmla="*/ 0 w 9401"/>
                  <a:gd name="T77" fmla="*/ 0 h 576"/>
                  <a:gd name="T78" fmla="*/ 0 w 9401"/>
                  <a:gd name="T79" fmla="*/ 0 h 576"/>
                  <a:gd name="T80" fmla="*/ 0 w 9401"/>
                  <a:gd name="T81" fmla="*/ 0 h 576"/>
                  <a:gd name="T82" fmla="*/ 0 w 9401"/>
                  <a:gd name="T83" fmla="*/ 0 h 576"/>
                  <a:gd name="T84" fmla="*/ 0 w 9401"/>
                  <a:gd name="T85" fmla="*/ 0 h 576"/>
                  <a:gd name="T86" fmla="*/ 0 w 9401"/>
                  <a:gd name="T87" fmla="*/ 0 h 576"/>
                  <a:gd name="T88" fmla="*/ 0 w 9401"/>
                  <a:gd name="T89" fmla="*/ 0 h 576"/>
                  <a:gd name="T90" fmla="*/ 0 w 9401"/>
                  <a:gd name="T91" fmla="*/ 0 h 576"/>
                  <a:gd name="T92" fmla="*/ 0 w 9401"/>
                  <a:gd name="T93" fmla="*/ 0 h 576"/>
                  <a:gd name="T94" fmla="*/ 0 w 9401"/>
                  <a:gd name="T95" fmla="*/ 0 h 576"/>
                  <a:gd name="T96" fmla="*/ 0 w 9401"/>
                  <a:gd name="T97" fmla="*/ 0 h 576"/>
                  <a:gd name="T98" fmla="*/ 0 w 9401"/>
                  <a:gd name="T99" fmla="*/ 0 h 576"/>
                  <a:gd name="T100" fmla="*/ 0 w 9401"/>
                  <a:gd name="T101" fmla="*/ 0 h 57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9401"/>
                  <a:gd name="T154" fmla="*/ 0 h 576"/>
                  <a:gd name="T155" fmla="*/ 9401 w 9401"/>
                  <a:gd name="T156" fmla="*/ 576 h 57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9401" h="576">
                    <a:moveTo>
                      <a:pt x="9401" y="290"/>
                    </a:moveTo>
                    <a:lnTo>
                      <a:pt x="9401" y="306"/>
                    </a:lnTo>
                    <a:lnTo>
                      <a:pt x="9399" y="325"/>
                    </a:lnTo>
                    <a:lnTo>
                      <a:pt x="9398" y="346"/>
                    </a:lnTo>
                    <a:lnTo>
                      <a:pt x="9395" y="366"/>
                    </a:lnTo>
                    <a:lnTo>
                      <a:pt x="9390" y="389"/>
                    </a:lnTo>
                    <a:lnTo>
                      <a:pt x="9384" y="411"/>
                    </a:lnTo>
                    <a:lnTo>
                      <a:pt x="9380" y="422"/>
                    </a:lnTo>
                    <a:lnTo>
                      <a:pt x="9375" y="433"/>
                    </a:lnTo>
                    <a:lnTo>
                      <a:pt x="9370" y="445"/>
                    </a:lnTo>
                    <a:lnTo>
                      <a:pt x="9362" y="455"/>
                    </a:lnTo>
                    <a:lnTo>
                      <a:pt x="9355" y="465"/>
                    </a:lnTo>
                    <a:lnTo>
                      <a:pt x="9348" y="476"/>
                    </a:lnTo>
                    <a:lnTo>
                      <a:pt x="9339" y="486"/>
                    </a:lnTo>
                    <a:lnTo>
                      <a:pt x="9328" y="495"/>
                    </a:lnTo>
                    <a:lnTo>
                      <a:pt x="9318" y="505"/>
                    </a:lnTo>
                    <a:lnTo>
                      <a:pt x="9305" y="513"/>
                    </a:lnTo>
                    <a:lnTo>
                      <a:pt x="9293" y="521"/>
                    </a:lnTo>
                    <a:lnTo>
                      <a:pt x="9279" y="529"/>
                    </a:lnTo>
                    <a:lnTo>
                      <a:pt x="9263" y="536"/>
                    </a:lnTo>
                    <a:lnTo>
                      <a:pt x="9247" y="542"/>
                    </a:lnTo>
                    <a:lnTo>
                      <a:pt x="9229" y="547"/>
                    </a:lnTo>
                    <a:lnTo>
                      <a:pt x="9210" y="551"/>
                    </a:lnTo>
                    <a:lnTo>
                      <a:pt x="9190" y="554"/>
                    </a:lnTo>
                    <a:lnTo>
                      <a:pt x="9167" y="558"/>
                    </a:lnTo>
                    <a:lnTo>
                      <a:pt x="9144" y="559"/>
                    </a:lnTo>
                    <a:lnTo>
                      <a:pt x="9119" y="560"/>
                    </a:lnTo>
                    <a:lnTo>
                      <a:pt x="8897" y="560"/>
                    </a:lnTo>
                    <a:lnTo>
                      <a:pt x="8548" y="562"/>
                    </a:lnTo>
                    <a:lnTo>
                      <a:pt x="8090" y="564"/>
                    </a:lnTo>
                    <a:lnTo>
                      <a:pt x="7541" y="567"/>
                    </a:lnTo>
                    <a:lnTo>
                      <a:pt x="6920" y="570"/>
                    </a:lnTo>
                    <a:lnTo>
                      <a:pt x="6245" y="573"/>
                    </a:lnTo>
                    <a:lnTo>
                      <a:pt x="5532" y="575"/>
                    </a:lnTo>
                    <a:lnTo>
                      <a:pt x="4802" y="576"/>
                    </a:lnTo>
                    <a:lnTo>
                      <a:pt x="4071" y="576"/>
                    </a:lnTo>
                    <a:lnTo>
                      <a:pt x="3360" y="574"/>
                    </a:lnTo>
                    <a:lnTo>
                      <a:pt x="3016" y="573"/>
                    </a:lnTo>
                    <a:lnTo>
                      <a:pt x="2685" y="571"/>
                    </a:lnTo>
                    <a:lnTo>
                      <a:pt x="2366" y="569"/>
                    </a:lnTo>
                    <a:lnTo>
                      <a:pt x="2065" y="566"/>
                    </a:lnTo>
                    <a:lnTo>
                      <a:pt x="1780" y="562"/>
                    </a:lnTo>
                    <a:lnTo>
                      <a:pt x="1517" y="558"/>
                    </a:lnTo>
                    <a:lnTo>
                      <a:pt x="1276" y="552"/>
                    </a:lnTo>
                    <a:lnTo>
                      <a:pt x="1060" y="547"/>
                    </a:lnTo>
                    <a:lnTo>
                      <a:pt x="872" y="540"/>
                    </a:lnTo>
                    <a:lnTo>
                      <a:pt x="713" y="533"/>
                    </a:lnTo>
                    <a:lnTo>
                      <a:pt x="586" y="524"/>
                    </a:lnTo>
                    <a:lnTo>
                      <a:pt x="493" y="515"/>
                    </a:lnTo>
                    <a:lnTo>
                      <a:pt x="445" y="509"/>
                    </a:lnTo>
                    <a:lnTo>
                      <a:pt x="383" y="501"/>
                    </a:lnTo>
                    <a:lnTo>
                      <a:pt x="349" y="495"/>
                    </a:lnTo>
                    <a:lnTo>
                      <a:pt x="314" y="489"/>
                    </a:lnTo>
                    <a:lnTo>
                      <a:pt x="277" y="482"/>
                    </a:lnTo>
                    <a:lnTo>
                      <a:pt x="241" y="474"/>
                    </a:lnTo>
                    <a:lnTo>
                      <a:pt x="205" y="464"/>
                    </a:lnTo>
                    <a:lnTo>
                      <a:pt x="170" y="454"/>
                    </a:lnTo>
                    <a:lnTo>
                      <a:pt x="153" y="449"/>
                    </a:lnTo>
                    <a:lnTo>
                      <a:pt x="137" y="443"/>
                    </a:lnTo>
                    <a:lnTo>
                      <a:pt x="122" y="437"/>
                    </a:lnTo>
                    <a:lnTo>
                      <a:pt x="107" y="429"/>
                    </a:lnTo>
                    <a:lnTo>
                      <a:pt x="93" y="422"/>
                    </a:lnTo>
                    <a:lnTo>
                      <a:pt x="79" y="415"/>
                    </a:lnTo>
                    <a:lnTo>
                      <a:pt x="67" y="407"/>
                    </a:lnTo>
                    <a:lnTo>
                      <a:pt x="57" y="398"/>
                    </a:lnTo>
                    <a:lnTo>
                      <a:pt x="46" y="389"/>
                    </a:lnTo>
                    <a:lnTo>
                      <a:pt x="38" y="380"/>
                    </a:lnTo>
                    <a:lnTo>
                      <a:pt x="30" y="370"/>
                    </a:lnTo>
                    <a:lnTo>
                      <a:pt x="24" y="360"/>
                    </a:lnTo>
                    <a:lnTo>
                      <a:pt x="16" y="343"/>
                    </a:lnTo>
                    <a:lnTo>
                      <a:pt x="10" y="326"/>
                    </a:lnTo>
                    <a:lnTo>
                      <a:pt x="5" y="309"/>
                    </a:lnTo>
                    <a:lnTo>
                      <a:pt x="2" y="292"/>
                    </a:lnTo>
                    <a:lnTo>
                      <a:pt x="0" y="274"/>
                    </a:lnTo>
                    <a:lnTo>
                      <a:pt x="0" y="258"/>
                    </a:lnTo>
                    <a:lnTo>
                      <a:pt x="1" y="240"/>
                    </a:lnTo>
                    <a:lnTo>
                      <a:pt x="4" y="224"/>
                    </a:lnTo>
                    <a:lnTo>
                      <a:pt x="8" y="207"/>
                    </a:lnTo>
                    <a:lnTo>
                      <a:pt x="13" y="190"/>
                    </a:lnTo>
                    <a:lnTo>
                      <a:pt x="20" y="175"/>
                    </a:lnTo>
                    <a:lnTo>
                      <a:pt x="27" y="159"/>
                    </a:lnTo>
                    <a:lnTo>
                      <a:pt x="35" y="145"/>
                    </a:lnTo>
                    <a:lnTo>
                      <a:pt x="44" y="129"/>
                    </a:lnTo>
                    <a:lnTo>
                      <a:pt x="55" y="116"/>
                    </a:lnTo>
                    <a:lnTo>
                      <a:pt x="65" y="103"/>
                    </a:lnTo>
                    <a:lnTo>
                      <a:pt x="77" y="89"/>
                    </a:lnTo>
                    <a:lnTo>
                      <a:pt x="90" y="77"/>
                    </a:lnTo>
                    <a:lnTo>
                      <a:pt x="103" y="65"/>
                    </a:lnTo>
                    <a:lnTo>
                      <a:pt x="117" y="55"/>
                    </a:lnTo>
                    <a:lnTo>
                      <a:pt x="131" y="45"/>
                    </a:lnTo>
                    <a:lnTo>
                      <a:pt x="147" y="36"/>
                    </a:lnTo>
                    <a:lnTo>
                      <a:pt x="161" y="28"/>
                    </a:lnTo>
                    <a:lnTo>
                      <a:pt x="178" y="21"/>
                    </a:lnTo>
                    <a:lnTo>
                      <a:pt x="193" y="15"/>
                    </a:lnTo>
                    <a:lnTo>
                      <a:pt x="210" y="9"/>
                    </a:lnTo>
                    <a:lnTo>
                      <a:pt x="226" y="5"/>
                    </a:lnTo>
                    <a:lnTo>
                      <a:pt x="243" y="2"/>
                    </a:lnTo>
                    <a:lnTo>
                      <a:pt x="259" y="0"/>
                    </a:lnTo>
                    <a:lnTo>
                      <a:pt x="277" y="0"/>
                    </a:lnTo>
                    <a:lnTo>
                      <a:pt x="293" y="1"/>
                    </a:lnTo>
                    <a:lnTo>
                      <a:pt x="310" y="3"/>
                    </a:lnTo>
                    <a:lnTo>
                      <a:pt x="329" y="6"/>
                    </a:lnTo>
                    <a:lnTo>
                      <a:pt x="345" y="12"/>
                    </a:lnTo>
                    <a:lnTo>
                      <a:pt x="362" y="17"/>
                    </a:lnTo>
                    <a:lnTo>
                      <a:pt x="377" y="23"/>
                    </a:lnTo>
                    <a:lnTo>
                      <a:pt x="392" y="30"/>
                    </a:lnTo>
                    <a:lnTo>
                      <a:pt x="405" y="37"/>
                    </a:lnTo>
                    <a:lnTo>
                      <a:pt x="418" y="46"/>
                    </a:lnTo>
                    <a:lnTo>
                      <a:pt x="431" y="54"/>
                    </a:lnTo>
                    <a:lnTo>
                      <a:pt x="455" y="73"/>
                    </a:lnTo>
                    <a:lnTo>
                      <a:pt x="476" y="93"/>
                    </a:lnTo>
                    <a:lnTo>
                      <a:pt x="498" y="114"/>
                    </a:lnTo>
                    <a:lnTo>
                      <a:pt x="520" y="136"/>
                    </a:lnTo>
                    <a:lnTo>
                      <a:pt x="541" y="157"/>
                    </a:lnTo>
                    <a:lnTo>
                      <a:pt x="564" y="179"/>
                    </a:lnTo>
                    <a:lnTo>
                      <a:pt x="575" y="189"/>
                    </a:lnTo>
                    <a:lnTo>
                      <a:pt x="588" y="200"/>
                    </a:lnTo>
                    <a:lnTo>
                      <a:pt x="601" y="210"/>
                    </a:lnTo>
                    <a:lnTo>
                      <a:pt x="615" y="219"/>
                    </a:lnTo>
                    <a:lnTo>
                      <a:pt x="629" y="229"/>
                    </a:lnTo>
                    <a:lnTo>
                      <a:pt x="645" y="237"/>
                    </a:lnTo>
                    <a:lnTo>
                      <a:pt x="660" y="245"/>
                    </a:lnTo>
                    <a:lnTo>
                      <a:pt x="677" y="252"/>
                    </a:lnTo>
                    <a:lnTo>
                      <a:pt x="695" y="260"/>
                    </a:lnTo>
                    <a:lnTo>
                      <a:pt x="714" y="265"/>
                    </a:lnTo>
                    <a:lnTo>
                      <a:pt x="734" y="271"/>
                    </a:lnTo>
                    <a:lnTo>
                      <a:pt x="755" y="275"/>
                    </a:lnTo>
                    <a:lnTo>
                      <a:pt x="795" y="278"/>
                    </a:lnTo>
                    <a:lnTo>
                      <a:pt x="878" y="282"/>
                    </a:lnTo>
                    <a:lnTo>
                      <a:pt x="1001" y="287"/>
                    </a:lnTo>
                    <a:lnTo>
                      <a:pt x="1163" y="291"/>
                    </a:lnTo>
                    <a:lnTo>
                      <a:pt x="1587" y="300"/>
                    </a:lnTo>
                    <a:lnTo>
                      <a:pt x="2129" y="309"/>
                    </a:lnTo>
                    <a:lnTo>
                      <a:pt x="2763" y="320"/>
                    </a:lnTo>
                    <a:lnTo>
                      <a:pt x="3469" y="329"/>
                    </a:lnTo>
                    <a:lnTo>
                      <a:pt x="4222" y="337"/>
                    </a:lnTo>
                    <a:lnTo>
                      <a:pt x="5001" y="343"/>
                    </a:lnTo>
                    <a:lnTo>
                      <a:pt x="5393" y="347"/>
                    </a:lnTo>
                    <a:lnTo>
                      <a:pt x="5783" y="349"/>
                    </a:lnTo>
                    <a:lnTo>
                      <a:pt x="6167" y="351"/>
                    </a:lnTo>
                    <a:lnTo>
                      <a:pt x="6543" y="352"/>
                    </a:lnTo>
                    <a:lnTo>
                      <a:pt x="6909" y="352"/>
                    </a:lnTo>
                    <a:lnTo>
                      <a:pt x="7261" y="351"/>
                    </a:lnTo>
                    <a:lnTo>
                      <a:pt x="7596" y="350"/>
                    </a:lnTo>
                    <a:lnTo>
                      <a:pt x="7912" y="348"/>
                    </a:lnTo>
                    <a:lnTo>
                      <a:pt x="8206" y="345"/>
                    </a:lnTo>
                    <a:lnTo>
                      <a:pt x="8475" y="340"/>
                    </a:lnTo>
                    <a:lnTo>
                      <a:pt x="8715" y="334"/>
                    </a:lnTo>
                    <a:lnTo>
                      <a:pt x="8925" y="328"/>
                    </a:lnTo>
                    <a:lnTo>
                      <a:pt x="9102" y="321"/>
                    </a:lnTo>
                    <a:lnTo>
                      <a:pt x="9241" y="311"/>
                    </a:lnTo>
                    <a:lnTo>
                      <a:pt x="9342" y="301"/>
                    </a:lnTo>
                    <a:lnTo>
                      <a:pt x="9401" y="290"/>
                    </a:lnTo>
                    <a:close/>
                  </a:path>
                </a:pathLst>
              </a:custGeom>
              <a:solidFill>
                <a:srgbClr val="DE876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31" name="Freeform 5"/>
              <p:cNvSpPr>
                <a:spLocks/>
              </p:cNvSpPr>
              <p:nvPr/>
            </p:nvSpPr>
            <p:spPr bwMode="auto">
              <a:xfrm>
                <a:off x="2884" y="922"/>
                <a:ext cx="1343" cy="65"/>
              </a:xfrm>
              <a:custGeom>
                <a:avLst/>
                <a:gdLst>
                  <a:gd name="T0" fmla="*/ 0 w 9403"/>
                  <a:gd name="T1" fmla="*/ 0 h 451"/>
                  <a:gd name="T2" fmla="*/ 0 w 9403"/>
                  <a:gd name="T3" fmla="*/ 0 h 451"/>
                  <a:gd name="T4" fmla="*/ 0 w 9403"/>
                  <a:gd name="T5" fmla="*/ 0 h 451"/>
                  <a:gd name="T6" fmla="*/ 0 w 9403"/>
                  <a:gd name="T7" fmla="*/ 0 h 451"/>
                  <a:gd name="T8" fmla="*/ 0 w 9403"/>
                  <a:gd name="T9" fmla="*/ 0 h 451"/>
                  <a:gd name="T10" fmla="*/ 0 w 9403"/>
                  <a:gd name="T11" fmla="*/ 0 h 451"/>
                  <a:gd name="T12" fmla="*/ 0 w 9403"/>
                  <a:gd name="T13" fmla="*/ 0 h 451"/>
                  <a:gd name="T14" fmla="*/ 0 w 9403"/>
                  <a:gd name="T15" fmla="*/ 0 h 451"/>
                  <a:gd name="T16" fmla="*/ 0 w 9403"/>
                  <a:gd name="T17" fmla="*/ 0 h 451"/>
                  <a:gd name="T18" fmla="*/ 0 w 9403"/>
                  <a:gd name="T19" fmla="*/ 0 h 451"/>
                  <a:gd name="T20" fmla="*/ 0 w 9403"/>
                  <a:gd name="T21" fmla="*/ 0 h 451"/>
                  <a:gd name="T22" fmla="*/ 0 w 9403"/>
                  <a:gd name="T23" fmla="*/ 0 h 451"/>
                  <a:gd name="T24" fmla="*/ 0 w 9403"/>
                  <a:gd name="T25" fmla="*/ 0 h 451"/>
                  <a:gd name="T26" fmla="*/ 0 w 9403"/>
                  <a:gd name="T27" fmla="*/ 0 h 451"/>
                  <a:gd name="T28" fmla="*/ 0 w 9403"/>
                  <a:gd name="T29" fmla="*/ 0 h 451"/>
                  <a:gd name="T30" fmla="*/ 0 w 9403"/>
                  <a:gd name="T31" fmla="*/ 0 h 451"/>
                  <a:gd name="T32" fmla="*/ 0 w 9403"/>
                  <a:gd name="T33" fmla="*/ 0 h 451"/>
                  <a:gd name="T34" fmla="*/ 0 w 9403"/>
                  <a:gd name="T35" fmla="*/ 0 h 451"/>
                  <a:gd name="T36" fmla="*/ 0 w 9403"/>
                  <a:gd name="T37" fmla="*/ 0 h 451"/>
                  <a:gd name="T38" fmla="*/ 0 w 9403"/>
                  <a:gd name="T39" fmla="*/ 0 h 451"/>
                  <a:gd name="T40" fmla="*/ 0 w 9403"/>
                  <a:gd name="T41" fmla="*/ 0 h 451"/>
                  <a:gd name="T42" fmla="*/ 0 w 9403"/>
                  <a:gd name="T43" fmla="*/ 0 h 451"/>
                  <a:gd name="T44" fmla="*/ 0 w 9403"/>
                  <a:gd name="T45" fmla="*/ 0 h 451"/>
                  <a:gd name="T46" fmla="*/ 0 w 9403"/>
                  <a:gd name="T47" fmla="*/ 0 h 451"/>
                  <a:gd name="T48" fmla="*/ 0 w 9403"/>
                  <a:gd name="T49" fmla="*/ 0 h 451"/>
                  <a:gd name="T50" fmla="*/ 0 w 9403"/>
                  <a:gd name="T51" fmla="*/ 0 h 451"/>
                  <a:gd name="T52" fmla="*/ 0 w 9403"/>
                  <a:gd name="T53" fmla="*/ 0 h 451"/>
                  <a:gd name="T54" fmla="*/ 0 w 9403"/>
                  <a:gd name="T55" fmla="*/ 0 h 451"/>
                  <a:gd name="T56" fmla="*/ 0 w 9403"/>
                  <a:gd name="T57" fmla="*/ 0 h 451"/>
                  <a:gd name="T58" fmla="*/ 0 w 9403"/>
                  <a:gd name="T59" fmla="*/ 0 h 451"/>
                  <a:gd name="T60" fmla="*/ 0 w 9403"/>
                  <a:gd name="T61" fmla="*/ 0 h 451"/>
                  <a:gd name="T62" fmla="*/ 0 w 9403"/>
                  <a:gd name="T63" fmla="*/ 0 h 451"/>
                  <a:gd name="T64" fmla="*/ 0 w 9403"/>
                  <a:gd name="T65" fmla="*/ 0 h 451"/>
                  <a:gd name="T66" fmla="*/ 0 w 9403"/>
                  <a:gd name="T67" fmla="*/ 0 h 451"/>
                  <a:gd name="T68" fmla="*/ 0 w 9403"/>
                  <a:gd name="T69" fmla="*/ 0 h 451"/>
                  <a:gd name="T70" fmla="*/ 0 w 9403"/>
                  <a:gd name="T71" fmla="*/ 0 h 451"/>
                  <a:gd name="T72" fmla="*/ 0 w 9403"/>
                  <a:gd name="T73" fmla="*/ 0 h 451"/>
                  <a:gd name="T74" fmla="*/ 0 w 9403"/>
                  <a:gd name="T75" fmla="*/ 0 h 451"/>
                  <a:gd name="T76" fmla="*/ 0 w 9403"/>
                  <a:gd name="T77" fmla="*/ 0 h 451"/>
                  <a:gd name="T78" fmla="*/ 0 w 9403"/>
                  <a:gd name="T79" fmla="*/ 0 h 451"/>
                  <a:gd name="T80" fmla="*/ 0 w 9403"/>
                  <a:gd name="T81" fmla="*/ 0 h 451"/>
                  <a:gd name="T82" fmla="*/ 0 w 9403"/>
                  <a:gd name="T83" fmla="*/ 0 h 451"/>
                  <a:gd name="T84" fmla="*/ 0 w 9403"/>
                  <a:gd name="T85" fmla="*/ 0 h 451"/>
                  <a:gd name="T86" fmla="*/ 0 w 9403"/>
                  <a:gd name="T87" fmla="*/ 0 h 451"/>
                  <a:gd name="T88" fmla="*/ 0 w 9403"/>
                  <a:gd name="T89" fmla="*/ 0 h 451"/>
                  <a:gd name="T90" fmla="*/ 0 w 9403"/>
                  <a:gd name="T91" fmla="*/ 0 h 451"/>
                  <a:gd name="T92" fmla="*/ 0 w 9403"/>
                  <a:gd name="T93" fmla="*/ 0 h 451"/>
                  <a:gd name="T94" fmla="*/ 0 w 9403"/>
                  <a:gd name="T95" fmla="*/ 0 h 451"/>
                  <a:gd name="T96" fmla="*/ 0 w 9403"/>
                  <a:gd name="T97" fmla="*/ 0 h 451"/>
                  <a:gd name="T98" fmla="*/ 0 w 9403"/>
                  <a:gd name="T99" fmla="*/ 0 h 451"/>
                  <a:gd name="T100" fmla="*/ 0 w 9403"/>
                  <a:gd name="T101" fmla="*/ 0 h 451"/>
                  <a:gd name="T102" fmla="*/ 0 w 9403"/>
                  <a:gd name="T103" fmla="*/ 0 h 451"/>
                  <a:gd name="T104" fmla="*/ 0 w 9403"/>
                  <a:gd name="T105" fmla="*/ 0 h 451"/>
                  <a:gd name="T106" fmla="*/ 0 w 9403"/>
                  <a:gd name="T107" fmla="*/ 0 h 451"/>
                  <a:gd name="T108" fmla="*/ 0 w 9403"/>
                  <a:gd name="T109" fmla="*/ 0 h 451"/>
                  <a:gd name="T110" fmla="*/ 0 w 9403"/>
                  <a:gd name="T111" fmla="*/ 0 h 451"/>
                  <a:gd name="T112" fmla="*/ 0 w 9403"/>
                  <a:gd name="T113" fmla="*/ 0 h 451"/>
                  <a:gd name="T114" fmla="*/ 0 w 9403"/>
                  <a:gd name="T115" fmla="*/ 0 h 451"/>
                  <a:gd name="T116" fmla="*/ 0 w 9403"/>
                  <a:gd name="T117" fmla="*/ 0 h 451"/>
                  <a:gd name="T118" fmla="*/ 0 w 9403"/>
                  <a:gd name="T119" fmla="*/ 0 h 451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9403"/>
                  <a:gd name="T181" fmla="*/ 0 h 451"/>
                  <a:gd name="T182" fmla="*/ 9403 w 9403"/>
                  <a:gd name="T183" fmla="*/ 451 h 451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9403" h="451">
                    <a:moveTo>
                      <a:pt x="9283" y="393"/>
                    </a:moveTo>
                    <a:lnTo>
                      <a:pt x="9225" y="404"/>
                    </a:lnTo>
                    <a:lnTo>
                      <a:pt x="9126" y="415"/>
                    </a:lnTo>
                    <a:lnTo>
                      <a:pt x="8987" y="424"/>
                    </a:lnTo>
                    <a:lnTo>
                      <a:pt x="8814" y="431"/>
                    </a:lnTo>
                    <a:lnTo>
                      <a:pt x="8606" y="438"/>
                    </a:lnTo>
                    <a:lnTo>
                      <a:pt x="8368" y="442"/>
                    </a:lnTo>
                    <a:lnTo>
                      <a:pt x="8103" y="446"/>
                    </a:lnTo>
                    <a:lnTo>
                      <a:pt x="7813" y="449"/>
                    </a:lnTo>
                    <a:lnTo>
                      <a:pt x="7501" y="450"/>
                    </a:lnTo>
                    <a:lnTo>
                      <a:pt x="7171" y="451"/>
                    </a:lnTo>
                    <a:lnTo>
                      <a:pt x="6823" y="451"/>
                    </a:lnTo>
                    <a:lnTo>
                      <a:pt x="6463" y="450"/>
                    </a:lnTo>
                    <a:lnTo>
                      <a:pt x="6092" y="449"/>
                    </a:lnTo>
                    <a:lnTo>
                      <a:pt x="5712" y="447"/>
                    </a:lnTo>
                    <a:lnTo>
                      <a:pt x="5328" y="444"/>
                    </a:lnTo>
                    <a:lnTo>
                      <a:pt x="4943" y="441"/>
                    </a:lnTo>
                    <a:lnTo>
                      <a:pt x="4174" y="432"/>
                    </a:lnTo>
                    <a:lnTo>
                      <a:pt x="3431" y="423"/>
                    </a:lnTo>
                    <a:lnTo>
                      <a:pt x="2735" y="413"/>
                    </a:lnTo>
                    <a:lnTo>
                      <a:pt x="2109" y="401"/>
                    </a:lnTo>
                    <a:lnTo>
                      <a:pt x="1576" y="391"/>
                    </a:lnTo>
                    <a:lnTo>
                      <a:pt x="1157" y="381"/>
                    </a:lnTo>
                    <a:lnTo>
                      <a:pt x="998" y="377"/>
                    </a:lnTo>
                    <a:lnTo>
                      <a:pt x="876" y="372"/>
                    </a:lnTo>
                    <a:lnTo>
                      <a:pt x="794" y="368"/>
                    </a:lnTo>
                    <a:lnTo>
                      <a:pt x="754" y="365"/>
                    </a:lnTo>
                    <a:lnTo>
                      <a:pt x="733" y="360"/>
                    </a:lnTo>
                    <a:lnTo>
                      <a:pt x="713" y="355"/>
                    </a:lnTo>
                    <a:lnTo>
                      <a:pt x="694" y="349"/>
                    </a:lnTo>
                    <a:lnTo>
                      <a:pt x="676" y="342"/>
                    </a:lnTo>
                    <a:lnTo>
                      <a:pt x="659" y="335"/>
                    </a:lnTo>
                    <a:lnTo>
                      <a:pt x="644" y="327"/>
                    </a:lnTo>
                    <a:lnTo>
                      <a:pt x="628" y="319"/>
                    </a:lnTo>
                    <a:lnTo>
                      <a:pt x="614" y="309"/>
                    </a:lnTo>
                    <a:lnTo>
                      <a:pt x="600" y="300"/>
                    </a:lnTo>
                    <a:lnTo>
                      <a:pt x="587" y="290"/>
                    </a:lnTo>
                    <a:lnTo>
                      <a:pt x="574" y="279"/>
                    </a:lnTo>
                    <a:lnTo>
                      <a:pt x="563" y="269"/>
                    </a:lnTo>
                    <a:lnTo>
                      <a:pt x="540" y="247"/>
                    </a:lnTo>
                    <a:lnTo>
                      <a:pt x="519" y="226"/>
                    </a:lnTo>
                    <a:lnTo>
                      <a:pt x="497" y="204"/>
                    </a:lnTo>
                    <a:lnTo>
                      <a:pt x="475" y="183"/>
                    </a:lnTo>
                    <a:lnTo>
                      <a:pt x="454" y="163"/>
                    </a:lnTo>
                    <a:lnTo>
                      <a:pt x="430" y="144"/>
                    </a:lnTo>
                    <a:lnTo>
                      <a:pt x="417" y="136"/>
                    </a:lnTo>
                    <a:lnTo>
                      <a:pt x="404" y="127"/>
                    </a:lnTo>
                    <a:lnTo>
                      <a:pt x="391" y="120"/>
                    </a:lnTo>
                    <a:lnTo>
                      <a:pt x="376" y="113"/>
                    </a:lnTo>
                    <a:lnTo>
                      <a:pt x="361" y="107"/>
                    </a:lnTo>
                    <a:lnTo>
                      <a:pt x="344" y="102"/>
                    </a:lnTo>
                    <a:lnTo>
                      <a:pt x="328" y="96"/>
                    </a:lnTo>
                    <a:lnTo>
                      <a:pt x="309" y="93"/>
                    </a:lnTo>
                    <a:lnTo>
                      <a:pt x="297" y="91"/>
                    </a:lnTo>
                    <a:lnTo>
                      <a:pt x="284" y="90"/>
                    </a:lnTo>
                    <a:lnTo>
                      <a:pt x="272" y="90"/>
                    </a:lnTo>
                    <a:lnTo>
                      <a:pt x="259" y="90"/>
                    </a:lnTo>
                    <a:lnTo>
                      <a:pt x="247" y="91"/>
                    </a:lnTo>
                    <a:lnTo>
                      <a:pt x="235" y="93"/>
                    </a:lnTo>
                    <a:lnTo>
                      <a:pt x="222" y="95"/>
                    </a:lnTo>
                    <a:lnTo>
                      <a:pt x="211" y="98"/>
                    </a:lnTo>
                    <a:lnTo>
                      <a:pt x="198" y="103"/>
                    </a:lnTo>
                    <a:lnTo>
                      <a:pt x="186" y="107"/>
                    </a:lnTo>
                    <a:lnTo>
                      <a:pt x="175" y="112"/>
                    </a:lnTo>
                    <a:lnTo>
                      <a:pt x="163" y="117"/>
                    </a:lnTo>
                    <a:lnTo>
                      <a:pt x="152" y="122"/>
                    </a:lnTo>
                    <a:lnTo>
                      <a:pt x="140" y="128"/>
                    </a:lnTo>
                    <a:lnTo>
                      <a:pt x="129" y="136"/>
                    </a:lnTo>
                    <a:lnTo>
                      <a:pt x="119" y="143"/>
                    </a:lnTo>
                    <a:lnTo>
                      <a:pt x="108" y="151"/>
                    </a:lnTo>
                    <a:lnTo>
                      <a:pt x="98" y="159"/>
                    </a:lnTo>
                    <a:lnTo>
                      <a:pt x="89" y="168"/>
                    </a:lnTo>
                    <a:lnTo>
                      <a:pt x="80" y="176"/>
                    </a:lnTo>
                    <a:lnTo>
                      <a:pt x="70" y="186"/>
                    </a:lnTo>
                    <a:lnTo>
                      <a:pt x="62" y="196"/>
                    </a:lnTo>
                    <a:lnTo>
                      <a:pt x="54" y="206"/>
                    </a:lnTo>
                    <a:lnTo>
                      <a:pt x="46" y="216"/>
                    </a:lnTo>
                    <a:lnTo>
                      <a:pt x="39" y="227"/>
                    </a:lnTo>
                    <a:lnTo>
                      <a:pt x="32" y="237"/>
                    </a:lnTo>
                    <a:lnTo>
                      <a:pt x="26" y="248"/>
                    </a:lnTo>
                    <a:lnTo>
                      <a:pt x="21" y="260"/>
                    </a:lnTo>
                    <a:lnTo>
                      <a:pt x="15" y="271"/>
                    </a:lnTo>
                    <a:lnTo>
                      <a:pt x="11" y="284"/>
                    </a:lnTo>
                    <a:lnTo>
                      <a:pt x="7" y="295"/>
                    </a:lnTo>
                    <a:lnTo>
                      <a:pt x="5" y="307"/>
                    </a:lnTo>
                    <a:lnTo>
                      <a:pt x="2" y="292"/>
                    </a:lnTo>
                    <a:lnTo>
                      <a:pt x="0" y="276"/>
                    </a:lnTo>
                    <a:lnTo>
                      <a:pt x="0" y="261"/>
                    </a:lnTo>
                    <a:lnTo>
                      <a:pt x="1" y="245"/>
                    </a:lnTo>
                    <a:lnTo>
                      <a:pt x="3" y="231"/>
                    </a:lnTo>
                    <a:lnTo>
                      <a:pt x="5" y="215"/>
                    </a:lnTo>
                    <a:lnTo>
                      <a:pt x="9" y="201"/>
                    </a:lnTo>
                    <a:lnTo>
                      <a:pt x="14" y="186"/>
                    </a:lnTo>
                    <a:lnTo>
                      <a:pt x="21" y="172"/>
                    </a:lnTo>
                    <a:lnTo>
                      <a:pt x="27" y="158"/>
                    </a:lnTo>
                    <a:lnTo>
                      <a:pt x="34" y="144"/>
                    </a:lnTo>
                    <a:lnTo>
                      <a:pt x="42" y="132"/>
                    </a:lnTo>
                    <a:lnTo>
                      <a:pt x="52" y="118"/>
                    </a:lnTo>
                    <a:lnTo>
                      <a:pt x="62" y="106"/>
                    </a:lnTo>
                    <a:lnTo>
                      <a:pt x="72" y="94"/>
                    </a:lnTo>
                    <a:lnTo>
                      <a:pt x="84" y="83"/>
                    </a:lnTo>
                    <a:lnTo>
                      <a:pt x="95" y="73"/>
                    </a:lnTo>
                    <a:lnTo>
                      <a:pt x="107" y="62"/>
                    </a:lnTo>
                    <a:lnTo>
                      <a:pt x="120" y="53"/>
                    </a:lnTo>
                    <a:lnTo>
                      <a:pt x="133" y="44"/>
                    </a:lnTo>
                    <a:lnTo>
                      <a:pt x="147" y="35"/>
                    </a:lnTo>
                    <a:lnTo>
                      <a:pt x="160" y="28"/>
                    </a:lnTo>
                    <a:lnTo>
                      <a:pt x="175" y="22"/>
                    </a:lnTo>
                    <a:lnTo>
                      <a:pt x="189" y="16"/>
                    </a:lnTo>
                    <a:lnTo>
                      <a:pt x="204" y="11"/>
                    </a:lnTo>
                    <a:lnTo>
                      <a:pt x="218" y="7"/>
                    </a:lnTo>
                    <a:lnTo>
                      <a:pt x="233" y="4"/>
                    </a:lnTo>
                    <a:lnTo>
                      <a:pt x="249" y="1"/>
                    </a:lnTo>
                    <a:lnTo>
                      <a:pt x="263" y="0"/>
                    </a:lnTo>
                    <a:lnTo>
                      <a:pt x="279" y="0"/>
                    </a:lnTo>
                    <a:lnTo>
                      <a:pt x="293" y="1"/>
                    </a:lnTo>
                    <a:lnTo>
                      <a:pt x="309" y="3"/>
                    </a:lnTo>
                    <a:lnTo>
                      <a:pt x="328" y="7"/>
                    </a:lnTo>
                    <a:lnTo>
                      <a:pt x="344" y="12"/>
                    </a:lnTo>
                    <a:lnTo>
                      <a:pt x="361" y="17"/>
                    </a:lnTo>
                    <a:lnTo>
                      <a:pt x="376" y="23"/>
                    </a:lnTo>
                    <a:lnTo>
                      <a:pt x="391" y="30"/>
                    </a:lnTo>
                    <a:lnTo>
                      <a:pt x="404" y="37"/>
                    </a:lnTo>
                    <a:lnTo>
                      <a:pt x="417" y="46"/>
                    </a:lnTo>
                    <a:lnTo>
                      <a:pt x="430" y="54"/>
                    </a:lnTo>
                    <a:lnTo>
                      <a:pt x="454" y="73"/>
                    </a:lnTo>
                    <a:lnTo>
                      <a:pt x="475" y="93"/>
                    </a:lnTo>
                    <a:lnTo>
                      <a:pt x="497" y="114"/>
                    </a:lnTo>
                    <a:lnTo>
                      <a:pt x="519" y="136"/>
                    </a:lnTo>
                    <a:lnTo>
                      <a:pt x="540" y="157"/>
                    </a:lnTo>
                    <a:lnTo>
                      <a:pt x="563" y="179"/>
                    </a:lnTo>
                    <a:lnTo>
                      <a:pt x="574" y="189"/>
                    </a:lnTo>
                    <a:lnTo>
                      <a:pt x="587" y="200"/>
                    </a:lnTo>
                    <a:lnTo>
                      <a:pt x="600" y="210"/>
                    </a:lnTo>
                    <a:lnTo>
                      <a:pt x="614" y="219"/>
                    </a:lnTo>
                    <a:lnTo>
                      <a:pt x="628" y="229"/>
                    </a:lnTo>
                    <a:lnTo>
                      <a:pt x="644" y="237"/>
                    </a:lnTo>
                    <a:lnTo>
                      <a:pt x="659" y="245"/>
                    </a:lnTo>
                    <a:lnTo>
                      <a:pt x="676" y="252"/>
                    </a:lnTo>
                    <a:lnTo>
                      <a:pt x="694" y="260"/>
                    </a:lnTo>
                    <a:lnTo>
                      <a:pt x="713" y="265"/>
                    </a:lnTo>
                    <a:lnTo>
                      <a:pt x="733" y="271"/>
                    </a:lnTo>
                    <a:lnTo>
                      <a:pt x="754" y="275"/>
                    </a:lnTo>
                    <a:lnTo>
                      <a:pt x="794" y="278"/>
                    </a:lnTo>
                    <a:lnTo>
                      <a:pt x="877" y="282"/>
                    </a:lnTo>
                    <a:lnTo>
                      <a:pt x="1001" y="287"/>
                    </a:lnTo>
                    <a:lnTo>
                      <a:pt x="1162" y="292"/>
                    </a:lnTo>
                    <a:lnTo>
                      <a:pt x="1587" y="303"/>
                    </a:lnTo>
                    <a:lnTo>
                      <a:pt x="2128" y="315"/>
                    </a:lnTo>
                    <a:lnTo>
                      <a:pt x="2763" y="326"/>
                    </a:lnTo>
                    <a:lnTo>
                      <a:pt x="3469" y="337"/>
                    </a:lnTo>
                    <a:lnTo>
                      <a:pt x="4222" y="349"/>
                    </a:lnTo>
                    <a:lnTo>
                      <a:pt x="5001" y="358"/>
                    </a:lnTo>
                    <a:lnTo>
                      <a:pt x="5394" y="362"/>
                    </a:lnTo>
                    <a:lnTo>
                      <a:pt x="5784" y="365"/>
                    </a:lnTo>
                    <a:lnTo>
                      <a:pt x="6168" y="368"/>
                    </a:lnTo>
                    <a:lnTo>
                      <a:pt x="6544" y="370"/>
                    </a:lnTo>
                    <a:lnTo>
                      <a:pt x="6910" y="371"/>
                    </a:lnTo>
                    <a:lnTo>
                      <a:pt x="7262" y="372"/>
                    </a:lnTo>
                    <a:lnTo>
                      <a:pt x="7598" y="372"/>
                    </a:lnTo>
                    <a:lnTo>
                      <a:pt x="7915" y="370"/>
                    </a:lnTo>
                    <a:lnTo>
                      <a:pt x="8208" y="368"/>
                    </a:lnTo>
                    <a:lnTo>
                      <a:pt x="8477" y="365"/>
                    </a:lnTo>
                    <a:lnTo>
                      <a:pt x="8717" y="361"/>
                    </a:lnTo>
                    <a:lnTo>
                      <a:pt x="8927" y="355"/>
                    </a:lnTo>
                    <a:lnTo>
                      <a:pt x="9104" y="348"/>
                    </a:lnTo>
                    <a:lnTo>
                      <a:pt x="9243" y="339"/>
                    </a:lnTo>
                    <a:lnTo>
                      <a:pt x="9345" y="329"/>
                    </a:lnTo>
                    <a:lnTo>
                      <a:pt x="9403" y="318"/>
                    </a:lnTo>
                    <a:lnTo>
                      <a:pt x="9400" y="325"/>
                    </a:lnTo>
                    <a:lnTo>
                      <a:pt x="9396" y="331"/>
                    </a:lnTo>
                    <a:lnTo>
                      <a:pt x="9391" y="337"/>
                    </a:lnTo>
                    <a:lnTo>
                      <a:pt x="9386" y="343"/>
                    </a:lnTo>
                    <a:lnTo>
                      <a:pt x="9380" y="350"/>
                    </a:lnTo>
                    <a:lnTo>
                      <a:pt x="9373" y="356"/>
                    </a:lnTo>
                    <a:lnTo>
                      <a:pt x="9364" y="361"/>
                    </a:lnTo>
                    <a:lnTo>
                      <a:pt x="9356" y="366"/>
                    </a:lnTo>
                    <a:lnTo>
                      <a:pt x="9339" y="376"/>
                    </a:lnTo>
                    <a:lnTo>
                      <a:pt x="9320" y="384"/>
                    </a:lnTo>
                    <a:lnTo>
                      <a:pt x="9301" y="389"/>
                    </a:lnTo>
                    <a:lnTo>
                      <a:pt x="9283" y="393"/>
                    </a:lnTo>
                    <a:close/>
                  </a:path>
                </a:pathLst>
              </a:custGeom>
              <a:solidFill>
                <a:srgbClr val="E4B89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32" name="Freeform 6"/>
              <p:cNvSpPr>
                <a:spLocks/>
              </p:cNvSpPr>
              <p:nvPr/>
            </p:nvSpPr>
            <p:spPr bwMode="auto">
              <a:xfrm>
                <a:off x="2880" y="940"/>
                <a:ext cx="1347" cy="69"/>
              </a:xfrm>
              <a:custGeom>
                <a:avLst/>
                <a:gdLst>
                  <a:gd name="T0" fmla="*/ 0 w 9427"/>
                  <a:gd name="T1" fmla="*/ 0 h 481"/>
                  <a:gd name="T2" fmla="*/ 0 w 9427"/>
                  <a:gd name="T3" fmla="*/ 0 h 481"/>
                  <a:gd name="T4" fmla="*/ 0 w 9427"/>
                  <a:gd name="T5" fmla="*/ 0 h 481"/>
                  <a:gd name="T6" fmla="*/ 0 w 9427"/>
                  <a:gd name="T7" fmla="*/ 0 h 481"/>
                  <a:gd name="T8" fmla="*/ 0 w 9427"/>
                  <a:gd name="T9" fmla="*/ 0 h 481"/>
                  <a:gd name="T10" fmla="*/ 0 w 9427"/>
                  <a:gd name="T11" fmla="*/ 0 h 481"/>
                  <a:gd name="T12" fmla="*/ 0 w 9427"/>
                  <a:gd name="T13" fmla="*/ 0 h 481"/>
                  <a:gd name="T14" fmla="*/ 0 w 9427"/>
                  <a:gd name="T15" fmla="*/ 0 h 481"/>
                  <a:gd name="T16" fmla="*/ 0 w 9427"/>
                  <a:gd name="T17" fmla="*/ 0 h 481"/>
                  <a:gd name="T18" fmla="*/ 0 w 9427"/>
                  <a:gd name="T19" fmla="*/ 0 h 481"/>
                  <a:gd name="T20" fmla="*/ 0 w 9427"/>
                  <a:gd name="T21" fmla="*/ 0 h 481"/>
                  <a:gd name="T22" fmla="*/ 0 w 9427"/>
                  <a:gd name="T23" fmla="*/ 0 h 481"/>
                  <a:gd name="T24" fmla="*/ 0 w 9427"/>
                  <a:gd name="T25" fmla="*/ 0 h 481"/>
                  <a:gd name="T26" fmla="*/ 0 w 9427"/>
                  <a:gd name="T27" fmla="*/ 0 h 481"/>
                  <a:gd name="T28" fmla="*/ 0 w 9427"/>
                  <a:gd name="T29" fmla="*/ 0 h 481"/>
                  <a:gd name="T30" fmla="*/ 0 w 9427"/>
                  <a:gd name="T31" fmla="*/ 0 h 481"/>
                  <a:gd name="T32" fmla="*/ 0 w 9427"/>
                  <a:gd name="T33" fmla="*/ 0 h 481"/>
                  <a:gd name="T34" fmla="*/ 0 w 9427"/>
                  <a:gd name="T35" fmla="*/ 0 h 481"/>
                  <a:gd name="T36" fmla="*/ 0 w 9427"/>
                  <a:gd name="T37" fmla="*/ 0 h 481"/>
                  <a:gd name="T38" fmla="*/ 0 w 9427"/>
                  <a:gd name="T39" fmla="*/ 0 h 481"/>
                  <a:gd name="T40" fmla="*/ 0 w 9427"/>
                  <a:gd name="T41" fmla="*/ 0 h 481"/>
                  <a:gd name="T42" fmla="*/ 0 w 9427"/>
                  <a:gd name="T43" fmla="*/ 0 h 481"/>
                  <a:gd name="T44" fmla="*/ 0 w 9427"/>
                  <a:gd name="T45" fmla="*/ 0 h 481"/>
                  <a:gd name="T46" fmla="*/ 0 w 9427"/>
                  <a:gd name="T47" fmla="*/ 0 h 481"/>
                  <a:gd name="T48" fmla="*/ 0 w 9427"/>
                  <a:gd name="T49" fmla="*/ 0 h 481"/>
                  <a:gd name="T50" fmla="*/ 0 w 9427"/>
                  <a:gd name="T51" fmla="*/ 0 h 481"/>
                  <a:gd name="T52" fmla="*/ 0 w 9427"/>
                  <a:gd name="T53" fmla="*/ 0 h 481"/>
                  <a:gd name="T54" fmla="*/ 0 w 9427"/>
                  <a:gd name="T55" fmla="*/ 0 h 481"/>
                  <a:gd name="T56" fmla="*/ 0 w 9427"/>
                  <a:gd name="T57" fmla="*/ 0 h 481"/>
                  <a:gd name="T58" fmla="*/ 0 w 9427"/>
                  <a:gd name="T59" fmla="*/ 0 h 481"/>
                  <a:gd name="T60" fmla="*/ 0 w 9427"/>
                  <a:gd name="T61" fmla="*/ 0 h 481"/>
                  <a:gd name="T62" fmla="*/ 0 w 9427"/>
                  <a:gd name="T63" fmla="*/ 0 h 481"/>
                  <a:gd name="T64" fmla="*/ 0 w 9427"/>
                  <a:gd name="T65" fmla="*/ 0 h 481"/>
                  <a:gd name="T66" fmla="*/ 0 w 9427"/>
                  <a:gd name="T67" fmla="*/ 0 h 481"/>
                  <a:gd name="T68" fmla="*/ 0 w 9427"/>
                  <a:gd name="T69" fmla="*/ 0 h 481"/>
                  <a:gd name="T70" fmla="*/ 0 w 9427"/>
                  <a:gd name="T71" fmla="*/ 0 h 481"/>
                  <a:gd name="T72" fmla="*/ 0 w 9427"/>
                  <a:gd name="T73" fmla="*/ 0 h 481"/>
                  <a:gd name="T74" fmla="*/ 0 w 9427"/>
                  <a:gd name="T75" fmla="*/ 0 h 481"/>
                  <a:gd name="T76" fmla="*/ 0 w 9427"/>
                  <a:gd name="T77" fmla="*/ 0 h 481"/>
                  <a:gd name="T78" fmla="*/ 0 w 9427"/>
                  <a:gd name="T79" fmla="*/ 0 h 481"/>
                  <a:gd name="T80" fmla="*/ 0 w 9427"/>
                  <a:gd name="T81" fmla="*/ 0 h 481"/>
                  <a:gd name="T82" fmla="*/ 0 w 9427"/>
                  <a:gd name="T83" fmla="*/ 0 h 481"/>
                  <a:gd name="T84" fmla="*/ 0 w 9427"/>
                  <a:gd name="T85" fmla="*/ 0 h 481"/>
                  <a:gd name="T86" fmla="*/ 0 w 9427"/>
                  <a:gd name="T87" fmla="*/ 0 h 481"/>
                  <a:gd name="T88" fmla="*/ 0 w 9427"/>
                  <a:gd name="T89" fmla="*/ 0 h 481"/>
                  <a:gd name="T90" fmla="*/ 0 w 9427"/>
                  <a:gd name="T91" fmla="*/ 0 h 481"/>
                  <a:gd name="T92" fmla="*/ 0 w 9427"/>
                  <a:gd name="T93" fmla="*/ 0 h 481"/>
                  <a:gd name="T94" fmla="*/ 0 w 9427"/>
                  <a:gd name="T95" fmla="*/ 0 h 481"/>
                  <a:gd name="T96" fmla="*/ 0 w 9427"/>
                  <a:gd name="T97" fmla="*/ 0 h 481"/>
                  <a:gd name="T98" fmla="*/ 0 w 9427"/>
                  <a:gd name="T99" fmla="*/ 0 h 481"/>
                  <a:gd name="T100" fmla="*/ 0 w 9427"/>
                  <a:gd name="T101" fmla="*/ 0 h 481"/>
                  <a:gd name="T102" fmla="*/ 0 w 9427"/>
                  <a:gd name="T103" fmla="*/ 0 h 481"/>
                  <a:gd name="T104" fmla="*/ 0 w 9427"/>
                  <a:gd name="T105" fmla="*/ 0 h 481"/>
                  <a:gd name="T106" fmla="*/ 0 w 9427"/>
                  <a:gd name="T107" fmla="*/ 0 h 481"/>
                  <a:gd name="T108" fmla="*/ 0 w 9427"/>
                  <a:gd name="T109" fmla="*/ 0 h 481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9427"/>
                  <a:gd name="T166" fmla="*/ 0 h 481"/>
                  <a:gd name="T167" fmla="*/ 9427 w 9427"/>
                  <a:gd name="T168" fmla="*/ 481 h 481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9427" h="481">
                    <a:moveTo>
                      <a:pt x="71" y="0"/>
                    </a:moveTo>
                    <a:lnTo>
                      <a:pt x="68" y="11"/>
                    </a:lnTo>
                    <a:lnTo>
                      <a:pt x="65" y="21"/>
                    </a:lnTo>
                    <a:lnTo>
                      <a:pt x="62" y="32"/>
                    </a:lnTo>
                    <a:lnTo>
                      <a:pt x="60" y="43"/>
                    </a:lnTo>
                    <a:lnTo>
                      <a:pt x="58" y="54"/>
                    </a:lnTo>
                    <a:lnTo>
                      <a:pt x="57" y="64"/>
                    </a:lnTo>
                    <a:lnTo>
                      <a:pt x="57" y="76"/>
                    </a:lnTo>
                    <a:lnTo>
                      <a:pt x="57" y="86"/>
                    </a:lnTo>
                    <a:lnTo>
                      <a:pt x="57" y="98"/>
                    </a:lnTo>
                    <a:lnTo>
                      <a:pt x="59" y="109"/>
                    </a:lnTo>
                    <a:lnTo>
                      <a:pt x="61" y="120"/>
                    </a:lnTo>
                    <a:lnTo>
                      <a:pt x="63" y="132"/>
                    </a:lnTo>
                    <a:lnTo>
                      <a:pt x="66" y="142"/>
                    </a:lnTo>
                    <a:lnTo>
                      <a:pt x="70" y="153"/>
                    </a:lnTo>
                    <a:lnTo>
                      <a:pt x="75" y="165"/>
                    </a:lnTo>
                    <a:lnTo>
                      <a:pt x="81" y="175"/>
                    </a:lnTo>
                    <a:lnTo>
                      <a:pt x="87" y="185"/>
                    </a:lnTo>
                    <a:lnTo>
                      <a:pt x="94" y="196"/>
                    </a:lnTo>
                    <a:lnTo>
                      <a:pt x="102" y="205"/>
                    </a:lnTo>
                    <a:lnTo>
                      <a:pt x="113" y="213"/>
                    </a:lnTo>
                    <a:lnTo>
                      <a:pt x="124" y="222"/>
                    </a:lnTo>
                    <a:lnTo>
                      <a:pt x="136" y="230"/>
                    </a:lnTo>
                    <a:lnTo>
                      <a:pt x="149" y="237"/>
                    </a:lnTo>
                    <a:lnTo>
                      <a:pt x="163" y="244"/>
                    </a:lnTo>
                    <a:lnTo>
                      <a:pt x="178" y="252"/>
                    </a:lnTo>
                    <a:lnTo>
                      <a:pt x="193" y="258"/>
                    </a:lnTo>
                    <a:lnTo>
                      <a:pt x="210" y="264"/>
                    </a:lnTo>
                    <a:lnTo>
                      <a:pt x="226" y="269"/>
                    </a:lnTo>
                    <a:lnTo>
                      <a:pt x="261" y="281"/>
                    </a:lnTo>
                    <a:lnTo>
                      <a:pt x="297" y="289"/>
                    </a:lnTo>
                    <a:lnTo>
                      <a:pt x="334" y="297"/>
                    </a:lnTo>
                    <a:lnTo>
                      <a:pt x="370" y="304"/>
                    </a:lnTo>
                    <a:lnTo>
                      <a:pt x="405" y="311"/>
                    </a:lnTo>
                    <a:lnTo>
                      <a:pt x="440" y="316"/>
                    </a:lnTo>
                    <a:lnTo>
                      <a:pt x="501" y="324"/>
                    </a:lnTo>
                    <a:lnTo>
                      <a:pt x="550" y="330"/>
                    </a:lnTo>
                    <a:lnTo>
                      <a:pt x="643" y="339"/>
                    </a:lnTo>
                    <a:lnTo>
                      <a:pt x="769" y="348"/>
                    </a:lnTo>
                    <a:lnTo>
                      <a:pt x="928" y="356"/>
                    </a:lnTo>
                    <a:lnTo>
                      <a:pt x="1116" y="362"/>
                    </a:lnTo>
                    <a:lnTo>
                      <a:pt x="1332" y="368"/>
                    </a:lnTo>
                    <a:lnTo>
                      <a:pt x="1573" y="374"/>
                    </a:lnTo>
                    <a:lnTo>
                      <a:pt x="1836" y="378"/>
                    </a:lnTo>
                    <a:lnTo>
                      <a:pt x="2120" y="382"/>
                    </a:lnTo>
                    <a:lnTo>
                      <a:pt x="2423" y="385"/>
                    </a:lnTo>
                    <a:lnTo>
                      <a:pt x="2742" y="388"/>
                    </a:lnTo>
                    <a:lnTo>
                      <a:pt x="3073" y="390"/>
                    </a:lnTo>
                    <a:lnTo>
                      <a:pt x="3416" y="392"/>
                    </a:lnTo>
                    <a:lnTo>
                      <a:pt x="4128" y="393"/>
                    </a:lnTo>
                    <a:lnTo>
                      <a:pt x="4858" y="394"/>
                    </a:lnTo>
                    <a:lnTo>
                      <a:pt x="5588" y="393"/>
                    </a:lnTo>
                    <a:lnTo>
                      <a:pt x="6300" y="391"/>
                    </a:lnTo>
                    <a:lnTo>
                      <a:pt x="6976" y="388"/>
                    </a:lnTo>
                    <a:lnTo>
                      <a:pt x="7597" y="385"/>
                    </a:lnTo>
                    <a:lnTo>
                      <a:pt x="8147" y="382"/>
                    </a:lnTo>
                    <a:lnTo>
                      <a:pt x="8605" y="379"/>
                    </a:lnTo>
                    <a:lnTo>
                      <a:pt x="8954" y="377"/>
                    </a:lnTo>
                    <a:lnTo>
                      <a:pt x="9175" y="375"/>
                    </a:lnTo>
                    <a:lnTo>
                      <a:pt x="9189" y="374"/>
                    </a:lnTo>
                    <a:lnTo>
                      <a:pt x="9201" y="373"/>
                    </a:lnTo>
                    <a:lnTo>
                      <a:pt x="9215" y="369"/>
                    </a:lnTo>
                    <a:lnTo>
                      <a:pt x="9227" y="365"/>
                    </a:lnTo>
                    <a:lnTo>
                      <a:pt x="9239" y="361"/>
                    </a:lnTo>
                    <a:lnTo>
                      <a:pt x="9251" y="356"/>
                    </a:lnTo>
                    <a:lnTo>
                      <a:pt x="9263" y="350"/>
                    </a:lnTo>
                    <a:lnTo>
                      <a:pt x="9275" y="344"/>
                    </a:lnTo>
                    <a:lnTo>
                      <a:pt x="9285" y="336"/>
                    </a:lnTo>
                    <a:lnTo>
                      <a:pt x="9296" y="329"/>
                    </a:lnTo>
                    <a:lnTo>
                      <a:pt x="9307" y="321"/>
                    </a:lnTo>
                    <a:lnTo>
                      <a:pt x="9317" y="313"/>
                    </a:lnTo>
                    <a:lnTo>
                      <a:pt x="9337" y="295"/>
                    </a:lnTo>
                    <a:lnTo>
                      <a:pt x="9354" y="277"/>
                    </a:lnTo>
                    <a:lnTo>
                      <a:pt x="9385" y="244"/>
                    </a:lnTo>
                    <a:lnTo>
                      <a:pt x="9408" y="216"/>
                    </a:lnTo>
                    <a:lnTo>
                      <a:pt x="9416" y="206"/>
                    </a:lnTo>
                    <a:lnTo>
                      <a:pt x="9422" y="199"/>
                    </a:lnTo>
                    <a:lnTo>
                      <a:pt x="9424" y="197"/>
                    </a:lnTo>
                    <a:lnTo>
                      <a:pt x="9426" y="196"/>
                    </a:lnTo>
                    <a:lnTo>
                      <a:pt x="9427" y="197"/>
                    </a:lnTo>
                    <a:lnTo>
                      <a:pt x="9426" y="218"/>
                    </a:lnTo>
                    <a:lnTo>
                      <a:pt x="9425" y="238"/>
                    </a:lnTo>
                    <a:lnTo>
                      <a:pt x="9423" y="257"/>
                    </a:lnTo>
                    <a:lnTo>
                      <a:pt x="9420" y="274"/>
                    </a:lnTo>
                    <a:lnTo>
                      <a:pt x="9416" y="292"/>
                    </a:lnTo>
                    <a:lnTo>
                      <a:pt x="9412" y="307"/>
                    </a:lnTo>
                    <a:lnTo>
                      <a:pt x="9407" y="322"/>
                    </a:lnTo>
                    <a:lnTo>
                      <a:pt x="9401" y="336"/>
                    </a:lnTo>
                    <a:lnTo>
                      <a:pt x="9394" y="349"/>
                    </a:lnTo>
                    <a:lnTo>
                      <a:pt x="9387" y="361"/>
                    </a:lnTo>
                    <a:lnTo>
                      <a:pt x="9379" y="373"/>
                    </a:lnTo>
                    <a:lnTo>
                      <a:pt x="9371" y="383"/>
                    </a:lnTo>
                    <a:lnTo>
                      <a:pt x="9361" y="393"/>
                    </a:lnTo>
                    <a:lnTo>
                      <a:pt x="9352" y="402"/>
                    </a:lnTo>
                    <a:lnTo>
                      <a:pt x="9342" y="410"/>
                    </a:lnTo>
                    <a:lnTo>
                      <a:pt x="9331" y="417"/>
                    </a:lnTo>
                    <a:lnTo>
                      <a:pt x="9320" y="424"/>
                    </a:lnTo>
                    <a:lnTo>
                      <a:pt x="9309" y="430"/>
                    </a:lnTo>
                    <a:lnTo>
                      <a:pt x="9297" y="436"/>
                    </a:lnTo>
                    <a:lnTo>
                      <a:pt x="9285" y="441"/>
                    </a:lnTo>
                    <a:lnTo>
                      <a:pt x="9272" y="445"/>
                    </a:lnTo>
                    <a:lnTo>
                      <a:pt x="9259" y="449"/>
                    </a:lnTo>
                    <a:lnTo>
                      <a:pt x="9247" y="452"/>
                    </a:lnTo>
                    <a:lnTo>
                      <a:pt x="9233" y="455"/>
                    </a:lnTo>
                    <a:lnTo>
                      <a:pt x="9205" y="459"/>
                    </a:lnTo>
                    <a:lnTo>
                      <a:pt x="9176" y="463"/>
                    </a:lnTo>
                    <a:lnTo>
                      <a:pt x="9148" y="464"/>
                    </a:lnTo>
                    <a:lnTo>
                      <a:pt x="9119" y="465"/>
                    </a:lnTo>
                    <a:lnTo>
                      <a:pt x="8897" y="465"/>
                    </a:lnTo>
                    <a:lnTo>
                      <a:pt x="8548" y="467"/>
                    </a:lnTo>
                    <a:lnTo>
                      <a:pt x="8090" y="469"/>
                    </a:lnTo>
                    <a:lnTo>
                      <a:pt x="7542" y="472"/>
                    </a:lnTo>
                    <a:lnTo>
                      <a:pt x="6919" y="475"/>
                    </a:lnTo>
                    <a:lnTo>
                      <a:pt x="6244" y="478"/>
                    </a:lnTo>
                    <a:lnTo>
                      <a:pt x="5532" y="480"/>
                    </a:lnTo>
                    <a:lnTo>
                      <a:pt x="4802" y="481"/>
                    </a:lnTo>
                    <a:lnTo>
                      <a:pt x="4071" y="481"/>
                    </a:lnTo>
                    <a:lnTo>
                      <a:pt x="3360" y="479"/>
                    </a:lnTo>
                    <a:lnTo>
                      <a:pt x="3016" y="478"/>
                    </a:lnTo>
                    <a:lnTo>
                      <a:pt x="2685" y="476"/>
                    </a:lnTo>
                    <a:lnTo>
                      <a:pt x="2366" y="474"/>
                    </a:lnTo>
                    <a:lnTo>
                      <a:pt x="2065" y="471"/>
                    </a:lnTo>
                    <a:lnTo>
                      <a:pt x="1781" y="467"/>
                    </a:lnTo>
                    <a:lnTo>
                      <a:pt x="1517" y="463"/>
                    </a:lnTo>
                    <a:lnTo>
                      <a:pt x="1276" y="457"/>
                    </a:lnTo>
                    <a:lnTo>
                      <a:pt x="1060" y="452"/>
                    </a:lnTo>
                    <a:lnTo>
                      <a:pt x="871" y="445"/>
                    </a:lnTo>
                    <a:lnTo>
                      <a:pt x="713" y="438"/>
                    </a:lnTo>
                    <a:lnTo>
                      <a:pt x="586" y="429"/>
                    </a:lnTo>
                    <a:lnTo>
                      <a:pt x="493" y="420"/>
                    </a:lnTo>
                    <a:lnTo>
                      <a:pt x="444" y="414"/>
                    </a:lnTo>
                    <a:lnTo>
                      <a:pt x="383" y="406"/>
                    </a:lnTo>
                    <a:lnTo>
                      <a:pt x="349" y="400"/>
                    </a:lnTo>
                    <a:lnTo>
                      <a:pt x="313" y="394"/>
                    </a:lnTo>
                    <a:lnTo>
                      <a:pt x="277" y="387"/>
                    </a:lnTo>
                    <a:lnTo>
                      <a:pt x="241" y="379"/>
                    </a:lnTo>
                    <a:lnTo>
                      <a:pt x="205" y="369"/>
                    </a:lnTo>
                    <a:lnTo>
                      <a:pt x="169" y="359"/>
                    </a:lnTo>
                    <a:lnTo>
                      <a:pt x="153" y="354"/>
                    </a:lnTo>
                    <a:lnTo>
                      <a:pt x="137" y="348"/>
                    </a:lnTo>
                    <a:lnTo>
                      <a:pt x="122" y="342"/>
                    </a:lnTo>
                    <a:lnTo>
                      <a:pt x="106" y="334"/>
                    </a:lnTo>
                    <a:lnTo>
                      <a:pt x="93" y="327"/>
                    </a:lnTo>
                    <a:lnTo>
                      <a:pt x="80" y="320"/>
                    </a:lnTo>
                    <a:lnTo>
                      <a:pt x="67" y="312"/>
                    </a:lnTo>
                    <a:lnTo>
                      <a:pt x="57" y="303"/>
                    </a:lnTo>
                    <a:lnTo>
                      <a:pt x="47" y="294"/>
                    </a:lnTo>
                    <a:lnTo>
                      <a:pt x="37" y="285"/>
                    </a:lnTo>
                    <a:lnTo>
                      <a:pt x="30" y="275"/>
                    </a:lnTo>
                    <a:lnTo>
                      <a:pt x="24" y="265"/>
                    </a:lnTo>
                    <a:lnTo>
                      <a:pt x="16" y="247"/>
                    </a:lnTo>
                    <a:lnTo>
                      <a:pt x="9" y="230"/>
                    </a:lnTo>
                    <a:lnTo>
                      <a:pt x="4" y="212"/>
                    </a:lnTo>
                    <a:lnTo>
                      <a:pt x="1" y="195"/>
                    </a:lnTo>
                    <a:lnTo>
                      <a:pt x="0" y="176"/>
                    </a:lnTo>
                    <a:lnTo>
                      <a:pt x="0" y="159"/>
                    </a:lnTo>
                    <a:lnTo>
                      <a:pt x="2" y="142"/>
                    </a:lnTo>
                    <a:lnTo>
                      <a:pt x="5" y="124"/>
                    </a:lnTo>
                    <a:lnTo>
                      <a:pt x="9" y="108"/>
                    </a:lnTo>
                    <a:lnTo>
                      <a:pt x="14" y="90"/>
                    </a:lnTo>
                    <a:lnTo>
                      <a:pt x="22" y="75"/>
                    </a:lnTo>
                    <a:lnTo>
                      <a:pt x="30" y="58"/>
                    </a:lnTo>
                    <a:lnTo>
                      <a:pt x="38" y="44"/>
                    </a:lnTo>
                    <a:lnTo>
                      <a:pt x="49" y="28"/>
                    </a:lnTo>
                    <a:lnTo>
                      <a:pt x="60" y="14"/>
                    </a:lnTo>
                    <a:lnTo>
                      <a:pt x="71" y="0"/>
                    </a:lnTo>
                    <a:close/>
                  </a:path>
                </a:pathLst>
              </a:custGeom>
              <a:solidFill>
                <a:srgbClr val="934F3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33" name="Freeform 7"/>
              <p:cNvSpPr>
                <a:spLocks/>
              </p:cNvSpPr>
              <p:nvPr/>
            </p:nvSpPr>
            <p:spPr bwMode="auto">
              <a:xfrm>
                <a:off x="2924" y="963"/>
                <a:ext cx="220" cy="780"/>
              </a:xfrm>
              <a:custGeom>
                <a:avLst/>
                <a:gdLst>
                  <a:gd name="T0" fmla="*/ 0 w 1539"/>
                  <a:gd name="T1" fmla="*/ 0 h 5457"/>
                  <a:gd name="T2" fmla="*/ 0 w 1539"/>
                  <a:gd name="T3" fmla="*/ 0 h 5457"/>
                  <a:gd name="T4" fmla="*/ 0 w 1539"/>
                  <a:gd name="T5" fmla="*/ 0 h 5457"/>
                  <a:gd name="T6" fmla="*/ 0 w 1539"/>
                  <a:gd name="T7" fmla="*/ 0 h 5457"/>
                  <a:gd name="T8" fmla="*/ 0 w 1539"/>
                  <a:gd name="T9" fmla="*/ 0 h 5457"/>
                  <a:gd name="T10" fmla="*/ 0 w 1539"/>
                  <a:gd name="T11" fmla="*/ 0 h 5457"/>
                  <a:gd name="T12" fmla="*/ 0 w 1539"/>
                  <a:gd name="T13" fmla="*/ 0 h 5457"/>
                  <a:gd name="T14" fmla="*/ 0 w 1539"/>
                  <a:gd name="T15" fmla="*/ 0 h 5457"/>
                  <a:gd name="T16" fmla="*/ 0 w 1539"/>
                  <a:gd name="T17" fmla="*/ 0 h 5457"/>
                  <a:gd name="T18" fmla="*/ 0 w 1539"/>
                  <a:gd name="T19" fmla="*/ 0 h 5457"/>
                  <a:gd name="T20" fmla="*/ 0 w 1539"/>
                  <a:gd name="T21" fmla="*/ 0 h 5457"/>
                  <a:gd name="T22" fmla="*/ 0 w 1539"/>
                  <a:gd name="T23" fmla="*/ 0 h 5457"/>
                  <a:gd name="T24" fmla="*/ 0 w 1539"/>
                  <a:gd name="T25" fmla="*/ 0 h 5457"/>
                  <a:gd name="T26" fmla="*/ 0 w 1539"/>
                  <a:gd name="T27" fmla="*/ 0 h 5457"/>
                  <a:gd name="T28" fmla="*/ 0 w 1539"/>
                  <a:gd name="T29" fmla="*/ 0 h 5457"/>
                  <a:gd name="T30" fmla="*/ 0 w 1539"/>
                  <a:gd name="T31" fmla="*/ 0 h 5457"/>
                  <a:gd name="T32" fmla="*/ 0 w 1539"/>
                  <a:gd name="T33" fmla="*/ 0 h 5457"/>
                  <a:gd name="T34" fmla="*/ 0 w 1539"/>
                  <a:gd name="T35" fmla="*/ 0 h 5457"/>
                  <a:gd name="T36" fmla="*/ 0 w 1539"/>
                  <a:gd name="T37" fmla="*/ 0 h 5457"/>
                  <a:gd name="T38" fmla="*/ 0 w 1539"/>
                  <a:gd name="T39" fmla="*/ 0 h 5457"/>
                  <a:gd name="T40" fmla="*/ 0 w 1539"/>
                  <a:gd name="T41" fmla="*/ 0 h 5457"/>
                  <a:gd name="T42" fmla="*/ 0 w 1539"/>
                  <a:gd name="T43" fmla="*/ 0 h 5457"/>
                  <a:gd name="T44" fmla="*/ 0 w 1539"/>
                  <a:gd name="T45" fmla="*/ 0 h 5457"/>
                  <a:gd name="T46" fmla="*/ 0 w 1539"/>
                  <a:gd name="T47" fmla="*/ 0 h 5457"/>
                  <a:gd name="T48" fmla="*/ 0 w 1539"/>
                  <a:gd name="T49" fmla="*/ 0 h 5457"/>
                  <a:gd name="T50" fmla="*/ 0 w 1539"/>
                  <a:gd name="T51" fmla="*/ 0 h 5457"/>
                  <a:gd name="T52" fmla="*/ 0 w 1539"/>
                  <a:gd name="T53" fmla="*/ 0 h 5457"/>
                  <a:gd name="T54" fmla="*/ 0 w 1539"/>
                  <a:gd name="T55" fmla="*/ 0 h 5457"/>
                  <a:gd name="T56" fmla="*/ 0 w 1539"/>
                  <a:gd name="T57" fmla="*/ 0 h 5457"/>
                  <a:gd name="T58" fmla="*/ 0 w 1539"/>
                  <a:gd name="T59" fmla="*/ 0 h 5457"/>
                  <a:gd name="T60" fmla="*/ 0 w 1539"/>
                  <a:gd name="T61" fmla="*/ 0 h 5457"/>
                  <a:gd name="T62" fmla="*/ 0 w 1539"/>
                  <a:gd name="T63" fmla="*/ 0 h 5457"/>
                  <a:gd name="T64" fmla="*/ 0 w 1539"/>
                  <a:gd name="T65" fmla="*/ 0 h 5457"/>
                  <a:gd name="T66" fmla="*/ 0 w 1539"/>
                  <a:gd name="T67" fmla="*/ 0 h 5457"/>
                  <a:gd name="T68" fmla="*/ 0 w 1539"/>
                  <a:gd name="T69" fmla="*/ 0 h 5457"/>
                  <a:gd name="T70" fmla="*/ 0 w 1539"/>
                  <a:gd name="T71" fmla="*/ 0 h 5457"/>
                  <a:gd name="T72" fmla="*/ 0 w 1539"/>
                  <a:gd name="T73" fmla="*/ 0 h 5457"/>
                  <a:gd name="T74" fmla="*/ 0 w 1539"/>
                  <a:gd name="T75" fmla="*/ 0 h 5457"/>
                  <a:gd name="T76" fmla="*/ 0 w 1539"/>
                  <a:gd name="T77" fmla="*/ 0 h 5457"/>
                  <a:gd name="T78" fmla="*/ 0 w 1539"/>
                  <a:gd name="T79" fmla="*/ 0 h 5457"/>
                  <a:gd name="T80" fmla="*/ 0 w 1539"/>
                  <a:gd name="T81" fmla="*/ 0 h 5457"/>
                  <a:gd name="T82" fmla="*/ 0 w 1539"/>
                  <a:gd name="T83" fmla="*/ 0 h 5457"/>
                  <a:gd name="T84" fmla="*/ 0 w 1539"/>
                  <a:gd name="T85" fmla="*/ 0 h 5457"/>
                  <a:gd name="T86" fmla="*/ 0 w 1539"/>
                  <a:gd name="T87" fmla="*/ 0 h 5457"/>
                  <a:gd name="T88" fmla="*/ 0 w 1539"/>
                  <a:gd name="T89" fmla="*/ 0 h 5457"/>
                  <a:gd name="T90" fmla="*/ 0 w 1539"/>
                  <a:gd name="T91" fmla="*/ 0 h 5457"/>
                  <a:gd name="T92" fmla="*/ 0 w 1539"/>
                  <a:gd name="T93" fmla="*/ 0 h 5457"/>
                  <a:gd name="T94" fmla="*/ 0 w 1539"/>
                  <a:gd name="T95" fmla="*/ 0 h 5457"/>
                  <a:gd name="T96" fmla="*/ 0 w 1539"/>
                  <a:gd name="T97" fmla="*/ 0 h 5457"/>
                  <a:gd name="T98" fmla="*/ 0 w 1539"/>
                  <a:gd name="T99" fmla="*/ 0 h 5457"/>
                  <a:gd name="T100" fmla="*/ 0 w 1539"/>
                  <a:gd name="T101" fmla="*/ 0 h 5457"/>
                  <a:gd name="T102" fmla="*/ 0 w 1539"/>
                  <a:gd name="T103" fmla="*/ 0 h 5457"/>
                  <a:gd name="T104" fmla="*/ 0 w 1539"/>
                  <a:gd name="T105" fmla="*/ 0 h 5457"/>
                  <a:gd name="T106" fmla="*/ 0 w 1539"/>
                  <a:gd name="T107" fmla="*/ 0 h 5457"/>
                  <a:gd name="T108" fmla="*/ 0 w 1539"/>
                  <a:gd name="T109" fmla="*/ 0 h 5457"/>
                  <a:gd name="T110" fmla="*/ 0 w 1539"/>
                  <a:gd name="T111" fmla="*/ 0 h 5457"/>
                  <a:gd name="T112" fmla="*/ 0 w 1539"/>
                  <a:gd name="T113" fmla="*/ 0 h 5457"/>
                  <a:gd name="T114" fmla="*/ 0 w 1539"/>
                  <a:gd name="T115" fmla="*/ 0 h 5457"/>
                  <a:gd name="T116" fmla="*/ 0 w 1539"/>
                  <a:gd name="T117" fmla="*/ 0 h 5457"/>
                  <a:gd name="T118" fmla="*/ 0 w 1539"/>
                  <a:gd name="T119" fmla="*/ 0 h 5457"/>
                  <a:gd name="T120" fmla="*/ 0 w 1539"/>
                  <a:gd name="T121" fmla="*/ 0 h 5457"/>
                  <a:gd name="T122" fmla="*/ 0 w 1539"/>
                  <a:gd name="T123" fmla="*/ 0 h 5457"/>
                  <a:gd name="T124" fmla="*/ 0 w 1539"/>
                  <a:gd name="T125" fmla="*/ 0 h 5457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539"/>
                  <a:gd name="T190" fmla="*/ 0 h 5457"/>
                  <a:gd name="T191" fmla="*/ 1539 w 1539"/>
                  <a:gd name="T192" fmla="*/ 5457 h 5457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539" h="5457">
                    <a:moveTo>
                      <a:pt x="158" y="5451"/>
                    </a:moveTo>
                    <a:lnTo>
                      <a:pt x="133" y="5366"/>
                    </a:lnTo>
                    <a:lnTo>
                      <a:pt x="111" y="5283"/>
                    </a:lnTo>
                    <a:lnTo>
                      <a:pt x="91" y="5201"/>
                    </a:lnTo>
                    <a:lnTo>
                      <a:pt x="72" y="5119"/>
                    </a:lnTo>
                    <a:lnTo>
                      <a:pt x="56" y="5038"/>
                    </a:lnTo>
                    <a:lnTo>
                      <a:pt x="41" y="4958"/>
                    </a:lnTo>
                    <a:lnTo>
                      <a:pt x="29" y="4878"/>
                    </a:lnTo>
                    <a:lnTo>
                      <a:pt x="20" y="4800"/>
                    </a:lnTo>
                    <a:lnTo>
                      <a:pt x="11" y="4721"/>
                    </a:lnTo>
                    <a:lnTo>
                      <a:pt x="6" y="4643"/>
                    </a:lnTo>
                    <a:lnTo>
                      <a:pt x="2" y="4566"/>
                    </a:lnTo>
                    <a:lnTo>
                      <a:pt x="0" y="4488"/>
                    </a:lnTo>
                    <a:lnTo>
                      <a:pt x="1" y="4411"/>
                    </a:lnTo>
                    <a:lnTo>
                      <a:pt x="3" y="4333"/>
                    </a:lnTo>
                    <a:lnTo>
                      <a:pt x="7" y="4257"/>
                    </a:lnTo>
                    <a:lnTo>
                      <a:pt x="14" y="4179"/>
                    </a:lnTo>
                    <a:lnTo>
                      <a:pt x="23" y="4102"/>
                    </a:lnTo>
                    <a:lnTo>
                      <a:pt x="33" y="4023"/>
                    </a:lnTo>
                    <a:lnTo>
                      <a:pt x="45" y="3944"/>
                    </a:lnTo>
                    <a:lnTo>
                      <a:pt x="61" y="3866"/>
                    </a:lnTo>
                    <a:lnTo>
                      <a:pt x="77" y="3786"/>
                    </a:lnTo>
                    <a:lnTo>
                      <a:pt x="96" y="3707"/>
                    </a:lnTo>
                    <a:lnTo>
                      <a:pt x="116" y="3626"/>
                    </a:lnTo>
                    <a:lnTo>
                      <a:pt x="138" y="3544"/>
                    </a:lnTo>
                    <a:lnTo>
                      <a:pt x="163" y="3461"/>
                    </a:lnTo>
                    <a:lnTo>
                      <a:pt x="190" y="3378"/>
                    </a:lnTo>
                    <a:lnTo>
                      <a:pt x="218" y="3293"/>
                    </a:lnTo>
                    <a:lnTo>
                      <a:pt x="248" y="3207"/>
                    </a:lnTo>
                    <a:lnTo>
                      <a:pt x="281" y="3120"/>
                    </a:lnTo>
                    <a:lnTo>
                      <a:pt x="315" y="3032"/>
                    </a:lnTo>
                    <a:lnTo>
                      <a:pt x="351" y="2942"/>
                    </a:lnTo>
                    <a:lnTo>
                      <a:pt x="390" y="2850"/>
                    </a:lnTo>
                    <a:lnTo>
                      <a:pt x="425" y="2762"/>
                    </a:lnTo>
                    <a:lnTo>
                      <a:pt x="457" y="2675"/>
                    </a:lnTo>
                    <a:lnTo>
                      <a:pt x="485" y="2587"/>
                    </a:lnTo>
                    <a:lnTo>
                      <a:pt x="510" y="2498"/>
                    </a:lnTo>
                    <a:lnTo>
                      <a:pt x="532" y="2411"/>
                    </a:lnTo>
                    <a:lnTo>
                      <a:pt x="551" y="2323"/>
                    </a:lnTo>
                    <a:lnTo>
                      <a:pt x="567" y="2235"/>
                    </a:lnTo>
                    <a:lnTo>
                      <a:pt x="581" y="2147"/>
                    </a:lnTo>
                    <a:lnTo>
                      <a:pt x="591" y="2059"/>
                    </a:lnTo>
                    <a:lnTo>
                      <a:pt x="599" y="1971"/>
                    </a:lnTo>
                    <a:lnTo>
                      <a:pt x="606" y="1884"/>
                    </a:lnTo>
                    <a:lnTo>
                      <a:pt x="611" y="1797"/>
                    </a:lnTo>
                    <a:lnTo>
                      <a:pt x="613" y="1709"/>
                    </a:lnTo>
                    <a:lnTo>
                      <a:pt x="614" y="1621"/>
                    </a:lnTo>
                    <a:lnTo>
                      <a:pt x="613" y="1532"/>
                    </a:lnTo>
                    <a:lnTo>
                      <a:pt x="611" y="1444"/>
                    </a:lnTo>
                    <a:lnTo>
                      <a:pt x="608" y="1356"/>
                    </a:lnTo>
                    <a:lnTo>
                      <a:pt x="603" y="1267"/>
                    </a:lnTo>
                    <a:lnTo>
                      <a:pt x="598" y="1179"/>
                    </a:lnTo>
                    <a:lnTo>
                      <a:pt x="593" y="1090"/>
                    </a:lnTo>
                    <a:lnTo>
                      <a:pt x="581" y="912"/>
                    </a:lnTo>
                    <a:lnTo>
                      <a:pt x="567" y="733"/>
                    </a:lnTo>
                    <a:lnTo>
                      <a:pt x="560" y="643"/>
                    </a:lnTo>
                    <a:lnTo>
                      <a:pt x="554" y="553"/>
                    </a:lnTo>
                    <a:lnTo>
                      <a:pt x="549" y="462"/>
                    </a:lnTo>
                    <a:lnTo>
                      <a:pt x="544" y="371"/>
                    </a:lnTo>
                    <a:lnTo>
                      <a:pt x="539" y="280"/>
                    </a:lnTo>
                    <a:lnTo>
                      <a:pt x="536" y="188"/>
                    </a:lnTo>
                    <a:lnTo>
                      <a:pt x="534" y="96"/>
                    </a:lnTo>
                    <a:lnTo>
                      <a:pt x="533" y="3"/>
                    </a:lnTo>
                    <a:lnTo>
                      <a:pt x="1353" y="0"/>
                    </a:lnTo>
                    <a:lnTo>
                      <a:pt x="1357" y="92"/>
                    </a:lnTo>
                    <a:lnTo>
                      <a:pt x="1363" y="184"/>
                    </a:lnTo>
                    <a:lnTo>
                      <a:pt x="1371" y="276"/>
                    </a:lnTo>
                    <a:lnTo>
                      <a:pt x="1380" y="367"/>
                    </a:lnTo>
                    <a:lnTo>
                      <a:pt x="1390" y="457"/>
                    </a:lnTo>
                    <a:lnTo>
                      <a:pt x="1400" y="548"/>
                    </a:lnTo>
                    <a:lnTo>
                      <a:pt x="1412" y="638"/>
                    </a:lnTo>
                    <a:lnTo>
                      <a:pt x="1424" y="726"/>
                    </a:lnTo>
                    <a:lnTo>
                      <a:pt x="1448" y="905"/>
                    </a:lnTo>
                    <a:lnTo>
                      <a:pt x="1473" y="1082"/>
                    </a:lnTo>
                    <a:lnTo>
                      <a:pt x="1484" y="1171"/>
                    </a:lnTo>
                    <a:lnTo>
                      <a:pt x="1495" y="1259"/>
                    </a:lnTo>
                    <a:lnTo>
                      <a:pt x="1506" y="1347"/>
                    </a:lnTo>
                    <a:lnTo>
                      <a:pt x="1515" y="1435"/>
                    </a:lnTo>
                    <a:lnTo>
                      <a:pt x="1522" y="1523"/>
                    </a:lnTo>
                    <a:lnTo>
                      <a:pt x="1529" y="1610"/>
                    </a:lnTo>
                    <a:lnTo>
                      <a:pt x="1535" y="1697"/>
                    </a:lnTo>
                    <a:lnTo>
                      <a:pt x="1538" y="1785"/>
                    </a:lnTo>
                    <a:lnTo>
                      <a:pt x="1539" y="1873"/>
                    </a:lnTo>
                    <a:lnTo>
                      <a:pt x="1539" y="1961"/>
                    </a:lnTo>
                    <a:lnTo>
                      <a:pt x="1536" y="2048"/>
                    </a:lnTo>
                    <a:lnTo>
                      <a:pt x="1530" y="2136"/>
                    </a:lnTo>
                    <a:lnTo>
                      <a:pt x="1522" y="2224"/>
                    </a:lnTo>
                    <a:lnTo>
                      <a:pt x="1512" y="2312"/>
                    </a:lnTo>
                    <a:lnTo>
                      <a:pt x="1497" y="2401"/>
                    </a:lnTo>
                    <a:lnTo>
                      <a:pt x="1481" y="2488"/>
                    </a:lnTo>
                    <a:lnTo>
                      <a:pt x="1460" y="2577"/>
                    </a:lnTo>
                    <a:lnTo>
                      <a:pt x="1435" y="2666"/>
                    </a:lnTo>
                    <a:lnTo>
                      <a:pt x="1407" y="2755"/>
                    </a:lnTo>
                    <a:lnTo>
                      <a:pt x="1376" y="2844"/>
                    </a:lnTo>
                    <a:lnTo>
                      <a:pt x="1341" y="2938"/>
                    </a:lnTo>
                    <a:lnTo>
                      <a:pt x="1309" y="3031"/>
                    </a:lnTo>
                    <a:lnTo>
                      <a:pt x="1279" y="3122"/>
                    </a:lnTo>
                    <a:lnTo>
                      <a:pt x="1252" y="3211"/>
                    </a:lnTo>
                    <a:lnTo>
                      <a:pt x="1227" y="3298"/>
                    </a:lnTo>
                    <a:lnTo>
                      <a:pt x="1204" y="3384"/>
                    </a:lnTo>
                    <a:lnTo>
                      <a:pt x="1184" y="3469"/>
                    </a:lnTo>
                    <a:lnTo>
                      <a:pt x="1167" y="3552"/>
                    </a:lnTo>
                    <a:lnTo>
                      <a:pt x="1150" y="3634"/>
                    </a:lnTo>
                    <a:lnTo>
                      <a:pt x="1138" y="3716"/>
                    </a:lnTo>
                    <a:lnTo>
                      <a:pt x="1126" y="3795"/>
                    </a:lnTo>
                    <a:lnTo>
                      <a:pt x="1117" y="3875"/>
                    </a:lnTo>
                    <a:lnTo>
                      <a:pt x="1111" y="3954"/>
                    </a:lnTo>
                    <a:lnTo>
                      <a:pt x="1106" y="4031"/>
                    </a:lnTo>
                    <a:lnTo>
                      <a:pt x="1104" y="4109"/>
                    </a:lnTo>
                    <a:lnTo>
                      <a:pt x="1104" y="4186"/>
                    </a:lnTo>
                    <a:lnTo>
                      <a:pt x="1105" y="4263"/>
                    </a:lnTo>
                    <a:lnTo>
                      <a:pt x="1109" y="4340"/>
                    </a:lnTo>
                    <a:lnTo>
                      <a:pt x="1115" y="4417"/>
                    </a:lnTo>
                    <a:lnTo>
                      <a:pt x="1122" y="4493"/>
                    </a:lnTo>
                    <a:lnTo>
                      <a:pt x="1132" y="4570"/>
                    </a:lnTo>
                    <a:lnTo>
                      <a:pt x="1144" y="4648"/>
                    </a:lnTo>
                    <a:lnTo>
                      <a:pt x="1157" y="4725"/>
                    </a:lnTo>
                    <a:lnTo>
                      <a:pt x="1173" y="4803"/>
                    </a:lnTo>
                    <a:lnTo>
                      <a:pt x="1189" y="4881"/>
                    </a:lnTo>
                    <a:lnTo>
                      <a:pt x="1209" y="4961"/>
                    </a:lnTo>
                    <a:lnTo>
                      <a:pt x="1230" y="5040"/>
                    </a:lnTo>
                    <a:lnTo>
                      <a:pt x="1252" y="5122"/>
                    </a:lnTo>
                    <a:lnTo>
                      <a:pt x="1276" y="5204"/>
                    </a:lnTo>
                    <a:lnTo>
                      <a:pt x="1302" y="5287"/>
                    </a:lnTo>
                    <a:lnTo>
                      <a:pt x="1330" y="5371"/>
                    </a:lnTo>
                    <a:lnTo>
                      <a:pt x="1359" y="5457"/>
                    </a:lnTo>
                    <a:lnTo>
                      <a:pt x="158" y="5451"/>
                    </a:lnTo>
                    <a:close/>
                  </a:path>
                </a:pathLst>
              </a:custGeom>
              <a:solidFill>
                <a:srgbClr val="CB38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34" name="Freeform 8"/>
              <p:cNvSpPr>
                <a:spLocks/>
              </p:cNvSpPr>
              <p:nvPr/>
            </p:nvSpPr>
            <p:spPr bwMode="auto">
              <a:xfrm>
                <a:off x="3017" y="963"/>
                <a:ext cx="108" cy="108"/>
              </a:xfrm>
              <a:custGeom>
                <a:avLst/>
                <a:gdLst>
                  <a:gd name="T0" fmla="*/ 0 w 757"/>
                  <a:gd name="T1" fmla="*/ 0 h 756"/>
                  <a:gd name="T2" fmla="*/ 0 w 757"/>
                  <a:gd name="T3" fmla="*/ 0 h 756"/>
                  <a:gd name="T4" fmla="*/ 0 w 757"/>
                  <a:gd name="T5" fmla="*/ 0 h 756"/>
                  <a:gd name="T6" fmla="*/ 0 w 757"/>
                  <a:gd name="T7" fmla="*/ 0 h 756"/>
                  <a:gd name="T8" fmla="*/ 0 w 757"/>
                  <a:gd name="T9" fmla="*/ 0 h 756"/>
                  <a:gd name="T10" fmla="*/ 0 w 757"/>
                  <a:gd name="T11" fmla="*/ 0 h 756"/>
                  <a:gd name="T12" fmla="*/ 0 w 757"/>
                  <a:gd name="T13" fmla="*/ 0 h 756"/>
                  <a:gd name="T14" fmla="*/ 0 w 757"/>
                  <a:gd name="T15" fmla="*/ 0 h 756"/>
                  <a:gd name="T16" fmla="*/ 0 w 757"/>
                  <a:gd name="T17" fmla="*/ 0 h 756"/>
                  <a:gd name="T18" fmla="*/ 0 w 757"/>
                  <a:gd name="T19" fmla="*/ 0 h 756"/>
                  <a:gd name="T20" fmla="*/ 0 w 757"/>
                  <a:gd name="T21" fmla="*/ 0 h 756"/>
                  <a:gd name="T22" fmla="*/ 0 w 757"/>
                  <a:gd name="T23" fmla="*/ 0 h 756"/>
                  <a:gd name="T24" fmla="*/ 0 w 757"/>
                  <a:gd name="T25" fmla="*/ 0 h 756"/>
                  <a:gd name="T26" fmla="*/ 0 w 757"/>
                  <a:gd name="T27" fmla="*/ 0 h 756"/>
                  <a:gd name="T28" fmla="*/ 0 w 757"/>
                  <a:gd name="T29" fmla="*/ 0 h 756"/>
                  <a:gd name="T30" fmla="*/ 0 w 757"/>
                  <a:gd name="T31" fmla="*/ 0 h 756"/>
                  <a:gd name="T32" fmla="*/ 0 w 757"/>
                  <a:gd name="T33" fmla="*/ 0 h 756"/>
                  <a:gd name="T34" fmla="*/ 0 w 757"/>
                  <a:gd name="T35" fmla="*/ 0 h 756"/>
                  <a:gd name="T36" fmla="*/ 0 w 757"/>
                  <a:gd name="T37" fmla="*/ 0 h 756"/>
                  <a:gd name="T38" fmla="*/ 0 w 757"/>
                  <a:gd name="T39" fmla="*/ 0 h 756"/>
                  <a:gd name="T40" fmla="*/ 0 w 757"/>
                  <a:gd name="T41" fmla="*/ 0 h 756"/>
                  <a:gd name="T42" fmla="*/ 0 w 757"/>
                  <a:gd name="T43" fmla="*/ 0 h 756"/>
                  <a:gd name="T44" fmla="*/ 0 w 757"/>
                  <a:gd name="T45" fmla="*/ 0 h 756"/>
                  <a:gd name="T46" fmla="*/ 0 w 757"/>
                  <a:gd name="T47" fmla="*/ 0 h 756"/>
                  <a:gd name="T48" fmla="*/ 0 w 757"/>
                  <a:gd name="T49" fmla="*/ 0 h 756"/>
                  <a:gd name="T50" fmla="*/ 0 w 757"/>
                  <a:gd name="T51" fmla="*/ 0 h 756"/>
                  <a:gd name="T52" fmla="*/ 0 w 757"/>
                  <a:gd name="T53" fmla="*/ 0 h 756"/>
                  <a:gd name="T54" fmla="*/ 0 w 757"/>
                  <a:gd name="T55" fmla="*/ 0 h 756"/>
                  <a:gd name="T56" fmla="*/ 0 w 757"/>
                  <a:gd name="T57" fmla="*/ 0 h 756"/>
                  <a:gd name="T58" fmla="*/ 0 w 757"/>
                  <a:gd name="T59" fmla="*/ 0 h 756"/>
                  <a:gd name="T60" fmla="*/ 0 w 757"/>
                  <a:gd name="T61" fmla="*/ 0 h 756"/>
                  <a:gd name="T62" fmla="*/ 0 w 757"/>
                  <a:gd name="T63" fmla="*/ 0 h 756"/>
                  <a:gd name="T64" fmla="*/ 0 w 757"/>
                  <a:gd name="T65" fmla="*/ 0 h 756"/>
                  <a:gd name="T66" fmla="*/ 0 w 757"/>
                  <a:gd name="T67" fmla="*/ 0 h 756"/>
                  <a:gd name="T68" fmla="*/ 0 w 757"/>
                  <a:gd name="T69" fmla="*/ 0 h 756"/>
                  <a:gd name="T70" fmla="*/ 0 w 757"/>
                  <a:gd name="T71" fmla="*/ 0 h 756"/>
                  <a:gd name="T72" fmla="*/ 0 w 757"/>
                  <a:gd name="T73" fmla="*/ 0 h 756"/>
                  <a:gd name="T74" fmla="*/ 0 w 757"/>
                  <a:gd name="T75" fmla="*/ 0 h 756"/>
                  <a:gd name="T76" fmla="*/ 0 w 757"/>
                  <a:gd name="T77" fmla="*/ 0 h 756"/>
                  <a:gd name="T78" fmla="*/ 0 w 757"/>
                  <a:gd name="T79" fmla="*/ 0 h 756"/>
                  <a:gd name="T80" fmla="*/ 0 w 757"/>
                  <a:gd name="T81" fmla="*/ 0 h 756"/>
                  <a:gd name="T82" fmla="*/ 0 w 757"/>
                  <a:gd name="T83" fmla="*/ 0 h 756"/>
                  <a:gd name="T84" fmla="*/ 0 w 757"/>
                  <a:gd name="T85" fmla="*/ 0 h 756"/>
                  <a:gd name="T86" fmla="*/ 0 w 757"/>
                  <a:gd name="T87" fmla="*/ 0 h 75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757"/>
                  <a:gd name="T133" fmla="*/ 0 h 756"/>
                  <a:gd name="T134" fmla="*/ 757 w 757"/>
                  <a:gd name="T135" fmla="*/ 756 h 75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757" h="756">
                    <a:moveTo>
                      <a:pt x="0" y="0"/>
                    </a:moveTo>
                    <a:lnTo>
                      <a:pt x="757" y="4"/>
                    </a:lnTo>
                    <a:lnTo>
                      <a:pt x="757" y="53"/>
                    </a:lnTo>
                    <a:lnTo>
                      <a:pt x="756" y="102"/>
                    </a:lnTo>
                    <a:lnTo>
                      <a:pt x="755" y="151"/>
                    </a:lnTo>
                    <a:lnTo>
                      <a:pt x="754" y="199"/>
                    </a:lnTo>
                    <a:lnTo>
                      <a:pt x="752" y="247"/>
                    </a:lnTo>
                    <a:lnTo>
                      <a:pt x="750" y="294"/>
                    </a:lnTo>
                    <a:lnTo>
                      <a:pt x="748" y="342"/>
                    </a:lnTo>
                    <a:lnTo>
                      <a:pt x="746" y="388"/>
                    </a:lnTo>
                    <a:lnTo>
                      <a:pt x="743" y="436"/>
                    </a:lnTo>
                    <a:lnTo>
                      <a:pt x="740" y="482"/>
                    </a:lnTo>
                    <a:lnTo>
                      <a:pt x="737" y="528"/>
                    </a:lnTo>
                    <a:lnTo>
                      <a:pt x="734" y="574"/>
                    </a:lnTo>
                    <a:lnTo>
                      <a:pt x="730" y="620"/>
                    </a:lnTo>
                    <a:lnTo>
                      <a:pt x="727" y="665"/>
                    </a:lnTo>
                    <a:lnTo>
                      <a:pt x="723" y="711"/>
                    </a:lnTo>
                    <a:lnTo>
                      <a:pt x="720" y="756"/>
                    </a:lnTo>
                    <a:lnTo>
                      <a:pt x="691" y="740"/>
                    </a:lnTo>
                    <a:lnTo>
                      <a:pt x="662" y="723"/>
                    </a:lnTo>
                    <a:lnTo>
                      <a:pt x="633" y="706"/>
                    </a:lnTo>
                    <a:lnTo>
                      <a:pt x="605" y="689"/>
                    </a:lnTo>
                    <a:lnTo>
                      <a:pt x="578" y="673"/>
                    </a:lnTo>
                    <a:lnTo>
                      <a:pt x="550" y="655"/>
                    </a:lnTo>
                    <a:lnTo>
                      <a:pt x="523" y="638"/>
                    </a:lnTo>
                    <a:lnTo>
                      <a:pt x="497" y="620"/>
                    </a:lnTo>
                    <a:lnTo>
                      <a:pt x="477" y="607"/>
                    </a:lnTo>
                    <a:lnTo>
                      <a:pt x="458" y="592"/>
                    </a:lnTo>
                    <a:lnTo>
                      <a:pt x="438" y="577"/>
                    </a:lnTo>
                    <a:lnTo>
                      <a:pt x="419" y="561"/>
                    </a:lnTo>
                    <a:lnTo>
                      <a:pt x="401" y="546"/>
                    </a:lnTo>
                    <a:lnTo>
                      <a:pt x="383" y="528"/>
                    </a:lnTo>
                    <a:lnTo>
                      <a:pt x="365" y="511"/>
                    </a:lnTo>
                    <a:lnTo>
                      <a:pt x="347" y="494"/>
                    </a:lnTo>
                    <a:lnTo>
                      <a:pt x="313" y="458"/>
                    </a:lnTo>
                    <a:lnTo>
                      <a:pt x="281" y="420"/>
                    </a:lnTo>
                    <a:lnTo>
                      <a:pt x="249" y="381"/>
                    </a:lnTo>
                    <a:lnTo>
                      <a:pt x="218" y="342"/>
                    </a:lnTo>
                    <a:lnTo>
                      <a:pt x="188" y="300"/>
                    </a:lnTo>
                    <a:lnTo>
                      <a:pt x="159" y="259"/>
                    </a:lnTo>
                    <a:lnTo>
                      <a:pt x="131" y="217"/>
                    </a:lnTo>
                    <a:lnTo>
                      <a:pt x="104" y="173"/>
                    </a:lnTo>
                    <a:lnTo>
                      <a:pt x="51" y="8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F34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35" name="Freeform 9"/>
              <p:cNvSpPr>
                <a:spLocks/>
              </p:cNvSpPr>
              <p:nvPr/>
            </p:nvSpPr>
            <p:spPr bwMode="auto">
              <a:xfrm>
                <a:off x="2930" y="1359"/>
                <a:ext cx="194" cy="166"/>
              </a:xfrm>
              <a:custGeom>
                <a:avLst/>
                <a:gdLst>
                  <a:gd name="T0" fmla="*/ 0 w 1359"/>
                  <a:gd name="T1" fmla="*/ 0 h 1157"/>
                  <a:gd name="T2" fmla="*/ 0 w 1359"/>
                  <a:gd name="T3" fmla="*/ 0 h 1157"/>
                  <a:gd name="T4" fmla="*/ 0 w 1359"/>
                  <a:gd name="T5" fmla="*/ 0 h 1157"/>
                  <a:gd name="T6" fmla="*/ 0 w 1359"/>
                  <a:gd name="T7" fmla="*/ 0 h 1157"/>
                  <a:gd name="T8" fmla="*/ 0 w 1359"/>
                  <a:gd name="T9" fmla="*/ 0 h 1157"/>
                  <a:gd name="T10" fmla="*/ 0 w 1359"/>
                  <a:gd name="T11" fmla="*/ 0 h 1157"/>
                  <a:gd name="T12" fmla="*/ 0 w 1359"/>
                  <a:gd name="T13" fmla="*/ 0 h 1157"/>
                  <a:gd name="T14" fmla="*/ 0 w 1359"/>
                  <a:gd name="T15" fmla="*/ 0 h 1157"/>
                  <a:gd name="T16" fmla="*/ 0 w 1359"/>
                  <a:gd name="T17" fmla="*/ 0 h 1157"/>
                  <a:gd name="T18" fmla="*/ 0 w 1359"/>
                  <a:gd name="T19" fmla="*/ 0 h 1157"/>
                  <a:gd name="T20" fmla="*/ 0 w 1359"/>
                  <a:gd name="T21" fmla="*/ 0 h 1157"/>
                  <a:gd name="T22" fmla="*/ 0 w 1359"/>
                  <a:gd name="T23" fmla="*/ 0 h 1157"/>
                  <a:gd name="T24" fmla="*/ 0 w 1359"/>
                  <a:gd name="T25" fmla="*/ 0 h 1157"/>
                  <a:gd name="T26" fmla="*/ 0 w 1359"/>
                  <a:gd name="T27" fmla="*/ 0 h 1157"/>
                  <a:gd name="T28" fmla="*/ 0 w 1359"/>
                  <a:gd name="T29" fmla="*/ 0 h 1157"/>
                  <a:gd name="T30" fmla="*/ 0 w 1359"/>
                  <a:gd name="T31" fmla="*/ 0 h 1157"/>
                  <a:gd name="T32" fmla="*/ 0 w 1359"/>
                  <a:gd name="T33" fmla="*/ 0 h 1157"/>
                  <a:gd name="T34" fmla="*/ 0 w 1359"/>
                  <a:gd name="T35" fmla="*/ 0 h 1157"/>
                  <a:gd name="T36" fmla="*/ 0 w 1359"/>
                  <a:gd name="T37" fmla="*/ 0 h 1157"/>
                  <a:gd name="T38" fmla="*/ 0 w 1359"/>
                  <a:gd name="T39" fmla="*/ 0 h 1157"/>
                  <a:gd name="T40" fmla="*/ 0 w 1359"/>
                  <a:gd name="T41" fmla="*/ 0 h 1157"/>
                  <a:gd name="T42" fmla="*/ 0 w 1359"/>
                  <a:gd name="T43" fmla="*/ 0 h 1157"/>
                  <a:gd name="T44" fmla="*/ 0 w 1359"/>
                  <a:gd name="T45" fmla="*/ 0 h 1157"/>
                  <a:gd name="T46" fmla="*/ 0 w 1359"/>
                  <a:gd name="T47" fmla="*/ 0 h 1157"/>
                  <a:gd name="T48" fmla="*/ 0 w 1359"/>
                  <a:gd name="T49" fmla="*/ 0 h 1157"/>
                  <a:gd name="T50" fmla="*/ 0 w 1359"/>
                  <a:gd name="T51" fmla="*/ 0 h 1157"/>
                  <a:gd name="T52" fmla="*/ 0 w 1359"/>
                  <a:gd name="T53" fmla="*/ 0 h 1157"/>
                  <a:gd name="T54" fmla="*/ 0 w 1359"/>
                  <a:gd name="T55" fmla="*/ 0 h 1157"/>
                  <a:gd name="T56" fmla="*/ 0 w 1359"/>
                  <a:gd name="T57" fmla="*/ 0 h 1157"/>
                  <a:gd name="T58" fmla="*/ 0 w 1359"/>
                  <a:gd name="T59" fmla="*/ 0 h 1157"/>
                  <a:gd name="T60" fmla="*/ 0 w 1359"/>
                  <a:gd name="T61" fmla="*/ 0 h 1157"/>
                  <a:gd name="T62" fmla="*/ 0 w 1359"/>
                  <a:gd name="T63" fmla="*/ 0 h 1157"/>
                  <a:gd name="T64" fmla="*/ 0 w 1359"/>
                  <a:gd name="T65" fmla="*/ 0 h 1157"/>
                  <a:gd name="T66" fmla="*/ 0 w 1359"/>
                  <a:gd name="T67" fmla="*/ 0 h 1157"/>
                  <a:gd name="T68" fmla="*/ 0 w 1359"/>
                  <a:gd name="T69" fmla="*/ 0 h 1157"/>
                  <a:gd name="T70" fmla="*/ 0 w 1359"/>
                  <a:gd name="T71" fmla="*/ 0 h 1157"/>
                  <a:gd name="T72" fmla="*/ 0 w 1359"/>
                  <a:gd name="T73" fmla="*/ 0 h 1157"/>
                  <a:gd name="T74" fmla="*/ 0 w 1359"/>
                  <a:gd name="T75" fmla="*/ 0 h 1157"/>
                  <a:gd name="T76" fmla="*/ 0 w 1359"/>
                  <a:gd name="T77" fmla="*/ 0 h 1157"/>
                  <a:gd name="T78" fmla="*/ 0 w 1359"/>
                  <a:gd name="T79" fmla="*/ 0 h 1157"/>
                  <a:gd name="T80" fmla="*/ 0 w 1359"/>
                  <a:gd name="T81" fmla="*/ 0 h 1157"/>
                  <a:gd name="T82" fmla="*/ 0 w 1359"/>
                  <a:gd name="T83" fmla="*/ 0 h 1157"/>
                  <a:gd name="T84" fmla="*/ 0 w 1359"/>
                  <a:gd name="T85" fmla="*/ 0 h 1157"/>
                  <a:gd name="T86" fmla="*/ 0 w 1359"/>
                  <a:gd name="T87" fmla="*/ 0 h 1157"/>
                  <a:gd name="T88" fmla="*/ 0 w 1359"/>
                  <a:gd name="T89" fmla="*/ 0 h 1157"/>
                  <a:gd name="T90" fmla="*/ 0 w 1359"/>
                  <a:gd name="T91" fmla="*/ 0 h 1157"/>
                  <a:gd name="T92" fmla="*/ 0 w 1359"/>
                  <a:gd name="T93" fmla="*/ 0 h 1157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359"/>
                  <a:gd name="T142" fmla="*/ 0 h 1157"/>
                  <a:gd name="T143" fmla="*/ 1359 w 1359"/>
                  <a:gd name="T144" fmla="*/ 1157 h 1157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359" h="1157">
                    <a:moveTo>
                      <a:pt x="1359" y="21"/>
                    </a:moveTo>
                    <a:lnTo>
                      <a:pt x="1354" y="23"/>
                    </a:lnTo>
                    <a:lnTo>
                      <a:pt x="1350" y="24"/>
                    </a:lnTo>
                    <a:lnTo>
                      <a:pt x="1313" y="35"/>
                    </a:lnTo>
                    <a:lnTo>
                      <a:pt x="1275" y="44"/>
                    </a:lnTo>
                    <a:lnTo>
                      <a:pt x="1237" y="53"/>
                    </a:lnTo>
                    <a:lnTo>
                      <a:pt x="1198" y="60"/>
                    </a:lnTo>
                    <a:lnTo>
                      <a:pt x="1159" y="66"/>
                    </a:lnTo>
                    <a:lnTo>
                      <a:pt x="1119" y="70"/>
                    </a:lnTo>
                    <a:lnTo>
                      <a:pt x="1079" y="74"/>
                    </a:lnTo>
                    <a:lnTo>
                      <a:pt x="1039" y="77"/>
                    </a:lnTo>
                    <a:lnTo>
                      <a:pt x="997" y="80"/>
                    </a:lnTo>
                    <a:lnTo>
                      <a:pt x="957" y="80"/>
                    </a:lnTo>
                    <a:lnTo>
                      <a:pt x="917" y="80"/>
                    </a:lnTo>
                    <a:lnTo>
                      <a:pt x="877" y="80"/>
                    </a:lnTo>
                    <a:lnTo>
                      <a:pt x="837" y="77"/>
                    </a:lnTo>
                    <a:lnTo>
                      <a:pt x="797" y="75"/>
                    </a:lnTo>
                    <a:lnTo>
                      <a:pt x="759" y="72"/>
                    </a:lnTo>
                    <a:lnTo>
                      <a:pt x="719" y="69"/>
                    </a:lnTo>
                    <a:lnTo>
                      <a:pt x="676" y="64"/>
                    </a:lnTo>
                    <a:lnTo>
                      <a:pt x="633" y="58"/>
                    </a:lnTo>
                    <a:lnTo>
                      <a:pt x="590" y="51"/>
                    </a:lnTo>
                    <a:lnTo>
                      <a:pt x="549" y="42"/>
                    </a:lnTo>
                    <a:lnTo>
                      <a:pt x="508" y="33"/>
                    </a:lnTo>
                    <a:lnTo>
                      <a:pt x="466" y="23"/>
                    </a:lnTo>
                    <a:lnTo>
                      <a:pt x="426" y="12"/>
                    </a:lnTo>
                    <a:lnTo>
                      <a:pt x="386" y="0"/>
                    </a:lnTo>
                    <a:lnTo>
                      <a:pt x="377" y="24"/>
                    </a:lnTo>
                    <a:lnTo>
                      <a:pt x="368" y="46"/>
                    </a:lnTo>
                    <a:lnTo>
                      <a:pt x="359" y="69"/>
                    </a:lnTo>
                    <a:lnTo>
                      <a:pt x="348" y="93"/>
                    </a:lnTo>
                    <a:lnTo>
                      <a:pt x="317" y="167"/>
                    </a:lnTo>
                    <a:lnTo>
                      <a:pt x="288" y="243"/>
                    </a:lnTo>
                    <a:lnTo>
                      <a:pt x="259" y="316"/>
                    </a:lnTo>
                    <a:lnTo>
                      <a:pt x="231" y="391"/>
                    </a:lnTo>
                    <a:lnTo>
                      <a:pt x="205" y="463"/>
                    </a:lnTo>
                    <a:lnTo>
                      <a:pt x="179" y="534"/>
                    </a:lnTo>
                    <a:lnTo>
                      <a:pt x="155" y="606"/>
                    </a:lnTo>
                    <a:lnTo>
                      <a:pt x="133" y="675"/>
                    </a:lnTo>
                    <a:lnTo>
                      <a:pt x="112" y="742"/>
                    </a:lnTo>
                    <a:lnTo>
                      <a:pt x="91" y="808"/>
                    </a:lnTo>
                    <a:lnTo>
                      <a:pt x="73" y="873"/>
                    </a:lnTo>
                    <a:lnTo>
                      <a:pt x="55" y="934"/>
                    </a:lnTo>
                    <a:lnTo>
                      <a:pt x="40" y="994"/>
                    </a:lnTo>
                    <a:lnTo>
                      <a:pt x="25" y="1050"/>
                    </a:lnTo>
                    <a:lnTo>
                      <a:pt x="12" y="1105"/>
                    </a:lnTo>
                    <a:lnTo>
                      <a:pt x="0" y="1156"/>
                    </a:lnTo>
                    <a:lnTo>
                      <a:pt x="55" y="1157"/>
                    </a:lnTo>
                    <a:lnTo>
                      <a:pt x="118" y="1156"/>
                    </a:lnTo>
                    <a:lnTo>
                      <a:pt x="190" y="1153"/>
                    </a:lnTo>
                    <a:lnTo>
                      <a:pt x="268" y="1147"/>
                    </a:lnTo>
                    <a:lnTo>
                      <a:pt x="309" y="1144"/>
                    </a:lnTo>
                    <a:lnTo>
                      <a:pt x="351" y="1139"/>
                    </a:lnTo>
                    <a:lnTo>
                      <a:pt x="393" y="1134"/>
                    </a:lnTo>
                    <a:lnTo>
                      <a:pt x="436" y="1129"/>
                    </a:lnTo>
                    <a:lnTo>
                      <a:pt x="480" y="1123"/>
                    </a:lnTo>
                    <a:lnTo>
                      <a:pt x="523" y="1117"/>
                    </a:lnTo>
                    <a:lnTo>
                      <a:pt x="567" y="1109"/>
                    </a:lnTo>
                    <a:lnTo>
                      <a:pt x="610" y="1101"/>
                    </a:lnTo>
                    <a:lnTo>
                      <a:pt x="653" y="1093"/>
                    </a:lnTo>
                    <a:lnTo>
                      <a:pt x="695" y="1084"/>
                    </a:lnTo>
                    <a:lnTo>
                      <a:pt x="737" y="1074"/>
                    </a:lnTo>
                    <a:lnTo>
                      <a:pt x="777" y="1063"/>
                    </a:lnTo>
                    <a:lnTo>
                      <a:pt x="817" y="1051"/>
                    </a:lnTo>
                    <a:lnTo>
                      <a:pt x="854" y="1040"/>
                    </a:lnTo>
                    <a:lnTo>
                      <a:pt x="890" y="1027"/>
                    </a:lnTo>
                    <a:lnTo>
                      <a:pt x="924" y="1013"/>
                    </a:lnTo>
                    <a:lnTo>
                      <a:pt x="956" y="999"/>
                    </a:lnTo>
                    <a:lnTo>
                      <a:pt x="986" y="983"/>
                    </a:lnTo>
                    <a:lnTo>
                      <a:pt x="1014" y="968"/>
                    </a:lnTo>
                    <a:lnTo>
                      <a:pt x="1039" y="951"/>
                    </a:lnTo>
                    <a:lnTo>
                      <a:pt x="1060" y="933"/>
                    </a:lnTo>
                    <a:lnTo>
                      <a:pt x="1080" y="915"/>
                    </a:lnTo>
                    <a:lnTo>
                      <a:pt x="1096" y="895"/>
                    </a:lnTo>
                    <a:lnTo>
                      <a:pt x="1108" y="875"/>
                    </a:lnTo>
                    <a:lnTo>
                      <a:pt x="1117" y="830"/>
                    </a:lnTo>
                    <a:lnTo>
                      <a:pt x="1128" y="785"/>
                    </a:lnTo>
                    <a:lnTo>
                      <a:pt x="1138" y="738"/>
                    </a:lnTo>
                    <a:lnTo>
                      <a:pt x="1149" y="691"/>
                    </a:lnTo>
                    <a:lnTo>
                      <a:pt x="1161" y="643"/>
                    </a:lnTo>
                    <a:lnTo>
                      <a:pt x="1174" y="593"/>
                    </a:lnTo>
                    <a:lnTo>
                      <a:pt x="1188" y="544"/>
                    </a:lnTo>
                    <a:lnTo>
                      <a:pt x="1201" y="494"/>
                    </a:lnTo>
                    <a:lnTo>
                      <a:pt x="1215" y="443"/>
                    </a:lnTo>
                    <a:lnTo>
                      <a:pt x="1231" y="393"/>
                    </a:lnTo>
                    <a:lnTo>
                      <a:pt x="1248" y="341"/>
                    </a:lnTo>
                    <a:lnTo>
                      <a:pt x="1264" y="290"/>
                    </a:lnTo>
                    <a:lnTo>
                      <a:pt x="1281" y="239"/>
                    </a:lnTo>
                    <a:lnTo>
                      <a:pt x="1298" y="188"/>
                    </a:lnTo>
                    <a:lnTo>
                      <a:pt x="1317" y="137"/>
                    </a:lnTo>
                    <a:lnTo>
                      <a:pt x="1335" y="87"/>
                    </a:lnTo>
                    <a:lnTo>
                      <a:pt x="1342" y="70"/>
                    </a:lnTo>
                    <a:lnTo>
                      <a:pt x="1348" y="54"/>
                    </a:lnTo>
                    <a:lnTo>
                      <a:pt x="1353" y="37"/>
                    </a:lnTo>
                    <a:lnTo>
                      <a:pt x="1359" y="21"/>
                    </a:lnTo>
                    <a:close/>
                  </a:path>
                </a:pathLst>
              </a:custGeom>
              <a:solidFill>
                <a:srgbClr val="AF34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36" name="Freeform 10"/>
              <p:cNvSpPr>
                <a:spLocks noEditPoints="1"/>
              </p:cNvSpPr>
              <p:nvPr/>
            </p:nvSpPr>
            <p:spPr bwMode="auto">
              <a:xfrm>
                <a:off x="2936" y="970"/>
                <a:ext cx="202" cy="758"/>
              </a:xfrm>
              <a:custGeom>
                <a:avLst/>
                <a:gdLst>
                  <a:gd name="T0" fmla="*/ 0 w 1410"/>
                  <a:gd name="T1" fmla="*/ 0 h 5305"/>
                  <a:gd name="T2" fmla="*/ 0 w 1410"/>
                  <a:gd name="T3" fmla="*/ 0 h 5305"/>
                  <a:gd name="T4" fmla="*/ 0 w 1410"/>
                  <a:gd name="T5" fmla="*/ 0 h 5305"/>
                  <a:gd name="T6" fmla="*/ 0 w 1410"/>
                  <a:gd name="T7" fmla="*/ 0 h 5305"/>
                  <a:gd name="T8" fmla="*/ 0 w 1410"/>
                  <a:gd name="T9" fmla="*/ 0 h 5305"/>
                  <a:gd name="T10" fmla="*/ 0 w 1410"/>
                  <a:gd name="T11" fmla="*/ 0 h 5305"/>
                  <a:gd name="T12" fmla="*/ 0 w 1410"/>
                  <a:gd name="T13" fmla="*/ 0 h 5305"/>
                  <a:gd name="T14" fmla="*/ 0 w 1410"/>
                  <a:gd name="T15" fmla="*/ 0 h 5305"/>
                  <a:gd name="T16" fmla="*/ 0 w 1410"/>
                  <a:gd name="T17" fmla="*/ 0 h 5305"/>
                  <a:gd name="T18" fmla="*/ 0 w 1410"/>
                  <a:gd name="T19" fmla="*/ 0 h 5305"/>
                  <a:gd name="T20" fmla="*/ 0 w 1410"/>
                  <a:gd name="T21" fmla="*/ 0 h 5305"/>
                  <a:gd name="T22" fmla="*/ 0 w 1410"/>
                  <a:gd name="T23" fmla="*/ 0 h 5305"/>
                  <a:gd name="T24" fmla="*/ 0 w 1410"/>
                  <a:gd name="T25" fmla="*/ 0 h 5305"/>
                  <a:gd name="T26" fmla="*/ 0 w 1410"/>
                  <a:gd name="T27" fmla="*/ 0 h 5305"/>
                  <a:gd name="T28" fmla="*/ 0 w 1410"/>
                  <a:gd name="T29" fmla="*/ 0 h 5305"/>
                  <a:gd name="T30" fmla="*/ 0 w 1410"/>
                  <a:gd name="T31" fmla="*/ 0 h 5305"/>
                  <a:gd name="T32" fmla="*/ 0 w 1410"/>
                  <a:gd name="T33" fmla="*/ 0 h 5305"/>
                  <a:gd name="T34" fmla="*/ 0 w 1410"/>
                  <a:gd name="T35" fmla="*/ 0 h 5305"/>
                  <a:gd name="T36" fmla="*/ 0 w 1410"/>
                  <a:gd name="T37" fmla="*/ 0 h 5305"/>
                  <a:gd name="T38" fmla="*/ 0 w 1410"/>
                  <a:gd name="T39" fmla="*/ 0 h 5305"/>
                  <a:gd name="T40" fmla="*/ 0 w 1410"/>
                  <a:gd name="T41" fmla="*/ 0 h 5305"/>
                  <a:gd name="T42" fmla="*/ 0 w 1410"/>
                  <a:gd name="T43" fmla="*/ 0 h 5305"/>
                  <a:gd name="T44" fmla="*/ 0 w 1410"/>
                  <a:gd name="T45" fmla="*/ 0 h 5305"/>
                  <a:gd name="T46" fmla="*/ 0 w 1410"/>
                  <a:gd name="T47" fmla="*/ 0 h 5305"/>
                  <a:gd name="T48" fmla="*/ 0 w 1410"/>
                  <a:gd name="T49" fmla="*/ 0 h 5305"/>
                  <a:gd name="T50" fmla="*/ 0 w 1410"/>
                  <a:gd name="T51" fmla="*/ 0 h 5305"/>
                  <a:gd name="T52" fmla="*/ 0 w 1410"/>
                  <a:gd name="T53" fmla="*/ 0 h 5305"/>
                  <a:gd name="T54" fmla="*/ 0 w 1410"/>
                  <a:gd name="T55" fmla="*/ 0 h 5305"/>
                  <a:gd name="T56" fmla="*/ 0 w 1410"/>
                  <a:gd name="T57" fmla="*/ 0 h 5305"/>
                  <a:gd name="T58" fmla="*/ 0 w 1410"/>
                  <a:gd name="T59" fmla="*/ 0 h 5305"/>
                  <a:gd name="T60" fmla="*/ 0 w 1410"/>
                  <a:gd name="T61" fmla="*/ 0 h 5305"/>
                  <a:gd name="T62" fmla="*/ 0 w 1410"/>
                  <a:gd name="T63" fmla="*/ 0 h 5305"/>
                  <a:gd name="T64" fmla="*/ 0 w 1410"/>
                  <a:gd name="T65" fmla="*/ 0 h 5305"/>
                  <a:gd name="T66" fmla="*/ 0 w 1410"/>
                  <a:gd name="T67" fmla="*/ 0 h 5305"/>
                  <a:gd name="T68" fmla="*/ 0 w 1410"/>
                  <a:gd name="T69" fmla="*/ 0 h 5305"/>
                  <a:gd name="T70" fmla="*/ 0 w 1410"/>
                  <a:gd name="T71" fmla="*/ 0 h 5305"/>
                  <a:gd name="T72" fmla="*/ 0 w 1410"/>
                  <a:gd name="T73" fmla="*/ 0 h 5305"/>
                  <a:gd name="T74" fmla="*/ 0 w 1410"/>
                  <a:gd name="T75" fmla="*/ 0 h 5305"/>
                  <a:gd name="T76" fmla="*/ 0 w 1410"/>
                  <a:gd name="T77" fmla="*/ 0 h 5305"/>
                  <a:gd name="T78" fmla="*/ 0 w 1410"/>
                  <a:gd name="T79" fmla="*/ 0 h 5305"/>
                  <a:gd name="T80" fmla="*/ 0 w 1410"/>
                  <a:gd name="T81" fmla="*/ 0 h 5305"/>
                  <a:gd name="T82" fmla="*/ 0 w 1410"/>
                  <a:gd name="T83" fmla="*/ 0 h 5305"/>
                  <a:gd name="T84" fmla="*/ 0 w 1410"/>
                  <a:gd name="T85" fmla="*/ 0 h 5305"/>
                  <a:gd name="T86" fmla="*/ 0 w 1410"/>
                  <a:gd name="T87" fmla="*/ 0 h 5305"/>
                  <a:gd name="T88" fmla="*/ 0 w 1410"/>
                  <a:gd name="T89" fmla="*/ 0 h 5305"/>
                  <a:gd name="T90" fmla="*/ 0 w 1410"/>
                  <a:gd name="T91" fmla="*/ 0 h 5305"/>
                  <a:gd name="T92" fmla="*/ 0 w 1410"/>
                  <a:gd name="T93" fmla="*/ 0 h 5305"/>
                  <a:gd name="T94" fmla="*/ 0 w 1410"/>
                  <a:gd name="T95" fmla="*/ 0 h 5305"/>
                  <a:gd name="T96" fmla="*/ 0 w 1410"/>
                  <a:gd name="T97" fmla="*/ 0 h 5305"/>
                  <a:gd name="T98" fmla="*/ 0 w 1410"/>
                  <a:gd name="T99" fmla="*/ 0 h 5305"/>
                  <a:gd name="T100" fmla="*/ 0 w 1410"/>
                  <a:gd name="T101" fmla="*/ 0 h 5305"/>
                  <a:gd name="T102" fmla="*/ 0 w 1410"/>
                  <a:gd name="T103" fmla="*/ 0 h 5305"/>
                  <a:gd name="T104" fmla="*/ 0 w 1410"/>
                  <a:gd name="T105" fmla="*/ 0 h 5305"/>
                  <a:gd name="T106" fmla="*/ 0 w 1410"/>
                  <a:gd name="T107" fmla="*/ 0 h 5305"/>
                  <a:gd name="T108" fmla="*/ 0 w 1410"/>
                  <a:gd name="T109" fmla="*/ 0 h 5305"/>
                  <a:gd name="T110" fmla="*/ 0 w 1410"/>
                  <a:gd name="T111" fmla="*/ 0 h 5305"/>
                  <a:gd name="T112" fmla="*/ 0 w 1410"/>
                  <a:gd name="T113" fmla="*/ 0 h 5305"/>
                  <a:gd name="T114" fmla="*/ 0 w 1410"/>
                  <a:gd name="T115" fmla="*/ 0 h 5305"/>
                  <a:gd name="T116" fmla="*/ 0 w 1410"/>
                  <a:gd name="T117" fmla="*/ 0 h 5305"/>
                  <a:gd name="T118" fmla="*/ 0 w 1410"/>
                  <a:gd name="T119" fmla="*/ 0 h 5305"/>
                  <a:gd name="T120" fmla="*/ 0 w 1410"/>
                  <a:gd name="T121" fmla="*/ 0 h 5305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410"/>
                  <a:gd name="T184" fmla="*/ 0 h 5305"/>
                  <a:gd name="T185" fmla="*/ 1410 w 1410"/>
                  <a:gd name="T186" fmla="*/ 5305 h 5305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410" h="5305">
                    <a:moveTo>
                      <a:pt x="1200" y="0"/>
                    </a:moveTo>
                    <a:lnTo>
                      <a:pt x="533" y="4"/>
                    </a:lnTo>
                    <a:lnTo>
                      <a:pt x="533" y="26"/>
                    </a:lnTo>
                    <a:lnTo>
                      <a:pt x="533" y="80"/>
                    </a:lnTo>
                    <a:lnTo>
                      <a:pt x="534" y="133"/>
                    </a:lnTo>
                    <a:lnTo>
                      <a:pt x="535" y="186"/>
                    </a:lnTo>
                    <a:lnTo>
                      <a:pt x="536" y="238"/>
                    </a:lnTo>
                    <a:lnTo>
                      <a:pt x="538" y="291"/>
                    </a:lnTo>
                    <a:lnTo>
                      <a:pt x="540" y="343"/>
                    </a:lnTo>
                    <a:lnTo>
                      <a:pt x="543" y="394"/>
                    </a:lnTo>
                    <a:lnTo>
                      <a:pt x="546" y="446"/>
                    </a:lnTo>
                    <a:lnTo>
                      <a:pt x="549" y="497"/>
                    </a:lnTo>
                    <a:lnTo>
                      <a:pt x="553" y="548"/>
                    </a:lnTo>
                    <a:lnTo>
                      <a:pt x="556" y="598"/>
                    </a:lnTo>
                    <a:lnTo>
                      <a:pt x="560" y="649"/>
                    </a:lnTo>
                    <a:lnTo>
                      <a:pt x="563" y="699"/>
                    </a:lnTo>
                    <a:lnTo>
                      <a:pt x="567" y="749"/>
                    </a:lnTo>
                    <a:lnTo>
                      <a:pt x="571" y="799"/>
                    </a:lnTo>
                    <a:lnTo>
                      <a:pt x="574" y="848"/>
                    </a:lnTo>
                    <a:lnTo>
                      <a:pt x="584" y="968"/>
                    </a:lnTo>
                    <a:lnTo>
                      <a:pt x="593" y="1088"/>
                    </a:lnTo>
                    <a:lnTo>
                      <a:pt x="600" y="1207"/>
                    </a:lnTo>
                    <a:lnTo>
                      <a:pt x="607" y="1326"/>
                    </a:lnTo>
                    <a:lnTo>
                      <a:pt x="609" y="1385"/>
                    </a:lnTo>
                    <a:lnTo>
                      <a:pt x="611" y="1444"/>
                    </a:lnTo>
                    <a:lnTo>
                      <a:pt x="612" y="1504"/>
                    </a:lnTo>
                    <a:lnTo>
                      <a:pt x="612" y="1563"/>
                    </a:lnTo>
                    <a:lnTo>
                      <a:pt x="612" y="1622"/>
                    </a:lnTo>
                    <a:lnTo>
                      <a:pt x="611" y="1681"/>
                    </a:lnTo>
                    <a:lnTo>
                      <a:pt x="610" y="1739"/>
                    </a:lnTo>
                    <a:lnTo>
                      <a:pt x="607" y="1798"/>
                    </a:lnTo>
                    <a:lnTo>
                      <a:pt x="603" y="1858"/>
                    </a:lnTo>
                    <a:lnTo>
                      <a:pt x="599" y="1917"/>
                    </a:lnTo>
                    <a:lnTo>
                      <a:pt x="593" y="1977"/>
                    </a:lnTo>
                    <a:lnTo>
                      <a:pt x="586" y="2036"/>
                    </a:lnTo>
                    <a:lnTo>
                      <a:pt x="577" y="2096"/>
                    </a:lnTo>
                    <a:lnTo>
                      <a:pt x="568" y="2156"/>
                    </a:lnTo>
                    <a:lnTo>
                      <a:pt x="558" y="2216"/>
                    </a:lnTo>
                    <a:lnTo>
                      <a:pt x="545" y="2276"/>
                    </a:lnTo>
                    <a:lnTo>
                      <a:pt x="532" y="2336"/>
                    </a:lnTo>
                    <a:lnTo>
                      <a:pt x="516" y="2397"/>
                    </a:lnTo>
                    <a:lnTo>
                      <a:pt x="500" y="2458"/>
                    </a:lnTo>
                    <a:lnTo>
                      <a:pt x="481" y="2519"/>
                    </a:lnTo>
                    <a:lnTo>
                      <a:pt x="462" y="2580"/>
                    </a:lnTo>
                    <a:lnTo>
                      <a:pt x="440" y="2642"/>
                    </a:lnTo>
                    <a:lnTo>
                      <a:pt x="416" y="2704"/>
                    </a:lnTo>
                    <a:lnTo>
                      <a:pt x="390" y="2766"/>
                    </a:lnTo>
                    <a:lnTo>
                      <a:pt x="350" y="2862"/>
                    </a:lnTo>
                    <a:lnTo>
                      <a:pt x="313" y="2956"/>
                    </a:lnTo>
                    <a:lnTo>
                      <a:pt x="277" y="3048"/>
                    </a:lnTo>
                    <a:lnTo>
                      <a:pt x="244" y="3136"/>
                    </a:lnTo>
                    <a:lnTo>
                      <a:pt x="213" y="3223"/>
                    </a:lnTo>
                    <a:lnTo>
                      <a:pt x="184" y="3309"/>
                    </a:lnTo>
                    <a:lnTo>
                      <a:pt x="157" y="3393"/>
                    </a:lnTo>
                    <a:lnTo>
                      <a:pt x="132" y="3475"/>
                    </a:lnTo>
                    <a:lnTo>
                      <a:pt x="109" y="3555"/>
                    </a:lnTo>
                    <a:lnTo>
                      <a:pt x="89" y="3635"/>
                    </a:lnTo>
                    <a:lnTo>
                      <a:pt x="71" y="3712"/>
                    </a:lnTo>
                    <a:lnTo>
                      <a:pt x="54" y="3789"/>
                    </a:lnTo>
                    <a:lnTo>
                      <a:pt x="40" y="3865"/>
                    </a:lnTo>
                    <a:lnTo>
                      <a:pt x="29" y="3940"/>
                    </a:lnTo>
                    <a:lnTo>
                      <a:pt x="18" y="4014"/>
                    </a:lnTo>
                    <a:lnTo>
                      <a:pt x="11" y="4088"/>
                    </a:lnTo>
                    <a:lnTo>
                      <a:pt x="5" y="4161"/>
                    </a:lnTo>
                    <a:lnTo>
                      <a:pt x="2" y="4234"/>
                    </a:lnTo>
                    <a:lnTo>
                      <a:pt x="0" y="4306"/>
                    </a:lnTo>
                    <a:lnTo>
                      <a:pt x="1" y="4378"/>
                    </a:lnTo>
                    <a:lnTo>
                      <a:pt x="3" y="4451"/>
                    </a:lnTo>
                    <a:lnTo>
                      <a:pt x="7" y="4523"/>
                    </a:lnTo>
                    <a:lnTo>
                      <a:pt x="13" y="4595"/>
                    </a:lnTo>
                    <a:lnTo>
                      <a:pt x="21" y="4669"/>
                    </a:lnTo>
                    <a:lnTo>
                      <a:pt x="32" y="4742"/>
                    </a:lnTo>
                    <a:lnTo>
                      <a:pt x="44" y="4817"/>
                    </a:lnTo>
                    <a:lnTo>
                      <a:pt x="59" y="4892"/>
                    </a:lnTo>
                    <a:lnTo>
                      <a:pt x="75" y="4968"/>
                    </a:lnTo>
                    <a:lnTo>
                      <a:pt x="93" y="5045"/>
                    </a:lnTo>
                    <a:lnTo>
                      <a:pt x="113" y="5123"/>
                    </a:lnTo>
                    <a:lnTo>
                      <a:pt x="135" y="5202"/>
                    </a:lnTo>
                    <a:lnTo>
                      <a:pt x="159" y="5283"/>
                    </a:lnTo>
                    <a:lnTo>
                      <a:pt x="164" y="5299"/>
                    </a:lnTo>
                    <a:lnTo>
                      <a:pt x="1182" y="5305"/>
                    </a:lnTo>
                    <a:lnTo>
                      <a:pt x="1172" y="5275"/>
                    </a:lnTo>
                    <a:lnTo>
                      <a:pt x="1142" y="5189"/>
                    </a:lnTo>
                    <a:lnTo>
                      <a:pt x="1115" y="5105"/>
                    </a:lnTo>
                    <a:lnTo>
                      <a:pt x="1089" y="5023"/>
                    </a:lnTo>
                    <a:lnTo>
                      <a:pt x="1066" y="4942"/>
                    </a:lnTo>
                    <a:lnTo>
                      <a:pt x="1044" y="4863"/>
                    </a:lnTo>
                    <a:lnTo>
                      <a:pt x="1026" y="4786"/>
                    </a:lnTo>
                    <a:lnTo>
                      <a:pt x="1008" y="4709"/>
                    </a:lnTo>
                    <a:lnTo>
                      <a:pt x="993" y="4635"/>
                    </a:lnTo>
                    <a:lnTo>
                      <a:pt x="979" y="4560"/>
                    </a:lnTo>
                    <a:lnTo>
                      <a:pt x="969" y="4487"/>
                    </a:lnTo>
                    <a:lnTo>
                      <a:pt x="960" y="4415"/>
                    </a:lnTo>
                    <a:lnTo>
                      <a:pt x="952" y="4342"/>
                    </a:lnTo>
                    <a:lnTo>
                      <a:pt x="947" y="4270"/>
                    </a:lnTo>
                    <a:lnTo>
                      <a:pt x="944" y="4198"/>
                    </a:lnTo>
                    <a:lnTo>
                      <a:pt x="943" y="4127"/>
                    </a:lnTo>
                    <a:lnTo>
                      <a:pt x="944" y="4056"/>
                    </a:lnTo>
                    <a:lnTo>
                      <a:pt x="947" y="3983"/>
                    </a:lnTo>
                    <a:lnTo>
                      <a:pt x="952" y="3911"/>
                    </a:lnTo>
                    <a:lnTo>
                      <a:pt x="960" y="3839"/>
                    </a:lnTo>
                    <a:lnTo>
                      <a:pt x="969" y="3765"/>
                    </a:lnTo>
                    <a:lnTo>
                      <a:pt x="981" y="3691"/>
                    </a:lnTo>
                    <a:lnTo>
                      <a:pt x="995" y="3616"/>
                    </a:lnTo>
                    <a:lnTo>
                      <a:pt x="1010" y="3540"/>
                    </a:lnTo>
                    <a:lnTo>
                      <a:pt x="1028" y="3462"/>
                    </a:lnTo>
                    <a:lnTo>
                      <a:pt x="1048" y="3383"/>
                    </a:lnTo>
                    <a:lnTo>
                      <a:pt x="1069" y="3302"/>
                    </a:lnTo>
                    <a:lnTo>
                      <a:pt x="1094" y="3219"/>
                    </a:lnTo>
                    <a:lnTo>
                      <a:pt x="1120" y="3135"/>
                    </a:lnTo>
                    <a:lnTo>
                      <a:pt x="1148" y="3050"/>
                    </a:lnTo>
                    <a:lnTo>
                      <a:pt x="1179" y="2961"/>
                    </a:lnTo>
                    <a:lnTo>
                      <a:pt x="1211" y="2870"/>
                    </a:lnTo>
                    <a:lnTo>
                      <a:pt x="1246" y="2777"/>
                    </a:lnTo>
                    <a:lnTo>
                      <a:pt x="1269" y="2715"/>
                    </a:lnTo>
                    <a:lnTo>
                      <a:pt x="1288" y="2654"/>
                    </a:lnTo>
                    <a:lnTo>
                      <a:pt x="1308" y="2593"/>
                    </a:lnTo>
                    <a:lnTo>
                      <a:pt x="1324" y="2532"/>
                    </a:lnTo>
                    <a:lnTo>
                      <a:pt x="1340" y="2472"/>
                    </a:lnTo>
                    <a:lnTo>
                      <a:pt x="1353" y="2412"/>
                    </a:lnTo>
                    <a:lnTo>
                      <a:pt x="1365" y="2352"/>
                    </a:lnTo>
                    <a:lnTo>
                      <a:pt x="1375" y="2293"/>
                    </a:lnTo>
                    <a:lnTo>
                      <a:pt x="1384" y="2234"/>
                    </a:lnTo>
                    <a:lnTo>
                      <a:pt x="1392" y="2175"/>
                    </a:lnTo>
                    <a:lnTo>
                      <a:pt x="1398" y="2116"/>
                    </a:lnTo>
                    <a:lnTo>
                      <a:pt x="1403" y="2058"/>
                    </a:lnTo>
                    <a:lnTo>
                      <a:pt x="1406" y="1999"/>
                    </a:lnTo>
                    <a:lnTo>
                      <a:pt x="1409" y="1941"/>
                    </a:lnTo>
                    <a:lnTo>
                      <a:pt x="1410" y="1883"/>
                    </a:lnTo>
                    <a:lnTo>
                      <a:pt x="1410" y="1825"/>
                    </a:lnTo>
                    <a:lnTo>
                      <a:pt x="1409" y="1768"/>
                    </a:lnTo>
                    <a:lnTo>
                      <a:pt x="1408" y="1711"/>
                    </a:lnTo>
                    <a:lnTo>
                      <a:pt x="1405" y="1653"/>
                    </a:lnTo>
                    <a:lnTo>
                      <a:pt x="1402" y="1596"/>
                    </a:lnTo>
                    <a:lnTo>
                      <a:pt x="1398" y="1538"/>
                    </a:lnTo>
                    <a:lnTo>
                      <a:pt x="1393" y="1481"/>
                    </a:lnTo>
                    <a:lnTo>
                      <a:pt x="1388" y="1423"/>
                    </a:lnTo>
                    <a:lnTo>
                      <a:pt x="1381" y="1366"/>
                    </a:lnTo>
                    <a:lnTo>
                      <a:pt x="1368" y="1251"/>
                    </a:lnTo>
                    <a:lnTo>
                      <a:pt x="1352" y="1136"/>
                    </a:lnTo>
                    <a:lnTo>
                      <a:pt x="1336" y="1020"/>
                    </a:lnTo>
                    <a:lnTo>
                      <a:pt x="1319" y="903"/>
                    </a:lnTo>
                    <a:lnTo>
                      <a:pt x="1312" y="850"/>
                    </a:lnTo>
                    <a:lnTo>
                      <a:pt x="1304" y="797"/>
                    </a:lnTo>
                    <a:lnTo>
                      <a:pt x="1297" y="744"/>
                    </a:lnTo>
                    <a:lnTo>
                      <a:pt x="1288" y="690"/>
                    </a:lnTo>
                    <a:lnTo>
                      <a:pt x="1281" y="636"/>
                    </a:lnTo>
                    <a:lnTo>
                      <a:pt x="1274" y="581"/>
                    </a:lnTo>
                    <a:lnTo>
                      <a:pt x="1268" y="528"/>
                    </a:lnTo>
                    <a:lnTo>
                      <a:pt x="1260" y="473"/>
                    </a:lnTo>
                    <a:lnTo>
                      <a:pt x="1254" y="417"/>
                    </a:lnTo>
                    <a:lnTo>
                      <a:pt x="1248" y="362"/>
                    </a:lnTo>
                    <a:lnTo>
                      <a:pt x="1243" y="306"/>
                    </a:lnTo>
                    <a:lnTo>
                      <a:pt x="1238" y="249"/>
                    </a:lnTo>
                    <a:lnTo>
                      <a:pt x="1234" y="194"/>
                    </a:lnTo>
                    <a:lnTo>
                      <a:pt x="1229" y="137"/>
                    </a:lnTo>
                    <a:lnTo>
                      <a:pt x="1226" y="79"/>
                    </a:lnTo>
                    <a:lnTo>
                      <a:pt x="1223" y="22"/>
                    </a:lnTo>
                    <a:lnTo>
                      <a:pt x="1222" y="0"/>
                    </a:lnTo>
                    <a:lnTo>
                      <a:pt x="1200" y="0"/>
                    </a:lnTo>
                    <a:close/>
                    <a:moveTo>
                      <a:pt x="1180" y="45"/>
                    </a:moveTo>
                    <a:lnTo>
                      <a:pt x="1183" y="102"/>
                    </a:lnTo>
                    <a:lnTo>
                      <a:pt x="1186" y="157"/>
                    </a:lnTo>
                    <a:lnTo>
                      <a:pt x="1190" y="213"/>
                    </a:lnTo>
                    <a:lnTo>
                      <a:pt x="1195" y="269"/>
                    </a:lnTo>
                    <a:lnTo>
                      <a:pt x="1199" y="324"/>
                    </a:lnTo>
                    <a:lnTo>
                      <a:pt x="1206" y="379"/>
                    </a:lnTo>
                    <a:lnTo>
                      <a:pt x="1211" y="434"/>
                    </a:lnTo>
                    <a:lnTo>
                      <a:pt x="1217" y="487"/>
                    </a:lnTo>
                    <a:lnTo>
                      <a:pt x="1224" y="541"/>
                    </a:lnTo>
                    <a:lnTo>
                      <a:pt x="1230" y="595"/>
                    </a:lnTo>
                    <a:lnTo>
                      <a:pt x="1238" y="648"/>
                    </a:lnTo>
                    <a:lnTo>
                      <a:pt x="1245" y="700"/>
                    </a:lnTo>
                    <a:lnTo>
                      <a:pt x="1252" y="753"/>
                    </a:lnTo>
                    <a:lnTo>
                      <a:pt x="1260" y="806"/>
                    </a:lnTo>
                    <a:lnTo>
                      <a:pt x="1268" y="857"/>
                    </a:lnTo>
                    <a:lnTo>
                      <a:pt x="1275" y="910"/>
                    </a:lnTo>
                    <a:lnTo>
                      <a:pt x="1283" y="969"/>
                    </a:lnTo>
                    <a:lnTo>
                      <a:pt x="1292" y="1027"/>
                    </a:lnTo>
                    <a:lnTo>
                      <a:pt x="1301" y="1086"/>
                    </a:lnTo>
                    <a:lnTo>
                      <a:pt x="1308" y="1145"/>
                    </a:lnTo>
                    <a:lnTo>
                      <a:pt x="1316" y="1203"/>
                    </a:lnTo>
                    <a:lnTo>
                      <a:pt x="1323" y="1261"/>
                    </a:lnTo>
                    <a:lnTo>
                      <a:pt x="1331" y="1319"/>
                    </a:lnTo>
                    <a:lnTo>
                      <a:pt x="1337" y="1378"/>
                    </a:lnTo>
                    <a:lnTo>
                      <a:pt x="1343" y="1435"/>
                    </a:lnTo>
                    <a:lnTo>
                      <a:pt x="1349" y="1493"/>
                    </a:lnTo>
                    <a:lnTo>
                      <a:pt x="1353" y="1551"/>
                    </a:lnTo>
                    <a:lnTo>
                      <a:pt x="1358" y="1609"/>
                    </a:lnTo>
                    <a:lnTo>
                      <a:pt x="1361" y="1667"/>
                    </a:lnTo>
                    <a:lnTo>
                      <a:pt x="1364" y="1725"/>
                    </a:lnTo>
                    <a:lnTo>
                      <a:pt x="1365" y="1783"/>
                    </a:lnTo>
                    <a:lnTo>
                      <a:pt x="1366" y="1841"/>
                    </a:lnTo>
                    <a:lnTo>
                      <a:pt x="1365" y="1898"/>
                    </a:lnTo>
                    <a:lnTo>
                      <a:pt x="1364" y="1954"/>
                    </a:lnTo>
                    <a:lnTo>
                      <a:pt x="1361" y="2009"/>
                    </a:lnTo>
                    <a:lnTo>
                      <a:pt x="1358" y="2066"/>
                    </a:lnTo>
                    <a:lnTo>
                      <a:pt x="1352" y="2122"/>
                    </a:lnTo>
                    <a:lnTo>
                      <a:pt x="1346" y="2179"/>
                    </a:lnTo>
                    <a:lnTo>
                      <a:pt x="1339" y="2236"/>
                    </a:lnTo>
                    <a:lnTo>
                      <a:pt x="1330" y="2294"/>
                    </a:lnTo>
                    <a:lnTo>
                      <a:pt x="1319" y="2351"/>
                    </a:lnTo>
                    <a:lnTo>
                      <a:pt x="1308" y="2409"/>
                    </a:lnTo>
                    <a:lnTo>
                      <a:pt x="1295" y="2466"/>
                    </a:lnTo>
                    <a:lnTo>
                      <a:pt x="1280" y="2524"/>
                    </a:lnTo>
                    <a:lnTo>
                      <a:pt x="1264" y="2583"/>
                    </a:lnTo>
                    <a:lnTo>
                      <a:pt x="1245" y="2642"/>
                    </a:lnTo>
                    <a:lnTo>
                      <a:pt x="1225" y="2701"/>
                    </a:lnTo>
                    <a:lnTo>
                      <a:pt x="1204" y="2761"/>
                    </a:lnTo>
                    <a:lnTo>
                      <a:pt x="1167" y="2860"/>
                    </a:lnTo>
                    <a:lnTo>
                      <a:pt x="1132" y="2957"/>
                    </a:lnTo>
                    <a:lnTo>
                      <a:pt x="1100" y="3051"/>
                    </a:lnTo>
                    <a:lnTo>
                      <a:pt x="1071" y="3143"/>
                    </a:lnTo>
                    <a:lnTo>
                      <a:pt x="1043" y="3233"/>
                    </a:lnTo>
                    <a:lnTo>
                      <a:pt x="1019" y="3321"/>
                    </a:lnTo>
                    <a:lnTo>
                      <a:pt x="996" y="3407"/>
                    </a:lnTo>
                    <a:lnTo>
                      <a:pt x="976" y="3492"/>
                    </a:lnTo>
                    <a:lnTo>
                      <a:pt x="967" y="3534"/>
                    </a:lnTo>
                    <a:lnTo>
                      <a:pt x="959" y="3575"/>
                    </a:lnTo>
                    <a:lnTo>
                      <a:pt x="950" y="3616"/>
                    </a:lnTo>
                    <a:lnTo>
                      <a:pt x="943" y="3657"/>
                    </a:lnTo>
                    <a:lnTo>
                      <a:pt x="937" y="3698"/>
                    </a:lnTo>
                    <a:lnTo>
                      <a:pt x="931" y="3737"/>
                    </a:lnTo>
                    <a:lnTo>
                      <a:pt x="925" y="3778"/>
                    </a:lnTo>
                    <a:lnTo>
                      <a:pt x="919" y="3818"/>
                    </a:lnTo>
                    <a:lnTo>
                      <a:pt x="915" y="3857"/>
                    </a:lnTo>
                    <a:lnTo>
                      <a:pt x="911" y="3896"/>
                    </a:lnTo>
                    <a:lnTo>
                      <a:pt x="908" y="3936"/>
                    </a:lnTo>
                    <a:lnTo>
                      <a:pt x="906" y="3975"/>
                    </a:lnTo>
                    <a:lnTo>
                      <a:pt x="904" y="4014"/>
                    </a:lnTo>
                    <a:lnTo>
                      <a:pt x="902" y="4054"/>
                    </a:lnTo>
                    <a:lnTo>
                      <a:pt x="902" y="4092"/>
                    </a:lnTo>
                    <a:lnTo>
                      <a:pt x="901" y="4131"/>
                    </a:lnTo>
                    <a:lnTo>
                      <a:pt x="902" y="4197"/>
                    </a:lnTo>
                    <a:lnTo>
                      <a:pt x="905" y="4265"/>
                    </a:lnTo>
                    <a:lnTo>
                      <a:pt x="909" y="4331"/>
                    </a:lnTo>
                    <a:lnTo>
                      <a:pt x="915" y="4398"/>
                    </a:lnTo>
                    <a:lnTo>
                      <a:pt x="922" y="4465"/>
                    </a:lnTo>
                    <a:lnTo>
                      <a:pt x="932" y="4533"/>
                    </a:lnTo>
                    <a:lnTo>
                      <a:pt x="943" y="4602"/>
                    </a:lnTo>
                    <a:lnTo>
                      <a:pt x="957" y="4671"/>
                    </a:lnTo>
                    <a:lnTo>
                      <a:pt x="971" y="4740"/>
                    </a:lnTo>
                    <a:lnTo>
                      <a:pt x="988" y="4812"/>
                    </a:lnTo>
                    <a:lnTo>
                      <a:pt x="1005" y="4883"/>
                    </a:lnTo>
                    <a:lnTo>
                      <a:pt x="1025" y="4955"/>
                    </a:lnTo>
                    <a:lnTo>
                      <a:pt x="1045" y="5030"/>
                    </a:lnTo>
                    <a:lnTo>
                      <a:pt x="1069" y="5105"/>
                    </a:lnTo>
                    <a:lnTo>
                      <a:pt x="1093" y="5182"/>
                    </a:lnTo>
                    <a:lnTo>
                      <a:pt x="1120" y="5259"/>
                    </a:lnTo>
                    <a:lnTo>
                      <a:pt x="1100" y="5259"/>
                    </a:lnTo>
                    <a:lnTo>
                      <a:pt x="1065" y="5259"/>
                    </a:lnTo>
                    <a:lnTo>
                      <a:pt x="1017" y="5259"/>
                    </a:lnTo>
                    <a:lnTo>
                      <a:pt x="956" y="5258"/>
                    </a:lnTo>
                    <a:lnTo>
                      <a:pt x="887" y="5258"/>
                    </a:lnTo>
                    <a:lnTo>
                      <a:pt x="811" y="5257"/>
                    </a:lnTo>
                    <a:lnTo>
                      <a:pt x="731" y="5257"/>
                    </a:lnTo>
                    <a:lnTo>
                      <a:pt x="649" y="5256"/>
                    </a:lnTo>
                    <a:lnTo>
                      <a:pt x="567" y="5256"/>
                    </a:lnTo>
                    <a:lnTo>
                      <a:pt x="488" y="5255"/>
                    </a:lnTo>
                    <a:lnTo>
                      <a:pt x="414" y="5255"/>
                    </a:lnTo>
                    <a:lnTo>
                      <a:pt x="347" y="5255"/>
                    </a:lnTo>
                    <a:lnTo>
                      <a:pt x="289" y="5254"/>
                    </a:lnTo>
                    <a:lnTo>
                      <a:pt x="244" y="5254"/>
                    </a:lnTo>
                    <a:lnTo>
                      <a:pt x="213" y="5254"/>
                    </a:lnTo>
                    <a:lnTo>
                      <a:pt x="197" y="5254"/>
                    </a:lnTo>
                    <a:lnTo>
                      <a:pt x="179" y="5192"/>
                    </a:lnTo>
                    <a:lnTo>
                      <a:pt x="162" y="5131"/>
                    </a:lnTo>
                    <a:lnTo>
                      <a:pt x="146" y="5070"/>
                    </a:lnTo>
                    <a:lnTo>
                      <a:pt x="131" y="5011"/>
                    </a:lnTo>
                    <a:lnTo>
                      <a:pt x="117" y="4952"/>
                    </a:lnTo>
                    <a:lnTo>
                      <a:pt x="105" y="4893"/>
                    </a:lnTo>
                    <a:lnTo>
                      <a:pt x="94" y="4835"/>
                    </a:lnTo>
                    <a:lnTo>
                      <a:pt x="83" y="4778"/>
                    </a:lnTo>
                    <a:lnTo>
                      <a:pt x="75" y="4721"/>
                    </a:lnTo>
                    <a:lnTo>
                      <a:pt x="67" y="4665"/>
                    </a:lnTo>
                    <a:lnTo>
                      <a:pt x="61" y="4608"/>
                    </a:lnTo>
                    <a:lnTo>
                      <a:pt x="54" y="4552"/>
                    </a:lnTo>
                    <a:lnTo>
                      <a:pt x="50" y="4496"/>
                    </a:lnTo>
                    <a:lnTo>
                      <a:pt x="47" y="4440"/>
                    </a:lnTo>
                    <a:lnTo>
                      <a:pt x="46" y="4385"/>
                    </a:lnTo>
                    <a:lnTo>
                      <a:pt x="45" y="4329"/>
                    </a:lnTo>
                    <a:lnTo>
                      <a:pt x="45" y="4285"/>
                    </a:lnTo>
                    <a:lnTo>
                      <a:pt x="46" y="4243"/>
                    </a:lnTo>
                    <a:lnTo>
                      <a:pt x="48" y="4199"/>
                    </a:lnTo>
                    <a:lnTo>
                      <a:pt x="51" y="4156"/>
                    </a:lnTo>
                    <a:lnTo>
                      <a:pt x="54" y="4113"/>
                    </a:lnTo>
                    <a:lnTo>
                      <a:pt x="59" y="4068"/>
                    </a:lnTo>
                    <a:lnTo>
                      <a:pt x="63" y="4025"/>
                    </a:lnTo>
                    <a:lnTo>
                      <a:pt x="69" y="3980"/>
                    </a:lnTo>
                    <a:lnTo>
                      <a:pt x="75" y="3936"/>
                    </a:lnTo>
                    <a:lnTo>
                      <a:pt x="82" y="3891"/>
                    </a:lnTo>
                    <a:lnTo>
                      <a:pt x="90" y="3847"/>
                    </a:lnTo>
                    <a:lnTo>
                      <a:pt x="98" y="3801"/>
                    </a:lnTo>
                    <a:lnTo>
                      <a:pt x="107" y="3756"/>
                    </a:lnTo>
                    <a:lnTo>
                      <a:pt x="117" y="3709"/>
                    </a:lnTo>
                    <a:lnTo>
                      <a:pt x="129" y="3663"/>
                    </a:lnTo>
                    <a:lnTo>
                      <a:pt x="140" y="3616"/>
                    </a:lnTo>
                    <a:lnTo>
                      <a:pt x="153" y="3569"/>
                    </a:lnTo>
                    <a:lnTo>
                      <a:pt x="165" y="3521"/>
                    </a:lnTo>
                    <a:lnTo>
                      <a:pt x="179" y="3473"/>
                    </a:lnTo>
                    <a:lnTo>
                      <a:pt x="194" y="3424"/>
                    </a:lnTo>
                    <a:lnTo>
                      <a:pt x="209" y="3374"/>
                    </a:lnTo>
                    <a:lnTo>
                      <a:pt x="226" y="3324"/>
                    </a:lnTo>
                    <a:lnTo>
                      <a:pt x="243" y="3273"/>
                    </a:lnTo>
                    <a:lnTo>
                      <a:pt x="261" y="3222"/>
                    </a:lnTo>
                    <a:lnTo>
                      <a:pt x="298" y="3117"/>
                    </a:lnTo>
                    <a:lnTo>
                      <a:pt x="340" y="3009"/>
                    </a:lnTo>
                    <a:lnTo>
                      <a:pt x="384" y="2899"/>
                    </a:lnTo>
                    <a:lnTo>
                      <a:pt x="432" y="2784"/>
                    </a:lnTo>
                    <a:lnTo>
                      <a:pt x="448" y="2745"/>
                    </a:lnTo>
                    <a:lnTo>
                      <a:pt x="464" y="2706"/>
                    </a:lnTo>
                    <a:lnTo>
                      <a:pt x="478" y="2667"/>
                    </a:lnTo>
                    <a:lnTo>
                      <a:pt x="493" y="2629"/>
                    </a:lnTo>
                    <a:lnTo>
                      <a:pt x="505" y="2590"/>
                    </a:lnTo>
                    <a:lnTo>
                      <a:pt x="518" y="2551"/>
                    </a:lnTo>
                    <a:lnTo>
                      <a:pt x="530" y="2513"/>
                    </a:lnTo>
                    <a:lnTo>
                      <a:pt x="541" y="2475"/>
                    </a:lnTo>
                    <a:lnTo>
                      <a:pt x="553" y="2437"/>
                    </a:lnTo>
                    <a:lnTo>
                      <a:pt x="563" y="2399"/>
                    </a:lnTo>
                    <a:lnTo>
                      <a:pt x="572" y="2361"/>
                    </a:lnTo>
                    <a:lnTo>
                      <a:pt x="580" y="2324"/>
                    </a:lnTo>
                    <a:lnTo>
                      <a:pt x="597" y="2248"/>
                    </a:lnTo>
                    <a:lnTo>
                      <a:pt x="611" y="2173"/>
                    </a:lnTo>
                    <a:lnTo>
                      <a:pt x="623" y="2098"/>
                    </a:lnTo>
                    <a:lnTo>
                      <a:pt x="633" y="2024"/>
                    </a:lnTo>
                    <a:lnTo>
                      <a:pt x="641" y="1949"/>
                    </a:lnTo>
                    <a:lnTo>
                      <a:pt x="648" y="1875"/>
                    </a:lnTo>
                    <a:lnTo>
                      <a:pt x="652" y="1802"/>
                    </a:lnTo>
                    <a:lnTo>
                      <a:pt x="656" y="1728"/>
                    </a:lnTo>
                    <a:lnTo>
                      <a:pt x="657" y="1654"/>
                    </a:lnTo>
                    <a:lnTo>
                      <a:pt x="658" y="1580"/>
                    </a:lnTo>
                    <a:lnTo>
                      <a:pt x="658" y="1535"/>
                    </a:lnTo>
                    <a:lnTo>
                      <a:pt x="657" y="1489"/>
                    </a:lnTo>
                    <a:lnTo>
                      <a:pt x="656" y="1444"/>
                    </a:lnTo>
                    <a:lnTo>
                      <a:pt x="655" y="1397"/>
                    </a:lnTo>
                    <a:lnTo>
                      <a:pt x="653" y="1352"/>
                    </a:lnTo>
                    <a:lnTo>
                      <a:pt x="651" y="1306"/>
                    </a:lnTo>
                    <a:lnTo>
                      <a:pt x="649" y="1261"/>
                    </a:lnTo>
                    <a:lnTo>
                      <a:pt x="646" y="1214"/>
                    </a:lnTo>
                    <a:lnTo>
                      <a:pt x="643" y="1169"/>
                    </a:lnTo>
                    <a:lnTo>
                      <a:pt x="640" y="1122"/>
                    </a:lnTo>
                    <a:lnTo>
                      <a:pt x="637" y="1077"/>
                    </a:lnTo>
                    <a:lnTo>
                      <a:pt x="633" y="1030"/>
                    </a:lnTo>
                    <a:lnTo>
                      <a:pt x="630" y="984"/>
                    </a:lnTo>
                    <a:lnTo>
                      <a:pt x="627" y="937"/>
                    </a:lnTo>
                    <a:lnTo>
                      <a:pt x="623" y="891"/>
                    </a:lnTo>
                    <a:lnTo>
                      <a:pt x="620" y="844"/>
                    </a:lnTo>
                    <a:lnTo>
                      <a:pt x="616" y="796"/>
                    </a:lnTo>
                    <a:lnTo>
                      <a:pt x="612" y="748"/>
                    </a:lnTo>
                    <a:lnTo>
                      <a:pt x="608" y="700"/>
                    </a:lnTo>
                    <a:lnTo>
                      <a:pt x="605" y="652"/>
                    </a:lnTo>
                    <a:lnTo>
                      <a:pt x="601" y="602"/>
                    </a:lnTo>
                    <a:lnTo>
                      <a:pt x="598" y="553"/>
                    </a:lnTo>
                    <a:lnTo>
                      <a:pt x="595" y="504"/>
                    </a:lnTo>
                    <a:lnTo>
                      <a:pt x="592" y="454"/>
                    </a:lnTo>
                    <a:lnTo>
                      <a:pt x="589" y="405"/>
                    </a:lnTo>
                    <a:lnTo>
                      <a:pt x="587" y="355"/>
                    </a:lnTo>
                    <a:lnTo>
                      <a:pt x="585" y="304"/>
                    </a:lnTo>
                    <a:lnTo>
                      <a:pt x="583" y="254"/>
                    </a:lnTo>
                    <a:lnTo>
                      <a:pt x="580" y="203"/>
                    </a:lnTo>
                    <a:lnTo>
                      <a:pt x="579" y="151"/>
                    </a:lnTo>
                    <a:lnTo>
                      <a:pt x="578" y="101"/>
                    </a:lnTo>
                    <a:lnTo>
                      <a:pt x="578" y="49"/>
                    </a:lnTo>
                    <a:lnTo>
                      <a:pt x="615" y="49"/>
                    </a:lnTo>
                    <a:lnTo>
                      <a:pt x="685" y="48"/>
                    </a:lnTo>
                    <a:lnTo>
                      <a:pt x="777" y="48"/>
                    </a:lnTo>
                    <a:lnTo>
                      <a:pt x="880" y="47"/>
                    </a:lnTo>
                    <a:lnTo>
                      <a:pt x="983" y="47"/>
                    </a:lnTo>
                    <a:lnTo>
                      <a:pt x="1075" y="46"/>
                    </a:lnTo>
                    <a:lnTo>
                      <a:pt x="1145" y="46"/>
                    </a:lnTo>
                    <a:lnTo>
                      <a:pt x="1180" y="45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37" name="Freeform 11"/>
              <p:cNvSpPr>
                <a:spLocks noEditPoints="1"/>
              </p:cNvSpPr>
              <p:nvPr/>
            </p:nvSpPr>
            <p:spPr bwMode="auto">
              <a:xfrm>
                <a:off x="2965" y="1631"/>
                <a:ext cx="111" cy="79"/>
              </a:xfrm>
              <a:custGeom>
                <a:avLst/>
                <a:gdLst>
                  <a:gd name="T0" fmla="*/ 0 w 777"/>
                  <a:gd name="T1" fmla="*/ 0 h 553"/>
                  <a:gd name="T2" fmla="*/ 0 w 777"/>
                  <a:gd name="T3" fmla="*/ 0 h 553"/>
                  <a:gd name="T4" fmla="*/ 0 w 777"/>
                  <a:gd name="T5" fmla="*/ 0 h 553"/>
                  <a:gd name="T6" fmla="*/ 0 w 777"/>
                  <a:gd name="T7" fmla="*/ 0 h 553"/>
                  <a:gd name="T8" fmla="*/ 0 w 777"/>
                  <a:gd name="T9" fmla="*/ 0 h 553"/>
                  <a:gd name="T10" fmla="*/ 0 w 777"/>
                  <a:gd name="T11" fmla="*/ 0 h 553"/>
                  <a:gd name="T12" fmla="*/ 0 w 777"/>
                  <a:gd name="T13" fmla="*/ 0 h 553"/>
                  <a:gd name="T14" fmla="*/ 0 w 777"/>
                  <a:gd name="T15" fmla="*/ 0 h 553"/>
                  <a:gd name="T16" fmla="*/ 0 w 777"/>
                  <a:gd name="T17" fmla="*/ 0 h 553"/>
                  <a:gd name="T18" fmla="*/ 0 w 777"/>
                  <a:gd name="T19" fmla="*/ 0 h 553"/>
                  <a:gd name="T20" fmla="*/ 0 w 777"/>
                  <a:gd name="T21" fmla="*/ 0 h 553"/>
                  <a:gd name="T22" fmla="*/ 0 w 777"/>
                  <a:gd name="T23" fmla="*/ 0 h 553"/>
                  <a:gd name="T24" fmla="*/ 0 w 777"/>
                  <a:gd name="T25" fmla="*/ 0 h 553"/>
                  <a:gd name="T26" fmla="*/ 0 w 777"/>
                  <a:gd name="T27" fmla="*/ 0 h 553"/>
                  <a:gd name="T28" fmla="*/ 0 w 777"/>
                  <a:gd name="T29" fmla="*/ 0 h 553"/>
                  <a:gd name="T30" fmla="*/ 0 w 777"/>
                  <a:gd name="T31" fmla="*/ 0 h 553"/>
                  <a:gd name="T32" fmla="*/ 0 w 777"/>
                  <a:gd name="T33" fmla="*/ 0 h 553"/>
                  <a:gd name="T34" fmla="*/ 0 w 777"/>
                  <a:gd name="T35" fmla="*/ 0 h 553"/>
                  <a:gd name="T36" fmla="*/ 0 w 777"/>
                  <a:gd name="T37" fmla="*/ 0 h 553"/>
                  <a:gd name="T38" fmla="*/ 0 w 777"/>
                  <a:gd name="T39" fmla="*/ 0 h 553"/>
                  <a:gd name="T40" fmla="*/ 0 w 777"/>
                  <a:gd name="T41" fmla="*/ 0 h 553"/>
                  <a:gd name="T42" fmla="*/ 0 w 777"/>
                  <a:gd name="T43" fmla="*/ 0 h 553"/>
                  <a:gd name="T44" fmla="*/ 0 w 777"/>
                  <a:gd name="T45" fmla="*/ 0 h 553"/>
                  <a:gd name="T46" fmla="*/ 0 w 777"/>
                  <a:gd name="T47" fmla="*/ 0 h 553"/>
                  <a:gd name="T48" fmla="*/ 0 w 777"/>
                  <a:gd name="T49" fmla="*/ 0 h 553"/>
                  <a:gd name="T50" fmla="*/ 0 w 777"/>
                  <a:gd name="T51" fmla="*/ 0 h 553"/>
                  <a:gd name="T52" fmla="*/ 0 w 777"/>
                  <a:gd name="T53" fmla="*/ 0 h 553"/>
                  <a:gd name="T54" fmla="*/ 0 w 777"/>
                  <a:gd name="T55" fmla="*/ 0 h 553"/>
                  <a:gd name="T56" fmla="*/ 0 w 777"/>
                  <a:gd name="T57" fmla="*/ 0 h 553"/>
                  <a:gd name="T58" fmla="*/ 0 w 777"/>
                  <a:gd name="T59" fmla="*/ 0 h 553"/>
                  <a:gd name="T60" fmla="*/ 0 w 777"/>
                  <a:gd name="T61" fmla="*/ 0 h 553"/>
                  <a:gd name="T62" fmla="*/ 0 w 777"/>
                  <a:gd name="T63" fmla="*/ 0 h 553"/>
                  <a:gd name="T64" fmla="*/ 0 w 777"/>
                  <a:gd name="T65" fmla="*/ 0 h 553"/>
                  <a:gd name="T66" fmla="*/ 0 w 777"/>
                  <a:gd name="T67" fmla="*/ 0 h 553"/>
                  <a:gd name="T68" fmla="*/ 0 w 777"/>
                  <a:gd name="T69" fmla="*/ 0 h 553"/>
                  <a:gd name="T70" fmla="*/ 0 w 777"/>
                  <a:gd name="T71" fmla="*/ 0 h 553"/>
                  <a:gd name="T72" fmla="*/ 0 w 777"/>
                  <a:gd name="T73" fmla="*/ 0 h 553"/>
                  <a:gd name="T74" fmla="*/ 0 w 777"/>
                  <a:gd name="T75" fmla="*/ 0 h 553"/>
                  <a:gd name="T76" fmla="*/ 0 w 777"/>
                  <a:gd name="T77" fmla="*/ 0 h 553"/>
                  <a:gd name="T78" fmla="*/ 0 w 777"/>
                  <a:gd name="T79" fmla="*/ 0 h 553"/>
                  <a:gd name="T80" fmla="*/ 0 w 777"/>
                  <a:gd name="T81" fmla="*/ 0 h 553"/>
                  <a:gd name="T82" fmla="*/ 0 w 777"/>
                  <a:gd name="T83" fmla="*/ 0 h 553"/>
                  <a:gd name="T84" fmla="*/ 0 w 777"/>
                  <a:gd name="T85" fmla="*/ 0 h 553"/>
                  <a:gd name="T86" fmla="*/ 0 w 777"/>
                  <a:gd name="T87" fmla="*/ 0 h 553"/>
                  <a:gd name="T88" fmla="*/ 0 w 777"/>
                  <a:gd name="T89" fmla="*/ 0 h 553"/>
                  <a:gd name="T90" fmla="*/ 0 w 777"/>
                  <a:gd name="T91" fmla="*/ 0 h 553"/>
                  <a:gd name="T92" fmla="*/ 0 w 777"/>
                  <a:gd name="T93" fmla="*/ 0 h 553"/>
                  <a:gd name="T94" fmla="*/ 0 w 777"/>
                  <a:gd name="T95" fmla="*/ 0 h 553"/>
                  <a:gd name="T96" fmla="*/ 0 w 777"/>
                  <a:gd name="T97" fmla="*/ 0 h 553"/>
                  <a:gd name="T98" fmla="*/ 0 w 777"/>
                  <a:gd name="T99" fmla="*/ 0 h 553"/>
                  <a:gd name="T100" fmla="*/ 0 w 777"/>
                  <a:gd name="T101" fmla="*/ 0 h 553"/>
                  <a:gd name="T102" fmla="*/ 0 w 777"/>
                  <a:gd name="T103" fmla="*/ 0 h 553"/>
                  <a:gd name="T104" fmla="*/ 0 w 777"/>
                  <a:gd name="T105" fmla="*/ 0 h 553"/>
                  <a:gd name="T106" fmla="*/ 0 w 777"/>
                  <a:gd name="T107" fmla="*/ 0 h 553"/>
                  <a:gd name="T108" fmla="*/ 0 w 777"/>
                  <a:gd name="T109" fmla="*/ 0 h 553"/>
                  <a:gd name="T110" fmla="*/ 0 w 777"/>
                  <a:gd name="T111" fmla="*/ 0 h 553"/>
                  <a:gd name="T112" fmla="*/ 0 w 777"/>
                  <a:gd name="T113" fmla="*/ 0 h 553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777"/>
                  <a:gd name="T172" fmla="*/ 0 h 553"/>
                  <a:gd name="T173" fmla="*/ 777 w 777"/>
                  <a:gd name="T174" fmla="*/ 553 h 553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777" h="553">
                    <a:moveTo>
                      <a:pt x="639" y="0"/>
                    </a:moveTo>
                    <a:lnTo>
                      <a:pt x="0" y="0"/>
                    </a:lnTo>
                    <a:lnTo>
                      <a:pt x="1" y="19"/>
                    </a:lnTo>
                    <a:lnTo>
                      <a:pt x="6" y="78"/>
                    </a:lnTo>
                    <a:lnTo>
                      <a:pt x="13" y="138"/>
                    </a:lnTo>
                    <a:lnTo>
                      <a:pt x="21" y="200"/>
                    </a:lnTo>
                    <a:lnTo>
                      <a:pt x="31" y="264"/>
                    </a:lnTo>
                    <a:lnTo>
                      <a:pt x="44" y="329"/>
                    </a:lnTo>
                    <a:lnTo>
                      <a:pt x="57" y="397"/>
                    </a:lnTo>
                    <a:lnTo>
                      <a:pt x="72" y="466"/>
                    </a:lnTo>
                    <a:lnTo>
                      <a:pt x="90" y="536"/>
                    </a:lnTo>
                    <a:lnTo>
                      <a:pt x="93" y="549"/>
                    </a:lnTo>
                    <a:lnTo>
                      <a:pt x="777" y="553"/>
                    </a:lnTo>
                    <a:lnTo>
                      <a:pt x="771" y="532"/>
                    </a:lnTo>
                    <a:lnTo>
                      <a:pt x="750" y="460"/>
                    </a:lnTo>
                    <a:lnTo>
                      <a:pt x="732" y="389"/>
                    </a:lnTo>
                    <a:lnTo>
                      <a:pt x="715" y="322"/>
                    </a:lnTo>
                    <a:lnTo>
                      <a:pt x="700" y="257"/>
                    </a:lnTo>
                    <a:lnTo>
                      <a:pt x="686" y="194"/>
                    </a:lnTo>
                    <a:lnTo>
                      <a:pt x="674" y="132"/>
                    </a:lnTo>
                    <a:lnTo>
                      <a:pt x="664" y="73"/>
                    </a:lnTo>
                    <a:lnTo>
                      <a:pt x="654" y="15"/>
                    </a:lnTo>
                    <a:lnTo>
                      <a:pt x="652" y="0"/>
                    </a:lnTo>
                    <a:lnTo>
                      <a:pt x="639" y="0"/>
                    </a:lnTo>
                    <a:close/>
                    <a:moveTo>
                      <a:pt x="625" y="35"/>
                    </a:moveTo>
                    <a:lnTo>
                      <a:pt x="634" y="88"/>
                    </a:lnTo>
                    <a:lnTo>
                      <a:pt x="644" y="145"/>
                    </a:lnTo>
                    <a:lnTo>
                      <a:pt x="655" y="203"/>
                    </a:lnTo>
                    <a:lnTo>
                      <a:pt x="668" y="262"/>
                    </a:lnTo>
                    <a:lnTo>
                      <a:pt x="682" y="324"/>
                    </a:lnTo>
                    <a:lnTo>
                      <a:pt x="698" y="387"/>
                    </a:lnTo>
                    <a:lnTo>
                      <a:pt x="715" y="452"/>
                    </a:lnTo>
                    <a:lnTo>
                      <a:pt x="734" y="520"/>
                    </a:lnTo>
                    <a:lnTo>
                      <a:pt x="698" y="520"/>
                    </a:lnTo>
                    <a:lnTo>
                      <a:pt x="624" y="519"/>
                    </a:lnTo>
                    <a:lnTo>
                      <a:pt x="528" y="519"/>
                    </a:lnTo>
                    <a:lnTo>
                      <a:pt x="421" y="518"/>
                    </a:lnTo>
                    <a:lnTo>
                      <a:pt x="313" y="518"/>
                    </a:lnTo>
                    <a:lnTo>
                      <a:pt x="219" y="516"/>
                    </a:lnTo>
                    <a:lnTo>
                      <a:pt x="150" y="516"/>
                    </a:lnTo>
                    <a:lnTo>
                      <a:pt x="118" y="515"/>
                    </a:lnTo>
                    <a:lnTo>
                      <a:pt x="102" y="450"/>
                    </a:lnTo>
                    <a:lnTo>
                      <a:pt x="88" y="386"/>
                    </a:lnTo>
                    <a:lnTo>
                      <a:pt x="76" y="323"/>
                    </a:lnTo>
                    <a:lnTo>
                      <a:pt x="64" y="263"/>
                    </a:lnTo>
                    <a:lnTo>
                      <a:pt x="55" y="203"/>
                    </a:lnTo>
                    <a:lnTo>
                      <a:pt x="47" y="146"/>
                    </a:lnTo>
                    <a:lnTo>
                      <a:pt x="40" y="89"/>
                    </a:lnTo>
                    <a:lnTo>
                      <a:pt x="35" y="35"/>
                    </a:lnTo>
                    <a:lnTo>
                      <a:pt x="69" y="35"/>
                    </a:lnTo>
                    <a:lnTo>
                      <a:pt x="138" y="35"/>
                    </a:lnTo>
                    <a:lnTo>
                      <a:pt x="230" y="35"/>
                    </a:lnTo>
                    <a:lnTo>
                      <a:pt x="333" y="35"/>
                    </a:lnTo>
                    <a:lnTo>
                      <a:pt x="436" y="35"/>
                    </a:lnTo>
                    <a:lnTo>
                      <a:pt x="527" y="35"/>
                    </a:lnTo>
                    <a:lnTo>
                      <a:pt x="593" y="35"/>
                    </a:lnTo>
                    <a:lnTo>
                      <a:pt x="625" y="35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38" name="Freeform 12"/>
              <p:cNvSpPr>
                <a:spLocks noEditPoints="1"/>
              </p:cNvSpPr>
              <p:nvPr/>
            </p:nvSpPr>
            <p:spPr bwMode="auto">
              <a:xfrm>
                <a:off x="2978" y="1641"/>
                <a:ext cx="84" cy="60"/>
              </a:xfrm>
              <a:custGeom>
                <a:avLst/>
                <a:gdLst>
                  <a:gd name="T0" fmla="*/ 0 w 589"/>
                  <a:gd name="T1" fmla="*/ 0 h 421"/>
                  <a:gd name="T2" fmla="*/ 0 w 589"/>
                  <a:gd name="T3" fmla="*/ 0 h 421"/>
                  <a:gd name="T4" fmla="*/ 0 w 589"/>
                  <a:gd name="T5" fmla="*/ 0 h 421"/>
                  <a:gd name="T6" fmla="*/ 0 w 589"/>
                  <a:gd name="T7" fmla="*/ 0 h 421"/>
                  <a:gd name="T8" fmla="*/ 0 w 589"/>
                  <a:gd name="T9" fmla="*/ 0 h 421"/>
                  <a:gd name="T10" fmla="*/ 0 w 589"/>
                  <a:gd name="T11" fmla="*/ 0 h 421"/>
                  <a:gd name="T12" fmla="*/ 0 w 589"/>
                  <a:gd name="T13" fmla="*/ 0 h 421"/>
                  <a:gd name="T14" fmla="*/ 0 w 589"/>
                  <a:gd name="T15" fmla="*/ 0 h 421"/>
                  <a:gd name="T16" fmla="*/ 0 w 589"/>
                  <a:gd name="T17" fmla="*/ 0 h 421"/>
                  <a:gd name="T18" fmla="*/ 0 w 589"/>
                  <a:gd name="T19" fmla="*/ 0 h 421"/>
                  <a:gd name="T20" fmla="*/ 0 w 589"/>
                  <a:gd name="T21" fmla="*/ 0 h 421"/>
                  <a:gd name="T22" fmla="*/ 0 w 589"/>
                  <a:gd name="T23" fmla="*/ 0 h 421"/>
                  <a:gd name="T24" fmla="*/ 0 w 589"/>
                  <a:gd name="T25" fmla="*/ 0 h 421"/>
                  <a:gd name="T26" fmla="*/ 0 w 589"/>
                  <a:gd name="T27" fmla="*/ 0 h 421"/>
                  <a:gd name="T28" fmla="*/ 0 w 589"/>
                  <a:gd name="T29" fmla="*/ 0 h 421"/>
                  <a:gd name="T30" fmla="*/ 0 w 589"/>
                  <a:gd name="T31" fmla="*/ 0 h 421"/>
                  <a:gd name="T32" fmla="*/ 0 w 589"/>
                  <a:gd name="T33" fmla="*/ 0 h 421"/>
                  <a:gd name="T34" fmla="*/ 0 w 589"/>
                  <a:gd name="T35" fmla="*/ 0 h 421"/>
                  <a:gd name="T36" fmla="*/ 0 w 589"/>
                  <a:gd name="T37" fmla="*/ 0 h 421"/>
                  <a:gd name="T38" fmla="*/ 0 w 589"/>
                  <a:gd name="T39" fmla="*/ 0 h 421"/>
                  <a:gd name="T40" fmla="*/ 0 w 589"/>
                  <a:gd name="T41" fmla="*/ 0 h 421"/>
                  <a:gd name="T42" fmla="*/ 0 w 589"/>
                  <a:gd name="T43" fmla="*/ 0 h 421"/>
                  <a:gd name="T44" fmla="*/ 0 w 589"/>
                  <a:gd name="T45" fmla="*/ 0 h 421"/>
                  <a:gd name="T46" fmla="*/ 0 w 589"/>
                  <a:gd name="T47" fmla="*/ 0 h 421"/>
                  <a:gd name="T48" fmla="*/ 0 w 589"/>
                  <a:gd name="T49" fmla="*/ 0 h 421"/>
                  <a:gd name="T50" fmla="*/ 0 w 589"/>
                  <a:gd name="T51" fmla="*/ 0 h 421"/>
                  <a:gd name="T52" fmla="*/ 0 w 589"/>
                  <a:gd name="T53" fmla="*/ 0 h 421"/>
                  <a:gd name="T54" fmla="*/ 0 w 589"/>
                  <a:gd name="T55" fmla="*/ 0 h 421"/>
                  <a:gd name="T56" fmla="*/ 0 w 589"/>
                  <a:gd name="T57" fmla="*/ 0 h 421"/>
                  <a:gd name="T58" fmla="*/ 0 w 589"/>
                  <a:gd name="T59" fmla="*/ 0 h 421"/>
                  <a:gd name="T60" fmla="*/ 0 w 589"/>
                  <a:gd name="T61" fmla="*/ 0 h 421"/>
                  <a:gd name="T62" fmla="*/ 0 w 589"/>
                  <a:gd name="T63" fmla="*/ 0 h 421"/>
                  <a:gd name="T64" fmla="*/ 0 w 589"/>
                  <a:gd name="T65" fmla="*/ 0 h 421"/>
                  <a:gd name="T66" fmla="*/ 0 w 589"/>
                  <a:gd name="T67" fmla="*/ 0 h 421"/>
                  <a:gd name="T68" fmla="*/ 0 w 589"/>
                  <a:gd name="T69" fmla="*/ 0 h 421"/>
                  <a:gd name="T70" fmla="*/ 0 w 589"/>
                  <a:gd name="T71" fmla="*/ 0 h 421"/>
                  <a:gd name="T72" fmla="*/ 0 w 589"/>
                  <a:gd name="T73" fmla="*/ 0 h 421"/>
                  <a:gd name="T74" fmla="*/ 0 w 589"/>
                  <a:gd name="T75" fmla="*/ 0 h 421"/>
                  <a:gd name="T76" fmla="*/ 0 w 589"/>
                  <a:gd name="T77" fmla="*/ 0 h 421"/>
                  <a:gd name="T78" fmla="*/ 0 w 589"/>
                  <a:gd name="T79" fmla="*/ 0 h 421"/>
                  <a:gd name="T80" fmla="*/ 0 w 589"/>
                  <a:gd name="T81" fmla="*/ 0 h 421"/>
                  <a:gd name="T82" fmla="*/ 0 w 589"/>
                  <a:gd name="T83" fmla="*/ 0 h 421"/>
                  <a:gd name="T84" fmla="*/ 0 w 589"/>
                  <a:gd name="T85" fmla="*/ 0 h 421"/>
                  <a:gd name="T86" fmla="*/ 0 w 589"/>
                  <a:gd name="T87" fmla="*/ 0 h 421"/>
                  <a:gd name="T88" fmla="*/ 0 w 589"/>
                  <a:gd name="T89" fmla="*/ 0 h 421"/>
                  <a:gd name="T90" fmla="*/ 0 w 589"/>
                  <a:gd name="T91" fmla="*/ 0 h 421"/>
                  <a:gd name="T92" fmla="*/ 0 w 589"/>
                  <a:gd name="T93" fmla="*/ 0 h 421"/>
                  <a:gd name="T94" fmla="*/ 0 w 589"/>
                  <a:gd name="T95" fmla="*/ 0 h 421"/>
                  <a:gd name="T96" fmla="*/ 0 w 589"/>
                  <a:gd name="T97" fmla="*/ 0 h 421"/>
                  <a:gd name="T98" fmla="*/ 0 w 589"/>
                  <a:gd name="T99" fmla="*/ 0 h 421"/>
                  <a:gd name="T100" fmla="*/ 0 w 589"/>
                  <a:gd name="T101" fmla="*/ 0 h 421"/>
                  <a:gd name="T102" fmla="*/ 0 w 589"/>
                  <a:gd name="T103" fmla="*/ 0 h 421"/>
                  <a:gd name="T104" fmla="*/ 0 w 589"/>
                  <a:gd name="T105" fmla="*/ 0 h 421"/>
                  <a:gd name="T106" fmla="*/ 0 w 589"/>
                  <a:gd name="T107" fmla="*/ 0 h 421"/>
                  <a:gd name="T108" fmla="*/ 0 w 589"/>
                  <a:gd name="T109" fmla="*/ 0 h 421"/>
                  <a:gd name="T110" fmla="*/ 0 w 589"/>
                  <a:gd name="T111" fmla="*/ 0 h 421"/>
                  <a:gd name="T112" fmla="*/ 0 w 589"/>
                  <a:gd name="T113" fmla="*/ 0 h 421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589"/>
                  <a:gd name="T172" fmla="*/ 0 h 421"/>
                  <a:gd name="T173" fmla="*/ 589 w 589"/>
                  <a:gd name="T174" fmla="*/ 421 h 421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589" h="421">
                    <a:moveTo>
                      <a:pt x="481" y="0"/>
                    </a:moveTo>
                    <a:lnTo>
                      <a:pt x="0" y="0"/>
                    </a:lnTo>
                    <a:lnTo>
                      <a:pt x="1" y="17"/>
                    </a:lnTo>
                    <a:lnTo>
                      <a:pt x="5" y="62"/>
                    </a:lnTo>
                    <a:lnTo>
                      <a:pt x="11" y="107"/>
                    </a:lnTo>
                    <a:lnTo>
                      <a:pt x="17" y="154"/>
                    </a:lnTo>
                    <a:lnTo>
                      <a:pt x="24" y="201"/>
                    </a:lnTo>
                    <a:lnTo>
                      <a:pt x="32" y="250"/>
                    </a:lnTo>
                    <a:lnTo>
                      <a:pt x="43" y="300"/>
                    </a:lnTo>
                    <a:lnTo>
                      <a:pt x="54" y="351"/>
                    </a:lnTo>
                    <a:lnTo>
                      <a:pt x="67" y="405"/>
                    </a:lnTo>
                    <a:lnTo>
                      <a:pt x="70" y="416"/>
                    </a:lnTo>
                    <a:lnTo>
                      <a:pt x="589" y="421"/>
                    </a:lnTo>
                    <a:lnTo>
                      <a:pt x="583" y="399"/>
                    </a:lnTo>
                    <a:lnTo>
                      <a:pt x="568" y="345"/>
                    </a:lnTo>
                    <a:lnTo>
                      <a:pt x="554" y="292"/>
                    </a:lnTo>
                    <a:lnTo>
                      <a:pt x="542" y="243"/>
                    </a:lnTo>
                    <a:lnTo>
                      <a:pt x="530" y="194"/>
                    </a:lnTo>
                    <a:lnTo>
                      <a:pt x="520" y="147"/>
                    </a:lnTo>
                    <a:lnTo>
                      <a:pt x="511" y="101"/>
                    </a:lnTo>
                    <a:lnTo>
                      <a:pt x="502" y="57"/>
                    </a:lnTo>
                    <a:lnTo>
                      <a:pt x="496" y="14"/>
                    </a:lnTo>
                    <a:lnTo>
                      <a:pt x="494" y="0"/>
                    </a:lnTo>
                    <a:lnTo>
                      <a:pt x="481" y="0"/>
                    </a:lnTo>
                    <a:close/>
                    <a:moveTo>
                      <a:pt x="467" y="33"/>
                    </a:moveTo>
                    <a:lnTo>
                      <a:pt x="473" y="73"/>
                    </a:lnTo>
                    <a:lnTo>
                      <a:pt x="481" y="114"/>
                    </a:lnTo>
                    <a:lnTo>
                      <a:pt x="489" y="156"/>
                    </a:lnTo>
                    <a:lnTo>
                      <a:pt x="498" y="199"/>
                    </a:lnTo>
                    <a:lnTo>
                      <a:pt x="509" y="245"/>
                    </a:lnTo>
                    <a:lnTo>
                      <a:pt x="520" y="290"/>
                    </a:lnTo>
                    <a:lnTo>
                      <a:pt x="532" y="338"/>
                    </a:lnTo>
                    <a:lnTo>
                      <a:pt x="547" y="386"/>
                    </a:lnTo>
                    <a:lnTo>
                      <a:pt x="517" y="386"/>
                    </a:lnTo>
                    <a:lnTo>
                      <a:pt x="463" y="386"/>
                    </a:lnTo>
                    <a:lnTo>
                      <a:pt x="393" y="385"/>
                    </a:lnTo>
                    <a:lnTo>
                      <a:pt x="315" y="385"/>
                    </a:lnTo>
                    <a:lnTo>
                      <a:pt x="238" y="384"/>
                    </a:lnTo>
                    <a:lnTo>
                      <a:pt x="171" y="384"/>
                    </a:lnTo>
                    <a:lnTo>
                      <a:pt x="120" y="384"/>
                    </a:lnTo>
                    <a:lnTo>
                      <a:pt x="96" y="384"/>
                    </a:lnTo>
                    <a:lnTo>
                      <a:pt x="84" y="336"/>
                    </a:lnTo>
                    <a:lnTo>
                      <a:pt x="74" y="289"/>
                    </a:lnTo>
                    <a:lnTo>
                      <a:pt x="64" y="244"/>
                    </a:lnTo>
                    <a:lnTo>
                      <a:pt x="57" y="200"/>
                    </a:lnTo>
                    <a:lnTo>
                      <a:pt x="50" y="157"/>
                    </a:lnTo>
                    <a:lnTo>
                      <a:pt x="44" y="114"/>
                    </a:lnTo>
                    <a:lnTo>
                      <a:pt x="39" y="73"/>
                    </a:lnTo>
                    <a:lnTo>
                      <a:pt x="35" y="33"/>
                    </a:lnTo>
                    <a:lnTo>
                      <a:pt x="62" y="33"/>
                    </a:lnTo>
                    <a:lnTo>
                      <a:pt x="113" y="33"/>
                    </a:lnTo>
                    <a:lnTo>
                      <a:pt x="179" y="33"/>
                    </a:lnTo>
                    <a:lnTo>
                      <a:pt x="253" y="33"/>
                    </a:lnTo>
                    <a:lnTo>
                      <a:pt x="328" y="33"/>
                    </a:lnTo>
                    <a:lnTo>
                      <a:pt x="394" y="33"/>
                    </a:lnTo>
                    <a:lnTo>
                      <a:pt x="442" y="33"/>
                    </a:lnTo>
                    <a:lnTo>
                      <a:pt x="467" y="33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39" name="Freeform 13"/>
              <p:cNvSpPr>
                <a:spLocks noEditPoints="1"/>
              </p:cNvSpPr>
              <p:nvPr/>
            </p:nvSpPr>
            <p:spPr bwMode="auto">
              <a:xfrm>
                <a:off x="2993" y="1651"/>
                <a:ext cx="55" cy="40"/>
              </a:xfrm>
              <a:custGeom>
                <a:avLst/>
                <a:gdLst>
                  <a:gd name="T0" fmla="*/ 0 w 388"/>
                  <a:gd name="T1" fmla="*/ 0 h 278"/>
                  <a:gd name="T2" fmla="*/ 0 w 388"/>
                  <a:gd name="T3" fmla="*/ 0 h 278"/>
                  <a:gd name="T4" fmla="*/ 0 w 388"/>
                  <a:gd name="T5" fmla="*/ 0 h 278"/>
                  <a:gd name="T6" fmla="*/ 0 w 388"/>
                  <a:gd name="T7" fmla="*/ 0 h 278"/>
                  <a:gd name="T8" fmla="*/ 0 w 388"/>
                  <a:gd name="T9" fmla="*/ 0 h 278"/>
                  <a:gd name="T10" fmla="*/ 0 w 388"/>
                  <a:gd name="T11" fmla="*/ 0 h 278"/>
                  <a:gd name="T12" fmla="*/ 0 w 388"/>
                  <a:gd name="T13" fmla="*/ 0 h 278"/>
                  <a:gd name="T14" fmla="*/ 0 w 388"/>
                  <a:gd name="T15" fmla="*/ 0 h 278"/>
                  <a:gd name="T16" fmla="*/ 0 w 388"/>
                  <a:gd name="T17" fmla="*/ 0 h 278"/>
                  <a:gd name="T18" fmla="*/ 0 w 388"/>
                  <a:gd name="T19" fmla="*/ 0 h 278"/>
                  <a:gd name="T20" fmla="*/ 0 w 388"/>
                  <a:gd name="T21" fmla="*/ 0 h 278"/>
                  <a:gd name="T22" fmla="*/ 0 w 388"/>
                  <a:gd name="T23" fmla="*/ 0 h 278"/>
                  <a:gd name="T24" fmla="*/ 0 w 388"/>
                  <a:gd name="T25" fmla="*/ 0 h 278"/>
                  <a:gd name="T26" fmla="*/ 0 w 388"/>
                  <a:gd name="T27" fmla="*/ 0 h 278"/>
                  <a:gd name="T28" fmla="*/ 0 w 388"/>
                  <a:gd name="T29" fmla="*/ 0 h 278"/>
                  <a:gd name="T30" fmla="*/ 0 w 388"/>
                  <a:gd name="T31" fmla="*/ 0 h 278"/>
                  <a:gd name="T32" fmla="*/ 0 w 388"/>
                  <a:gd name="T33" fmla="*/ 0 h 278"/>
                  <a:gd name="T34" fmla="*/ 0 w 388"/>
                  <a:gd name="T35" fmla="*/ 0 h 278"/>
                  <a:gd name="T36" fmla="*/ 0 w 388"/>
                  <a:gd name="T37" fmla="*/ 0 h 278"/>
                  <a:gd name="T38" fmla="*/ 0 w 388"/>
                  <a:gd name="T39" fmla="*/ 0 h 278"/>
                  <a:gd name="T40" fmla="*/ 0 w 388"/>
                  <a:gd name="T41" fmla="*/ 0 h 278"/>
                  <a:gd name="T42" fmla="*/ 0 w 388"/>
                  <a:gd name="T43" fmla="*/ 0 h 278"/>
                  <a:gd name="T44" fmla="*/ 0 w 388"/>
                  <a:gd name="T45" fmla="*/ 0 h 278"/>
                  <a:gd name="T46" fmla="*/ 0 w 388"/>
                  <a:gd name="T47" fmla="*/ 0 h 278"/>
                  <a:gd name="T48" fmla="*/ 0 w 388"/>
                  <a:gd name="T49" fmla="*/ 0 h 278"/>
                  <a:gd name="T50" fmla="*/ 0 w 388"/>
                  <a:gd name="T51" fmla="*/ 0 h 278"/>
                  <a:gd name="T52" fmla="*/ 0 w 388"/>
                  <a:gd name="T53" fmla="*/ 0 h 278"/>
                  <a:gd name="T54" fmla="*/ 0 w 388"/>
                  <a:gd name="T55" fmla="*/ 0 h 278"/>
                  <a:gd name="T56" fmla="*/ 0 w 388"/>
                  <a:gd name="T57" fmla="*/ 0 h 278"/>
                  <a:gd name="T58" fmla="*/ 0 w 388"/>
                  <a:gd name="T59" fmla="*/ 0 h 278"/>
                  <a:gd name="T60" fmla="*/ 0 w 388"/>
                  <a:gd name="T61" fmla="*/ 0 h 278"/>
                  <a:gd name="T62" fmla="*/ 0 w 388"/>
                  <a:gd name="T63" fmla="*/ 0 h 278"/>
                  <a:gd name="T64" fmla="*/ 0 w 388"/>
                  <a:gd name="T65" fmla="*/ 0 h 278"/>
                  <a:gd name="T66" fmla="*/ 0 w 388"/>
                  <a:gd name="T67" fmla="*/ 0 h 278"/>
                  <a:gd name="T68" fmla="*/ 0 w 388"/>
                  <a:gd name="T69" fmla="*/ 0 h 278"/>
                  <a:gd name="T70" fmla="*/ 0 w 388"/>
                  <a:gd name="T71" fmla="*/ 0 h 278"/>
                  <a:gd name="T72" fmla="*/ 0 w 388"/>
                  <a:gd name="T73" fmla="*/ 0 h 278"/>
                  <a:gd name="T74" fmla="*/ 0 w 388"/>
                  <a:gd name="T75" fmla="*/ 0 h 278"/>
                  <a:gd name="T76" fmla="*/ 0 w 388"/>
                  <a:gd name="T77" fmla="*/ 0 h 278"/>
                  <a:gd name="T78" fmla="*/ 0 w 388"/>
                  <a:gd name="T79" fmla="*/ 0 h 278"/>
                  <a:gd name="T80" fmla="*/ 0 w 388"/>
                  <a:gd name="T81" fmla="*/ 0 h 278"/>
                  <a:gd name="T82" fmla="*/ 0 w 388"/>
                  <a:gd name="T83" fmla="*/ 0 h 278"/>
                  <a:gd name="T84" fmla="*/ 0 w 388"/>
                  <a:gd name="T85" fmla="*/ 0 h 278"/>
                  <a:gd name="T86" fmla="*/ 0 w 388"/>
                  <a:gd name="T87" fmla="*/ 0 h 278"/>
                  <a:gd name="T88" fmla="*/ 0 w 388"/>
                  <a:gd name="T89" fmla="*/ 0 h 278"/>
                  <a:gd name="T90" fmla="*/ 0 w 388"/>
                  <a:gd name="T91" fmla="*/ 0 h 278"/>
                  <a:gd name="T92" fmla="*/ 0 w 388"/>
                  <a:gd name="T93" fmla="*/ 0 h 278"/>
                  <a:gd name="T94" fmla="*/ 0 w 388"/>
                  <a:gd name="T95" fmla="*/ 0 h 278"/>
                  <a:gd name="T96" fmla="*/ 0 w 388"/>
                  <a:gd name="T97" fmla="*/ 0 h 278"/>
                  <a:gd name="T98" fmla="*/ 0 w 388"/>
                  <a:gd name="T99" fmla="*/ 0 h 278"/>
                  <a:gd name="T100" fmla="*/ 0 w 388"/>
                  <a:gd name="T101" fmla="*/ 0 h 278"/>
                  <a:gd name="T102" fmla="*/ 0 w 388"/>
                  <a:gd name="T103" fmla="*/ 0 h 278"/>
                  <a:gd name="T104" fmla="*/ 0 w 388"/>
                  <a:gd name="T105" fmla="*/ 0 h 278"/>
                  <a:gd name="T106" fmla="*/ 0 w 388"/>
                  <a:gd name="T107" fmla="*/ 0 h 278"/>
                  <a:gd name="T108" fmla="*/ 0 w 388"/>
                  <a:gd name="T109" fmla="*/ 0 h 278"/>
                  <a:gd name="T110" fmla="*/ 0 w 388"/>
                  <a:gd name="T111" fmla="*/ 0 h 278"/>
                  <a:gd name="T112" fmla="*/ 0 w 388"/>
                  <a:gd name="T113" fmla="*/ 0 h 278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88"/>
                  <a:gd name="T172" fmla="*/ 0 h 278"/>
                  <a:gd name="T173" fmla="*/ 388 w 388"/>
                  <a:gd name="T174" fmla="*/ 278 h 278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88" h="278">
                    <a:moveTo>
                      <a:pt x="310" y="0"/>
                    </a:moveTo>
                    <a:lnTo>
                      <a:pt x="0" y="0"/>
                    </a:lnTo>
                    <a:lnTo>
                      <a:pt x="1" y="18"/>
                    </a:lnTo>
                    <a:lnTo>
                      <a:pt x="4" y="46"/>
                    </a:lnTo>
                    <a:lnTo>
                      <a:pt x="7" y="74"/>
                    </a:lnTo>
                    <a:lnTo>
                      <a:pt x="11" y="104"/>
                    </a:lnTo>
                    <a:lnTo>
                      <a:pt x="16" y="134"/>
                    </a:lnTo>
                    <a:lnTo>
                      <a:pt x="21" y="165"/>
                    </a:lnTo>
                    <a:lnTo>
                      <a:pt x="27" y="198"/>
                    </a:lnTo>
                    <a:lnTo>
                      <a:pt x="35" y="230"/>
                    </a:lnTo>
                    <a:lnTo>
                      <a:pt x="43" y="264"/>
                    </a:lnTo>
                    <a:lnTo>
                      <a:pt x="47" y="276"/>
                    </a:lnTo>
                    <a:lnTo>
                      <a:pt x="388" y="278"/>
                    </a:lnTo>
                    <a:lnTo>
                      <a:pt x="382" y="256"/>
                    </a:lnTo>
                    <a:lnTo>
                      <a:pt x="371" y="222"/>
                    </a:lnTo>
                    <a:lnTo>
                      <a:pt x="363" y="190"/>
                    </a:lnTo>
                    <a:lnTo>
                      <a:pt x="355" y="158"/>
                    </a:lnTo>
                    <a:lnTo>
                      <a:pt x="348" y="127"/>
                    </a:lnTo>
                    <a:lnTo>
                      <a:pt x="341" y="98"/>
                    </a:lnTo>
                    <a:lnTo>
                      <a:pt x="335" y="69"/>
                    </a:lnTo>
                    <a:lnTo>
                      <a:pt x="331" y="41"/>
                    </a:lnTo>
                    <a:lnTo>
                      <a:pt x="327" y="14"/>
                    </a:lnTo>
                    <a:lnTo>
                      <a:pt x="325" y="0"/>
                    </a:lnTo>
                    <a:lnTo>
                      <a:pt x="310" y="0"/>
                    </a:lnTo>
                    <a:close/>
                    <a:moveTo>
                      <a:pt x="297" y="33"/>
                    </a:moveTo>
                    <a:lnTo>
                      <a:pt x="301" y="57"/>
                    </a:lnTo>
                    <a:lnTo>
                      <a:pt x="305" y="82"/>
                    </a:lnTo>
                    <a:lnTo>
                      <a:pt x="310" y="108"/>
                    </a:lnTo>
                    <a:lnTo>
                      <a:pt x="317" y="133"/>
                    </a:lnTo>
                    <a:lnTo>
                      <a:pt x="323" y="160"/>
                    </a:lnTo>
                    <a:lnTo>
                      <a:pt x="329" y="187"/>
                    </a:lnTo>
                    <a:lnTo>
                      <a:pt x="336" y="216"/>
                    </a:lnTo>
                    <a:lnTo>
                      <a:pt x="345" y="245"/>
                    </a:lnTo>
                    <a:lnTo>
                      <a:pt x="324" y="244"/>
                    </a:lnTo>
                    <a:lnTo>
                      <a:pt x="291" y="244"/>
                    </a:lnTo>
                    <a:lnTo>
                      <a:pt x="248" y="244"/>
                    </a:lnTo>
                    <a:lnTo>
                      <a:pt x="203" y="244"/>
                    </a:lnTo>
                    <a:lnTo>
                      <a:pt x="159" y="244"/>
                    </a:lnTo>
                    <a:lnTo>
                      <a:pt x="119" y="243"/>
                    </a:lnTo>
                    <a:lnTo>
                      <a:pt x="88" y="243"/>
                    </a:lnTo>
                    <a:lnTo>
                      <a:pt x="72" y="243"/>
                    </a:lnTo>
                    <a:lnTo>
                      <a:pt x="66" y="214"/>
                    </a:lnTo>
                    <a:lnTo>
                      <a:pt x="59" y="187"/>
                    </a:lnTo>
                    <a:lnTo>
                      <a:pt x="53" y="159"/>
                    </a:lnTo>
                    <a:lnTo>
                      <a:pt x="49" y="133"/>
                    </a:lnTo>
                    <a:lnTo>
                      <a:pt x="45" y="108"/>
                    </a:lnTo>
                    <a:lnTo>
                      <a:pt x="41" y="82"/>
                    </a:lnTo>
                    <a:lnTo>
                      <a:pt x="38" y="57"/>
                    </a:lnTo>
                    <a:lnTo>
                      <a:pt x="36" y="33"/>
                    </a:lnTo>
                    <a:lnTo>
                      <a:pt x="54" y="33"/>
                    </a:lnTo>
                    <a:lnTo>
                      <a:pt x="86" y="33"/>
                    </a:lnTo>
                    <a:lnTo>
                      <a:pt x="126" y="33"/>
                    </a:lnTo>
                    <a:lnTo>
                      <a:pt x="169" y="33"/>
                    </a:lnTo>
                    <a:lnTo>
                      <a:pt x="212" y="33"/>
                    </a:lnTo>
                    <a:lnTo>
                      <a:pt x="251" y="33"/>
                    </a:lnTo>
                    <a:lnTo>
                      <a:pt x="281" y="33"/>
                    </a:lnTo>
                    <a:lnTo>
                      <a:pt x="297" y="33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40" name="Freeform 14"/>
              <p:cNvSpPr>
                <a:spLocks/>
              </p:cNvSpPr>
              <p:nvPr/>
            </p:nvSpPr>
            <p:spPr bwMode="auto">
              <a:xfrm>
                <a:off x="3008" y="1662"/>
                <a:ext cx="24" cy="17"/>
              </a:xfrm>
              <a:custGeom>
                <a:avLst/>
                <a:gdLst>
                  <a:gd name="T0" fmla="*/ 0 w 171"/>
                  <a:gd name="T1" fmla="*/ 0 h 121"/>
                  <a:gd name="T2" fmla="*/ 0 w 171"/>
                  <a:gd name="T3" fmla="*/ 0 h 121"/>
                  <a:gd name="T4" fmla="*/ 0 w 171"/>
                  <a:gd name="T5" fmla="*/ 0 h 121"/>
                  <a:gd name="T6" fmla="*/ 0 w 171"/>
                  <a:gd name="T7" fmla="*/ 0 h 121"/>
                  <a:gd name="T8" fmla="*/ 0 w 171"/>
                  <a:gd name="T9" fmla="*/ 0 h 121"/>
                  <a:gd name="T10" fmla="*/ 0 w 171"/>
                  <a:gd name="T11" fmla="*/ 0 h 121"/>
                  <a:gd name="T12" fmla="*/ 0 w 171"/>
                  <a:gd name="T13" fmla="*/ 0 h 121"/>
                  <a:gd name="T14" fmla="*/ 0 w 171"/>
                  <a:gd name="T15" fmla="*/ 0 h 121"/>
                  <a:gd name="T16" fmla="*/ 0 w 171"/>
                  <a:gd name="T17" fmla="*/ 0 h 121"/>
                  <a:gd name="T18" fmla="*/ 0 w 171"/>
                  <a:gd name="T19" fmla="*/ 0 h 121"/>
                  <a:gd name="T20" fmla="*/ 0 w 171"/>
                  <a:gd name="T21" fmla="*/ 0 h 12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71"/>
                  <a:gd name="T34" fmla="*/ 0 h 121"/>
                  <a:gd name="T35" fmla="*/ 171 w 171"/>
                  <a:gd name="T36" fmla="*/ 121 h 121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71" h="121">
                    <a:moveTo>
                      <a:pt x="21" y="120"/>
                    </a:moveTo>
                    <a:lnTo>
                      <a:pt x="171" y="121"/>
                    </a:lnTo>
                    <a:lnTo>
                      <a:pt x="162" y="86"/>
                    </a:lnTo>
                    <a:lnTo>
                      <a:pt x="155" y="55"/>
                    </a:lnTo>
                    <a:lnTo>
                      <a:pt x="149" y="26"/>
                    </a:lnTo>
                    <a:lnTo>
                      <a:pt x="145" y="0"/>
                    </a:lnTo>
                    <a:lnTo>
                      <a:pt x="0" y="0"/>
                    </a:lnTo>
                    <a:lnTo>
                      <a:pt x="2" y="26"/>
                    </a:lnTo>
                    <a:lnTo>
                      <a:pt x="6" y="55"/>
                    </a:lnTo>
                    <a:lnTo>
                      <a:pt x="12" y="86"/>
                    </a:lnTo>
                    <a:lnTo>
                      <a:pt x="21" y="120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41" name="Freeform 15"/>
              <p:cNvSpPr>
                <a:spLocks noEditPoints="1"/>
              </p:cNvSpPr>
              <p:nvPr/>
            </p:nvSpPr>
            <p:spPr bwMode="auto">
              <a:xfrm>
                <a:off x="2956" y="1507"/>
                <a:ext cx="97" cy="83"/>
              </a:xfrm>
              <a:custGeom>
                <a:avLst/>
                <a:gdLst>
                  <a:gd name="T0" fmla="*/ 0 w 682"/>
                  <a:gd name="T1" fmla="*/ 0 h 579"/>
                  <a:gd name="T2" fmla="*/ 0 w 682"/>
                  <a:gd name="T3" fmla="*/ 0 h 579"/>
                  <a:gd name="T4" fmla="*/ 0 w 682"/>
                  <a:gd name="T5" fmla="*/ 0 h 579"/>
                  <a:gd name="T6" fmla="*/ 0 w 682"/>
                  <a:gd name="T7" fmla="*/ 0 h 579"/>
                  <a:gd name="T8" fmla="*/ 0 w 682"/>
                  <a:gd name="T9" fmla="*/ 0 h 579"/>
                  <a:gd name="T10" fmla="*/ 0 w 682"/>
                  <a:gd name="T11" fmla="*/ 0 h 579"/>
                  <a:gd name="T12" fmla="*/ 0 w 682"/>
                  <a:gd name="T13" fmla="*/ 0 h 579"/>
                  <a:gd name="T14" fmla="*/ 0 w 682"/>
                  <a:gd name="T15" fmla="*/ 0 h 579"/>
                  <a:gd name="T16" fmla="*/ 0 w 682"/>
                  <a:gd name="T17" fmla="*/ 0 h 579"/>
                  <a:gd name="T18" fmla="*/ 0 w 682"/>
                  <a:gd name="T19" fmla="*/ 0 h 579"/>
                  <a:gd name="T20" fmla="*/ 0 w 682"/>
                  <a:gd name="T21" fmla="*/ 0 h 579"/>
                  <a:gd name="T22" fmla="*/ 0 w 682"/>
                  <a:gd name="T23" fmla="*/ 0 h 579"/>
                  <a:gd name="T24" fmla="*/ 0 w 682"/>
                  <a:gd name="T25" fmla="*/ 0 h 579"/>
                  <a:gd name="T26" fmla="*/ 0 w 682"/>
                  <a:gd name="T27" fmla="*/ 0 h 579"/>
                  <a:gd name="T28" fmla="*/ 0 w 682"/>
                  <a:gd name="T29" fmla="*/ 0 h 579"/>
                  <a:gd name="T30" fmla="*/ 0 w 682"/>
                  <a:gd name="T31" fmla="*/ 0 h 579"/>
                  <a:gd name="T32" fmla="*/ 0 w 682"/>
                  <a:gd name="T33" fmla="*/ 0 h 579"/>
                  <a:gd name="T34" fmla="*/ 0 w 682"/>
                  <a:gd name="T35" fmla="*/ 0 h 579"/>
                  <a:gd name="T36" fmla="*/ 0 w 682"/>
                  <a:gd name="T37" fmla="*/ 0 h 579"/>
                  <a:gd name="T38" fmla="*/ 0 w 682"/>
                  <a:gd name="T39" fmla="*/ 0 h 579"/>
                  <a:gd name="T40" fmla="*/ 0 w 682"/>
                  <a:gd name="T41" fmla="*/ 0 h 579"/>
                  <a:gd name="T42" fmla="*/ 0 w 682"/>
                  <a:gd name="T43" fmla="*/ 0 h 579"/>
                  <a:gd name="T44" fmla="*/ 0 w 682"/>
                  <a:gd name="T45" fmla="*/ 0 h 579"/>
                  <a:gd name="T46" fmla="*/ 0 w 682"/>
                  <a:gd name="T47" fmla="*/ 0 h 579"/>
                  <a:gd name="T48" fmla="*/ 0 w 682"/>
                  <a:gd name="T49" fmla="*/ 0 h 579"/>
                  <a:gd name="T50" fmla="*/ 0 w 682"/>
                  <a:gd name="T51" fmla="*/ 0 h 579"/>
                  <a:gd name="T52" fmla="*/ 0 w 682"/>
                  <a:gd name="T53" fmla="*/ 0 h 579"/>
                  <a:gd name="T54" fmla="*/ 0 w 682"/>
                  <a:gd name="T55" fmla="*/ 0 h 579"/>
                  <a:gd name="T56" fmla="*/ 0 w 682"/>
                  <a:gd name="T57" fmla="*/ 0 h 579"/>
                  <a:gd name="T58" fmla="*/ 0 w 682"/>
                  <a:gd name="T59" fmla="*/ 0 h 579"/>
                  <a:gd name="T60" fmla="*/ 0 w 682"/>
                  <a:gd name="T61" fmla="*/ 0 h 579"/>
                  <a:gd name="T62" fmla="*/ 0 w 682"/>
                  <a:gd name="T63" fmla="*/ 0 h 579"/>
                  <a:gd name="T64" fmla="*/ 0 w 682"/>
                  <a:gd name="T65" fmla="*/ 0 h 579"/>
                  <a:gd name="T66" fmla="*/ 0 w 682"/>
                  <a:gd name="T67" fmla="*/ 0 h 579"/>
                  <a:gd name="T68" fmla="*/ 0 w 682"/>
                  <a:gd name="T69" fmla="*/ 0 h 579"/>
                  <a:gd name="T70" fmla="*/ 0 w 682"/>
                  <a:gd name="T71" fmla="*/ 0 h 579"/>
                  <a:gd name="T72" fmla="*/ 0 w 682"/>
                  <a:gd name="T73" fmla="*/ 0 h 579"/>
                  <a:gd name="T74" fmla="*/ 0 w 682"/>
                  <a:gd name="T75" fmla="*/ 0 h 579"/>
                  <a:gd name="T76" fmla="*/ 0 w 682"/>
                  <a:gd name="T77" fmla="*/ 0 h 579"/>
                  <a:gd name="T78" fmla="*/ 0 w 682"/>
                  <a:gd name="T79" fmla="*/ 0 h 579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682"/>
                  <a:gd name="T121" fmla="*/ 0 h 579"/>
                  <a:gd name="T122" fmla="*/ 682 w 682"/>
                  <a:gd name="T123" fmla="*/ 579 h 579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682" h="579">
                    <a:moveTo>
                      <a:pt x="101" y="11"/>
                    </a:moveTo>
                    <a:lnTo>
                      <a:pt x="90" y="51"/>
                    </a:lnTo>
                    <a:lnTo>
                      <a:pt x="79" y="88"/>
                    </a:lnTo>
                    <a:lnTo>
                      <a:pt x="68" y="125"/>
                    </a:lnTo>
                    <a:lnTo>
                      <a:pt x="59" y="161"/>
                    </a:lnTo>
                    <a:lnTo>
                      <a:pt x="51" y="196"/>
                    </a:lnTo>
                    <a:lnTo>
                      <a:pt x="43" y="232"/>
                    </a:lnTo>
                    <a:lnTo>
                      <a:pt x="35" y="266"/>
                    </a:lnTo>
                    <a:lnTo>
                      <a:pt x="29" y="300"/>
                    </a:lnTo>
                    <a:lnTo>
                      <a:pt x="23" y="333"/>
                    </a:lnTo>
                    <a:lnTo>
                      <a:pt x="18" y="366"/>
                    </a:lnTo>
                    <a:lnTo>
                      <a:pt x="14" y="399"/>
                    </a:lnTo>
                    <a:lnTo>
                      <a:pt x="9" y="431"/>
                    </a:lnTo>
                    <a:lnTo>
                      <a:pt x="6" y="464"/>
                    </a:lnTo>
                    <a:lnTo>
                      <a:pt x="3" y="496"/>
                    </a:lnTo>
                    <a:lnTo>
                      <a:pt x="2" y="529"/>
                    </a:lnTo>
                    <a:lnTo>
                      <a:pt x="0" y="562"/>
                    </a:lnTo>
                    <a:lnTo>
                      <a:pt x="0" y="579"/>
                    </a:lnTo>
                    <a:lnTo>
                      <a:pt x="640" y="579"/>
                    </a:lnTo>
                    <a:lnTo>
                      <a:pt x="639" y="561"/>
                    </a:lnTo>
                    <a:lnTo>
                      <a:pt x="638" y="530"/>
                    </a:lnTo>
                    <a:lnTo>
                      <a:pt x="637" y="500"/>
                    </a:lnTo>
                    <a:lnTo>
                      <a:pt x="637" y="469"/>
                    </a:lnTo>
                    <a:lnTo>
                      <a:pt x="637" y="438"/>
                    </a:lnTo>
                    <a:lnTo>
                      <a:pt x="637" y="408"/>
                    </a:lnTo>
                    <a:lnTo>
                      <a:pt x="638" y="377"/>
                    </a:lnTo>
                    <a:lnTo>
                      <a:pt x="640" y="347"/>
                    </a:lnTo>
                    <a:lnTo>
                      <a:pt x="642" y="316"/>
                    </a:lnTo>
                    <a:lnTo>
                      <a:pt x="645" y="285"/>
                    </a:lnTo>
                    <a:lnTo>
                      <a:pt x="648" y="254"/>
                    </a:lnTo>
                    <a:lnTo>
                      <a:pt x="651" y="223"/>
                    </a:lnTo>
                    <a:lnTo>
                      <a:pt x="656" y="192"/>
                    </a:lnTo>
                    <a:lnTo>
                      <a:pt x="666" y="129"/>
                    </a:lnTo>
                    <a:lnTo>
                      <a:pt x="678" y="65"/>
                    </a:lnTo>
                    <a:lnTo>
                      <a:pt x="682" y="47"/>
                    </a:lnTo>
                    <a:lnTo>
                      <a:pt x="106" y="0"/>
                    </a:lnTo>
                    <a:lnTo>
                      <a:pt x="101" y="11"/>
                    </a:lnTo>
                    <a:close/>
                    <a:moveTo>
                      <a:pt x="128" y="34"/>
                    </a:moveTo>
                    <a:lnTo>
                      <a:pt x="156" y="36"/>
                    </a:lnTo>
                    <a:lnTo>
                      <a:pt x="214" y="41"/>
                    </a:lnTo>
                    <a:lnTo>
                      <a:pt x="294" y="47"/>
                    </a:lnTo>
                    <a:lnTo>
                      <a:pt x="384" y="55"/>
                    </a:lnTo>
                    <a:lnTo>
                      <a:pt x="473" y="63"/>
                    </a:lnTo>
                    <a:lnTo>
                      <a:pt x="554" y="69"/>
                    </a:lnTo>
                    <a:lnTo>
                      <a:pt x="615" y="74"/>
                    </a:lnTo>
                    <a:lnTo>
                      <a:pt x="645" y="76"/>
                    </a:lnTo>
                    <a:lnTo>
                      <a:pt x="636" y="126"/>
                    </a:lnTo>
                    <a:lnTo>
                      <a:pt x="627" y="175"/>
                    </a:lnTo>
                    <a:lnTo>
                      <a:pt x="620" y="222"/>
                    </a:lnTo>
                    <a:lnTo>
                      <a:pt x="615" y="270"/>
                    </a:lnTo>
                    <a:lnTo>
                      <a:pt x="611" y="317"/>
                    </a:lnTo>
                    <a:lnTo>
                      <a:pt x="608" y="365"/>
                    </a:lnTo>
                    <a:lnTo>
                      <a:pt x="606" y="411"/>
                    </a:lnTo>
                    <a:lnTo>
                      <a:pt x="605" y="459"/>
                    </a:lnTo>
                    <a:lnTo>
                      <a:pt x="605" y="481"/>
                    </a:lnTo>
                    <a:lnTo>
                      <a:pt x="606" y="502"/>
                    </a:lnTo>
                    <a:lnTo>
                      <a:pt x="607" y="524"/>
                    </a:lnTo>
                    <a:lnTo>
                      <a:pt x="608" y="547"/>
                    </a:lnTo>
                    <a:lnTo>
                      <a:pt x="576" y="547"/>
                    </a:lnTo>
                    <a:lnTo>
                      <a:pt x="510" y="547"/>
                    </a:lnTo>
                    <a:lnTo>
                      <a:pt x="421" y="547"/>
                    </a:lnTo>
                    <a:lnTo>
                      <a:pt x="321" y="547"/>
                    </a:lnTo>
                    <a:lnTo>
                      <a:pt x="220" y="547"/>
                    </a:lnTo>
                    <a:lnTo>
                      <a:pt x="131" y="547"/>
                    </a:lnTo>
                    <a:lnTo>
                      <a:pt x="65" y="547"/>
                    </a:lnTo>
                    <a:lnTo>
                      <a:pt x="33" y="547"/>
                    </a:lnTo>
                    <a:lnTo>
                      <a:pt x="34" y="516"/>
                    </a:lnTo>
                    <a:lnTo>
                      <a:pt x="36" y="486"/>
                    </a:lnTo>
                    <a:lnTo>
                      <a:pt x="39" y="455"/>
                    </a:lnTo>
                    <a:lnTo>
                      <a:pt x="43" y="425"/>
                    </a:lnTo>
                    <a:lnTo>
                      <a:pt x="46" y="394"/>
                    </a:lnTo>
                    <a:lnTo>
                      <a:pt x="50" y="364"/>
                    </a:lnTo>
                    <a:lnTo>
                      <a:pt x="55" y="333"/>
                    </a:lnTo>
                    <a:lnTo>
                      <a:pt x="61" y="302"/>
                    </a:lnTo>
                    <a:lnTo>
                      <a:pt x="66" y="270"/>
                    </a:lnTo>
                    <a:lnTo>
                      <a:pt x="74" y="238"/>
                    </a:lnTo>
                    <a:lnTo>
                      <a:pt x="81" y="206"/>
                    </a:lnTo>
                    <a:lnTo>
                      <a:pt x="89" y="173"/>
                    </a:lnTo>
                    <a:lnTo>
                      <a:pt x="107" y="104"/>
                    </a:lnTo>
                    <a:lnTo>
                      <a:pt x="128" y="34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42" name="Freeform 16"/>
              <p:cNvSpPr>
                <a:spLocks noEditPoints="1"/>
              </p:cNvSpPr>
              <p:nvPr/>
            </p:nvSpPr>
            <p:spPr bwMode="auto">
              <a:xfrm>
                <a:off x="2968" y="1517"/>
                <a:ext cx="74" cy="63"/>
              </a:xfrm>
              <a:custGeom>
                <a:avLst/>
                <a:gdLst>
                  <a:gd name="T0" fmla="*/ 0 w 521"/>
                  <a:gd name="T1" fmla="*/ 0 h 443"/>
                  <a:gd name="T2" fmla="*/ 0 w 521"/>
                  <a:gd name="T3" fmla="*/ 0 h 443"/>
                  <a:gd name="T4" fmla="*/ 0 w 521"/>
                  <a:gd name="T5" fmla="*/ 0 h 443"/>
                  <a:gd name="T6" fmla="*/ 0 w 521"/>
                  <a:gd name="T7" fmla="*/ 0 h 443"/>
                  <a:gd name="T8" fmla="*/ 0 w 521"/>
                  <a:gd name="T9" fmla="*/ 0 h 443"/>
                  <a:gd name="T10" fmla="*/ 0 w 521"/>
                  <a:gd name="T11" fmla="*/ 0 h 443"/>
                  <a:gd name="T12" fmla="*/ 0 w 521"/>
                  <a:gd name="T13" fmla="*/ 0 h 443"/>
                  <a:gd name="T14" fmla="*/ 0 w 521"/>
                  <a:gd name="T15" fmla="*/ 0 h 443"/>
                  <a:gd name="T16" fmla="*/ 0 w 521"/>
                  <a:gd name="T17" fmla="*/ 0 h 443"/>
                  <a:gd name="T18" fmla="*/ 0 w 521"/>
                  <a:gd name="T19" fmla="*/ 0 h 443"/>
                  <a:gd name="T20" fmla="*/ 0 w 521"/>
                  <a:gd name="T21" fmla="*/ 0 h 443"/>
                  <a:gd name="T22" fmla="*/ 0 w 521"/>
                  <a:gd name="T23" fmla="*/ 0 h 443"/>
                  <a:gd name="T24" fmla="*/ 0 w 521"/>
                  <a:gd name="T25" fmla="*/ 0 h 443"/>
                  <a:gd name="T26" fmla="*/ 0 w 521"/>
                  <a:gd name="T27" fmla="*/ 0 h 443"/>
                  <a:gd name="T28" fmla="*/ 0 w 521"/>
                  <a:gd name="T29" fmla="*/ 0 h 443"/>
                  <a:gd name="T30" fmla="*/ 0 w 521"/>
                  <a:gd name="T31" fmla="*/ 0 h 443"/>
                  <a:gd name="T32" fmla="*/ 0 w 521"/>
                  <a:gd name="T33" fmla="*/ 0 h 443"/>
                  <a:gd name="T34" fmla="*/ 0 w 521"/>
                  <a:gd name="T35" fmla="*/ 0 h 443"/>
                  <a:gd name="T36" fmla="*/ 0 w 521"/>
                  <a:gd name="T37" fmla="*/ 0 h 443"/>
                  <a:gd name="T38" fmla="*/ 0 w 521"/>
                  <a:gd name="T39" fmla="*/ 0 h 443"/>
                  <a:gd name="T40" fmla="*/ 0 w 521"/>
                  <a:gd name="T41" fmla="*/ 0 h 443"/>
                  <a:gd name="T42" fmla="*/ 0 w 521"/>
                  <a:gd name="T43" fmla="*/ 0 h 443"/>
                  <a:gd name="T44" fmla="*/ 0 w 521"/>
                  <a:gd name="T45" fmla="*/ 0 h 443"/>
                  <a:gd name="T46" fmla="*/ 0 w 521"/>
                  <a:gd name="T47" fmla="*/ 0 h 443"/>
                  <a:gd name="T48" fmla="*/ 0 w 521"/>
                  <a:gd name="T49" fmla="*/ 0 h 443"/>
                  <a:gd name="T50" fmla="*/ 0 w 521"/>
                  <a:gd name="T51" fmla="*/ 0 h 443"/>
                  <a:gd name="T52" fmla="*/ 0 w 521"/>
                  <a:gd name="T53" fmla="*/ 0 h 443"/>
                  <a:gd name="T54" fmla="*/ 0 w 521"/>
                  <a:gd name="T55" fmla="*/ 0 h 443"/>
                  <a:gd name="T56" fmla="*/ 0 w 521"/>
                  <a:gd name="T57" fmla="*/ 0 h 443"/>
                  <a:gd name="T58" fmla="*/ 0 w 521"/>
                  <a:gd name="T59" fmla="*/ 0 h 443"/>
                  <a:gd name="T60" fmla="*/ 0 w 521"/>
                  <a:gd name="T61" fmla="*/ 0 h 443"/>
                  <a:gd name="T62" fmla="*/ 0 w 521"/>
                  <a:gd name="T63" fmla="*/ 0 h 443"/>
                  <a:gd name="T64" fmla="*/ 0 w 521"/>
                  <a:gd name="T65" fmla="*/ 0 h 443"/>
                  <a:gd name="T66" fmla="*/ 0 w 521"/>
                  <a:gd name="T67" fmla="*/ 0 h 443"/>
                  <a:gd name="T68" fmla="*/ 0 w 521"/>
                  <a:gd name="T69" fmla="*/ 0 h 443"/>
                  <a:gd name="T70" fmla="*/ 0 w 521"/>
                  <a:gd name="T71" fmla="*/ 0 h 443"/>
                  <a:gd name="T72" fmla="*/ 0 w 521"/>
                  <a:gd name="T73" fmla="*/ 0 h 443"/>
                  <a:gd name="T74" fmla="*/ 0 w 521"/>
                  <a:gd name="T75" fmla="*/ 0 h 443"/>
                  <a:gd name="T76" fmla="*/ 0 w 521"/>
                  <a:gd name="T77" fmla="*/ 0 h 443"/>
                  <a:gd name="T78" fmla="*/ 0 w 521"/>
                  <a:gd name="T79" fmla="*/ 0 h 443"/>
                  <a:gd name="T80" fmla="*/ 0 w 521"/>
                  <a:gd name="T81" fmla="*/ 0 h 443"/>
                  <a:gd name="T82" fmla="*/ 0 w 521"/>
                  <a:gd name="T83" fmla="*/ 0 h 443"/>
                  <a:gd name="T84" fmla="*/ 0 w 521"/>
                  <a:gd name="T85" fmla="*/ 0 h 443"/>
                  <a:gd name="T86" fmla="*/ 0 w 521"/>
                  <a:gd name="T87" fmla="*/ 0 h 443"/>
                  <a:gd name="T88" fmla="*/ 0 w 521"/>
                  <a:gd name="T89" fmla="*/ 0 h 443"/>
                  <a:gd name="T90" fmla="*/ 0 w 521"/>
                  <a:gd name="T91" fmla="*/ 0 h 443"/>
                  <a:gd name="T92" fmla="*/ 0 w 521"/>
                  <a:gd name="T93" fmla="*/ 0 h 443"/>
                  <a:gd name="T94" fmla="*/ 0 w 521"/>
                  <a:gd name="T95" fmla="*/ 0 h 443"/>
                  <a:gd name="T96" fmla="*/ 0 w 521"/>
                  <a:gd name="T97" fmla="*/ 0 h 443"/>
                  <a:gd name="T98" fmla="*/ 0 w 521"/>
                  <a:gd name="T99" fmla="*/ 0 h 443"/>
                  <a:gd name="T100" fmla="*/ 0 w 521"/>
                  <a:gd name="T101" fmla="*/ 0 h 443"/>
                  <a:gd name="T102" fmla="*/ 0 w 521"/>
                  <a:gd name="T103" fmla="*/ 0 h 443"/>
                  <a:gd name="T104" fmla="*/ 0 w 521"/>
                  <a:gd name="T105" fmla="*/ 0 h 443"/>
                  <a:gd name="T106" fmla="*/ 0 w 521"/>
                  <a:gd name="T107" fmla="*/ 0 h 443"/>
                  <a:gd name="T108" fmla="*/ 0 w 521"/>
                  <a:gd name="T109" fmla="*/ 0 h 443"/>
                  <a:gd name="T110" fmla="*/ 0 w 521"/>
                  <a:gd name="T111" fmla="*/ 0 h 443"/>
                  <a:gd name="T112" fmla="*/ 0 w 521"/>
                  <a:gd name="T113" fmla="*/ 0 h 443"/>
                  <a:gd name="T114" fmla="*/ 0 w 521"/>
                  <a:gd name="T115" fmla="*/ 0 h 443"/>
                  <a:gd name="T116" fmla="*/ 0 w 521"/>
                  <a:gd name="T117" fmla="*/ 0 h 443"/>
                  <a:gd name="T118" fmla="*/ 0 w 521"/>
                  <a:gd name="T119" fmla="*/ 0 h 443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521"/>
                  <a:gd name="T181" fmla="*/ 0 h 443"/>
                  <a:gd name="T182" fmla="*/ 521 w 521"/>
                  <a:gd name="T183" fmla="*/ 443 h 443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521" h="443">
                    <a:moveTo>
                      <a:pt x="76" y="13"/>
                    </a:moveTo>
                    <a:lnTo>
                      <a:pt x="60" y="69"/>
                    </a:lnTo>
                    <a:lnTo>
                      <a:pt x="44" y="124"/>
                    </a:lnTo>
                    <a:lnTo>
                      <a:pt x="32" y="177"/>
                    </a:lnTo>
                    <a:lnTo>
                      <a:pt x="21" y="229"/>
                    </a:lnTo>
                    <a:lnTo>
                      <a:pt x="13" y="278"/>
                    </a:lnTo>
                    <a:lnTo>
                      <a:pt x="7" y="327"/>
                    </a:lnTo>
                    <a:lnTo>
                      <a:pt x="3" y="377"/>
                    </a:lnTo>
                    <a:lnTo>
                      <a:pt x="1" y="425"/>
                    </a:lnTo>
                    <a:lnTo>
                      <a:pt x="0" y="443"/>
                    </a:lnTo>
                    <a:lnTo>
                      <a:pt x="488" y="443"/>
                    </a:lnTo>
                    <a:lnTo>
                      <a:pt x="487" y="425"/>
                    </a:lnTo>
                    <a:lnTo>
                      <a:pt x="485" y="380"/>
                    </a:lnTo>
                    <a:lnTo>
                      <a:pt x="484" y="333"/>
                    </a:lnTo>
                    <a:lnTo>
                      <a:pt x="487" y="288"/>
                    </a:lnTo>
                    <a:lnTo>
                      <a:pt x="489" y="242"/>
                    </a:lnTo>
                    <a:lnTo>
                      <a:pt x="494" y="196"/>
                    </a:lnTo>
                    <a:lnTo>
                      <a:pt x="500" y="149"/>
                    </a:lnTo>
                    <a:lnTo>
                      <a:pt x="507" y="103"/>
                    </a:lnTo>
                    <a:lnTo>
                      <a:pt x="516" y="55"/>
                    </a:lnTo>
                    <a:lnTo>
                      <a:pt x="521" y="36"/>
                    </a:lnTo>
                    <a:lnTo>
                      <a:pt x="80" y="0"/>
                    </a:lnTo>
                    <a:lnTo>
                      <a:pt x="76" y="13"/>
                    </a:lnTo>
                    <a:close/>
                    <a:moveTo>
                      <a:pt x="103" y="34"/>
                    </a:moveTo>
                    <a:lnTo>
                      <a:pt x="125" y="36"/>
                    </a:lnTo>
                    <a:lnTo>
                      <a:pt x="168" y="39"/>
                    </a:lnTo>
                    <a:lnTo>
                      <a:pt x="225" y="45"/>
                    </a:lnTo>
                    <a:lnTo>
                      <a:pt x="290" y="50"/>
                    </a:lnTo>
                    <a:lnTo>
                      <a:pt x="355" y="55"/>
                    </a:lnTo>
                    <a:lnTo>
                      <a:pt x="414" y="60"/>
                    </a:lnTo>
                    <a:lnTo>
                      <a:pt x="459" y="64"/>
                    </a:lnTo>
                    <a:lnTo>
                      <a:pt x="482" y="66"/>
                    </a:lnTo>
                    <a:lnTo>
                      <a:pt x="476" y="103"/>
                    </a:lnTo>
                    <a:lnTo>
                      <a:pt x="470" y="138"/>
                    </a:lnTo>
                    <a:lnTo>
                      <a:pt x="465" y="174"/>
                    </a:lnTo>
                    <a:lnTo>
                      <a:pt x="461" y="209"/>
                    </a:lnTo>
                    <a:lnTo>
                      <a:pt x="458" y="244"/>
                    </a:lnTo>
                    <a:lnTo>
                      <a:pt x="456" y="278"/>
                    </a:lnTo>
                    <a:lnTo>
                      <a:pt x="453" y="313"/>
                    </a:lnTo>
                    <a:lnTo>
                      <a:pt x="453" y="349"/>
                    </a:lnTo>
                    <a:lnTo>
                      <a:pt x="453" y="364"/>
                    </a:lnTo>
                    <a:lnTo>
                      <a:pt x="454" y="379"/>
                    </a:lnTo>
                    <a:lnTo>
                      <a:pt x="454" y="394"/>
                    </a:lnTo>
                    <a:lnTo>
                      <a:pt x="456" y="410"/>
                    </a:lnTo>
                    <a:lnTo>
                      <a:pt x="430" y="410"/>
                    </a:lnTo>
                    <a:lnTo>
                      <a:pt x="381" y="410"/>
                    </a:lnTo>
                    <a:lnTo>
                      <a:pt x="317" y="410"/>
                    </a:lnTo>
                    <a:lnTo>
                      <a:pt x="245" y="410"/>
                    </a:lnTo>
                    <a:lnTo>
                      <a:pt x="172" y="410"/>
                    </a:lnTo>
                    <a:lnTo>
                      <a:pt x="107" y="410"/>
                    </a:lnTo>
                    <a:lnTo>
                      <a:pt x="59" y="410"/>
                    </a:lnTo>
                    <a:lnTo>
                      <a:pt x="33" y="410"/>
                    </a:lnTo>
                    <a:lnTo>
                      <a:pt x="36" y="365"/>
                    </a:lnTo>
                    <a:lnTo>
                      <a:pt x="40" y="321"/>
                    </a:lnTo>
                    <a:lnTo>
                      <a:pt x="46" y="276"/>
                    </a:lnTo>
                    <a:lnTo>
                      <a:pt x="54" y="231"/>
                    </a:lnTo>
                    <a:lnTo>
                      <a:pt x="63" y="184"/>
                    </a:lnTo>
                    <a:lnTo>
                      <a:pt x="74" y="136"/>
                    </a:lnTo>
                    <a:lnTo>
                      <a:pt x="88" y="86"/>
                    </a:lnTo>
                    <a:lnTo>
                      <a:pt x="103" y="34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43" name="Freeform 17"/>
              <p:cNvSpPr>
                <a:spLocks noEditPoints="1"/>
              </p:cNvSpPr>
              <p:nvPr/>
            </p:nvSpPr>
            <p:spPr bwMode="auto">
              <a:xfrm>
                <a:off x="2979" y="1526"/>
                <a:ext cx="52" cy="45"/>
              </a:xfrm>
              <a:custGeom>
                <a:avLst/>
                <a:gdLst>
                  <a:gd name="T0" fmla="*/ 0 w 366"/>
                  <a:gd name="T1" fmla="*/ 0 h 313"/>
                  <a:gd name="T2" fmla="*/ 0 w 366"/>
                  <a:gd name="T3" fmla="*/ 0 h 313"/>
                  <a:gd name="T4" fmla="*/ 0 w 366"/>
                  <a:gd name="T5" fmla="*/ 0 h 313"/>
                  <a:gd name="T6" fmla="*/ 0 w 366"/>
                  <a:gd name="T7" fmla="*/ 0 h 313"/>
                  <a:gd name="T8" fmla="*/ 0 w 366"/>
                  <a:gd name="T9" fmla="*/ 0 h 313"/>
                  <a:gd name="T10" fmla="*/ 0 w 366"/>
                  <a:gd name="T11" fmla="*/ 0 h 313"/>
                  <a:gd name="T12" fmla="*/ 0 w 366"/>
                  <a:gd name="T13" fmla="*/ 0 h 313"/>
                  <a:gd name="T14" fmla="*/ 0 w 366"/>
                  <a:gd name="T15" fmla="*/ 0 h 313"/>
                  <a:gd name="T16" fmla="*/ 0 w 366"/>
                  <a:gd name="T17" fmla="*/ 0 h 313"/>
                  <a:gd name="T18" fmla="*/ 0 w 366"/>
                  <a:gd name="T19" fmla="*/ 0 h 313"/>
                  <a:gd name="T20" fmla="*/ 0 w 366"/>
                  <a:gd name="T21" fmla="*/ 0 h 313"/>
                  <a:gd name="T22" fmla="*/ 0 w 366"/>
                  <a:gd name="T23" fmla="*/ 0 h 313"/>
                  <a:gd name="T24" fmla="*/ 0 w 366"/>
                  <a:gd name="T25" fmla="*/ 0 h 313"/>
                  <a:gd name="T26" fmla="*/ 0 w 366"/>
                  <a:gd name="T27" fmla="*/ 0 h 313"/>
                  <a:gd name="T28" fmla="*/ 0 w 366"/>
                  <a:gd name="T29" fmla="*/ 0 h 313"/>
                  <a:gd name="T30" fmla="*/ 0 w 366"/>
                  <a:gd name="T31" fmla="*/ 0 h 313"/>
                  <a:gd name="T32" fmla="*/ 0 w 366"/>
                  <a:gd name="T33" fmla="*/ 0 h 313"/>
                  <a:gd name="T34" fmla="*/ 0 w 366"/>
                  <a:gd name="T35" fmla="*/ 0 h 313"/>
                  <a:gd name="T36" fmla="*/ 0 w 366"/>
                  <a:gd name="T37" fmla="*/ 0 h 313"/>
                  <a:gd name="T38" fmla="*/ 0 w 366"/>
                  <a:gd name="T39" fmla="*/ 0 h 313"/>
                  <a:gd name="T40" fmla="*/ 0 w 366"/>
                  <a:gd name="T41" fmla="*/ 0 h 313"/>
                  <a:gd name="T42" fmla="*/ 0 w 366"/>
                  <a:gd name="T43" fmla="*/ 0 h 313"/>
                  <a:gd name="T44" fmla="*/ 0 w 366"/>
                  <a:gd name="T45" fmla="*/ 0 h 313"/>
                  <a:gd name="T46" fmla="*/ 0 w 366"/>
                  <a:gd name="T47" fmla="*/ 0 h 313"/>
                  <a:gd name="T48" fmla="*/ 0 w 366"/>
                  <a:gd name="T49" fmla="*/ 0 h 313"/>
                  <a:gd name="T50" fmla="*/ 0 w 366"/>
                  <a:gd name="T51" fmla="*/ 0 h 313"/>
                  <a:gd name="T52" fmla="*/ 0 w 366"/>
                  <a:gd name="T53" fmla="*/ 0 h 313"/>
                  <a:gd name="T54" fmla="*/ 0 w 366"/>
                  <a:gd name="T55" fmla="*/ 0 h 313"/>
                  <a:gd name="T56" fmla="*/ 0 w 366"/>
                  <a:gd name="T57" fmla="*/ 0 h 313"/>
                  <a:gd name="T58" fmla="*/ 0 w 366"/>
                  <a:gd name="T59" fmla="*/ 0 h 313"/>
                  <a:gd name="T60" fmla="*/ 0 w 366"/>
                  <a:gd name="T61" fmla="*/ 0 h 313"/>
                  <a:gd name="T62" fmla="*/ 0 w 366"/>
                  <a:gd name="T63" fmla="*/ 0 h 313"/>
                  <a:gd name="T64" fmla="*/ 0 w 366"/>
                  <a:gd name="T65" fmla="*/ 0 h 313"/>
                  <a:gd name="T66" fmla="*/ 0 w 366"/>
                  <a:gd name="T67" fmla="*/ 0 h 313"/>
                  <a:gd name="T68" fmla="*/ 0 w 366"/>
                  <a:gd name="T69" fmla="*/ 0 h 313"/>
                  <a:gd name="T70" fmla="*/ 0 w 366"/>
                  <a:gd name="T71" fmla="*/ 0 h 313"/>
                  <a:gd name="T72" fmla="*/ 0 w 366"/>
                  <a:gd name="T73" fmla="*/ 0 h 313"/>
                  <a:gd name="T74" fmla="*/ 0 w 366"/>
                  <a:gd name="T75" fmla="*/ 0 h 313"/>
                  <a:gd name="T76" fmla="*/ 0 w 366"/>
                  <a:gd name="T77" fmla="*/ 0 h 313"/>
                  <a:gd name="T78" fmla="*/ 0 w 366"/>
                  <a:gd name="T79" fmla="*/ 0 h 313"/>
                  <a:gd name="T80" fmla="*/ 0 w 366"/>
                  <a:gd name="T81" fmla="*/ 0 h 313"/>
                  <a:gd name="T82" fmla="*/ 0 w 366"/>
                  <a:gd name="T83" fmla="*/ 0 h 313"/>
                  <a:gd name="T84" fmla="*/ 0 w 366"/>
                  <a:gd name="T85" fmla="*/ 0 h 313"/>
                  <a:gd name="T86" fmla="*/ 0 w 366"/>
                  <a:gd name="T87" fmla="*/ 0 h 313"/>
                  <a:gd name="T88" fmla="*/ 0 w 366"/>
                  <a:gd name="T89" fmla="*/ 0 h 313"/>
                  <a:gd name="T90" fmla="*/ 0 w 366"/>
                  <a:gd name="T91" fmla="*/ 0 h 313"/>
                  <a:gd name="T92" fmla="*/ 0 w 366"/>
                  <a:gd name="T93" fmla="*/ 0 h 313"/>
                  <a:gd name="T94" fmla="*/ 0 w 366"/>
                  <a:gd name="T95" fmla="*/ 0 h 313"/>
                  <a:gd name="T96" fmla="*/ 0 w 366"/>
                  <a:gd name="T97" fmla="*/ 0 h 313"/>
                  <a:gd name="T98" fmla="*/ 0 w 366"/>
                  <a:gd name="T99" fmla="*/ 0 h 313"/>
                  <a:gd name="T100" fmla="*/ 0 w 366"/>
                  <a:gd name="T101" fmla="*/ 0 h 313"/>
                  <a:gd name="T102" fmla="*/ 0 w 366"/>
                  <a:gd name="T103" fmla="*/ 0 h 313"/>
                  <a:gd name="T104" fmla="*/ 0 w 366"/>
                  <a:gd name="T105" fmla="*/ 0 h 313"/>
                  <a:gd name="T106" fmla="*/ 0 w 366"/>
                  <a:gd name="T107" fmla="*/ 0 h 313"/>
                  <a:gd name="T108" fmla="*/ 0 w 366"/>
                  <a:gd name="T109" fmla="*/ 0 h 313"/>
                  <a:gd name="T110" fmla="*/ 0 w 366"/>
                  <a:gd name="T111" fmla="*/ 0 h 313"/>
                  <a:gd name="T112" fmla="*/ 0 w 366"/>
                  <a:gd name="T113" fmla="*/ 0 h 313"/>
                  <a:gd name="T114" fmla="*/ 0 w 366"/>
                  <a:gd name="T115" fmla="*/ 0 h 313"/>
                  <a:gd name="T116" fmla="*/ 0 w 366"/>
                  <a:gd name="T117" fmla="*/ 0 h 313"/>
                  <a:gd name="T118" fmla="*/ 0 w 366"/>
                  <a:gd name="T119" fmla="*/ 0 h 313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366"/>
                  <a:gd name="T181" fmla="*/ 0 h 313"/>
                  <a:gd name="T182" fmla="*/ 366 w 366"/>
                  <a:gd name="T183" fmla="*/ 313 h 313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366" h="313">
                    <a:moveTo>
                      <a:pt x="53" y="13"/>
                    </a:moveTo>
                    <a:lnTo>
                      <a:pt x="42" y="52"/>
                    </a:lnTo>
                    <a:lnTo>
                      <a:pt x="31" y="89"/>
                    </a:lnTo>
                    <a:lnTo>
                      <a:pt x="23" y="125"/>
                    </a:lnTo>
                    <a:lnTo>
                      <a:pt x="16" y="161"/>
                    </a:lnTo>
                    <a:lnTo>
                      <a:pt x="10" y="195"/>
                    </a:lnTo>
                    <a:lnTo>
                      <a:pt x="5" y="228"/>
                    </a:lnTo>
                    <a:lnTo>
                      <a:pt x="2" y="262"/>
                    </a:lnTo>
                    <a:lnTo>
                      <a:pt x="1" y="295"/>
                    </a:lnTo>
                    <a:lnTo>
                      <a:pt x="0" y="313"/>
                    </a:lnTo>
                    <a:lnTo>
                      <a:pt x="343" y="313"/>
                    </a:lnTo>
                    <a:lnTo>
                      <a:pt x="342" y="295"/>
                    </a:lnTo>
                    <a:lnTo>
                      <a:pt x="341" y="264"/>
                    </a:lnTo>
                    <a:lnTo>
                      <a:pt x="340" y="233"/>
                    </a:lnTo>
                    <a:lnTo>
                      <a:pt x="341" y="202"/>
                    </a:lnTo>
                    <a:lnTo>
                      <a:pt x="343" y="171"/>
                    </a:lnTo>
                    <a:lnTo>
                      <a:pt x="346" y="140"/>
                    </a:lnTo>
                    <a:lnTo>
                      <a:pt x="351" y="108"/>
                    </a:lnTo>
                    <a:lnTo>
                      <a:pt x="356" y="77"/>
                    </a:lnTo>
                    <a:lnTo>
                      <a:pt x="362" y="44"/>
                    </a:lnTo>
                    <a:lnTo>
                      <a:pt x="366" y="26"/>
                    </a:lnTo>
                    <a:lnTo>
                      <a:pt x="57" y="0"/>
                    </a:lnTo>
                    <a:lnTo>
                      <a:pt x="53" y="13"/>
                    </a:lnTo>
                    <a:close/>
                    <a:moveTo>
                      <a:pt x="80" y="34"/>
                    </a:moveTo>
                    <a:lnTo>
                      <a:pt x="95" y="36"/>
                    </a:lnTo>
                    <a:lnTo>
                      <a:pt x="123" y="39"/>
                    </a:lnTo>
                    <a:lnTo>
                      <a:pt x="160" y="42"/>
                    </a:lnTo>
                    <a:lnTo>
                      <a:pt x="202" y="45"/>
                    </a:lnTo>
                    <a:lnTo>
                      <a:pt x="243" y="48"/>
                    </a:lnTo>
                    <a:lnTo>
                      <a:pt x="280" y="51"/>
                    </a:lnTo>
                    <a:lnTo>
                      <a:pt x="310" y="54"/>
                    </a:lnTo>
                    <a:lnTo>
                      <a:pt x="329" y="55"/>
                    </a:lnTo>
                    <a:lnTo>
                      <a:pt x="324" y="79"/>
                    </a:lnTo>
                    <a:lnTo>
                      <a:pt x="321" y="103"/>
                    </a:lnTo>
                    <a:lnTo>
                      <a:pt x="317" y="126"/>
                    </a:lnTo>
                    <a:lnTo>
                      <a:pt x="314" y="150"/>
                    </a:lnTo>
                    <a:lnTo>
                      <a:pt x="312" y="173"/>
                    </a:lnTo>
                    <a:lnTo>
                      <a:pt x="310" y="197"/>
                    </a:lnTo>
                    <a:lnTo>
                      <a:pt x="309" y="220"/>
                    </a:lnTo>
                    <a:lnTo>
                      <a:pt x="309" y="243"/>
                    </a:lnTo>
                    <a:lnTo>
                      <a:pt x="309" y="253"/>
                    </a:lnTo>
                    <a:lnTo>
                      <a:pt x="309" y="261"/>
                    </a:lnTo>
                    <a:lnTo>
                      <a:pt x="310" y="270"/>
                    </a:lnTo>
                    <a:lnTo>
                      <a:pt x="310" y="279"/>
                    </a:lnTo>
                    <a:lnTo>
                      <a:pt x="292" y="279"/>
                    </a:lnTo>
                    <a:lnTo>
                      <a:pt x="260" y="279"/>
                    </a:lnTo>
                    <a:lnTo>
                      <a:pt x="218" y="279"/>
                    </a:lnTo>
                    <a:lnTo>
                      <a:pt x="172" y="279"/>
                    </a:lnTo>
                    <a:lnTo>
                      <a:pt x="126" y="279"/>
                    </a:lnTo>
                    <a:lnTo>
                      <a:pt x="85" y="279"/>
                    </a:lnTo>
                    <a:lnTo>
                      <a:pt x="52" y="279"/>
                    </a:lnTo>
                    <a:lnTo>
                      <a:pt x="33" y="279"/>
                    </a:lnTo>
                    <a:lnTo>
                      <a:pt x="35" y="251"/>
                    </a:lnTo>
                    <a:lnTo>
                      <a:pt x="39" y="222"/>
                    </a:lnTo>
                    <a:lnTo>
                      <a:pt x="43" y="193"/>
                    </a:lnTo>
                    <a:lnTo>
                      <a:pt x="48" y="163"/>
                    </a:lnTo>
                    <a:lnTo>
                      <a:pt x="54" y="133"/>
                    </a:lnTo>
                    <a:lnTo>
                      <a:pt x="61" y="101"/>
                    </a:lnTo>
                    <a:lnTo>
                      <a:pt x="70" y="69"/>
                    </a:lnTo>
                    <a:lnTo>
                      <a:pt x="80" y="34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44" name="Freeform 18"/>
              <p:cNvSpPr>
                <a:spLocks/>
              </p:cNvSpPr>
              <p:nvPr/>
            </p:nvSpPr>
            <p:spPr bwMode="auto">
              <a:xfrm>
                <a:off x="2993" y="1539"/>
                <a:ext cx="23" cy="19"/>
              </a:xfrm>
              <a:custGeom>
                <a:avLst/>
                <a:gdLst>
                  <a:gd name="T0" fmla="*/ 0 w 162"/>
                  <a:gd name="T1" fmla="*/ 0 h 138"/>
                  <a:gd name="T2" fmla="*/ 0 w 162"/>
                  <a:gd name="T3" fmla="*/ 0 h 138"/>
                  <a:gd name="T4" fmla="*/ 0 w 162"/>
                  <a:gd name="T5" fmla="*/ 0 h 138"/>
                  <a:gd name="T6" fmla="*/ 0 w 162"/>
                  <a:gd name="T7" fmla="*/ 0 h 138"/>
                  <a:gd name="T8" fmla="*/ 0 w 162"/>
                  <a:gd name="T9" fmla="*/ 0 h 138"/>
                  <a:gd name="T10" fmla="*/ 0 w 162"/>
                  <a:gd name="T11" fmla="*/ 0 h 138"/>
                  <a:gd name="T12" fmla="*/ 0 w 162"/>
                  <a:gd name="T13" fmla="*/ 0 h 138"/>
                  <a:gd name="T14" fmla="*/ 0 w 162"/>
                  <a:gd name="T15" fmla="*/ 0 h 138"/>
                  <a:gd name="T16" fmla="*/ 0 w 162"/>
                  <a:gd name="T17" fmla="*/ 0 h 138"/>
                  <a:gd name="T18" fmla="*/ 0 w 162"/>
                  <a:gd name="T19" fmla="*/ 0 h 138"/>
                  <a:gd name="T20" fmla="*/ 0 w 162"/>
                  <a:gd name="T21" fmla="*/ 0 h 138"/>
                  <a:gd name="T22" fmla="*/ 0 w 162"/>
                  <a:gd name="T23" fmla="*/ 0 h 138"/>
                  <a:gd name="T24" fmla="*/ 0 w 162"/>
                  <a:gd name="T25" fmla="*/ 0 h 138"/>
                  <a:gd name="T26" fmla="*/ 0 w 162"/>
                  <a:gd name="T27" fmla="*/ 0 h 138"/>
                  <a:gd name="T28" fmla="*/ 0 w 162"/>
                  <a:gd name="T29" fmla="*/ 0 h 13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62"/>
                  <a:gd name="T46" fmla="*/ 0 h 138"/>
                  <a:gd name="T47" fmla="*/ 162 w 162"/>
                  <a:gd name="T48" fmla="*/ 138 h 13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62" h="138">
                    <a:moveTo>
                      <a:pt x="0" y="138"/>
                    </a:moveTo>
                    <a:lnTo>
                      <a:pt x="152" y="138"/>
                    </a:lnTo>
                    <a:lnTo>
                      <a:pt x="151" y="121"/>
                    </a:lnTo>
                    <a:lnTo>
                      <a:pt x="151" y="105"/>
                    </a:lnTo>
                    <a:lnTo>
                      <a:pt x="151" y="89"/>
                    </a:lnTo>
                    <a:lnTo>
                      <a:pt x="152" y="74"/>
                    </a:lnTo>
                    <a:lnTo>
                      <a:pt x="157" y="43"/>
                    </a:lnTo>
                    <a:lnTo>
                      <a:pt x="162" y="12"/>
                    </a:lnTo>
                    <a:lnTo>
                      <a:pt x="24" y="0"/>
                    </a:lnTo>
                    <a:lnTo>
                      <a:pt x="15" y="33"/>
                    </a:lnTo>
                    <a:lnTo>
                      <a:pt x="7" y="67"/>
                    </a:lnTo>
                    <a:lnTo>
                      <a:pt x="5" y="84"/>
                    </a:lnTo>
                    <a:lnTo>
                      <a:pt x="2" y="102"/>
                    </a:lnTo>
                    <a:lnTo>
                      <a:pt x="1" y="119"/>
                    </a:lnTo>
                    <a:lnTo>
                      <a:pt x="0" y="138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45" name="Freeform 19"/>
              <p:cNvSpPr>
                <a:spLocks noEditPoints="1"/>
              </p:cNvSpPr>
              <p:nvPr/>
            </p:nvSpPr>
            <p:spPr bwMode="auto">
              <a:xfrm>
                <a:off x="2979" y="1406"/>
                <a:ext cx="95" cy="68"/>
              </a:xfrm>
              <a:custGeom>
                <a:avLst/>
                <a:gdLst>
                  <a:gd name="T0" fmla="*/ 0 w 664"/>
                  <a:gd name="T1" fmla="*/ 0 h 480"/>
                  <a:gd name="T2" fmla="*/ 0 w 664"/>
                  <a:gd name="T3" fmla="*/ 0 h 480"/>
                  <a:gd name="T4" fmla="*/ 0 w 664"/>
                  <a:gd name="T5" fmla="*/ 0 h 480"/>
                  <a:gd name="T6" fmla="*/ 0 w 664"/>
                  <a:gd name="T7" fmla="*/ 0 h 480"/>
                  <a:gd name="T8" fmla="*/ 0 w 664"/>
                  <a:gd name="T9" fmla="*/ 0 h 480"/>
                  <a:gd name="T10" fmla="*/ 0 w 664"/>
                  <a:gd name="T11" fmla="*/ 0 h 480"/>
                  <a:gd name="T12" fmla="*/ 0 w 664"/>
                  <a:gd name="T13" fmla="*/ 0 h 480"/>
                  <a:gd name="T14" fmla="*/ 0 w 664"/>
                  <a:gd name="T15" fmla="*/ 0 h 480"/>
                  <a:gd name="T16" fmla="*/ 0 w 664"/>
                  <a:gd name="T17" fmla="*/ 0 h 480"/>
                  <a:gd name="T18" fmla="*/ 0 w 664"/>
                  <a:gd name="T19" fmla="*/ 0 h 480"/>
                  <a:gd name="T20" fmla="*/ 0 w 664"/>
                  <a:gd name="T21" fmla="*/ 0 h 480"/>
                  <a:gd name="T22" fmla="*/ 0 w 664"/>
                  <a:gd name="T23" fmla="*/ 0 h 480"/>
                  <a:gd name="T24" fmla="*/ 0 w 664"/>
                  <a:gd name="T25" fmla="*/ 0 h 480"/>
                  <a:gd name="T26" fmla="*/ 0 w 664"/>
                  <a:gd name="T27" fmla="*/ 0 h 480"/>
                  <a:gd name="T28" fmla="*/ 0 w 664"/>
                  <a:gd name="T29" fmla="*/ 0 h 480"/>
                  <a:gd name="T30" fmla="*/ 0 w 664"/>
                  <a:gd name="T31" fmla="*/ 0 h 480"/>
                  <a:gd name="T32" fmla="*/ 0 w 664"/>
                  <a:gd name="T33" fmla="*/ 0 h 480"/>
                  <a:gd name="T34" fmla="*/ 0 w 664"/>
                  <a:gd name="T35" fmla="*/ 0 h 480"/>
                  <a:gd name="T36" fmla="*/ 0 w 664"/>
                  <a:gd name="T37" fmla="*/ 0 h 480"/>
                  <a:gd name="T38" fmla="*/ 0 w 664"/>
                  <a:gd name="T39" fmla="*/ 0 h 480"/>
                  <a:gd name="T40" fmla="*/ 0 w 664"/>
                  <a:gd name="T41" fmla="*/ 0 h 480"/>
                  <a:gd name="T42" fmla="*/ 0 w 664"/>
                  <a:gd name="T43" fmla="*/ 0 h 480"/>
                  <a:gd name="T44" fmla="*/ 0 w 664"/>
                  <a:gd name="T45" fmla="*/ 0 h 480"/>
                  <a:gd name="T46" fmla="*/ 0 w 664"/>
                  <a:gd name="T47" fmla="*/ 0 h 480"/>
                  <a:gd name="T48" fmla="*/ 0 w 664"/>
                  <a:gd name="T49" fmla="*/ 0 h 480"/>
                  <a:gd name="T50" fmla="*/ 0 w 664"/>
                  <a:gd name="T51" fmla="*/ 0 h 480"/>
                  <a:gd name="T52" fmla="*/ 0 w 664"/>
                  <a:gd name="T53" fmla="*/ 0 h 480"/>
                  <a:gd name="T54" fmla="*/ 0 w 664"/>
                  <a:gd name="T55" fmla="*/ 0 h 480"/>
                  <a:gd name="T56" fmla="*/ 0 w 664"/>
                  <a:gd name="T57" fmla="*/ 0 h 480"/>
                  <a:gd name="T58" fmla="*/ 0 w 664"/>
                  <a:gd name="T59" fmla="*/ 0 h 480"/>
                  <a:gd name="T60" fmla="*/ 0 w 664"/>
                  <a:gd name="T61" fmla="*/ 0 h 480"/>
                  <a:gd name="T62" fmla="*/ 0 w 664"/>
                  <a:gd name="T63" fmla="*/ 0 h 480"/>
                  <a:gd name="T64" fmla="*/ 0 w 664"/>
                  <a:gd name="T65" fmla="*/ 0 h 480"/>
                  <a:gd name="T66" fmla="*/ 0 w 664"/>
                  <a:gd name="T67" fmla="*/ 0 h 480"/>
                  <a:gd name="T68" fmla="*/ 0 w 664"/>
                  <a:gd name="T69" fmla="*/ 0 h 480"/>
                  <a:gd name="T70" fmla="*/ 0 w 664"/>
                  <a:gd name="T71" fmla="*/ 0 h 480"/>
                  <a:gd name="T72" fmla="*/ 0 w 664"/>
                  <a:gd name="T73" fmla="*/ 0 h 480"/>
                  <a:gd name="T74" fmla="*/ 0 w 664"/>
                  <a:gd name="T75" fmla="*/ 0 h 480"/>
                  <a:gd name="T76" fmla="*/ 0 w 664"/>
                  <a:gd name="T77" fmla="*/ 0 h 480"/>
                  <a:gd name="T78" fmla="*/ 0 w 664"/>
                  <a:gd name="T79" fmla="*/ 0 h 480"/>
                  <a:gd name="T80" fmla="*/ 0 w 664"/>
                  <a:gd name="T81" fmla="*/ 0 h 480"/>
                  <a:gd name="T82" fmla="*/ 0 w 664"/>
                  <a:gd name="T83" fmla="*/ 0 h 480"/>
                  <a:gd name="T84" fmla="*/ 0 w 664"/>
                  <a:gd name="T85" fmla="*/ 0 h 480"/>
                  <a:gd name="T86" fmla="*/ 0 w 664"/>
                  <a:gd name="T87" fmla="*/ 0 h 480"/>
                  <a:gd name="T88" fmla="*/ 0 w 664"/>
                  <a:gd name="T89" fmla="*/ 0 h 480"/>
                  <a:gd name="T90" fmla="*/ 0 w 664"/>
                  <a:gd name="T91" fmla="*/ 0 h 480"/>
                  <a:gd name="T92" fmla="*/ 0 w 664"/>
                  <a:gd name="T93" fmla="*/ 0 h 480"/>
                  <a:gd name="T94" fmla="*/ 0 w 664"/>
                  <a:gd name="T95" fmla="*/ 0 h 480"/>
                  <a:gd name="T96" fmla="*/ 0 w 664"/>
                  <a:gd name="T97" fmla="*/ 0 h 480"/>
                  <a:gd name="T98" fmla="*/ 0 w 664"/>
                  <a:gd name="T99" fmla="*/ 0 h 480"/>
                  <a:gd name="T100" fmla="*/ 0 w 664"/>
                  <a:gd name="T101" fmla="*/ 0 h 480"/>
                  <a:gd name="T102" fmla="*/ 0 w 664"/>
                  <a:gd name="T103" fmla="*/ 0 h 480"/>
                  <a:gd name="T104" fmla="*/ 0 w 664"/>
                  <a:gd name="T105" fmla="*/ 0 h 480"/>
                  <a:gd name="T106" fmla="*/ 0 w 664"/>
                  <a:gd name="T107" fmla="*/ 0 h 480"/>
                  <a:gd name="T108" fmla="*/ 0 w 664"/>
                  <a:gd name="T109" fmla="*/ 0 h 480"/>
                  <a:gd name="T110" fmla="*/ 0 w 664"/>
                  <a:gd name="T111" fmla="*/ 0 h 480"/>
                  <a:gd name="T112" fmla="*/ 0 w 664"/>
                  <a:gd name="T113" fmla="*/ 0 h 480"/>
                  <a:gd name="T114" fmla="*/ 0 w 664"/>
                  <a:gd name="T115" fmla="*/ 0 h 480"/>
                  <a:gd name="T116" fmla="*/ 0 w 664"/>
                  <a:gd name="T117" fmla="*/ 0 h 480"/>
                  <a:gd name="T118" fmla="*/ 0 w 664"/>
                  <a:gd name="T119" fmla="*/ 0 h 480"/>
                  <a:gd name="T120" fmla="*/ 0 w 664"/>
                  <a:gd name="T121" fmla="*/ 0 h 480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664"/>
                  <a:gd name="T184" fmla="*/ 0 h 480"/>
                  <a:gd name="T185" fmla="*/ 664 w 664"/>
                  <a:gd name="T186" fmla="*/ 480 h 480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664" h="480">
                    <a:moveTo>
                      <a:pt x="648" y="0"/>
                    </a:moveTo>
                    <a:lnTo>
                      <a:pt x="160" y="0"/>
                    </a:lnTo>
                    <a:lnTo>
                      <a:pt x="157" y="12"/>
                    </a:lnTo>
                    <a:lnTo>
                      <a:pt x="144" y="68"/>
                    </a:lnTo>
                    <a:lnTo>
                      <a:pt x="130" y="123"/>
                    </a:lnTo>
                    <a:lnTo>
                      <a:pt x="113" y="176"/>
                    </a:lnTo>
                    <a:lnTo>
                      <a:pt x="96" y="229"/>
                    </a:lnTo>
                    <a:lnTo>
                      <a:pt x="77" y="281"/>
                    </a:lnTo>
                    <a:lnTo>
                      <a:pt x="55" y="333"/>
                    </a:lnTo>
                    <a:lnTo>
                      <a:pt x="34" y="383"/>
                    </a:lnTo>
                    <a:lnTo>
                      <a:pt x="9" y="433"/>
                    </a:lnTo>
                    <a:lnTo>
                      <a:pt x="0" y="448"/>
                    </a:lnTo>
                    <a:lnTo>
                      <a:pt x="509" y="480"/>
                    </a:lnTo>
                    <a:lnTo>
                      <a:pt x="513" y="471"/>
                    </a:lnTo>
                    <a:lnTo>
                      <a:pt x="526" y="444"/>
                    </a:lnTo>
                    <a:lnTo>
                      <a:pt x="539" y="416"/>
                    </a:lnTo>
                    <a:lnTo>
                      <a:pt x="550" y="389"/>
                    </a:lnTo>
                    <a:lnTo>
                      <a:pt x="562" y="361"/>
                    </a:lnTo>
                    <a:lnTo>
                      <a:pt x="573" y="334"/>
                    </a:lnTo>
                    <a:lnTo>
                      <a:pt x="583" y="306"/>
                    </a:lnTo>
                    <a:lnTo>
                      <a:pt x="594" y="278"/>
                    </a:lnTo>
                    <a:lnTo>
                      <a:pt x="603" y="249"/>
                    </a:lnTo>
                    <a:lnTo>
                      <a:pt x="621" y="192"/>
                    </a:lnTo>
                    <a:lnTo>
                      <a:pt x="636" y="134"/>
                    </a:lnTo>
                    <a:lnTo>
                      <a:pt x="649" y="75"/>
                    </a:lnTo>
                    <a:lnTo>
                      <a:pt x="662" y="14"/>
                    </a:lnTo>
                    <a:lnTo>
                      <a:pt x="664" y="0"/>
                    </a:lnTo>
                    <a:lnTo>
                      <a:pt x="648" y="0"/>
                    </a:lnTo>
                    <a:close/>
                    <a:moveTo>
                      <a:pt x="628" y="27"/>
                    </a:moveTo>
                    <a:lnTo>
                      <a:pt x="616" y="83"/>
                    </a:lnTo>
                    <a:lnTo>
                      <a:pt x="604" y="138"/>
                    </a:lnTo>
                    <a:lnTo>
                      <a:pt x="588" y="192"/>
                    </a:lnTo>
                    <a:lnTo>
                      <a:pt x="573" y="246"/>
                    </a:lnTo>
                    <a:lnTo>
                      <a:pt x="554" y="298"/>
                    </a:lnTo>
                    <a:lnTo>
                      <a:pt x="535" y="350"/>
                    </a:lnTo>
                    <a:lnTo>
                      <a:pt x="513" y="402"/>
                    </a:lnTo>
                    <a:lnTo>
                      <a:pt x="489" y="452"/>
                    </a:lnTo>
                    <a:lnTo>
                      <a:pt x="466" y="450"/>
                    </a:lnTo>
                    <a:lnTo>
                      <a:pt x="415" y="447"/>
                    </a:lnTo>
                    <a:lnTo>
                      <a:pt x="347" y="443"/>
                    </a:lnTo>
                    <a:lnTo>
                      <a:pt x="269" y="439"/>
                    </a:lnTo>
                    <a:lnTo>
                      <a:pt x="192" y="435"/>
                    </a:lnTo>
                    <a:lnTo>
                      <a:pt x="121" y="431"/>
                    </a:lnTo>
                    <a:lnTo>
                      <a:pt x="69" y="428"/>
                    </a:lnTo>
                    <a:lnTo>
                      <a:pt x="41" y="426"/>
                    </a:lnTo>
                    <a:lnTo>
                      <a:pt x="64" y="378"/>
                    </a:lnTo>
                    <a:lnTo>
                      <a:pt x="84" y="330"/>
                    </a:lnTo>
                    <a:lnTo>
                      <a:pt x="104" y="282"/>
                    </a:lnTo>
                    <a:lnTo>
                      <a:pt x="122" y="232"/>
                    </a:lnTo>
                    <a:lnTo>
                      <a:pt x="139" y="182"/>
                    </a:lnTo>
                    <a:lnTo>
                      <a:pt x="154" y="131"/>
                    </a:lnTo>
                    <a:lnTo>
                      <a:pt x="168" y="79"/>
                    </a:lnTo>
                    <a:lnTo>
                      <a:pt x="181" y="25"/>
                    </a:lnTo>
                    <a:lnTo>
                      <a:pt x="205" y="26"/>
                    </a:lnTo>
                    <a:lnTo>
                      <a:pt x="256" y="26"/>
                    </a:lnTo>
                    <a:lnTo>
                      <a:pt x="325" y="26"/>
                    </a:lnTo>
                    <a:lnTo>
                      <a:pt x="401" y="26"/>
                    </a:lnTo>
                    <a:lnTo>
                      <a:pt x="480" y="27"/>
                    </a:lnTo>
                    <a:lnTo>
                      <a:pt x="549" y="27"/>
                    </a:lnTo>
                    <a:lnTo>
                      <a:pt x="601" y="27"/>
                    </a:lnTo>
                    <a:lnTo>
                      <a:pt x="628" y="27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46" name="Freeform 20"/>
              <p:cNvSpPr>
                <a:spLocks noEditPoints="1"/>
              </p:cNvSpPr>
              <p:nvPr/>
            </p:nvSpPr>
            <p:spPr bwMode="auto">
              <a:xfrm>
                <a:off x="2991" y="1414"/>
                <a:ext cx="70" cy="51"/>
              </a:xfrm>
              <a:custGeom>
                <a:avLst/>
                <a:gdLst>
                  <a:gd name="T0" fmla="*/ 0 w 494"/>
                  <a:gd name="T1" fmla="*/ 0 h 357"/>
                  <a:gd name="T2" fmla="*/ 0 w 494"/>
                  <a:gd name="T3" fmla="*/ 0 h 357"/>
                  <a:gd name="T4" fmla="*/ 0 w 494"/>
                  <a:gd name="T5" fmla="*/ 0 h 357"/>
                  <a:gd name="T6" fmla="*/ 0 w 494"/>
                  <a:gd name="T7" fmla="*/ 0 h 357"/>
                  <a:gd name="T8" fmla="*/ 0 w 494"/>
                  <a:gd name="T9" fmla="*/ 0 h 357"/>
                  <a:gd name="T10" fmla="*/ 0 w 494"/>
                  <a:gd name="T11" fmla="*/ 0 h 357"/>
                  <a:gd name="T12" fmla="*/ 0 w 494"/>
                  <a:gd name="T13" fmla="*/ 0 h 357"/>
                  <a:gd name="T14" fmla="*/ 0 w 494"/>
                  <a:gd name="T15" fmla="*/ 0 h 357"/>
                  <a:gd name="T16" fmla="*/ 0 w 494"/>
                  <a:gd name="T17" fmla="*/ 0 h 357"/>
                  <a:gd name="T18" fmla="*/ 0 w 494"/>
                  <a:gd name="T19" fmla="*/ 0 h 357"/>
                  <a:gd name="T20" fmla="*/ 0 w 494"/>
                  <a:gd name="T21" fmla="*/ 0 h 357"/>
                  <a:gd name="T22" fmla="*/ 0 w 494"/>
                  <a:gd name="T23" fmla="*/ 0 h 357"/>
                  <a:gd name="T24" fmla="*/ 0 w 494"/>
                  <a:gd name="T25" fmla="*/ 0 h 357"/>
                  <a:gd name="T26" fmla="*/ 0 w 494"/>
                  <a:gd name="T27" fmla="*/ 0 h 357"/>
                  <a:gd name="T28" fmla="*/ 0 w 494"/>
                  <a:gd name="T29" fmla="*/ 0 h 357"/>
                  <a:gd name="T30" fmla="*/ 0 w 494"/>
                  <a:gd name="T31" fmla="*/ 0 h 357"/>
                  <a:gd name="T32" fmla="*/ 0 w 494"/>
                  <a:gd name="T33" fmla="*/ 0 h 357"/>
                  <a:gd name="T34" fmla="*/ 0 w 494"/>
                  <a:gd name="T35" fmla="*/ 0 h 357"/>
                  <a:gd name="T36" fmla="*/ 0 w 494"/>
                  <a:gd name="T37" fmla="*/ 0 h 357"/>
                  <a:gd name="T38" fmla="*/ 0 w 494"/>
                  <a:gd name="T39" fmla="*/ 0 h 357"/>
                  <a:gd name="T40" fmla="*/ 0 w 494"/>
                  <a:gd name="T41" fmla="*/ 0 h 357"/>
                  <a:gd name="T42" fmla="*/ 0 w 494"/>
                  <a:gd name="T43" fmla="*/ 0 h 357"/>
                  <a:gd name="T44" fmla="*/ 0 w 494"/>
                  <a:gd name="T45" fmla="*/ 0 h 357"/>
                  <a:gd name="T46" fmla="*/ 0 w 494"/>
                  <a:gd name="T47" fmla="*/ 0 h 357"/>
                  <a:gd name="T48" fmla="*/ 0 w 494"/>
                  <a:gd name="T49" fmla="*/ 0 h 357"/>
                  <a:gd name="T50" fmla="*/ 0 w 494"/>
                  <a:gd name="T51" fmla="*/ 0 h 357"/>
                  <a:gd name="T52" fmla="*/ 0 w 494"/>
                  <a:gd name="T53" fmla="*/ 0 h 357"/>
                  <a:gd name="T54" fmla="*/ 0 w 494"/>
                  <a:gd name="T55" fmla="*/ 0 h 357"/>
                  <a:gd name="T56" fmla="*/ 0 w 494"/>
                  <a:gd name="T57" fmla="*/ 0 h 357"/>
                  <a:gd name="T58" fmla="*/ 0 w 494"/>
                  <a:gd name="T59" fmla="*/ 0 h 357"/>
                  <a:gd name="T60" fmla="*/ 0 w 494"/>
                  <a:gd name="T61" fmla="*/ 0 h 357"/>
                  <a:gd name="T62" fmla="*/ 0 w 494"/>
                  <a:gd name="T63" fmla="*/ 0 h 357"/>
                  <a:gd name="T64" fmla="*/ 0 w 494"/>
                  <a:gd name="T65" fmla="*/ 0 h 357"/>
                  <a:gd name="T66" fmla="*/ 0 w 494"/>
                  <a:gd name="T67" fmla="*/ 0 h 357"/>
                  <a:gd name="T68" fmla="*/ 0 w 494"/>
                  <a:gd name="T69" fmla="*/ 0 h 357"/>
                  <a:gd name="T70" fmla="*/ 0 w 494"/>
                  <a:gd name="T71" fmla="*/ 0 h 357"/>
                  <a:gd name="T72" fmla="*/ 0 w 494"/>
                  <a:gd name="T73" fmla="*/ 0 h 357"/>
                  <a:gd name="T74" fmla="*/ 0 w 494"/>
                  <a:gd name="T75" fmla="*/ 0 h 357"/>
                  <a:gd name="T76" fmla="*/ 0 w 494"/>
                  <a:gd name="T77" fmla="*/ 0 h 357"/>
                  <a:gd name="T78" fmla="*/ 0 w 494"/>
                  <a:gd name="T79" fmla="*/ 0 h 357"/>
                  <a:gd name="T80" fmla="*/ 0 w 494"/>
                  <a:gd name="T81" fmla="*/ 0 h 357"/>
                  <a:gd name="T82" fmla="*/ 0 w 494"/>
                  <a:gd name="T83" fmla="*/ 0 h 357"/>
                  <a:gd name="T84" fmla="*/ 0 w 494"/>
                  <a:gd name="T85" fmla="*/ 0 h 357"/>
                  <a:gd name="T86" fmla="*/ 0 w 494"/>
                  <a:gd name="T87" fmla="*/ 0 h 357"/>
                  <a:gd name="T88" fmla="*/ 0 w 494"/>
                  <a:gd name="T89" fmla="*/ 0 h 357"/>
                  <a:gd name="T90" fmla="*/ 0 w 494"/>
                  <a:gd name="T91" fmla="*/ 0 h 357"/>
                  <a:gd name="T92" fmla="*/ 0 w 494"/>
                  <a:gd name="T93" fmla="*/ 0 h 357"/>
                  <a:gd name="T94" fmla="*/ 0 w 494"/>
                  <a:gd name="T95" fmla="*/ 0 h 357"/>
                  <a:gd name="T96" fmla="*/ 0 w 494"/>
                  <a:gd name="T97" fmla="*/ 0 h 357"/>
                  <a:gd name="T98" fmla="*/ 0 w 494"/>
                  <a:gd name="T99" fmla="*/ 0 h 357"/>
                  <a:gd name="T100" fmla="*/ 0 w 494"/>
                  <a:gd name="T101" fmla="*/ 0 h 357"/>
                  <a:gd name="T102" fmla="*/ 0 w 494"/>
                  <a:gd name="T103" fmla="*/ 0 h 357"/>
                  <a:gd name="T104" fmla="*/ 0 w 494"/>
                  <a:gd name="T105" fmla="*/ 0 h 357"/>
                  <a:gd name="T106" fmla="*/ 0 w 494"/>
                  <a:gd name="T107" fmla="*/ 0 h 357"/>
                  <a:gd name="T108" fmla="*/ 0 w 494"/>
                  <a:gd name="T109" fmla="*/ 0 h 357"/>
                  <a:gd name="T110" fmla="*/ 0 w 494"/>
                  <a:gd name="T111" fmla="*/ 0 h 357"/>
                  <a:gd name="T112" fmla="*/ 0 w 494"/>
                  <a:gd name="T113" fmla="*/ 0 h 357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494"/>
                  <a:gd name="T172" fmla="*/ 0 h 357"/>
                  <a:gd name="T173" fmla="*/ 494 w 494"/>
                  <a:gd name="T174" fmla="*/ 357 h 357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494" h="357">
                    <a:moveTo>
                      <a:pt x="479" y="3"/>
                    </a:moveTo>
                    <a:lnTo>
                      <a:pt x="120" y="0"/>
                    </a:lnTo>
                    <a:lnTo>
                      <a:pt x="117" y="12"/>
                    </a:lnTo>
                    <a:lnTo>
                      <a:pt x="108" y="52"/>
                    </a:lnTo>
                    <a:lnTo>
                      <a:pt x="97" y="93"/>
                    </a:lnTo>
                    <a:lnTo>
                      <a:pt x="86" y="132"/>
                    </a:lnTo>
                    <a:lnTo>
                      <a:pt x="72" y="170"/>
                    </a:lnTo>
                    <a:lnTo>
                      <a:pt x="58" y="208"/>
                    </a:lnTo>
                    <a:lnTo>
                      <a:pt x="42" y="246"/>
                    </a:lnTo>
                    <a:lnTo>
                      <a:pt x="26" y="283"/>
                    </a:lnTo>
                    <a:lnTo>
                      <a:pt x="8" y="320"/>
                    </a:lnTo>
                    <a:lnTo>
                      <a:pt x="0" y="337"/>
                    </a:lnTo>
                    <a:lnTo>
                      <a:pt x="379" y="357"/>
                    </a:lnTo>
                    <a:lnTo>
                      <a:pt x="383" y="347"/>
                    </a:lnTo>
                    <a:lnTo>
                      <a:pt x="402" y="308"/>
                    </a:lnTo>
                    <a:lnTo>
                      <a:pt x="420" y="267"/>
                    </a:lnTo>
                    <a:lnTo>
                      <a:pt x="434" y="227"/>
                    </a:lnTo>
                    <a:lnTo>
                      <a:pt x="449" y="187"/>
                    </a:lnTo>
                    <a:lnTo>
                      <a:pt x="461" y="145"/>
                    </a:lnTo>
                    <a:lnTo>
                      <a:pt x="472" y="103"/>
                    </a:lnTo>
                    <a:lnTo>
                      <a:pt x="483" y="61"/>
                    </a:lnTo>
                    <a:lnTo>
                      <a:pt x="491" y="16"/>
                    </a:lnTo>
                    <a:lnTo>
                      <a:pt x="494" y="3"/>
                    </a:lnTo>
                    <a:lnTo>
                      <a:pt x="479" y="3"/>
                    </a:lnTo>
                    <a:close/>
                    <a:moveTo>
                      <a:pt x="458" y="29"/>
                    </a:moveTo>
                    <a:lnTo>
                      <a:pt x="450" y="69"/>
                    </a:lnTo>
                    <a:lnTo>
                      <a:pt x="440" y="107"/>
                    </a:lnTo>
                    <a:lnTo>
                      <a:pt x="430" y="145"/>
                    </a:lnTo>
                    <a:lnTo>
                      <a:pt x="419" y="183"/>
                    </a:lnTo>
                    <a:lnTo>
                      <a:pt x="405" y="220"/>
                    </a:lnTo>
                    <a:lnTo>
                      <a:pt x="392" y="257"/>
                    </a:lnTo>
                    <a:lnTo>
                      <a:pt x="377" y="293"/>
                    </a:lnTo>
                    <a:lnTo>
                      <a:pt x="361" y="328"/>
                    </a:lnTo>
                    <a:lnTo>
                      <a:pt x="342" y="327"/>
                    </a:lnTo>
                    <a:lnTo>
                      <a:pt x="306" y="326"/>
                    </a:lnTo>
                    <a:lnTo>
                      <a:pt x="258" y="323"/>
                    </a:lnTo>
                    <a:lnTo>
                      <a:pt x="204" y="321"/>
                    </a:lnTo>
                    <a:lnTo>
                      <a:pt x="149" y="318"/>
                    </a:lnTo>
                    <a:lnTo>
                      <a:pt x="100" y="316"/>
                    </a:lnTo>
                    <a:lnTo>
                      <a:pt x="62" y="314"/>
                    </a:lnTo>
                    <a:lnTo>
                      <a:pt x="40" y="312"/>
                    </a:lnTo>
                    <a:lnTo>
                      <a:pt x="56" y="278"/>
                    </a:lnTo>
                    <a:lnTo>
                      <a:pt x="71" y="244"/>
                    </a:lnTo>
                    <a:lnTo>
                      <a:pt x="86" y="208"/>
                    </a:lnTo>
                    <a:lnTo>
                      <a:pt x="98" y="173"/>
                    </a:lnTo>
                    <a:lnTo>
                      <a:pt x="111" y="137"/>
                    </a:lnTo>
                    <a:lnTo>
                      <a:pt x="122" y="101"/>
                    </a:lnTo>
                    <a:lnTo>
                      <a:pt x="132" y="64"/>
                    </a:lnTo>
                    <a:lnTo>
                      <a:pt x="141" y="25"/>
                    </a:lnTo>
                    <a:lnTo>
                      <a:pt x="159" y="26"/>
                    </a:lnTo>
                    <a:lnTo>
                      <a:pt x="195" y="26"/>
                    </a:lnTo>
                    <a:lnTo>
                      <a:pt x="243" y="26"/>
                    </a:lnTo>
                    <a:lnTo>
                      <a:pt x="297" y="27"/>
                    </a:lnTo>
                    <a:lnTo>
                      <a:pt x="350" y="28"/>
                    </a:lnTo>
                    <a:lnTo>
                      <a:pt x="399" y="28"/>
                    </a:lnTo>
                    <a:lnTo>
                      <a:pt x="437" y="29"/>
                    </a:lnTo>
                    <a:lnTo>
                      <a:pt x="458" y="29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47" name="Freeform 21"/>
              <p:cNvSpPr>
                <a:spLocks noEditPoints="1"/>
              </p:cNvSpPr>
              <p:nvPr/>
            </p:nvSpPr>
            <p:spPr bwMode="auto">
              <a:xfrm>
                <a:off x="3002" y="1422"/>
                <a:ext cx="47" cy="34"/>
              </a:xfrm>
              <a:custGeom>
                <a:avLst/>
                <a:gdLst>
                  <a:gd name="T0" fmla="*/ 0 w 328"/>
                  <a:gd name="T1" fmla="*/ 0 h 238"/>
                  <a:gd name="T2" fmla="*/ 0 w 328"/>
                  <a:gd name="T3" fmla="*/ 0 h 238"/>
                  <a:gd name="T4" fmla="*/ 0 w 328"/>
                  <a:gd name="T5" fmla="*/ 0 h 238"/>
                  <a:gd name="T6" fmla="*/ 0 w 328"/>
                  <a:gd name="T7" fmla="*/ 0 h 238"/>
                  <a:gd name="T8" fmla="*/ 0 w 328"/>
                  <a:gd name="T9" fmla="*/ 0 h 238"/>
                  <a:gd name="T10" fmla="*/ 0 w 328"/>
                  <a:gd name="T11" fmla="*/ 0 h 238"/>
                  <a:gd name="T12" fmla="*/ 0 w 328"/>
                  <a:gd name="T13" fmla="*/ 0 h 238"/>
                  <a:gd name="T14" fmla="*/ 0 w 328"/>
                  <a:gd name="T15" fmla="*/ 0 h 238"/>
                  <a:gd name="T16" fmla="*/ 0 w 328"/>
                  <a:gd name="T17" fmla="*/ 0 h 238"/>
                  <a:gd name="T18" fmla="*/ 0 w 328"/>
                  <a:gd name="T19" fmla="*/ 0 h 238"/>
                  <a:gd name="T20" fmla="*/ 0 w 328"/>
                  <a:gd name="T21" fmla="*/ 0 h 238"/>
                  <a:gd name="T22" fmla="*/ 0 w 328"/>
                  <a:gd name="T23" fmla="*/ 0 h 238"/>
                  <a:gd name="T24" fmla="*/ 0 w 328"/>
                  <a:gd name="T25" fmla="*/ 0 h 238"/>
                  <a:gd name="T26" fmla="*/ 0 w 328"/>
                  <a:gd name="T27" fmla="*/ 0 h 238"/>
                  <a:gd name="T28" fmla="*/ 0 w 328"/>
                  <a:gd name="T29" fmla="*/ 0 h 238"/>
                  <a:gd name="T30" fmla="*/ 0 w 328"/>
                  <a:gd name="T31" fmla="*/ 0 h 238"/>
                  <a:gd name="T32" fmla="*/ 0 w 328"/>
                  <a:gd name="T33" fmla="*/ 0 h 238"/>
                  <a:gd name="T34" fmla="*/ 0 w 328"/>
                  <a:gd name="T35" fmla="*/ 0 h 238"/>
                  <a:gd name="T36" fmla="*/ 0 w 328"/>
                  <a:gd name="T37" fmla="*/ 0 h 238"/>
                  <a:gd name="T38" fmla="*/ 0 w 328"/>
                  <a:gd name="T39" fmla="*/ 0 h 238"/>
                  <a:gd name="T40" fmla="*/ 0 w 328"/>
                  <a:gd name="T41" fmla="*/ 0 h 238"/>
                  <a:gd name="T42" fmla="*/ 0 w 328"/>
                  <a:gd name="T43" fmla="*/ 0 h 238"/>
                  <a:gd name="T44" fmla="*/ 0 w 328"/>
                  <a:gd name="T45" fmla="*/ 0 h 238"/>
                  <a:gd name="T46" fmla="*/ 0 w 328"/>
                  <a:gd name="T47" fmla="*/ 0 h 238"/>
                  <a:gd name="T48" fmla="*/ 0 w 328"/>
                  <a:gd name="T49" fmla="*/ 0 h 238"/>
                  <a:gd name="T50" fmla="*/ 0 w 328"/>
                  <a:gd name="T51" fmla="*/ 0 h 238"/>
                  <a:gd name="T52" fmla="*/ 0 w 328"/>
                  <a:gd name="T53" fmla="*/ 0 h 238"/>
                  <a:gd name="T54" fmla="*/ 0 w 328"/>
                  <a:gd name="T55" fmla="*/ 0 h 238"/>
                  <a:gd name="T56" fmla="*/ 0 w 328"/>
                  <a:gd name="T57" fmla="*/ 0 h 238"/>
                  <a:gd name="T58" fmla="*/ 0 w 328"/>
                  <a:gd name="T59" fmla="*/ 0 h 238"/>
                  <a:gd name="T60" fmla="*/ 0 w 328"/>
                  <a:gd name="T61" fmla="*/ 0 h 238"/>
                  <a:gd name="T62" fmla="*/ 0 w 328"/>
                  <a:gd name="T63" fmla="*/ 0 h 238"/>
                  <a:gd name="T64" fmla="*/ 0 w 328"/>
                  <a:gd name="T65" fmla="*/ 0 h 238"/>
                  <a:gd name="T66" fmla="*/ 0 w 328"/>
                  <a:gd name="T67" fmla="*/ 0 h 238"/>
                  <a:gd name="T68" fmla="*/ 0 w 328"/>
                  <a:gd name="T69" fmla="*/ 0 h 238"/>
                  <a:gd name="T70" fmla="*/ 0 w 328"/>
                  <a:gd name="T71" fmla="*/ 0 h 238"/>
                  <a:gd name="T72" fmla="*/ 0 w 328"/>
                  <a:gd name="T73" fmla="*/ 0 h 238"/>
                  <a:gd name="T74" fmla="*/ 0 w 328"/>
                  <a:gd name="T75" fmla="*/ 0 h 238"/>
                  <a:gd name="T76" fmla="*/ 0 w 328"/>
                  <a:gd name="T77" fmla="*/ 0 h 238"/>
                  <a:gd name="T78" fmla="*/ 0 w 328"/>
                  <a:gd name="T79" fmla="*/ 0 h 238"/>
                  <a:gd name="T80" fmla="*/ 0 w 328"/>
                  <a:gd name="T81" fmla="*/ 0 h 238"/>
                  <a:gd name="T82" fmla="*/ 0 w 328"/>
                  <a:gd name="T83" fmla="*/ 0 h 238"/>
                  <a:gd name="T84" fmla="*/ 0 w 328"/>
                  <a:gd name="T85" fmla="*/ 0 h 238"/>
                  <a:gd name="T86" fmla="*/ 0 w 328"/>
                  <a:gd name="T87" fmla="*/ 0 h 238"/>
                  <a:gd name="T88" fmla="*/ 0 w 328"/>
                  <a:gd name="T89" fmla="*/ 0 h 238"/>
                  <a:gd name="T90" fmla="*/ 0 w 328"/>
                  <a:gd name="T91" fmla="*/ 0 h 238"/>
                  <a:gd name="T92" fmla="*/ 0 w 328"/>
                  <a:gd name="T93" fmla="*/ 0 h 238"/>
                  <a:gd name="T94" fmla="*/ 0 w 328"/>
                  <a:gd name="T95" fmla="*/ 0 h 238"/>
                  <a:gd name="T96" fmla="*/ 0 w 328"/>
                  <a:gd name="T97" fmla="*/ 0 h 238"/>
                  <a:gd name="T98" fmla="*/ 0 w 328"/>
                  <a:gd name="T99" fmla="*/ 0 h 238"/>
                  <a:gd name="T100" fmla="*/ 0 w 328"/>
                  <a:gd name="T101" fmla="*/ 0 h 238"/>
                  <a:gd name="T102" fmla="*/ 0 w 328"/>
                  <a:gd name="T103" fmla="*/ 0 h 238"/>
                  <a:gd name="T104" fmla="*/ 0 w 328"/>
                  <a:gd name="T105" fmla="*/ 0 h 238"/>
                  <a:gd name="T106" fmla="*/ 0 w 328"/>
                  <a:gd name="T107" fmla="*/ 0 h 238"/>
                  <a:gd name="T108" fmla="*/ 0 w 328"/>
                  <a:gd name="T109" fmla="*/ 0 h 238"/>
                  <a:gd name="T110" fmla="*/ 0 w 328"/>
                  <a:gd name="T111" fmla="*/ 0 h 238"/>
                  <a:gd name="T112" fmla="*/ 0 w 328"/>
                  <a:gd name="T113" fmla="*/ 0 h 238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28"/>
                  <a:gd name="T172" fmla="*/ 0 h 238"/>
                  <a:gd name="T173" fmla="*/ 328 w 328"/>
                  <a:gd name="T174" fmla="*/ 238 h 238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28" h="238">
                    <a:moveTo>
                      <a:pt x="314" y="4"/>
                    </a:moveTo>
                    <a:lnTo>
                      <a:pt x="80" y="0"/>
                    </a:lnTo>
                    <a:lnTo>
                      <a:pt x="78" y="12"/>
                    </a:lnTo>
                    <a:lnTo>
                      <a:pt x="72" y="39"/>
                    </a:lnTo>
                    <a:lnTo>
                      <a:pt x="65" y="63"/>
                    </a:lnTo>
                    <a:lnTo>
                      <a:pt x="57" y="89"/>
                    </a:lnTo>
                    <a:lnTo>
                      <a:pt x="49" y="114"/>
                    </a:lnTo>
                    <a:lnTo>
                      <a:pt x="40" y="138"/>
                    </a:lnTo>
                    <a:lnTo>
                      <a:pt x="31" y="162"/>
                    </a:lnTo>
                    <a:lnTo>
                      <a:pt x="19" y="186"/>
                    </a:lnTo>
                    <a:lnTo>
                      <a:pt x="8" y="209"/>
                    </a:lnTo>
                    <a:lnTo>
                      <a:pt x="0" y="226"/>
                    </a:lnTo>
                    <a:lnTo>
                      <a:pt x="254" y="238"/>
                    </a:lnTo>
                    <a:lnTo>
                      <a:pt x="258" y="229"/>
                    </a:lnTo>
                    <a:lnTo>
                      <a:pt x="269" y="203"/>
                    </a:lnTo>
                    <a:lnTo>
                      <a:pt x="281" y="177"/>
                    </a:lnTo>
                    <a:lnTo>
                      <a:pt x="290" y="152"/>
                    </a:lnTo>
                    <a:lnTo>
                      <a:pt x="299" y="126"/>
                    </a:lnTo>
                    <a:lnTo>
                      <a:pt x="307" y="100"/>
                    </a:lnTo>
                    <a:lnTo>
                      <a:pt x="314" y="73"/>
                    </a:lnTo>
                    <a:lnTo>
                      <a:pt x="321" y="46"/>
                    </a:lnTo>
                    <a:lnTo>
                      <a:pt x="326" y="18"/>
                    </a:lnTo>
                    <a:lnTo>
                      <a:pt x="328" y="4"/>
                    </a:lnTo>
                    <a:lnTo>
                      <a:pt x="314" y="4"/>
                    </a:lnTo>
                    <a:close/>
                    <a:moveTo>
                      <a:pt x="293" y="30"/>
                    </a:moveTo>
                    <a:lnTo>
                      <a:pt x="288" y="54"/>
                    </a:lnTo>
                    <a:lnTo>
                      <a:pt x="283" y="77"/>
                    </a:lnTo>
                    <a:lnTo>
                      <a:pt x="277" y="100"/>
                    </a:lnTo>
                    <a:lnTo>
                      <a:pt x="269" y="122"/>
                    </a:lnTo>
                    <a:lnTo>
                      <a:pt x="262" y="144"/>
                    </a:lnTo>
                    <a:lnTo>
                      <a:pt x="254" y="167"/>
                    </a:lnTo>
                    <a:lnTo>
                      <a:pt x="245" y="189"/>
                    </a:lnTo>
                    <a:lnTo>
                      <a:pt x="235" y="210"/>
                    </a:lnTo>
                    <a:lnTo>
                      <a:pt x="222" y="209"/>
                    </a:lnTo>
                    <a:lnTo>
                      <a:pt x="200" y="208"/>
                    </a:lnTo>
                    <a:lnTo>
                      <a:pt x="172" y="207"/>
                    </a:lnTo>
                    <a:lnTo>
                      <a:pt x="141" y="206"/>
                    </a:lnTo>
                    <a:lnTo>
                      <a:pt x="109" y="205"/>
                    </a:lnTo>
                    <a:lnTo>
                      <a:pt x="80" y="203"/>
                    </a:lnTo>
                    <a:lnTo>
                      <a:pt x="55" y="202"/>
                    </a:lnTo>
                    <a:lnTo>
                      <a:pt x="40" y="202"/>
                    </a:lnTo>
                    <a:lnTo>
                      <a:pt x="50" y="181"/>
                    </a:lnTo>
                    <a:lnTo>
                      <a:pt x="60" y="160"/>
                    </a:lnTo>
                    <a:lnTo>
                      <a:pt x="68" y="138"/>
                    </a:lnTo>
                    <a:lnTo>
                      <a:pt x="76" y="116"/>
                    </a:lnTo>
                    <a:lnTo>
                      <a:pt x="83" y="95"/>
                    </a:lnTo>
                    <a:lnTo>
                      <a:pt x="91" y="72"/>
                    </a:lnTo>
                    <a:lnTo>
                      <a:pt x="97" y="50"/>
                    </a:lnTo>
                    <a:lnTo>
                      <a:pt x="102" y="26"/>
                    </a:lnTo>
                    <a:lnTo>
                      <a:pt x="115" y="26"/>
                    </a:lnTo>
                    <a:lnTo>
                      <a:pt x="137" y="27"/>
                    </a:lnTo>
                    <a:lnTo>
                      <a:pt x="164" y="27"/>
                    </a:lnTo>
                    <a:lnTo>
                      <a:pt x="195" y="28"/>
                    </a:lnTo>
                    <a:lnTo>
                      <a:pt x="227" y="29"/>
                    </a:lnTo>
                    <a:lnTo>
                      <a:pt x="255" y="29"/>
                    </a:lnTo>
                    <a:lnTo>
                      <a:pt x="279" y="30"/>
                    </a:lnTo>
                    <a:lnTo>
                      <a:pt x="293" y="30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48" name="Freeform 22"/>
              <p:cNvSpPr>
                <a:spLocks/>
              </p:cNvSpPr>
              <p:nvPr/>
            </p:nvSpPr>
            <p:spPr bwMode="auto">
              <a:xfrm>
                <a:off x="3015" y="1432"/>
                <a:ext cx="21" cy="15"/>
              </a:xfrm>
              <a:custGeom>
                <a:avLst/>
                <a:gdLst>
                  <a:gd name="T0" fmla="*/ 0 w 144"/>
                  <a:gd name="T1" fmla="*/ 0 h 104"/>
                  <a:gd name="T2" fmla="*/ 0 w 144"/>
                  <a:gd name="T3" fmla="*/ 0 h 104"/>
                  <a:gd name="T4" fmla="*/ 0 w 144"/>
                  <a:gd name="T5" fmla="*/ 0 h 104"/>
                  <a:gd name="T6" fmla="*/ 0 w 144"/>
                  <a:gd name="T7" fmla="*/ 0 h 104"/>
                  <a:gd name="T8" fmla="*/ 0 w 144"/>
                  <a:gd name="T9" fmla="*/ 0 h 104"/>
                  <a:gd name="T10" fmla="*/ 0 w 144"/>
                  <a:gd name="T11" fmla="*/ 0 h 104"/>
                  <a:gd name="T12" fmla="*/ 0 w 144"/>
                  <a:gd name="T13" fmla="*/ 0 h 104"/>
                  <a:gd name="T14" fmla="*/ 0 w 144"/>
                  <a:gd name="T15" fmla="*/ 0 h 104"/>
                  <a:gd name="T16" fmla="*/ 0 w 144"/>
                  <a:gd name="T17" fmla="*/ 0 h 104"/>
                  <a:gd name="T18" fmla="*/ 0 w 144"/>
                  <a:gd name="T19" fmla="*/ 0 h 104"/>
                  <a:gd name="T20" fmla="*/ 0 w 144"/>
                  <a:gd name="T21" fmla="*/ 0 h 10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44"/>
                  <a:gd name="T34" fmla="*/ 0 h 104"/>
                  <a:gd name="T35" fmla="*/ 144 w 144"/>
                  <a:gd name="T36" fmla="*/ 104 h 104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44" h="104">
                    <a:moveTo>
                      <a:pt x="36" y="0"/>
                    </a:moveTo>
                    <a:lnTo>
                      <a:pt x="30" y="24"/>
                    </a:lnTo>
                    <a:lnTo>
                      <a:pt x="21" y="49"/>
                    </a:lnTo>
                    <a:lnTo>
                      <a:pt x="12" y="74"/>
                    </a:lnTo>
                    <a:lnTo>
                      <a:pt x="0" y="100"/>
                    </a:lnTo>
                    <a:lnTo>
                      <a:pt x="111" y="104"/>
                    </a:lnTo>
                    <a:lnTo>
                      <a:pt x="123" y="78"/>
                    </a:lnTo>
                    <a:lnTo>
                      <a:pt x="132" y="52"/>
                    </a:lnTo>
                    <a:lnTo>
                      <a:pt x="139" y="26"/>
                    </a:lnTo>
                    <a:lnTo>
                      <a:pt x="144" y="2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49" name="Freeform 23"/>
              <p:cNvSpPr>
                <a:spLocks noEditPoints="1"/>
              </p:cNvSpPr>
              <p:nvPr/>
            </p:nvSpPr>
            <p:spPr bwMode="auto">
              <a:xfrm>
                <a:off x="3035" y="1323"/>
                <a:ext cx="55" cy="41"/>
              </a:xfrm>
              <a:custGeom>
                <a:avLst/>
                <a:gdLst>
                  <a:gd name="T0" fmla="*/ 0 w 385"/>
                  <a:gd name="T1" fmla="*/ 0 h 284"/>
                  <a:gd name="T2" fmla="*/ 0 w 385"/>
                  <a:gd name="T3" fmla="*/ 0 h 284"/>
                  <a:gd name="T4" fmla="*/ 0 w 385"/>
                  <a:gd name="T5" fmla="*/ 0 h 284"/>
                  <a:gd name="T6" fmla="*/ 0 w 385"/>
                  <a:gd name="T7" fmla="*/ 0 h 284"/>
                  <a:gd name="T8" fmla="*/ 0 w 385"/>
                  <a:gd name="T9" fmla="*/ 0 h 284"/>
                  <a:gd name="T10" fmla="*/ 0 w 385"/>
                  <a:gd name="T11" fmla="*/ 0 h 284"/>
                  <a:gd name="T12" fmla="*/ 0 w 385"/>
                  <a:gd name="T13" fmla="*/ 0 h 284"/>
                  <a:gd name="T14" fmla="*/ 0 w 385"/>
                  <a:gd name="T15" fmla="*/ 0 h 284"/>
                  <a:gd name="T16" fmla="*/ 0 w 385"/>
                  <a:gd name="T17" fmla="*/ 0 h 284"/>
                  <a:gd name="T18" fmla="*/ 0 w 385"/>
                  <a:gd name="T19" fmla="*/ 0 h 284"/>
                  <a:gd name="T20" fmla="*/ 0 w 385"/>
                  <a:gd name="T21" fmla="*/ 0 h 284"/>
                  <a:gd name="T22" fmla="*/ 0 w 385"/>
                  <a:gd name="T23" fmla="*/ 0 h 284"/>
                  <a:gd name="T24" fmla="*/ 0 w 385"/>
                  <a:gd name="T25" fmla="*/ 0 h 284"/>
                  <a:gd name="T26" fmla="*/ 0 w 385"/>
                  <a:gd name="T27" fmla="*/ 0 h 284"/>
                  <a:gd name="T28" fmla="*/ 0 w 385"/>
                  <a:gd name="T29" fmla="*/ 0 h 284"/>
                  <a:gd name="T30" fmla="*/ 0 w 385"/>
                  <a:gd name="T31" fmla="*/ 0 h 284"/>
                  <a:gd name="T32" fmla="*/ 0 w 385"/>
                  <a:gd name="T33" fmla="*/ 0 h 284"/>
                  <a:gd name="T34" fmla="*/ 0 w 385"/>
                  <a:gd name="T35" fmla="*/ 0 h 284"/>
                  <a:gd name="T36" fmla="*/ 0 w 385"/>
                  <a:gd name="T37" fmla="*/ 0 h 284"/>
                  <a:gd name="T38" fmla="*/ 0 w 385"/>
                  <a:gd name="T39" fmla="*/ 0 h 284"/>
                  <a:gd name="T40" fmla="*/ 0 w 385"/>
                  <a:gd name="T41" fmla="*/ 0 h 284"/>
                  <a:gd name="T42" fmla="*/ 0 w 385"/>
                  <a:gd name="T43" fmla="*/ 0 h 284"/>
                  <a:gd name="T44" fmla="*/ 0 w 385"/>
                  <a:gd name="T45" fmla="*/ 0 h 284"/>
                  <a:gd name="T46" fmla="*/ 0 w 385"/>
                  <a:gd name="T47" fmla="*/ 0 h 284"/>
                  <a:gd name="T48" fmla="*/ 0 w 385"/>
                  <a:gd name="T49" fmla="*/ 0 h 284"/>
                  <a:gd name="T50" fmla="*/ 0 w 385"/>
                  <a:gd name="T51" fmla="*/ 0 h 284"/>
                  <a:gd name="T52" fmla="*/ 0 w 385"/>
                  <a:gd name="T53" fmla="*/ 0 h 284"/>
                  <a:gd name="T54" fmla="*/ 0 w 385"/>
                  <a:gd name="T55" fmla="*/ 0 h 284"/>
                  <a:gd name="T56" fmla="*/ 0 w 385"/>
                  <a:gd name="T57" fmla="*/ 0 h 284"/>
                  <a:gd name="T58" fmla="*/ 0 w 385"/>
                  <a:gd name="T59" fmla="*/ 0 h 284"/>
                  <a:gd name="T60" fmla="*/ 0 w 385"/>
                  <a:gd name="T61" fmla="*/ 0 h 284"/>
                  <a:gd name="T62" fmla="*/ 0 w 385"/>
                  <a:gd name="T63" fmla="*/ 0 h 284"/>
                  <a:gd name="T64" fmla="*/ 0 w 385"/>
                  <a:gd name="T65" fmla="*/ 0 h 284"/>
                  <a:gd name="T66" fmla="*/ 0 w 385"/>
                  <a:gd name="T67" fmla="*/ 0 h 284"/>
                  <a:gd name="T68" fmla="*/ 0 w 385"/>
                  <a:gd name="T69" fmla="*/ 0 h 284"/>
                  <a:gd name="T70" fmla="*/ 0 w 385"/>
                  <a:gd name="T71" fmla="*/ 0 h 284"/>
                  <a:gd name="T72" fmla="*/ 0 w 385"/>
                  <a:gd name="T73" fmla="*/ 0 h 284"/>
                  <a:gd name="T74" fmla="*/ 0 w 385"/>
                  <a:gd name="T75" fmla="*/ 0 h 284"/>
                  <a:gd name="T76" fmla="*/ 0 w 385"/>
                  <a:gd name="T77" fmla="*/ 0 h 284"/>
                  <a:gd name="T78" fmla="*/ 0 w 385"/>
                  <a:gd name="T79" fmla="*/ 0 h 284"/>
                  <a:gd name="T80" fmla="*/ 0 w 385"/>
                  <a:gd name="T81" fmla="*/ 0 h 284"/>
                  <a:gd name="T82" fmla="*/ 0 w 385"/>
                  <a:gd name="T83" fmla="*/ 0 h 284"/>
                  <a:gd name="T84" fmla="*/ 0 w 385"/>
                  <a:gd name="T85" fmla="*/ 0 h 284"/>
                  <a:gd name="T86" fmla="*/ 0 w 385"/>
                  <a:gd name="T87" fmla="*/ 0 h 284"/>
                  <a:gd name="T88" fmla="*/ 0 w 385"/>
                  <a:gd name="T89" fmla="*/ 0 h 284"/>
                  <a:gd name="T90" fmla="*/ 0 w 385"/>
                  <a:gd name="T91" fmla="*/ 0 h 284"/>
                  <a:gd name="T92" fmla="*/ 0 w 385"/>
                  <a:gd name="T93" fmla="*/ 0 h 284"/>
                  <a:gd name="T94" fmla="*/ 0 w 385"/>
                  <a:gd name="T95" fmla="*/ 0 h 284"/>
                  <a:gd name="T96" fmla="*/ 0 w 385"/>
                  <a:gd name="T97" fmla="*/ 0 h 284"/>
                  <a:gd name="T98" fmla="*/ 0 w 385"/>
                  <a:gd name="T99" fmla="*/ 0 h 284"/>
                  <a:gd name="T100" fmla="*/ 0 w 385"/>
                  <a:gd name="T101" fmla="*/ 0 h 284"/>
                  <a:gd name="T102" fmla="*/ 0 w 385"/>
                  <a:gd name="T103" fmla="*/ 0 h 284"/>
                  <a:gd name="T104" fmla="*/ 0 w 385"/>
                  <a:gd name="T105" fmla="*/ 0 h 284"/>
                  <a:gd name="T106" fmla="*/ 0 w 385"/>
                  <a:gd name="T107" fmla="*/ 0 h 284"/>
                  <a:gd name="T108" fmla="*/ 0 w 385"/>
                  <a:gd name="T109" fmla="*/ 0 h 284"/>
                  <a:gd name="T110" fmla="*/ 0 w 385"/>
                  <a:gd name="T111" fmla="*/ 0 h 284"/>
                  <a:gd name="T112" fmla="*/ 0 w 385"/>
                  <a:gd name="T113" fmla="*/ 0 h 284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85"/>
                  <a:gd name="T172" fmla="*/ 0 h 284"/>
                  <a:gd name="T173" fmla="*/ 385 w 385"/>
                  <a:gd name="T174" fmla="*/ 284 h 284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85" h="284">
                    <a:moveTo>
                      <a:pt x="373" y="19"/>
                    </a:moveTo>
                    <a:lnTo>
                      <a:pt x="53" y="0"/>
                    </a:lnTo>
                    <a:lnTo>
                      <a:pt x="51" y="13"/>
                    </a:lnTo>
                    <a:lnTo>
                      <a:pt x="45" y="41"/>
                    </a:lnTo>
                    <a:lnTo>
                      <a:pt x="40" y="69"/>
                    </a:lnTo>
                    <a:lnTo>
                      <a:pt x="35" y="99"/>
                    </a:lnTo>
                    <a:lnTo>
                      <a:pt x="30" y="128"/>
                    </a:lnTo>
                    <a:lnTo>
                      <a:pt x="24" y="158"/>
                    </a:lnTo>
                    <a:lnTo>
                      <a:pt x="18" y="189"/>
                    </a:lnTo>
                    <a:lnTo>
                      <a:pt x="10" y="219"/>
                    </a:lnTo>
                    <a:lnTo>
                      <a:pt x="3" y="250"/>
                    </a:lnTo>
                    <a:lnTo>
                      <a:pt x="0" y="263"/>
                    </a:lnTo>
                    <a:lnTo>
                      <a:pt x="341" y="284"/>
                    </a:lnTo>
                    <a:lnTo>
                      <a:pt x="344" y="270"/>
                    </a:lnTo>
                    <a:lnTo>
                      <a:pt x="350" y="239"/>
                    </a:lnTo>
                    <a:lnTo>
                      <a:pt x="357" y="208"/>
                    </a:lnTo>
                    <a:lnTo>
                      <a:pt x="362" y="177"/>
                    </a:lnTo>
                    <a:lnTo>
                      <a:pt x="367" y="146"/>
                    </a:lnTo>
                    <a:lnTo>
                      <a:pt x="371" y="116"/>
                    </a:lnTo>
                    <a:lnTo>
                      <a:pt x="375" y="87"/>
                    </a:lnTo>
                    <a:lnTo>
                      <a:pt x="379" y="58"/>
                    </a:lnTo>
                    <a:lnTo>
                      <a:pt x="383" y="32"/>
                    </a:lnTo>
                    <a:lnTo>
                      <a:pt x="385" y="19"/>
                    </a:lnTo>
                    <a:lnTo>
                      <a:pt x="373" y="19"/>
                    </a:lnTo>
                    <a:close/>
                    <a:moveTo>
                      <a:pt x="353" y="44"/>
                    </a:moveTo>
                    <a:lnTo>
                      <a:pt x="350" y="69"/>
                    </a:lnTo>
                    <a:lnTo>
                      <a:pt x="347" y="95"/>
                    </a:lnTo>
                    <a:lnTo>
                      <a:pt x="343" y="120"/>
                    </a:lnTo>
                    <a:lnTo>
                      <a:pt x="339" y="146"/>
                    </a:lnTo>
                    <a:lnTo>
                      <a:pt x="334" y="173"/>
                    </a:lnTo>
                    <a:lnTo>
                      <a:pt x="330" y="201"/>
                    </a:lnTo>
                    <a:lnTo>
                      <a:pt x="324" y="228"/>
                    </a:lnTo>
                    <a:lnTo>
                      <a:pt x="319" y="256"/>
                    </a:lnTo>
                    <a:lnTo>
                      <a:pt x="301" y="255"/>
                    </a:lnTo>
                    <a:lnTo>
                      <a:pt x="267" y="253"/>
                    </a:lnTo>
                    <a:lnTo>
                      <a:pt x="224" y="250"/>
                    </a:lnTo>
                    <a:lnTo>
                      <a:pt x="176" y="247"/>
                    </a:lnTo>
                    <a:lnTo>
                      <a:pt x="127" y="245"/>
                    </a:lnTo>
                    <a:lnTo>
                      <a:pt x="85" y="241"/>
                    </a:lnTo>
                    <a:lnTo>
                      <a:pt x="52" y="239"/>
                    </a:lnTo>
                    <a:lnTo>
                      <a:pt x="33" y="238"/>
                    </a:lnTo>
                    <a:lnTo>
                      <a:pt x="39" y="211"/>
                    </a:lnTo>
                    <a:lnTo>
                      <a:pt x="45" y="184"/>
                    </a:lnTo>
                    <a:lnTo>
                      <a:pt x="52" y="157"/>
                    </a:lnTo>
                    <a:lnTo>
                      <a:pt x="57" y="130"/>
                    </a:lnTo>
                    <a:lnTo>
                      <a:pt x="62" y="104"/>
                    </a:lnTo>
                    <a:lnTo>
                      <a:pt x="67" y="77"/>
                    </a:lnTo>
                    <a:lnTo>
                      <a:pt x="71" y="52"/>
                    </a:lnTo>
                    <a:lnTo>
                      <a:pt x="75" y="27"/>
                    </a:lnTo>
                    <a:lnTo>
                      <a:pt x="94" y="28"/>
                    </a:lnTo>
                    <a:lnTo>
                      <a:pt x="126" y="31"/>
                    </a:lnTo>
                    <a:lnTo>
                      <a:pt x="168" y="33"/>
                    </a:lnTo>
                    <a:lnTo>
                      <a:pt x="216" y="36"/>
                    </a:lnTo>
                    <a:lnTo>
                      <a:pt x="262" y="39"/>
                    </a:lnTo>
                    <a:lnTo>
                      <a:pt x="305" y="41"/>
                    </a:lnTo>
                    <a:lnTo>
                      <a:pt x="337" y="43"/>
                    </a:lnTo>
                    <a:lnTo>
                      <a:pt x="353" y="44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50" name="Freeform 24"/>
              <p:cNvSpPr>
                <a:spLocks noEditPoints="1"/>
              </p:cNvSpPr>
              <p:nvPr/>
            </p:nvSpPr>
            <p:spPr bwMode="auto">
              <a:xfrm>
                <a:off x="3047" y="1332"/>
                <a:ext cx="31" cy="23"/>
              </a:xfrm>
              <a:custGeom>
                <a:avLst/>
                <a:gdLst>
                  <a:gd name="T0" fmla="*/ 0 w 219"/>
                  <a:gd name="T1" fmla="*/ 0 h 164"/>
                  <a:gd name="T2" fmla="*/ 0 w 219"/>
                  <a:gd name="T3" fmla="*/ 0 h 164"/>
                  <a:gd name="T4" fmla="*/ 0 w 219"/>
                  <a:gd name="T5" fmla="*/ 0 h 164"/>
                  <a:gd name="T6" fmla="*/ 0 w 219"/>
                  <a:gd name="T7" fmla="*/ 0 h 164"/>
                  <a:gd name="T8" fmla="*/ 0 w 219"/>
                  <a:gd name="T9" fmla="*/ 0 h 164"/>
                  <a:gd name="T10" fmla="*/ 0 w 219"/>
                  <a:gd name="T11" fmla="*/ 0 h 164"/>
                  <a:gd name="T12" fmla="*/ 0 w 219"/>
                  <a:gd name="T13" fmla="*/ 0 h 164"/>
                  <a:gd name="T14" fmla="*/ 0 w 219"/>
                  <a:gd name="T15" fmla="*/ 0 h 164"/>
                  <a:gd name="T16" fmla="*/ 0 w 219"/>
                  <a:gd name="T17" fmla="*/ 0 h 164"/>
                  <a:gd name="T18" fmla="*/ 0 w 219"/>
                  <a:gd name="T19" fmla="*/ 0 h 164"/>
                  <a:gd name="T20" fmla="*/ 0 w 219"/>
                  <a:gd name="T21" fmla="*/ 0 h 164"/>
                  <a:gd name="T22" fmla="*/ 0 w 219"/>
                  <a:gd name="T23" fmla="*/ 0 h 164"/>
                  <a:gd name="T24" fmla="*/ 0 w 219"/>
                  <a:gd name="T25" fmla="*/ 0 h 164"/>
                  <a:gd name="T26" fmla="*/ 0 w 219"/>
                  <a:gd name="T27" fmla="*/ 0 h 164"/>
                  <a:gd name="T28" fmla="*/ 0 w 219"/>
                  <a:gd name="T29" fmla="*/ 0 h 164"/>
                  <a:gd name="T30" fmla="*/ 0 w 219"/>
                  <a:gd name="T31" fmla="*/ 0 h 164"/>
                  <a:gd name="T32" fmla="*/ 0 w 219"/>
                  <a:gd name="T33" fmla="*/ 0 h 164"/>
                  <a:gd name="T34" fmla="*/ 0 w 219"/>
                  <a:gd name="T35" fmla="*/ 0 h 164"/>
                  <a:gd name="T36" fmla="*/ 0 w 219"/>
                  <a:gd name="T37" fmla="*/ 0 h 164"/>
                  <a:gd name="T38" fmla="*/ 0 w 219"/>
                  <a:gd name="T39" fmla="*/ 0 h 164"/>
                  <a:gd name="T40" fmla="*/ 0 w 219"/>
                  <a:gd name="T41" fmla="*/ 0 h 164"/>
                  <a:gd name="T42" fmla="*/ 0 w 219"/>
                  <a:gd name="T43" fmla="*/ 0 h 164"/>
                  <a:gd name="T44" fmla="*/ 0 w 219"/>
                  <a:gd name="T45" fmla="*/ 0 h 164"/>
                  <a:gd name="T46" fmla="*/ 0 w 219"/>
                  <a:gd name="T47" fmla="*/ 0 h 16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219"/>
                  <a:gd name="T73" fmla="*/ 0 h 164"/>
                  <a:gd name="T74" fmla="*/ 219 w 219"/>
                  <a:gd name="T75" fmla="*/ 164 h 164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219" h="164">
                    <a:moveTo>
                      <a:pt x="205" y="12"/>
                    </a:moveTo>
                    <a:lnTo>
                      <a:pt x="30" y="0"/>
                    </a:lnTo>
                    <a:lnTo>
                      <a:pt x="0" y="152"/>
                    </a:lnTo>
                    <a:lnTo>
                      <a:pt x="12" y="154"/>
                    </a:lnTo>
                    <a:lnTo>
                      <a:pt x="193" y="164"/>
                    </a:lnTo>
                    <a:lnTo>
                      <a:pt x="219" y="12"/>
                    </a:lnTo>
                    <a:lnTo>
                      <a:pt x="205" y="12"/>
                    </a:lnTo>
                    <a:close/>
                    <a:moveTo>
                      <a:pt x="187" y="37"/>
                    </a:moveTo>
                    <a:lnTo>
                      <a:pt x="184" y="56"/>
                    </a:lnTo>
                    <a:lnTo>
                      <a:pt x="179" y="85"/>
                    </a:lnTo>
                    <a:lnTo>
                      <a:pt x="173" y="115"/>
                    </a:lnTo>
                    <a:lnTo>
                      <a:pt x="170" y="136"/>
                    </a:lnTo>
                    <a:lnTo>
                      <a:pt x="142" y="135"/>
                    </a:lnTo>
                    <a:lnTo>
                      <a:pt x="100" y="132"/>
                    </a:lnTo>
                    <a:lnTo>
                      <a:pt x="59" y="130"/>
                    </a:lnTo>
                    <a:lnTo>
                      <a:pt x="32" y="128"/>
                    </a:lnTo>
                    <a:lnTo>
                      <a:pt x="36" y="107"/>
                    </a:lnTo>
                    <a:lnTo>
                      <a:pt x="42" y="79"/>
                    </a:lnTo>
                    <a:lnTo>
                      <a:pt x="47" y="50"/>
                    </a:lnTo>
                    <a:lnTo>
                      <a:pt x="51" y="28"/>
                    </a:lnTo>
                    <a:lnTo>
                      <a:pt x="79" y="30"/>
                    </a:lnTo>
                    <a:lnTo>
                      <a:pt x="120" y="33"/>
                    </a:lnTo>
                    <a:lnTo>
                      <a:pt x="160" y="36"/>
                    </a:lnTo>
                    <a:lnTo>
                      <a:pt x="187" y="37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51" name="Freeform 25"/>
              <p:cNvSpPr>
                <a:spLocks/>
              </p:cNvSpPr>
              <p:nvPr/>
            </p:nvSpPr>
            <p:spPr bwMode="auto">
              <a:xfrm>
                <a:off x="3057" y="1339"/>
                <a:ext cx="12" cy="9"/>
              </a:xfrm>
              <a:custGeom>
                <a:avLst/>
                <a:gdLst>
                  <a:gd name="T0" fmla="*/ 0 w 89"/>
                  <a:gd name="T1" fmla="*/ 0 h 65"/>
                  <a:gd name="T2" fmla="*/ 0 w 89"/>
                  <a:gd name="T3" fmla="*/ 0 h 65"/>
                  <a:gd name="T4" fmla="*/ 0 w 89"/>
                  <a:gd name="T5" fmla="*/ 0 h 65"/>
                  <a:gd name="T6" fmla="*/ 0 w 89"/>
                  <a:gd name="T7" fmla="*/ 0 h 65"/>
                  <a:gd name="T8" fmla="*/ 0 w 89"/>
                  <a:gd name="T9" fmla="*/ 0 h 65"/>
                  <a:gd name="T10" fmla="*/ 0 w 89"/>
                  <a:gd name="T11" fmla="*/ 0 h 65"/>
                  <a:gd name="T12" fmla="*/ 0 w 89"/>
                  <a:gd name="T13" fmla="*/ 0 h 65"/>
                  <a:gd name="T14" fmla="*/ 0 w 89"/>
                  <a:gd name="T15" fmla="*/ 0 h 65"/>
                  <a:gd name="T16" fmla="*/ 0 w 89"/>
                  <a:gd name="T17" fmla="*/ 0 h 65"/>
                  <a:gd name="T18" fmla="*/ 0 w 89"/>
                  <a:gd name="T19" fmla="*/ 0 h 65"/>
                  <a:gd name="T20" fmla="*/ 0 w 89"/>
                  <a:gd name="T21" fmla="*/ 0 h 6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89"/>
                  <a:gd name="T34" fmla="*/ 0 h 65"/>
                  <a:gd name="T35" fmla="*/ 89 w 89"/>
                  <a:gd name="T36" fmla="*/ 65 h 6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89" h="65">
                    <a:moveTo>
                      <a:pt x="11" y="0"/>
                    </a:moveTo>
                    <a:lnTo>
                      <a:pt x="9" y="16"/>
                    </a:lnTo>
                    <a:lnTo>
                      <a:pt x="6" y="30"/>
                    </a:lnTo>
                    <a:lnTo>
                      <a:pt x="3" y="46"/>
                    </a:lnTo>
                    <a:lnTo>
                      <a:pt x="0" y="60"/>
                    </a:lnTo>
                    <a:lnTo>
                      <a:pt x="78" y="65"/>
                    </a:lnTo>
                    <a:lnTo>
                      <a:pt x="82" y="50"/>
                    </a:lnTo>
                    <a:lnTo>
                      <a:pt x="85" y="35"/>
                    </a:lnTo>
                    <a:lnTo>
                      <a:pt x="87" y="20"/>
                    </a:lnTo>
                    <a:lnTo>
                      <a:pt x="89" y="5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52" name="Freeform 26"/>
              <p:cNvSpPr>
                <a:spLocks noEditPoints="1"/>
              </p:cNvSpPr>
              <p:nvPr/>
            </p:nvSpPr>
            <p:spPr bwMode="auto">
              <a:xfrm>
                <a:off x="3024" y="1315"/>
                <a:ext cx="76" cy="56"/>
              </a:xfrm>
              <a:custGeom>
                <a:avLst/>
                <a:gdLst>
                  <a:gd name="T0" fmla="*/ 0 w 532"/>
                  <a:gd name="T1" fmla="*/ 0 h 391"/>
                  <a:gd name="T2" fmla="*/ 0 w 532"/>
                  <a:gd name="T3" fmla="*/ 0 h 391"/>
                  <a:gd name="T4" fmla="*/ 0 w 532"/>
                  <a:gd name="T5" fmla="*/ 0 h 391"/>
                  <a:gd name="T6" fmla="*/ 0 w 532"/>
                  <a:gd name="T7" fmla="*/ 0 h 391"/>
                  <a:gd name="T8" fmla="*/ 0 w 532"/>
                  <a:gd name="T9" fmla="*/ 0 h 391"/>
                  <a:gd name="T10" fmla="*/ 0 w 532"/>
                  <a:gd name="T11" fmla="*/ 0 h 391"/>
                  <a:gd name="T12" fmla="*/ 0 w 532"/>
                  <a:gd name="T13" fmla="*/ 0 h 391"/>
                  <a:gd name="T14" fmla="*/ 0 w 532"/>
                  <a:gd name="T15" fmla="*/ 0 h 391"/>
                  <a:gd name="T16" fmla="*/ 0 w 532"/>
                  <a:gd name="T17" fmla="*/ 0 h 391"/>
                  <a:gd name="T18" fmla="*/ 0 w 532"/>
                  <a:gd name="T19" fmla="*/ 0 h 391"/>
                  <a:gd name="T20" fmla="*/ 0 w 532"/>
                  <a:gd name="T21" fmla="*/ 0 h 391"/>
                  <a:gd name="T22" fmla="*/ 0 w 532"/>
                  <a:gd name="T23" fmla="*/ 0 h 391"/>
                  <a:gd name="T24" fmla="*/ 0 w 532"/>
                  <a:gd name="T25" fmla="*/ 0 h 391"/>
                  <a:gd name="T26" fmla="*/ 0 w 532"/>
                  <a:gd name="T27" fmla="*/ 0 h 391"/>
                  <a:gd name="T28" fmla="*/ 0 w 532"/>
                  <a:gd name="T29" fmla="*/ 0 h 391"/>
                  <a:gd name="T30" fmla="*/ 0 w 532"/>
                  <a:gd name="T31" fmla="*/ 0 h 391"/>
                  <a:gd name="T32" fmla="*/ 0 w 532"/>
                  <a:gd name="T33" fmla="*/ 0 h 391"/>
                  <a:gd name="T34" fmla="*/ 0 w 532"/>
                  <a:gd name="T35" fmla="*/ 0 h 391"/>
                  <a:gd name="T36" fmla="*/ 0 w 532"/>
                  <a:gd name="T37" fmla="*/ 0 h 391"/>
                  <a:gd name="T38" fmla="*/ 0 w 532"/>
                  <a:gd name="T39" fmla="*/ 0 h 391"/>
                  <a:gd name="T40" fmla="*/ 0 w 532"/>
                  <a:gd name="T41" fmla="*/ 0 h 391"/>
                  <a:gd name="T42" fmla="*/ 0 w 532"/>
                  <a:gd name="T43" fmla="*/ 0 h 391"/>
                  <a:gd name="T44" fmla="*/ 0 w 532"/>
                  <a:gd name="T45" fmla="*/ 0 h 391"/>
                  <a:gd name="T46" fmla="*/ 0 w 532"/>
                  <a:gd name="T47" fmla="*/ 0 h 391"/>
                  <a:gd name="T48" fmla="*/ 0 w 532"/>
                  <a:gd name="T49" fmla="*/ 0 h 391"/>
                  <a:gd name="T50" fmla="*/ 0 w 532"/>
                  <a:gd name="T51" fmla="*/ 0 h 391"/>
                  <a:gd name="T52" fmla="*/ 0 w 532"/>
                  <a:gd name="T53" fmla="*/ 0 h 391"/>
                  <a:gd name="T54" fmla="*/ 0 w 532"/>
                  <a:gd name="T55" fmla="*/ 0 h 391"/>
                  <a:gd name="T56" fmla="*/ 0 w 532"/>
                  <a:gd name="T57" fmla="*/ 0 h 391"/>
                  <a:gd name="T58" fmla="*/ 0 w 532"/>
                  <a:gd name="T59" fmla="*/ 0 h 391"/>
                  <a:gd name="T60" fmla="*/ 0 w 532"/>
                  <a:gd name="T61" fmla="*/ 0 h 391"/>
                  <a:gd name="T62" fmla="*/ 0 w 532"/>
                  <a:gd name="T63" fmla="*/ 0 h 391"/>
                  <a:gd name="T64" fmla="*/ 0 w 532"/>
                  <a:gd name="T65" fmla="*/ 0 h 391"/>
                  <a:gd name="T66" fmla="*/ 0 w 532"/>
                  <a:gd name="T67" fmla="*/ 0 h 391"/>
                  <a:gd name="T68" fmla="*/ 0 w 532"/>
                  <a:gd name="T69" fmla="*/ 0 h 391"/>
                  <a:gd name="T70" fmla="*/ 0 w 532"/>
                  <a:gd name="T71" fmla="*/ 0 h 391"/>
                  <a:gd name="T72" fmla="*/ 0 w 532"/>
                  <a:gd name="T73" fmla="*/ 0 h 391"/>
                  <a:gd name="T74" fmla="*/ 0 w 532"/>
                  <a:gd name="T75" fmla="*/ 0 h 391"/>
                  <a:gd name="T76" fmla="*/ 0 w 532"/>
                  <a:gd name="T77" fmla="*/ 0 h 391"/>
                  <a:gd name="T78" fmla="*/ 0 w 532"/>
                  <a:gd name="T79" fmla="*/ 0 h 391"/>
                  <a:gd name="T80" fmla="*/ 0 w 532"/>
                  <a:gd name="T81" fmla="*/ 0 h 391"/>
                  <a:gd name="T82" fmla="*/ 0 w 532"/>
                  <a:gd name="T83" fmla="*/ 0 h 391"/>
                  <a:gd name="T84" fmla="*/ 0 w 532"/>
                  <a:gd name="T85" fmla="*/ 0 h 391"/>
                  <a:gd name="T86" fmla="*/ 0 w 532"/>
                  <a:gd name="T87" fmla="*/ 0 h 391"/>
                  <a:gd name="T88" fmla="*/ 0 w 532"/>
                  <a:gd name="T89" fmla="*/ 0 h 391"/>
                  <a:gd name="T90" fmla="*/ 0 w 532"/>
                  <a:gd name="T91" fmla="*/ 0 h 391"/>
                  <a:gd name="T92" fmla="*/ 0 w 532"/>
                  <a:gd name="T93" fmla="*/ 0 h 391"/>
                  <a:gd name="T94" fmla="*/ 0 w 532"/>
                  <a:gd name="T95" fmla="*/ 0 h 391"/>
                  <a:gd name="T96" fmla="*/ 0 w 532"/>
                  <a:gd name="T97" fmla="*/ 0 h 391"/>
                  <a:gd name="T98" fmla="*/ 0 w 532"/>
                  <a:gd name="T99" fmla="*/ 0 h 391"/>
                  <a:gd name="T100" fmla="*/ 0 w 532"/>
                  <a:gd name="T101" fmla="*/ 0 h 391"/>
                  <a:gd name="T102" fmla="*/ 0 w 532"/>
                  <a:gd name="T103" fmla="*/ 0 h 391"/>
                  <a:gd name="T104" fmla="*/ 0 w 532"/>
                  <a:gd name="T105" fmla="*/ 0 h 391"/>
                  <a:gd name="T106" fmla="*/ 0 w 532"/>
                  <a:gd name="T107" fmla="*/ 0 h 391"/>
                  <a:gd name="T108" fmla="*/ 0 w 532"/>
                  <a:gd name="T109" fmla="*/ 0 h 391"/>
                  <a:gd name="T110" fmla="*/ 0 w 532"/>
                  <a:gd name="T111" fmla="*/ 0 h 391"/>
                  <a:gd name="T112" fmla="*/ 0 w 532"/>
                  <a:gd name="T113" fmla="*/ 0 h 391"/>
                  <a:gd name="T114" fmla="*/ 0 w 532"/>
                  <a:gd name="T115" fmla="*/ 0 h 391"/>
                  <a:gd name="T116" fmla="*/ 0 w 532"/>
                  <a:gd name="T117" fmla="*/ 0 h 391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532"/>
                  <a:gd name="T178" fmla="*/ 0 h 391"/>
                  <a:gd name="T179" fmla="*/ 532 w 532"/>
                  <a:gd name="T180" fmla="*/ 391 h 391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532" h="391">
                    <a:moveTo>
                      <a:pt x="519" y="27"/>
                    </a:moveTo>
                    <a:lnTo>
                      <a:pt x="73" y="0"/>
                    </a:lnTo>
                    <a:lnTo>
                      <a:pt x="70" y="14"/>
                    </a:lnTo>
                    <a:lnTo>
                      <a:pt x="64" y="52"/>
                    </a:lnTo>
                    <a:lnTo>
                      <a:pt x="56" y="93"/>
                    </a:lnTo>
                    <a:lnTo>
                      <a:pt x="48" y="134"/>
                    </a:lnTo>
                    <a:lnTo>
                      <a:pt x="41" y="177"/>
                    </a:lnTo>
                    <a:lnTo>
                      <a:pt x="32" y="219"/>
                    </a:lnTo>
                    <a:lnTo>
                      <a:pt x="22" y="262"/>
                    </a:lnTo>
                    <a:lnTo>
                      <a:pt x="13" y="306"/>
                    </a:lnTo>
                    <a:lnTo>
                      <a:pt x="3" y="349"/>
                    </a:lnTo>
                    <a:lnTo>
                      <a:pt x="0" y="363"/>
                    </a:lnTo>
                    <a:lnTo>
                      <a:pt x="472" y="391"/>
                    </a:lnTo>
                    <a:lnTo>
                      <a:pt x="474" y="377"/>
                    </a:lnTo>
                    <a:lnTo>
                      <a:pt x="482" y="338"/>
                    </a:lnTo>
                    <a:lnTo>
                      <a:pt x="490" y="298"/>
                    </a:lnTo>
                    <a:lnTo>
                      <a:pt x="498" y="257"/>
                    </a:lnTo>
                    <a:lnTo>
                      <a:pt x="505" y="216"/>
                    </a:lnTo>
                    <a:lnTo>
                      <a:pt x="511" y="174"/>
                    </a:lnTo>
                    <a:lnTo>
                      <a:pt x="517" y="131"/>
                    </a:lnTo>
                    <a:lnTo>
                      <a:pt x="523" y="86"/>
                    </a:lnTo>
                    <a:lnTo>
                      <a:pt x="531" y="39"/>
                    </a:lnTo>
                    <a:lnTo>
                      <a:pt x="532" y="28"/>
                    </a:lnTo>
                    <a:lnTo>
                      <a:pt x="519" y="27"/>
                    </a:lnTo>
                    <a:close/>
                    <a:moveTo>
                      <a:pt x="501" y="52"/>
                    </a:moveTo>
                    <a:lnTo>
                      <a:pt x="495" y="95"/>
                    </a:lnTo>
                    <a:lnTo>
                      <a:pt x="489" y="136"/>
                    </a:lnTo>
                    <a:lnTo>
                      <a:pt x="483" y="176"/>
                    </a:lnTo>
                    <a:lnTo>
                      <a:pt x="477" y="215"/>
                    </a:lnTo>
                    <a:lnTo>
                      <a:pt x="471" y="252"/>
                    </a:lnTo>
                    <a:lnTo>
                      <a:pt x="464" y="290"/>
                    </a:lnTo>
                    <a:lnTo>
                      <a:pt x="457" y="326"/>
                    </a:lnTo>
                    <a:lnTo>
                      <a:pt x="449" y="363"/>
                    </a:lnTo>
                    <a:lnTo>
                      <a:pt x="425" y="362"/>
                    </a:lnTo>
                    <a:lnTo>
                      <a:pt x="377" y="359"/>
                    </a:lnTo>
                    <a:lnTo>
                      <a:pt x="313" y="355"/>
                    </a:lnTo>
                    <a:lnTo>
                      <a:pt x="241" y="350"/>
                    </a:lnTo>
                    <a:lnTo>
                      <a:pt x="169" y="346"/>
                    </a:lnTo>
                    <a:lnTo>
                      <a:pt x="105" y="342"/>
                    </a:lnTo>
                    <a:lnTo>
                      <a:pt x="57" y="340"/>
                    </a:lnTo>
                    <a:lnTo>
                      <a:pt x="33" y="338"/>
                    </a:lnTo>
                    <a:lnTo>
                      <a:pt x="34" y="336"/>
                    </a:lnTo>
                    <a:lnTo>
                      <a:pt x="35" y="333"/>
                    </a:lnTo>
                    <a:lnTo>
                      <a:pt x="44" y="293"/>
                    </a:lnTo>
                    <a:lnTo>
                      <a:pt x="52" y="254"/>
                    </a:lnTo>
                    <a:lnTo>
                      <a:pt x="61" y="215"/>
                    </a:lnTo>
                    <a:lnTo>
                      <a:pt x="68" y="176"/>
                    </a:lnTo>
                    <a:lnTo>
                      <a:pt x="75" y="137"/>
                    </a:lnTo>
                    <a:lnTo>
                      <a:pt x="82" y="100"/>
                    </a:lnTo>
                    <a:lnTo>
                      <a:pt x="88" y="64"/>
                    </a:lnTo>
                    <a:lnTo>
                      <a:pt x="96" y="28"/>
                    </a:lnTo>
                    <a:lnTo>
                      <a:pt x="119" y="30"/>
                    </a:lnTo>
                    <a:lnTo>
                      <a:pt x="166" y="32"/>
                    </a:lnTo>
                    <a:lnTo>
                      <a:pt x="229" y="36"/>
                    </a:lnTo>
                    <a:lnTo>
                      <a:pt x="299" y="40"/>
                    </a:lnTo>
                    <a:lnTo>
                      <a:pt x="370" y="44"/>
                    </a:lnTo>
                    <a:lnTo>
                      <a:pt x="432" y="48"/>
                    </a:lnTo>
                    <a:lnTo>
                      <a:pt x="478" y="51"/>
                    </a:lnTo>
                    <a:lnTo>
                      <a:pt x="501" y="52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53" name="Freeform 27"/>
              <p:cNvSpPr>
                <a:spLocks/>
              </p:cNvSpPr>
              <p:nvPr/>
            </p:nvSpPr>
            <p:spPr bwMode="auto">
              <a:xfrm>
                <a:off x="3058" y="1251"/>
                <a:ext cx="39" cy="33"/>
              </a:xfrm>
              <a:custGeom>
                <a:avLst/>
                <a:gdLst>
                  <a:gd name="T0" fmla="*/ 0 w 270"/>
                  <a:gd name="T1" fmla="*/ 0 h 232"/>
                  <a:gd name="T2" fmla="*/ 0 w 270"/>
                  <a:gd name="T3" fmla="*/ 0 h 232"/>
                  <a:gd name="T4" fmla="*/ 0 w 270"/>
                  <a:gd name="T5" fmla="*/ 0 h 232"/>
                  <a:gd name="T6" fmla="*/ 0 w 270"/>
                  <a:gd name="T7" fmla="*/ 0 h 232"/>
                  <a:gd name="T8" fmla="*/ 0 w 270"/>
                  <a:gd name="T9" fmla="*/ 0 h 23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70"/>
                  <a:gd name="T16" fmla="*/ 0 h 232"/>
                  <a:gd name="T17" fmla="*/ 270 w 270"/>
                  <a:gd name="T18" fmla="*/ 232 h 23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70" h="232">
                    <a:moveTo>
                      <a:pt x="136" y="232"/>
                    </a:moveTo>
                    <a:lnTo>
                      <a:pt x="0" y="116"/>
                    </a:lnTo>
                    <a:lnTo>
                      <a:pt x="136" y="0"/>
                    </a:lnTo>
                    <a:lnTo>
                      <a:pt x="270" y="116"/>
                    </a:lnTo>
                    <a:lnTo>
                      <a:pt x="136" y="232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54" name="Freeform 28"/>
              <p:cNvSpPr>
                <a:spLocks/>
              </p:cNvSpPr>
              <p:nvPr/>
            </p:nvSpPr>
            <p:spPr bwMode="auto">
              <a:xfrm>
                <a:off x="3065" y="1213"/>
                <a:ext cx="25" cy="22"/>
              </a:xfrm>
              <a:custGeom>
                <a:avLst/>
                <a:gdLst>
                  <a:gd name="T0" fmla="*/ 0 w 172"/>
                  <a:gd name="T1" fmla="*/ 0 h 148"/>
                  <a:gd name="T2" fmla="*/ 0 w 172"/>
                  <a:gd name="T3" fmla="*/ 0 h 148"/>
                  <a:gd name="T4" fmla="*/ 0 w 172"/>
                  <a:gd name="T5" fmla="*/ 0 h 148"/>
                  <a:gd name="T6" fmla="*/ 0 w 172"/>
                  <a:gd name="T7" fmla="*/ 0 h 148"/>
                  <a:gd name="T8" fmla="*/ 0 w 172"/>
                  <a:gd name="T9" fmla="*/ 0 h 1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2"/>
                  <a:gd name="T16" fmla="*/ 0 h 148"/>
                  <a:gd name="T17" fmla="*/ 172 w 172"/>
                  <a:gd name="T18" fmla="*/ 148 h 1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2" h="148">
                    <a:moveTo>
                      <a:pt x="87" y="148"/>
                    </a:moveTo>
                    <a:lnTo>
                      <a:pt x="0" y="74"/>
                    </a:lnTo>
                    <a:lnTo>
                      <a:pt x="87" y="0"/>
                    </a:lnTo>
                    <a:lnTo>
                      <a:pt x="172" y="74"/>
                    </a:lnTo>
                    <a:lnTo>
                      <a:pt x="87" y="148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55" name="Freeform 29"/>
              <p:cNvSpPr>
                <a:spLocks/>
              </p:cNvSpPr>
              <p:nvPr/>
            </p:nvSpPr>
            <p:spPr bwMode="auto">
              <a:xfrm>
                <a:off x="3068" y="1178"/>
                <a:ext cx="18" cy="16"/>
              </a:xfrm>
              <a:custGeom>
                <a:avLst/>
                <a:gdLst>
                  <a:gd name="T0" fmla="*/ 0 w 127"/>
                  <a:gd name="T1" fmla="*/ 0 h 110"/>
                  <a:gd name="T2" fmla="*/ 0 w 127"/>
                  <a:gd name="T3" fmla="*/ 0 h 110"/>
                  <a:gd name="T4" fmla="*/ 0 w 127"/>
                  <a:gd name="T5" fmla="*/ 0 h 110"/>
                  <a:gd name="T6" fmla="*/ 0 w 127"/>
                  <a:gd name="T7" fmla="*/ 0 h 110"/>
                  <a:gd name="T8" fmla="*/ 0 w 127"/>
                  <a:gd name="T9" fmla="*/ 0 h 1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27"/>
                  <a:gd name="T16" fmla="*/ 0 h 110"/>
                  <a:gd name="T17" fmla="*/ 127 w 127"/>
                  <a:gd name="T18" fmla="*/ 110 h 1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27" h="110">
                    <a:moveTo>
                      <a:pt x="64" y="110"/>
                    </a:moveTo>
                    <a:lnTo>
                      <a:pt x="0" y="55"/>
                    </a:lnTo>
                    <a:lnTo>
                      <a:pt x="64" y="0"/>
                    </a:lnTo>
                    <a:lnTo>
                      <a:pt x="127" y="55"/>
                    </a:lnTo>
                    <a:lnTo>
                      <a:pt x="64" y="110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56" name="Freeform 30"/>
              <p:cNvSpPr>
                <a:spLocks/>
              </p:cNvSpPr>
              <p:nvPr/>
            </p:nvSpPr>
            <p:spPr bwMode="auto">
              <a:xfrm>
                <a:off x="3073" y="1149"/>
                <a:ext cx="9" cy="8"/>
              </a:xfrm>
              <a:custGeom>
                <a:avLst/>
                <a:gdLst>
                  <a:gd name="T0" fmla="*/ 0 w 67"/>
                  <a:gd name="T1" fmla="*/ 0 h 57"/>
                  <a:gd name="T2" fmla="*/ 0 w 67"/>
                  <a:gd name="T3" fmla="*/ 0 h 57"/>
                  <a:gd name="T4" fmla="*/ 0 w 67"/>
                  <a:gd name="T5" fmla="*/ 0 h 57"/>
                  <a:gd name="T6" fmla="*/ 0 w 67"/>
                  <a:gd name="T7" fmla="*/ 0 h 57"/>
                  <a:gd name="T8" fmla="*/ 0 w 67"/>
                  <a:gd name="T9" fmla="*/ 0 h 5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7"/>
                  <a:gd name="T16" fmla="*/ 0 h 57"/>
                  <a:gd name="T17" fmla="*/ 67 w 67"/>
                  <a:gd name="T18" fmla="*/ 57 h 5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7" h="57">
                    <a:moveTo>
                      <a:pt x="34" y="57"/>
                    </a:moveTo>
                    <a:lnTo>
                      <a:pt x="0" y="29"/>
                    </a:lnTo>
                    <a:lnTo>
                      <a:pt x="34" y="0"/>
                    </a:lnTo>
                    <a:lnTo>
                      <a:pt x="67" y="29"/>
                    </a:lnTo>
                    <a:lnTo>
                      <a:pt x="34" y="57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57" name="Freeform 31"/>
              <p:cNvSpPr>
                <a:spLocks/>
              </p:cNvSpPr>
              <p:nvPr/>
            </p:nvSpPr>
            <p:spPr bwMode="auto">
              <a:xfrm>
                <a:off x="3976" y="963"/>
                <a:ext cx="220" cy="780"/>
              </a:xfrm>
              <a:custGeom>
                <a:avLst/>
                <a:gdLst>
                  <a:gd name="T0" fmla="*/ 0 w 1538"/>
                  <a:gd name="T1" fmla="*/ 0 h 5457"/>
                  <a:gd name="T2" fmla="*/ 0 w 1538"/>
                  <a:gd name="T3" fmla="*/ 0 h 5457"/>
                  <a:gd name="T4" fmla="*/ 0 w 1538"/>
                  <a:gd name="T5" fmla="*/ 0 h 5457"/>
                  <a:gd name="T6" fmla="*/ 0 w 1538"/>
                  <a:gd name="T7" fmla="*/ 0 h 5457"/>
                  <a:gd name="T8" fmla="*/ 0 w 1538"/>
                  <a:gd name="T9" fmla="*/ 0 h 5457"/>
                  <a:gd name="T10" fmla="*/ 0 w 1538"/>
                  <a:gd name="T11" fmla="*/ 0 h 5457"/>
                  <a:gd name="T12" fmla="*/ 0 w 1538"/>
                  <a:gd name="T13" fmla="*/ 0 h 5457"/>
                  <a:gd name="T14" fmla="*/ 0 w 1538"/>
                  <a:gd name="T15" fmla="*/ 0 h 5457"/>
                  <a:gd name="T16" fmla="*/ 0 w 1538"/>
                  <a:gd name="T17" fmla="*/ 0 h 5457"/>
                  <a:gd name="T18" fmla="*/ 0 w 1538"/>
                  <a:gd name="T19" fmla="*/ 0 h 5457"/>
                  <a:gd name="T20" fmla="*/ 0 w 1538"/>
                  <a:gd name="T21" fmla="*/ 0 h 5457"/>
                  <a:gd name="T22" fmla="*/ 0 w 1538"/>
                  <a:gd name="T23" fmla="*/ 0 h 5457"/>
                  <a:gd name="T24" fmla="*/ 0 w 1538"/>
                  <a:gd name="T25" fmla="*/ 0 h 5457"/>
                  <a:gd name="T26" fmla="*/ 0 w 1538"/>
                  <a:gd name="T27" fmla="*/ 0 h 5457"/>
                  <a:gd name="T28" fmla="*/ 0 w 1538"/>
                  <a:gd name="T29" fmla="*/ 0 h 5457"/>
                  <a:gd name="T30" fmla="*/ 0 w 1538"/>
                  <a:gd name="T31" fmla="*/ 0 h 5457"/>
                  <a:gd name="T32" fmla="*/ 0 w 1538"/>
                  <a:gd name="T33" fmla="*/ 0 h 5457"/>
                  <a:gd name="T34" fmla="*/ 0 w 1538"/>
                  <a:gd name="T35" fmla="*/ 0 h 5457"/>
                  <a:gd name="T36" fmla="*/ 0 w 1538"/>
                  <a:gd name="T37" fmla="*/ 0 h 5457"/>
                  <a:gd name="T38" fmla="*/ 0 w 1538"/>
                  <a:gd name="T39" fmla="*/ 0 h 5457"/>
                  <a:gd name="T40" fmla="*/ 0 w 1538"/>
                  <a:gd name="T41" fmla="*/ 0 h 5457"/>
                  <a:gd name="T42" fmla="*/ 0 w 1538"/>
                  <a:gd name="T43" fmla="*/ 0 h 5457"/>
                  <a:gd name="T44" fmla="*/ 0 w 1538"/>
                  <a:gd name="T45" fmla="*/ 0 h 5457"/>
                  <a:gd name="T46" fmla="*/ 0 w 1538"/>
                  <a:gd name="T47" fmla="*/ 0 h 5457"/>
                  <a:gd name="T48" fmla="*/ 0 w 1538"/>
                  <a:gd name="T49" fmla="*/ 0 h 5457"/>
                  <a:gd name="T50" fmla="*/ 0 w 1538"/>
                  <a:gd name="T51" fmla="*/ 0 h 5457"/>
                  <a:gd name="T52" fmla="*/ 0 w 1538"/>
                  <a:gd name="T53" fmla="*/ 0 h 5457"/>
                  <a:gd name="T54" fmla="*/ 0 w 1538"/>
                  <a:gd name="T55" fmla="*/ 0 h 5457"/>
                  <a:gd name="T56" fmla="*/ 0 w 1538"/>
                  <a:gd name="T57" fmla="*/ 0 h 5457"/>
                  <a:gd name="T58" fmla="*/ 0 w 1538"/>
                  <a:gd name="T59" fmla="*/ 0 h 5457"/>
                  <a:gd name="T60" fmla="*/ 0 w 1538"/>
                  <a:gd name="T61" fmla="*/ 0 h 5457"/>
                  <a:gd name="T62" fmla="*/ 0 w 1538"/>
                  <a:gd name="T63" fmla="*/ 0 h 5457"/>
                  <a:gd name="T64" fmla="*/ 0 w 1538"/>
                  <a:gd name="T65" fmla="*/ 0 h 5457"/>
                  <a:gd name="T66" fmla="*/ 0 w 1538"/>
                  <a:gd name="T67" fmla="*/ 0 h 5457"/>
                  <a:gd name="T68" fmla="*/ 0 w 1538"/>
                  <a:gd name="T69" fmla="*/ 0 h 5457"/>
                  <a:gd name="T70" fmla="*/ 0 w 1538"/>
                  <a:gd name="T71" fmla="*/ 0 h 5457"/>
                  <a:gd name="T72" fmla="*/ 0 w 1538"/>
                  <a:gd name="T73" fmla="*/ 0 h 5457"/>
                  <a:gd name="T74" fmla="*/ 0 w 1538"/>
                  <a:gd name="T75" fmla="*/ 0 h 5457"/>
                  <a:gd name="T76" fmla="*/ 0 w 1538"/>
                  <a:gd name="T77" fmla="*/ 0 h 5457"/>
                  <a:gd name="T78" fmla="*/ 0 w 1538"/>
                  <a:gd name="T79" fmla="*/ 0 h 5457"/>
                  <a:gd name="T80" fmla="*/ 0 w 1538"/>
                  <a:gd name="T81" fmla="*/ 0 h 5457"/>
                  <a:gd name="T82" fmla="*/ 0 w 1538"/>
                  <a:gd name="T83" fmla="*/ 0 h 5457"/>
                  <a:gd name="T84" fmla="*/ 0 w 1538"/>
                  <a:gd name="T85" fmla="*/ 0 h 5457"/>
                  <a:gd name="T86" fmla="*/ 0 w 1538"/>
                  <a:gd name="T87" fmla="*/ 0 h 5457"/>
                  <a:gd name="T88" fmla="*/ 0 w 1538"/>
                  <a:gd name="T89" fmla="*/ 0 h 5457"/>
                  <a:gd name="T90" fmla="*/ 0 w 1538"/>
                  <a:gd name="T91" fmla="*/ 0 h 5457"/>
                  <a:gd name="T92" fmla="*/ 0 w 1538"/>
                  <a:gd name="T93" fmla="*/ 0 h 5457"/>
                  <a:gd name="T94" fmla="*/ 0 w 1538"/>
                  <a:gd name="T95" fmla="*/ 0 h 5457"/>
                  <a:gd name="T96" fmla="*/ 0 w 1538"/>
                  <a:gd name="T97" fmla="*/ 0 h 5457"/>
                  <a:gd name="T98" fmla="*/ 0 w 1538"/>
                  <a:gd name="T99" fmla="*/ 0 h 5457"/>
                  <a:gd name="T100" fmla="*/ 0 w 1538"/>
                  <a:gd name="T101" fmla="*/ 0 h 5457"/>
                  <a:gd name="T102" fmla="*/ 0 w 1538"/>
                  <a:gd name="T103" fmla="*/ 0 h 5457"/>
                  <a:gd name="T104" fmla="*/ 0 w 1538"/>
                  <a:gd name="T105" fmla="*/ 0 h 5457"/>
                  <a:gd name="T106" fmla="*/ 0 w 1538"/>
                  <a:gd name="T107" fmla="*/ 0 h 5457"/>
                  <a:gd name="T108" fmla="*/ 0 w 1538"/>
                  <a:gd name="T109" fmla="*/ 0 h 5457"/>
                  <a:gd name="T110" fmla="*/ 0 w 1538"/>
                  <a:gd name="T111" fmla="*/ 0 h 5457"/>
                  <a:gd name="T112" fmla="*/ 0 w 1538"/>
                  <a:gd name="T113" fmla="*/ 0 h 5457"/>
                  <a:gd name="T114" fmla="*/ 0 w 1538"/>
                  <a:gd name="T115" fmla="*/ 0 h 5457"/>
                  <a:gd name="T116" fmla="*/ 0 w 1538"/>
                  <a:gd name="T117" fmla="*/ 0 h 5457"/>
                  <a:gd name="T118" fmla="*/ 0 w 1538"/>
                  <a:gd name="T119" fmla="*/ 0 h 5457"/>
                  <a:gd name="T120" fmla="*/ 0 w 1538"/>
                  <a:gd name="T121" fmla="*/ 0 h 5457"/>
                  <a:gd name="T122" fmla="*/ 0 w 1538"/>
                  <a:gd name="T123" fmla="*/ 0 h 5457"/>
                  <a:gd name="T124" fmla="*/ 0 w 1538"/>
                  <a:gd name="T125" fmla="*/ 0 h 5457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538"/>
                  <a:gd name="T190" fmla="*/ 0 h 5457"/>
                  <a:gd name="T191" fmla="*/ 1538 w 1538"/>
                  <a:gd name="T192" fmla="*/ 5457 h 5457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538" h="5457">
                    <a:moveTo>
                      <a:pt x="1380" y="5451"/>
                    </a:moveTo>
                    <a:lnTo>
                      <a:pt x="1405" y="5366"/>
                    </a:lnTo>
                    <a:lnTo>
                      <a:pt x="1428" y="5283"/>
                    </a:lnTo>
                    <a:lnTo>
                      <a:pt x="1448" y="5201"/>
                    </a:lnTo>
                    <a:lnTo>
                      <a:pt x="1466" y="5119"/>
                    </a:lnTo>
                    <a:lnTo>
                      <a:pt x="1483" y="5038"/>
                    </a:lnTo>
                    <a:lnTo>
                      <a:pt x="1497" y="4958"/>
                    </a:lnTo>
                    <a:lnTo>
                      <a:pt x="1510" y="4878"/>
                    </a:lnTo>
                    <a:lnTo>
                      <a:pt x="1519" y="4800"/>
                    </a:lnTo>
                    <a:lnTo>
                      <a:pt x="1527" y="4721"/>
                    </a:lnTo>
                    <a:lnTo>
                      <a:pt x="1532" y="4643"/>
                    </a:lnTo>
                    <a:lnTo>
                      <a:pt x="1536" y="4566"/>
                    </a:lnTo>
                    <a:lnTo>
                      <a:pt x="1538" y="4488"/>
                    </a:lnTo>
                    <a:lnTo>
                      <a:pt x="1537" y="4411"/>
                    </a:lnTo>
                    <a:lnTo>
                      <a:pt x="1535" y="4333"/>
                    </a:lnTo>
                    <a:lnTo>
                      <a:pt x="1531" y="4257"/>
                    </a:lnTo>
                    <a:lnTo>
                      <a:pt x="1524" y="4179"/>
                    </a:lnTo>
                    <a:lnTo>
                      <a:pt x="1516" y="4102"/>
                    </a:lnTo>
                    <a:lnTo>
                      <a:pt x="1505" y="4023"/>
                    </a:lnTo>
                    <a:lnTo>
                      <a:pt x="1493" y="3944"/>
                    </a:lnTo>
                    <a:lnTo>
                      <a:pt x="1479" y="3866"/>
                    </a:lnTo>
                    <a:lnTo>
                      <a:pt x="1462" y="3786"/>
                    </a:lnTo>
                    <a:lnTo>
                      <a:pt x="1443" y="3707"/>
                    </a:lnTo>
                    <a:lnTo>
                      <a:pt x="1423" y="3626"/>
                    </a:lnTo>
                    <a:lnTo>
                      <a:pt x="1400" y="3544"/>
                    </a:lnTo>
                    <a:lnTo>
                      <a:pt x="1375" y="3461"/>
                    </a:lnTo>
                    <a:lnTo>
                      <a:pt x="1349" y="3378"/>
                    </a:lnTo>
                    <a:lnTo>
                      <a:pt x="1320" y="3293"/>
                    </a:lnTo>
                    <a:lnTo>
                      <a:pt x="1290" y="3207"/>
                    </a:lnTo>
                    <a:lnTo>
                      <a:pt x="1257" y="3120"/>
                    </a:lnTo>
                    <a:lnTo>
                      <a:pt x="1223" y="3032"/>
                    </a:lnTo>
                    <a:lnTo>
                      <a:pt x="1187" y="2942"/>
                    </a:lnTo>
                    <a:lnTo>
                      <a:pt x="1149" y="2850"/>
                    </a:lnTo>
                    <a:lnTo>
                      <a:pt x="1114" y="2762"/>
                    </a:lnTo>
                    <a:lnTo>
                      <a:pt x="1082" y="2675"/>
                    </a:lnTo>
                    <a:lnTo>
                      <a:pt x="1054" y="2587"/>
                    </a:lnTo>
                    <a:lnTo>
                      <a:pt x="1028" y="2498"/>
                    </a:lnTo>
                    <a:lnTo>
                      <a:pt x="1006" y="2411"/>
                    </a:lnTo>
                    <a:lnTo>
                      <a:pt x="988" y="2323"/>
                    </a:lnTo>
                    <a:lnTo>
                      <a:pt x="971" y="2235"/>
                    </a:lnTo>
                    <a:lnTo>
                      <a:pt x="958" y="2147"/>
                    </a:lnTo>
                    <a:lnTo>
                      <a:pt x="947" y="2059"/>
                    </a:lnTo>
                    <a:lnTo>
                      <a:pt x="939" y="1971"/>
                    </a:lnTo>
                    <a:lnTo>
                      <a:pt x="932" y="1884"/>
                    </a:lnTo>
                    <a:lnTo>
                      <a:pt x="928" y="1797"/>
                    </a:lnTo>
                    <a:lnTo>
                      <a:pt x="926" y="1709"/>
                    </a:lnTo>
                    <a:lnTo>
                      <a:pt x="925" y="1621"/>
                    </a:lnTo>
                    <a:lnTo>
                      <a:pt x="926" y="1532"/>
                    </a:lnTo>
                    <a:lnTo>
                      <a:pt x="928" y="1444"/>
                    </a:lnTo>
                    <a:lnTo>
                      <a:pt x="931" y="1356"/>
                    </a:lnTo>
                    <a:lnTo>
                      <a:pt x="935" y="1267"/>
                    </a:lnTo>
                    <a:lnTo>
                      <a:pt x="940" y="1179"/>
                    </a:lnTo>
                    <a:lnTo>
                      <a:pt x="945" y="1090"/>
                    </a:lnTo>
                    <a:lnTo>
                      <a:pt x="958" y="912"/>
                    </a:lnTo>
                    <a:lnTo>
                      <a:pt x="971" y="733"/>
                    </a:lnTo>
                    <a:lnTo>
                      <a:pt x="978" y="643"/>
                    </a:lnTo>
                    <a:lnTo>
                      <a:pt x="985" y="553"/>
                    </a:lnTo>
                    <a:lnTo>
                      <a:pt x="990" y="462"/>
                    </a:lnTo>
                    <a:lnTo>
                      <a:pt x="995" y="371"/>
                    </a:lnTo>
                    <a:lnTo>
                      <a:pt x="999" y="280"/>
                    </a:lnTo>
                    <a:lnTo>
                      <a:pt x="1002" y="188"/>
                    </a:lnTo>
                    <a:lnTo>
                      <a:pt x="1004" y="96"/>
                    </a:lnTo>
                    <a:lnTo>
                      <a:pt x="1005" y="3"/>
                    </a:lnTo>
                    <a:lnTo>
                      <a:pt x="187" y="0"/>
                    </a:lnTo>
                    <a:lnTo>
                      <a:pt x="182" y="92"/>
                    </a:lnTo>
                    <a:lnTo>
                      <a:pt x="175" y="184"/>
                    </a:lnTo>
                    <a:lnTo>
                      <a:pt x="168" y="276"/>
                    </a:lnTo>
                    <a:lnTo>
                      <a:pt x="159" y="367"/>
                    </a:lnTo>
                    <a:lnTo>
                      <a:pt x="149" y="457"/>
                    </a:lnTo>
                    <a:lnTo>
                      <a:pt x="138" y="548"/>
                    </a:lnTo>
                    <a:lnTo>
                      <a:pt x="127" y="638"/>
                    </a:lnTo>
                    <a:lnTo>
                      <a:pt x="114" y="726"/>
                    </a:lnTo>
                    <a:lnTo>
                      <a:pt x="91" y="905"/>
                    </a:lnTo>
                    <a:lnTo>
                      <a:pt x="66" y="1082"/>
                    </a:lnTo>
                    <a:lnTo>
                      <a:pt x="55" y="1171"/>
                    </a:lnTo>
                    <a:lnTo>
                      <a:pt x="43" y="1259"/>
                    </a:lnTo>
                    <a:lnTo>
                      <a:pt x="33" y="1347"/>
                    </a:lnTo>
                    <a:lnTo>
                      <a:pt x="24" y="1435"/>
                    </a:lnTo>
                    <a:lnTo>
                      <a:pt x="16" y="1523"/>
                    </a:lnTo>
                    <a:lnTo>
                      <a:pt x="9" y="1610"/>
                    </a:lnTo>
                    <a:lnTo>
                      <a:pt x="4" y="1697"/>
                    </a:lnTo>
                    <a:lnTo>
                      <a:pt x="1" y="1785"/>
                    </a:lnTo>
                    <a:lnTo>
                      <a:pt x="0" y="1873"/>
                    </a:lnTo>
                    <a:lnTo>
                      <a:pt x="0" y="1961"/>
                    </a:lnTo>
                    <a:lnTo>
                      <a:pt x="3" y="2048"/>
                    </a:lnTo>
                    <a:lnTo>
                      <a:pt x="8" y="2136"/>
                    </a:lnTo>
                    <a:lnTo>
                      <a:pt x="16" y="2224"/>
                    </a:lnTo>
                    <a:lnTo>
                      <a:pt x="28" y="2312"/>
                    </a:lnTo>
                    <a:lnTo>
                      <a:pt x="41" y="2401"/>
                    </a:lnTo>
                    <a:lnTo>
                      <a:pt x="59" y="2488"/>
                    </a:lnTo>
                    <a:lnTo>
                      <a:pt x="78" y="2577"/>
                    </a:lnTo>
                    <a:lnTo>
                      <a:pt x="103" y="2666"/>
                    </a:lnTo>
                    <a:lnTo>
                      <a:pt x="131" y="2755"/>
                    </a:lnTo>
                    <a:lnTo>
                      <a:pt x="162" y="2844"/>
                    </a:lnTo>
                    <a:lnTo>
                      <a:pt x="197" y="2938"/>
                    </a:lnTo>
                    <a:lnTo>
                      <a:pt x="229" y="3031"/>
                    </a:lnTo>
                    <a:lnTo>
                      <a:pt x="259" y="3122"/>
                    </a:lnTo>
                    <a:lnTo>
                      <a:pt x="287" y="3211"/>
                    </a:lnTo>
                    <a:lnTo>
                      <a:pt x="312" y="3298"/>
                    </a:lnTo>
                    <a:lnTo>
                      <a:pt x="335" y="3384"/>
                    </a:lnTo>
                    <a:lnTo>
                      <a:pt x="354" y="3469"/>
                    </a:lnTo>
                    <a:lnTo>
                      <a:pt x="373" y="3552"/>
                    </a:lnTo>
                    <a:lnTo>
                      <a:pt x="388" y="3634"/>
                    </a:lnTo>
                    <a:lnTo>
                      <a:pt x="402" y="3716"/>
                    </a:lnTo>
                    <a:lnTo>
                      <a:pt x="412" y="3795"/>
                    </a:lnTo>
                    <a:lnTo>
                      <a:pt x="421" y="3875"/>
                    </a:lnTo>
                    <a:lnTo>
                      <a:pt x="428" y="3954"/>
                    </a:lnTo>
                    <a:lnTo>
                      <a:pt x="433" y="4031"/>
                    </a:lnTo>
                    <a:lnTo>
                      <a:pt x="435" y="4109"/>
                    </a:lnTo>
                    <a:lnTo>
                      <a:pt x="435" y="4186"/>
                    </a:lnTo>
                    <a:lnTo>
                      <a:pt x="434" y="4263"/>
                    </a:lnTo>
                    <a:lnTo>
                      <a:pt x="430" y="4340"/>
                    </a:lnTo>
                    <a:lnTo>
                      <a:pt x="424" y="4417"/>
                    </a:lnTo>
                    <a:lnTo>
                      <a:pt x="416" y="4493"/>
                    </a:lnTo>
                    <a:lnTo>
                      <a:pt x="407" y="4570"/>
                    </a:lnTo>
                    <a:lnTo>
                      <a:pt x="394" y="4648"/>
                    </a:lnTo>
                    <a:lnTo>
                      <a:pt x="381" y="4725"/>
                    </a:lnTo>
                    <a:lnTo>
                      <a:pt x="366" y="4803"/>
                    </a:lnTo>
                    <a:lnTo>
                      <a:pt x="349" y="4881"/>
                    </a:lnTo>
                    <a:lnTo>
                      <a:pt x="329" y="4961"/>
                    </a:lnTo>
                    <a:lnTo>
                      <a:pt x="309" y="5040"/>
                    </a:lnTo>
                    <a:lnTo>
                      <a:pt x="286" y="5122"/>
                    </a:lnTo>
                    <a:lnTo>
                      <a:pt x="262" y="5204"/>
                    </a:lnTo>
                    <a:lnTo>
                      <a:pt x="236" y="5287"/>
                    </a:lnTo>
                    <a:lnTo>
                      <a:pt x="208" y="5371"/>
                    </a:lnTo>
                    <a:lnTo>
                      <a:pt x="180" y="5457"/>
                    </a:lnTo>
                    <a:lnTo>
                      <a:pt x="1380" y="5451"/>
                    </a:lnTo>
                    <a:close/>
                  </a:path>
                </a:pathLst>
              </a:custGeom>
              <a:solidFill>
                <a:srgbClr val="CB38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58" name="Freeform 32"/>
              <p:cNvSpPr>
                <a:spLocks/>
              </p:cNvSpPr>
              <p:nvPr/>
            </p:nvSpPr>
            <p:spPr bwMode="auto">
              <a:xfrm>
                <a:off x="3991" y="963"/>
                <a:ext cx="108" cy="108"/>
              </a:xfrm>
              <a:custGeom>
                <a:avLst/>
                <a:gdLst>
                  <a:gd name="T0" fmla="*/ 0 w 758"/>
                  <a:gd name="T1" fmla="*/ 0 h 756"/>
                  <a:gd name="T2" fmla="*/ 0 w 758"/>
                  <a:gd name="T3" fmla="*/ 0 h 756"/>
                  <a:gd name="T4" fmla="*/ 0 w 758"/>
                  <a:gd name="T5" fmla="*/ 0 h 756"/>
                  <a:gd name="T6" fmla="*/ 0 w 758"/>
                  <a:gd name="T7" fmla="*/ 0 h 756"/>
                  <a:gd name="T8" fmla="*/ 0 w 758"/>
                  <a:gd name="T9" fmla="*/ 0 h 756"/>
                  <a:gd name="T10" fmla="*/ 0 w 758"/>
                  <a:gd name="T11" fmla="*/ 0 h 756"/>
                  <a:gd name="T12" fmla="*/ 0 w 758"/>
                  <a:gd name="T13" fmla="*/ 0 h 756"/>
                  <a:gd name="T14" fmla="*/ 0 w 758"/>
                  <a:gd name="T15" fmla="*/ 0 h 756"/>
                  <a:gd name="T16" fmla="*/ 0 w 758"/>
                  <a:gd name="T17" fmla="*/ 0 h 756"/>
                  <a:gd name="T18" fmla="*/ 0 w 758"/>
                  <a:gd name="T19" fmla="*/ 0 h 756"/>
                  <a:gd name="T20" fmla="*/ 0 w 758"/>
                  <a:gd name="T21" fmla="*/ 0 h 756"/>
                  <a:gd name="T22" fmla="*/ 0 w 758"/>
                  <a:gd name="T23" fmla="*/ 0 h 756"/>
                  <a:gd name="T24" fmla="*/ 0 w 758"/>
                  <a:gd name="T25" fmla="*/ 0 h 756"/>
                  <a:gd name="T26" fmla="*/ 0 w 758"/>
                  <a:gd name="T27" fmla="*/ 0 h 756"/>
                  <a:gd name="T28" fmla="*/ 0 w 758"/>
                  <a:gd name="T29" fmla="*/ 0 h 756"/>
                  <a:gd name="T30" fmla="*/ 0 w 758"/>
                  <a:gd name="T31" fmla="*/ 0 h 756"/>
                  <a:gd name="T32" fmla="*/ 0 w 758"/>
                  <a:gd name="T33" fmla="*/ 0 h 756"/>
                  <a:gd name="T34" fmla="*/ 0 w 758"/>
                  <a:gd name="T35" fmla="*/ 0 h 756"/>
                  <a:gd name="T36" fmla="*/ 0 w 758"/>
                  <a:gd name="T37" fmla="*/ 0 h 756"/>
                  <a:gd name="T38" fmla="*/ 0 w 758"/>
                  <a:gd name="T39" fmla="*/ 0 h 756"/>
                  <a:gd name="T40" fmla="*/ 0 w 758"/>
                  <a:gd name="T41" fmla="*/ 0 h 756"/>
                  <a:gd name="T42" fmla="*/ 0 w 758"/>
                  <a:gd name="T43" fmla="*/ 0 h 756"/>
                  <a:gd name="T44" fmla="*/ 0 w 758"/>
                  <a:gd name="T45" fmla="*/ 0 h 756"/>
                  <a:gd name="T46" fmla="*/ 0 w 758"/>
                  <a:gd name="T47" fmla="*/ 0 h 756"/>
                  <a:gd name="T48" fmla="*/ 0 w 758"/>
                  <a:gd name="T49" fmla="*/ 0 h 756"/>
                  <a:gd name="T50" fmla="*/ 0 w 758"/>
                  <a:gd name="T51" fmla="*/ 0 h 756"/>
                  <a:gd name="T52" fmla="*/ 0 w 758"/>
                  <a:gd name="T53" fmla="*/ 0 h 756"/>
                  <a:gd name="T54" fmla="*/ 0 w 758"/>
                  <a:gd name="T55" fmla="*/ 0 h 756"/>
                  <a:gd name="T56" fmla="*/ 0 w 758"/>
                  <a:gd name="T57" fmla="*/ 0 h 756"/>
                  <a:gd name="T58" fmla="*/ 0 w 758"/>
                  <a:gd name="T59" fmla="*/ 0 h 756"/>
                  <a:gd name="T60" fmla="*/ 0 w 758"/>
                  <a:gd name="T61" fmla="*/ 0 h 756"/>
                  <a:gd name="T62" fmla="*/ 0 w 758"/>
                  <a:gd name="T63" fmla="*/ 0 h 756"/>
                  <a:gd name="T64" fmla="*/ 0 w 758"/>
                  <a:gd name="T65" fmla="*/ 0 h 756"/>
                  <a:gd name="T66" fmla="*/ 0 w 758"/>
                  <a:gd name="T67" fmla="*/ 0 h 756"/>
                  <a:gd name="T68" fmla="*/ 0 w 758"/>
                  <a:gd name="T69" fmla="*/ 0 h 756"/>
                  <a:gd name="T70" fmla="*/ 0 w 758"/>
                  <a:gd name="T71" fmla="*/ 0 h 756"/>
                  <a:gd name="T72" fmla="*/ 0 w 758"/>
                  <a:gd name="T73" fmla="*/ 0 h 756"/>
                  <a:gd name="T74" fmla="*/ 0 w 758"/>
                  <a:gd name="T75" fmla="*/ 0 h 756"/>
                  <a:gd name="T76" fmla="*/ 0 w 758"/>
                  <a:gd name="T77" fmla="*/ 0 h 756"/>
                  <a:gd name="T78" fmla="*/ 0 w 758"/>
                  <a:gd name="T79" fmla="*/ 0 h 756"/>
                  <a:gd name="T80" fmla="*/ 0 w 758"/>
                  <a:gd name="T81" fmla="*/ 0 h 756"/>
                  <a:gd name="T82" fmla="*/ 0 w 758"/>
                  <a:gd name="T83" fmla="*/ 0 h 756"/>
                  <a:gd name="T84" fmla="*/ 0 w 758"/>
                  <a:gd name="T85" fmla="*/ 0 h 756"/>
                  <a:gd name="T86" fmla="*/ 0 w 758"/>
                  <a:gd name="T87" fmla="*/ 0 h 75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758"/>
                  <a:gd name="T133" fmla="*/ 0 h 756"/>
                  <a:gd name="T134" fmla="*/ 758 w 758"/>
                  <a:gd name="T135" fmla="*/ 756 h 75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758" h="756">
                    <a:moveTo>
                      <a:pt x="758" y="0"/>
                    </a:moveTo>
                    <a:lnTo>
                      <a:pt x="0" y="4"/>
                    </a:lnTo>
                    <a:lnTo>
                      <a:pt x="0" y="53"/>
                    </a:lnTo>
                    <a:lnTo>
                      <a:pt x="1" y="102"/>
                    </a:lnTo>
                    <a:lnTo>
                      <a:pt x="2" y="151"/>
                    </a:lnTo>
                    <a:lnTo>
                      <a:pt x="3" y="199"/>
                    </a:lnTo>
                    <a:lnTo>
                      <a:pt x="5" y="247"/>
                    </a:lnTo>
                    <a:lnTo>
                      <a:pt x="6" y="294"/>
                    </a:lnTo>
                    <a:lnTo>
                      <a:pt x="9" y="342"/>
                    </a:lnTo>
                    <a:lnTo>
                      <a:pt x="12" y="388"/>
                    </a:lnTo>
                    <a:lnTo>
                      <a:pt x="15" y="436"/>
                    </a:lnTo>
                    <a:lnTo>
                      <a:pt x="17" y="482"/>
                    </a:lnTo>
                    <a:lnTo>
                      <a:pt x="20" y="528"/>
                    </a:lnTo>
                    <a:lnTo>
                      <a:pt x="24" y="574"/>
                    </a:lnTo>
                    <a:lnTo>
                      <a:pt x="27" y="620"/>
                    </a:lnTo>
                    <a:lnTo>
                      <a:pt x="30" y="665"/>
                    </a:lnTo>
                    <a:lnTo>
                      <a:pt x="34" y="711"/>
                    </a:lnTo>
                    <a:lnTo>
                      <a:pt x="37" y="756"/>
                    </a:lnTo>
                    <a:lnTo>
                      <a:pt x="66" y="740"/>
                    </a:lnTo>
                    <a:lnTo>
                      <a:pt x="95" y="723"/>
                    </a:lnTo>
                    <a:lnTo>
                      <a:pt x="124" y="706"/>
                    </a:lnTo>
                    <a:lnTo>
                      <a:pt x="152" y="689"/>
                    </a:lnTo>
                    <a:lnTo>
                      <a:pt x="180" y="673"/>
                    </a:lnTo>
                    <a:lnTo>
                      <a:pt x="207" y="655"/>
                    </a:lnTo>
                    <a:lnTo>
                      <a:pt x="234" y="638"/>
                    </a:lnTo>
                    <a:lnTo>
                      <a:pt x="261" y="620"/>
                    </a:lnTo>
                    <a:lnTo>
                      <a:pt x="280" y="607"/>
                    </a:lnTo>
                    <a:lnTo>
                      <a:pt x="300" y="592"/>
                    </a:lnTo>
                    <a:lnTo>
                      <a:pt x="319" y="577"/>
                    </a:lnTo>
                    <a:lnTo>
                      <a:pt x="338" y="561"/>
                    </a:lnTo>
                    <a:lnTo>
                      <a:pt x="357" y="546"/>
                    </a:lnTo>
                    <a:lnTo>
                      <a:pt x="374" y="528"/>
                    </a:lnTo>
                    <a:lnTo>
                      <a:pt x="393" y="511"/>
                    </a:lnTo>
                    <a:lnTo>
                      <a:pt x="410" y="494"/>
                    </a:lnTo>
                    <a:lnTo>
                      <a:pt x="443" y="458"/>
                    </a:lnTo>
                    <a:lnTo>
                      <a:pt x="477" y="420"/>
                    </a:lnTo>
                    <a:lnTo>
                      <a:pt x="509" y="381"/>
                    </a:lnTo>
                    <a:lnTo>
                      <a:pt x="540" y="342"/>
                    </a:lnTo>
                    <a:lnTo>
                      <a:pt x="570" y="300"/>
                    </a:lnTo>
                    <a:lnTo>
                      <a:pt x="599" y="259"/>
                    </a:lnTo>
                    <a:lnTo>
                      <a:pt x="626" y="217"/>
                    </a:lnTo>
                    <a:lnTo>
                      <a:pt x="653" y="173"/>
                    </a:lnTo>
                    <a:lnTo>
                      <a:pt x="707" y="86"/>
                    </a:lnTo>
                    <a:lnTo>
                      <a:pt x="758" y="0"/>
                    </a:lnTo>
                    <a:close/>
                  </a:path>
                </a:pathLst>
              </a:custGeom>
              <a:solidFill>
                <a:srgbClr val="AF34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59" name="Freeform 33"/>
              <p:cNvSpPr>
                <a:spLocks/>
              </p:cNvSpPr>
              <p:nvPr/>
            </p:nvSpPr>
            <p:spPr bwMode="auto">
              <a:xfrm>
                <a:off x="3996" y="1359"/>
                <a:ext cx="194" cy="166"/>
              </a:xfrm>
              <a:custGeom>
                <a:avLst/>
                <a:gdLst>
                  <a:gd name="T0" fmla="*/ 0 w 1359"/>
                  <a:gd name="T1" fmla="*/ 0 h 1157"/>
                  <a:gd name="T2" fmla="*/ 0 w 1359"/>
                  <a:gd name="T3" fmla="*/ 0 h 1157"/>
                  <a:gd name="T4" fmla="*/ 0 w 1359"/>
                  <a:gd name="T5" fmla="*/ 0 h 1157"/>
                  <a:gd name="T6" fmla="*/ 0 w 1359"/>
                  <a:gd name="T7" fmla="*/ 0 h 1157"/>
                  <a:gd name="T8" fmla="*/ 0 w 1359"/>
                  <a:gd name="T9" fmla="*/ 0 h 1157"/>
                  <a:gd name="T10" fmla="*/ 0 w 1359"/>
                  <a:gd name="T11" fmla="*/ 0 h 1157"/>
                  <a:gd name="T12" fmla="*/ 0 w 1359"/>
                  <a:gd name="T13" fmla="*/ 0 h 1157"/>
                  <a:gd name="T14" fmla="*/ 0 w 1359"/>
                  <a:gd name="T15" fmla="*/ 0 h 1157"/>
                  <a:gd name="T16" fmla="*/ 0 w 1359"/>
                  <a:gd name="T17" fmla="*/ 0 h 1157"/>
                  <a:gd name="T18" fmla="*/ 0 w 1359"/>
                  <a:gd name="T19" fmla="*/ 0 h 1157"/>
                  <a:gd name="T20" fmla="*/ 0 w 1359"/>
                  <a:gd name="T21" fmla="*/ 0 h 1157"/>
                  <a:gd name="T22" fmla="*/ 0 w 1359"/>
                  <a:gd name="T23" fmla="*/ 0 h 1157"/>
                  <a:gd name="T24" fmla="*/ 0 w 1359"/>
                  <a:gd name="T25" fmla="*/ 0 h 1157"/>
                  <a:gd name="T26" fmla="*/ 0 w 1359"/>
                  <a:gd name="T27" fmla="*/ 0 h 1157"/>
                  <a:gd name="T28" fmla="*/ 0 w 1359"/>
                  <a:gd name="T29" fmla="*/ 0 h 1157"/>
                  <a:gd name="T30" fmla="*/ 0 w 1359"/>
                  <a:gd name="T31" fmla="*/ 0 h 1157"/>
                  <a:gd name="T32" fmla="*/ 0 w 1359"/>
                  <a:gd name="T33" fmla="*/ 0 h 1157"/>
                  <a:gd name="T34" fmla="*/ 0 w 1359"/>
                  <a:gd name="T35" fmla="*/ 0 h 1157"/>
                  <a:gd name="T36" fmla="*/ 0 w 1359"/>
                  <a:gd name="T37" fmla="*/ 0 h 1157"/>
                  <a:gd name="T38" fmla="*/ 0 w 1359"/>
                  <a:gd name="T39" fmla="*/ 0 h 1157"/>
                  <a:gd name="T40" fmla="*/ 0 w 1359"/>
                  <a:gd name="T41" fmla="*/ 0 h 1157"/>
                  <a:gd name="T42" fmla="*/ 0 w 1359"/>
                  <a:gd name="T43" fmla="*/ 0 h 1157"/>
                  <a:gd name="T44" fmla="*/ 0 w 1359"/>
                  <a:gd name="T45" fmla="*/ 0 h 1157"/>
                  <a:gd name="T46" fmla="*/ 0 w 1359"/>
                  <a:gd name="T47" fmla="*/ 0 h 1157"/>
                  <a:gd name="T48" fmla="*/ 0 w 1359"/>
                  <a:gd name="T49" fmla="*/ 0 h 1157"/>
                  <a:gd name="T50" fmla="*/ 0 w 1359"/>
                  <a:gd name="T51" fmla="*/ 0 h 1157"/>
                  <a:gd name="T52" fmla="*/ 0 w 1359"/>
                  <a:gd name="T53" fmla="*/ 0 h 1157"/>
                  <a:gd name="T54" fmla="*/ 0 w 1359"/>
                  <a:gd name="T55" fmla="*/ 0 h 1157"/>
                  <a:gd name="T56" fmla="*/ 0 w 1359"/>
                  <a:gd name="T57" fmla="*/ 0 h 1157"/>
                  <a:gd name="T58" fmla="*/ 0 w 1359"/>
                  <a:gd name="T59" fmla="*/ 0 h 1157"/>
                  <a:gd name="T60" fmla="*/ 0 w 1359"/>
                  <a:gd name="T61" fmla="*/ 0 h 1157"/>
                  <a:gd name="T62" fmla="*/ 0 w 1359"/>
                  <a:gd name="T63" fmla="*/ 0 h 1157"/>
                  <a:gd name="T64" fmla="*/ 0 w 1359"/>
                  <a:gd name="T65" fmla="*/ 0 h 1157"/>
                  <a:gd name="T66" fmla="*/ 0 w 1359"/>
                  <a:gd name="T67" fmla="*/ 0 h 1157"/>
                  <a:gd name="T68" fmla="*/ 0 w 1359"/>
                  <a:gd name="T69" fmla="*/ 0 h 1157"/>
                  <a:gd name="T70" fmla="*/ 0 w 1359"/>
                  <a:gd name="T71" fmla="*/ 0 h 1157"/>
                  <a:gd name="T72" fmla="*/ 0 w 1359"/>
                  <a:gd name="T73" fmla="*/ 0 h 1157"/>
                  <a:gd name="T74" fmla="*/ 0 w 1359"/>
                  <a:gd name="T75" fmla="*/ 0 h 1157"/>
                  <a:gd name="T76" fmla="*/ 0 w 1359"/>
                  <a:gd name="T77" fmla="*/ 0 h 1157"/>
                  <a:gd name="T78" fmla="*/ 0 w 1359"/>
                  <a:gd name="T79" fmla="*/ 0 h 1157"/>
                  <a:gd name="T80" fmla="*/ 0 w 1359"/>
                  <a:gd name="T81" fmla="*/ 0 h 1157"/>
                  <a:gd name="T82" fmla="*/ 0 w 1359"/>
                  <a:gd name="T83" fmla="*/ 0 h 1157"/>
                  <a:gd name="T84" fmla="*/ 0 w 1359"/>
                  <a:gd name="T85" fmla="*/ 0 h 1157"/>
                  <a:gd name="T86" fmla="*/ 0 w 1359"/>
                  <a:gd name="T87" fmla="*/ 0 h 1157"/>
                  <a:gd name="T88" fmla="*/ 0 w 1359"/>
                  <a:gd name="T89" fmla="*/ 0 h 1157"/>
                  <a:gd name="T90" fmla="*/ 0 w 1359"/>
                  <a:gd name="T91" fmla="*/ 0 h 1157"/>
                  <a:gd name="T92" fmla="*/ 0 w 1359"/>
                  <a:gd name="T93" fmla="*/ 0 h 1157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359"/>
                  <a:gd name="T142" fmla="*/ 0 h 1157"/>
                  <a:gd name="T143" fmla="*/ 1359 w 1359"/>
                  <a:gd name="T144" fmla="*/ 1157 h 1157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359" h="1157">
                    <a:moveTo>
                      <a:pt x="0" y="21"/>
                    </a:moveTo>
                    <a:lnTo>
                      <a:pt x="5" y="23"/>
                    </a:lnTo>
                    <a:lnTo>
                      <a:pt x="10" y="24"/>
                    </a:lnTo>
                    <a:lnTo>
                      <a:pt x="47" y="35"/>
                    </a:lnTo>
                    <a:lnTo>
                      <a:pt x="84" y="44"/>
                    </a:lnTo>
                    <a:lnTo>
                      <a:pt x="122" y="53"/>
                    </a:lnTo>
                    <a:lnTo>
                      <a:pt x="161" y="60"/>
                    </a:lnTo>
                    <a:lnTo>
                      <a:pt x="201" y="66"/>
                    </a:lnTo>
                    <a:lnTo>
                      <a:pt x="241" y="70"/>
                    </a:lnTo>
                    <a:lnTo>
                      <a:pt x="280" y="74"/>
                    </a:lnTo>
                    <a:lnTo>
                      <a:pt x="322" y="77"/>
                    </a:lnTo>
                    <a:lnTo>
                      <a:pt x="362" y="80"/>
                    </a:lnTo>
                    <a:lnTo>
                      <a:pt x="402" y="80"/>
                    </a:lnTo>
                    <a:lnTo>
                      <a:pt x="443" y="80"/>
                    </a:lnTo>
                    <a:lnTo>
                      <a:pt x="483" y="80"/>
                    </a:lnTo>
                    <a:lnTo>
                      <a:pt x="522" y="77"/>
                    </a:lnTo>
                    <a:lnTo>
                      <a:pt x="562" y="75"/>
                    </a:lnTo>
                    <a:lnTo>
                      <a:pt x="601" y="72"/>
                    </a:lnTo>
                    <a:lnTo>
                      <a:pt x="640" y="69"/>
                    </a:lnTo>
                    <a:lnTo>
                      <a:pt x="683" y="64"/>
                    </a:lnTo>
                    <a:lnTo>
                      <a:pt x="727" y="58"/>
                    </a:lnTo>
                    <a:lnTo>
                      <a:pt x="769" y="51"/>
                    </a:lnTo>
                    <a:lnTo>
                      <a:pt x="810" y="42"/>
                    </a:lnTo>
                    <a:lnTo>
                      <a:pt x="852" y="33"/>
                    </a:lnTo>
                    <a:lnTo>
                      <a:pt x="893" y="23"/>
                    </a:lnTo>
                    <a:lnTo>
                      <a:pt x="933" y="12"/>
                    </a:lnTo>
                    <a:lnTo>
                      <a:pt x="974" y="0"/>
                    </a:lnTo>
                    <a:lnTo>
                      <a:pt x="983" y="24"/>
                    </a:lnTo>
                    <a:lnTo>
                      <a:pt x="991" y="46"/>
                    </a:lnTo>
                    <a:lnTo>
                      <a:pt x="1001" y="69"/>
                    </a:lnTo>
                    <a:lnTo>
                      <a:pt x="1011" y="93"/>
                    </a:lnTo>
                    <a:lnTo>
                      <a:pt x="1042" y="167"/>
                    </a:lnTo>
                    <a:lnTo>
                      <a:pt x="1072" y="243"/>
                    </a:lnTo>
                    <a:lnTo>
                      <a:pt x="1101" y="316"/>
                    </a:lnTo>
                    <a:lnTo>
                      <a:pt x="1129" y="391"/>
                    </a:lnTo>
                    <a:lnTo>
                      <a:pt x="1155" y="463"/>
                    </a:lnTo>
                    <a:lnTo>
                      <a:pt x="1180" y="534"/>
                    </a:lnTo>
                    <a:lnTo>
                      <a:pt x="1204" y="606"/>
                    </a:lnTo>
                    <a:lnTo>
                      <a:pt x="1227" y="675"/>
                    </a:lnTo>
                    <a:lnTo>
                      <a:pt x="1248" y="742"/>
                    </a:lnTo>
                    <a:lnTo>
                      <a:pt x="1268" y="808"/>
                    </a:lnTo>
                    <a:lnTo>
                      <a:pt x="1287" y="873"/>
                    </a:lnTo>
                    <a:lnTo>
                      <a:pt x="1304" y="934"/>
                    </a:lnTo>
                    <a:lnTo>
                      <a:pt x="1320" y="994"/>
                    </a:lnTo>
                    <a:lnTo>
                      <a:pt x="1334" y="1050"/>
                    </a:lnTo>
                    <a:lnTo>
                      <a:pt x="1348" y="1105"/>
                    </a:lnTo>
                    <a:lnTo>
                      <a:pt x="1359" y="1156"/>
                    </a:lnTo>
                    <a:lnTo>
                      <a:pt x="1305" y="1157"/>
                    </a:lnTo>
                    <a:lnTo>
                      <a:pt x="1241" y="1156"/>
                    </a:lnTo>
                    <a:lnTo>
                      <a:pt x="1169" y="1153"/>
                    </a:lnTo>
                    <a:lnTo>
                      <a:pt x="1092" y="1147"/>
                    </a:lnTo>
                    <a:lnTo>
                      <a:pt x="1050" y="1144"/>
                    </a:lnTo>
                    <a:lnTo>
                      <a:pt x="1009" y="1139"/>
                    </a:lnTo>
                    <a:lnTo>
                      <a:pt x="966" y="1134"/>
                    </a:lnTo>
                    <a:lnTo>
                      <a:pt x="923" y="1129"/>
                    </a:lnTo>
                    <a:lnTo>
                      <a:pt x="880" y="1123"/>
                    </a:lnTo>
                    <a:lnTo>
                      <a:pt x="836" y="1117"/>
                    </a:lnTo>
                    <a:lnTo>
                      <a:pt x="793" y="1109"/>
                    </a:lnTo>
                    <a:lnTo>
                      <a:pt x="749" y="1101"/>
                    </a:lnTo>
                    <a:lnTo>
                      <a:pt x="706" y="1093"/>
                    </a:lnTo>
                    <a:lnTo>
                      <a:pt x="665" y="1084"/>
                    </a:lnTo>
                    <a:lnTo>
                      <a:pt x="622" y="1074"/>
                    </a:lnTo>
                    <a:lnTo>
                      <a:pt x="582" y="1063"/>
                    </a:lnTo>
                    <a:lnTo>
                      <a:pt x="543" y="1051"/>
                    </a:lnTo>
                    <a:lnTo>
                      <a:pt x="506" y="1040"/>
                    </a:lnTo>
                    <a:lnTo>
                      <a:pt x="469" y="1027"/>
                    </a:lnTo>
                    <a:lnTo>
                      <a:pt x="435" y="1013"/>
                    </a:lnTo>
                    <a:lnTo>
                      <a:pt x="403" y="999"/>
                    </a:lnTo>
                    <a:lnTo>
                      <a:pt x="373" y="983"/>
                    </a:lnTo>
                    <a:lnTo>
                      <a:pt x="345" y="968"/>
                    </a:lnTo>
                    <a:lnTo>
                      <a:pt x="321" y="951"/>
                    </a:lnTo>
                    <a:lnTo>
                      <a:pt x="298" y="933"/>
                    </a:lnTo>
                    <a:lnTo>
                      <a:pt x="279" y="915"/>
                    </a:lnTo>
                    <a:lnTo>
                      <a:pt x="264" y="895"/>
                    </a:lnTo>
                    <a:lnTo>
                      <a:pt x="251" y="875"/>
                    </a:lnTo>
                    <a:lnTo>
                      <a:pt x="242" y="830"/>
                    </a:lnTo>
                    <a:lnTo>
                      <a:pt x="232" y="785"/>
                    </a:lnTo>
                    <a:lnTo>
                      <a:pt x="221" y="738"/>
                    </a:lnTo>
                    <a:lnTo>
                      <a:pt x="210" y="691"/>
                    </a:lnTo>
                    <a:lnTo>
                      <a:pt x="199" y="643"/>
                    </a:lnTo>
                    <a:lnTo>
                      <a:pt x="185" y="593"/>
                    </a:lnTo>
                    <a:lnTo>
                      <a:pt x="172" y="544"/>
                    </a:lnTo>
                    <a:lnTo>
                      <a:pt x="158" y="494"/>
                    </a:lnTo>
                    <a:lnTo>
                      <a:pt x="144" y="443"/>
                    </a:lnTo>
                    <a:lnTo>
                      <a:pt x="128" y="393"/>
                    </a:lnTo>
                    <a:lnTo>
                      <a:pt x="112" y="341"/>
                    </a:lnTo>
                    <a:lnTo>
                      <a:pt x="95" y="290"/>
                    </a:lnTo>
                    <a:lnTo>
                      <a:pt x="79" y="239"/>
                    </a:lnTo>
                    <a:lnTo>
                      <a:pt x="61" y="188"/>
                    </a:lnTo>
                    <a:lnTo>
                      <a:pt x="43" y="137"/>
                    </a:lnTo>
                    <a:lnTo>
                      <a:pt x="24" y="87"/>
                    </a:lnTo>
                    <a:lnTo>
                      <a:pt x="18" y="70"/>
                    </a:lnTo>
                    <a:lnTo>
                      <a:pt x="12" y="54"/>
                    </a:lnTo>
                    <a:lnTo>
                      <a:pt x="6" y="37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rgbClr val="AF34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60" name="Freeform 34"/>
              <p:cNvSpPr>
                <a:spLocks noEditPoints="1"/>
              </p:cNvSpPr>
              <p:nvPr/>
            </p:nvSpPr>
            <p:spPr bwMode="auto">
              <a:xfrm>
                <a:off x="3982" y="970"/>
                <a:ext cx="202" cy="758"/>
              </a:xfrm>
              <a:custGeom>
                <a:avLst/>
                <a:gdLst>
                  <a:gd name="T0" fmla="*/ 0 w 1411"/>
                  <a:gd name="T1" fmla="*/ 0 h 5305"/>
                  <a:gd name="T2" fmla="*/ 0 w 1411"/>
                  <a:gd name="T3" fmla="*/ 0 h 5305"/>
                  <a:gd name="T4" fmla="*/ 0 w 1411"/>
                  <a:gd name="T5" fmla="*/ 0 h 5305"/>
                  <a:gd name="T6" fmla="*/ 0 w 1411"/>
                  <a:gd name="T7" fmla="*/ 0 h 5305"/>
                  <a:gd name="T8" fmla="*/ 0 w 1411"/>
                  <a:gd name="T9" fmla="*/ 0 h 5305"/>
                  <a:gd name="T10" fmla="*/ 0 w 1411"/>
                  <a:gd name="T11" fmla="*/ 0 h 5305"/>
                  <a:gd name="T12" fmla="*/ 0 w 1411"/>
                  <a:gd name="T13" fmla="*/ 0 h 5305"/>
                  <a:gd name="T14" fmla="*/ 0 w 1411"/>
                  <a:gd name="T15" fmla="*/ 0 h 5305"/>
                  <a:gd name="T16" fmla="*/ 0 w 1411"/>
                  <a:gd name="T17" fmla="*/ 0 h 5305"/>
                  <a:gd name="T18" fmla="*/ 0 w 1411"/>
                  <a:gd name="T19" fmla="*/ 0 h 5305"/>
                  <a:gd name="T20" fmla="*/ 0 w 1411"/>
                  <a:gd name="T21" fmla="*/ 0 h 5305"/>
                  <a:gd name="T22" fmla="*/ 0 w 1411"/>
                  <a:gd name="T23" fmla="*/ 0 h 5305"/>
                  <a:gd name="T24" fmla="*/ 0 w 1411"/>
                  <a:gd name="T25" fmla="*/ 0 h 5305"/>
                  <a:gd name="T26" fmla="*/ 0 w 1411"/>
                  <a:gd name="T27" fmla="*/ 0 h 5305"/>
                  <a:gd name="T28" fmla="*/ 0 w 1411"/>
                  <a:gd name="T29" fmla="*/ 0 h 5305"/>
                  <a:gd name="T30" fmla="*/ 0 w 1411"/>
                  <a:gd name="T31" fmla="*/ 0 h 5305"/>
                  <a:gd name="T32" fmla="*/ 0 w 1411"/>
                  <a:gd name="T33" fmla="*/ 0 h 5305"/>
                  <a:gd name="T34" fmla="*/ 0 w 1411"/>
                  <a:gd name="T35" fmla="*/ 0 h 5305"/>
                  <a:gd name="T36" fmla="*/ 0 w 1411"/>
                  <a:gd name="T37" fmla="*/ 0 h 5305"/>
                  <a:gd name="T38" fmla="*/ 0 w 1411"/>
                  <a:gd name="T39" fmla="*/ 0 h 5305"/>
                  <a:gd name="T40" fmla="*/ 0 w 1411"/>
                  <a:gd name="T41" fmla="*/ 0 h 5305"/>
                  <a:gd name="T42" fmla="*/ 0 w 1411"/>
                  <a:gd name="T43" fmla="*/ 0 h 5305"/>
                  <a:gd name="T44" fmla="*/ 0 w 1411"/>
                  <a:gd name="T45" fmla="*/ 0 h 5305"/>
                  <a:gd name="T46" fmla="*/ 0 w 1411"/>
                  <a:gd name="T47" fmla="*/ 0 h 5305"/>
                  <a:gd name="T48" fmla="*/ 0 w 1411"/>
                  <a:gd name="T49" fmla="*/ 0 h 5305"/>
                  <a:gd name="T50" fmla="*/ 0 w 1411"/>
                  <a:gd name="T51" fmla="*/ 0 h 5305"/>
                  <a:gd name="T52" fmla="*/ 0 w 1411"/>
                  <a:gd name="T53" fmla="*/ 0 h 5305"/>
                  <a:gd name="T54" fmla="*/ 0 w 1411"/>
                  <a:gd name="T55" fmla="*/ 0 h 5305"/>
                  <a:gd name="T56" fmla="*/ 0 w 1411"/>
                  <a:gd name="T57" fmla="*/ 0 h 5305"/>
                  <a:gd name="T58" fmla="*/ 0 w 1411"/>
                  <a:gd name="T59" fmla="*/ 0 h 5305"/>
                  <a:gd name="T60" fmla="*/ 0 w 1411"/>
                  <a:gd name="T61" fmla="*/ 0 h 5305"/>
                  <a:gd name="T62" fmla="*/ 0 w 1411"/>
                  <a:gd name="T63" fmla="*/ 0 h 5305"/>
                  <a:gd name="T64" fmla="*/ 0 w 1411"/>
                  <a:gd name="T65" fmla="*/ 0 h 5305"/>
                  <a:gd name="T66" fmla="*/ 0 w 1411"/>
                  <a:gd name="T67" fmla="*/ 0 h 5305"/>
                  <a:gd name="T68" fmla="*/ 0 w 1411"/>
                  <a:gd name="T69" fmla="*/ 0 h 5305"/>
                  <a:gd name="T70" fmla="*/ 0 w 1411"/>
                  <a:gd name="T71" fmla="*/ 0 h 5305"/>
                  <a:gd name="T72" fmla="*/ 0 w 1411"/>
                  <a:gd name="T73" fmla="*/ 0 h 5305"/>
                  <a:gd name="T74" fmla="*/ 0 w 1411"/>
                  <a:gd name="T75" fmla="*/ 0 h 5305"/>
                  <a:gd name="T76" fmla="*/ 0 w 1411"/>
                  <a:gd name="T77" fmla="*/ 0 h 5305"/>
                  <a:gd name="T78" fmla="*/ 0 w 1411"/>
                  <a:gd name="T79" fmla="*/ 0 h 5305"/>
                  <a:gd name="T80" fmla="*/ 0 w 1411"/>
                  <a:gd name="T81" fmla="*/ 0 h 5305"/>
                  <a:gd name="T82" fmla="*/ 0 w 1411"/>
                  <a:gd name="T83" fmla="*/ 0 h 5305"/>
                  <a:gd name="T84" fmla="*/ 0 w 1411"/>
                  <a:gd name="T85" fmla="*/ 0 h 5305"/>
                  <a:gd name="T86" fmla="*/ 0 w 1411"/>
                  <a:gd name="T87" fmla="*/ 0 h 5305"/>
                  <a:gd name="T88" fmla="*/ 0 w 1411"/>
                  <a:gd name="T89" fmla="*/ 0 h 5305"/>
                  <a:gd name="T90" fmla="*/ 0 w 1411"/>
                  <a:gd name="T91" fmla="*/ 0 h 5305"/>
                  <a:gd name="T92" fmla="*/ 0 w 1411"/>
                  <a:gd name="T93" fmla="*/ 0 h 5305"/>
                  <a:gd name="T94" fmla="*/ 0 w 1411"/>
                  <a:gd name="T95" fmla="*/ 0 h 5305"/>
                  <a:gd name="T96" fmla="*/ 0 w 1411"/>
                  <a:gd name="T97" fmla="*/ 0 h 5305"/>
                  <a:gd name="T98" fmla="*/ 0 w 1411"/>
                  <a:gd name="T99" fmla="*/ 0 h 5305"/>
                  <a:gd name="T100" fmla="*/ 0 w 1411"/>
                  <a:gd name="T101" fmla="*/ 0 h 5305"/>
                  <a:gd name="T102" fmla="*/ 0 w 1411"/>
                  <a:gd name="T103" fmla="*/ 0 h 5305"/>
                  <a:gd name="T104" fmla="*/ 0 w 1411"/>
                  <a:gd name="T105" fmla="*/ 0 h 5305"/>
                  <a:gd name="T106" fmla="*/ 0 w 1411"/>
                  <a:gd name="T107" fmla="*/ 0 h 5305"/>
                  <a:gd name="T108" fmla="*/ 0 w 1411"/>
                  <a:gd name="T109" fmla="*/ 0 h 5305"/>
                  <a:gd name="T110" fmla="*/ 0 w 1411"/>
                  <a:gd name="T111" fmla="*/ 0 h 5305"/>
                  <a:gd name="T112" fmla="*/ 0 w 1411"/>
                  <a:gd name="T113" fmla="*/ 0 h 5305"/>
                  <a:gd name="T114" fmla="*/ 0 w 1411"/>
                  <a:gd name="T115" fmla="*/ 0 h 5305"/>
                  <a:gd name="T116" fmla="*/ 0 w 1411"/>
                  <a:gd name="T117" fmla="*/ 0 h 5305"/>
                  <a:gd name="T118" fmla="*/ 0 w 1411"/>
                  <a:gd name="T119" fmla="*/ 0 h 5305"/>
                  <a:gd name="T120" fmla="*/ 0 w 1411"/>
                  <a:gd name="T121" fmla="*/ 0 h 5305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411"/>
                  <a:gd name="T184" fmla="*/ 0 h 5305"/>
                  <a:gd name="T185" fmla="*/ 1411 w 1411"/>
                  <a:gd name="T186" fmla="*/ 5305 h 5305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411" h="5305">
                    <a:moveTo>
                      <a:pt x="187" y="22"/>
                    </a:moveTo>
                    <a:lnTo>
                      <a:pt x="184" y="79"/>
                    </a:lnTo>
                    <a:lnTo>
                      <a:pt x="181" y="137"/>
                    </a:lnTo>
                    <a:lnTo>
                      <a:pt x="177" y="194"/>
                    </a:lnTo>
                    <a:lnTo>
                      <a:pt x="173" y="249"/>
                    </a:lnTo>
                    <a:lnTo>
                      <a:pt x="168" y="306"/>
                    </a:lnTo>
                    <a:lnTo>
                      <a:pt x="162" y="362"/>
                    </a:lnTo>
                    <a:lnTo>
                      <a:pt x="156" y="417"/>
                    </a:lnTo>
                    <a:lnTo>
                      <a:pt x="150" y="473"/>
                    </a:lnTo>
                    <a:lnTo>
                      <a:pt x="143" y="528"/>
                    </a:lnTo>
                    <a:lnTo>
                      <a:pt x="137" y="581"/>
                    </a:lnTo>
                    <a:lnTo>
                      <a:pt x="129" y="636"/>
                    </a:lnTo>
                    <a:lnTo>
                      <a:pt x="122" y="690"/>
                    </a:lnTo>
                    <a:lnTo>
                      <a:pt x="114" y="744"/>
                    </a:lnTo>
                    <a:lnTo>
                      <a:pt x="107" y="797"/>
                    </a:lnTo>
                    <a:lnTo>
                      <a:pt x="99" y="850"/>
                    </a:lnTo>
                    <a:lnTo>
                      <a:pt x="91" y="903"/>
                    </a:lnTo>
                    <a:lnTo>
                      <a:pt x="75" y="1020"/>
                    </a:lnTo>
                    <a:lnTo>
                      <a:pt x="58" y="1136"/>
                    </a:lnTo>
                    <a:lnTo>
                      <a:pt x="43" y="1251"/>
                    </a:lnTo>
                    <a:lnTo>
                      <a:pt x="29" y="1366"/>
                    </a:lnTo>
                    <a:lnTo>
                      <a:pt x="23" y="1423"/>
                    </a:lnTo>
                    <a:lnTo>
                      <a:pt x="18" y="1481"/>
                    </a:lnTo>
                    <a:lnTo>
                      <a:pt x="13" y="1538"/>
                    </a:lnTo>
                    <a:lnTo>
                      <a:pt x="8" y="1596"/>
                    </a:lnTo>
                    <a:lnTo>
                      <a:pt x="5" y="1653"/>
                    </a:lnTo>
                    <a:lnTo>
                      <a:pt x="2" y="1711"/>
                    </a:lnTo>
                    <a:lnTo>
                      <a:pt x="1" y="1768"/>
                    </a:lnTo>
                    <a:lnTo>
                      <a:pt x="0" y="1825"/>
                    </a:lnTo>
                    <a:lnTo>
                      <a:pt x="0" y="1883"/>
                    </a:lnTo>
                    <a:lnTo>
                      <a:pt x="2" y="1941"/>
                    </a:lnTo>
                    <a:lnTo>
                      <a:pt x="4" y="1999"/>
                    </a:lnTo>
                    <a:lnTo>
                      <a:pt x="7" y="2058"/>
                    </a:lnTo>
                    <a:lnTo>
                      <a:pt x="13" y="2116"/>
                    </a:lnTo>
                    <a:lnTo>
                      <a:pt x="19" y="2175"/>
                    </a:lnTo>
                    <a:lnTo>
                      <a:pt x="26" y="2234"/>
                    </a:lnTo>
                    <a:lnTo>
                      <a:pt x="35" y="2293"/>
                    </a:lnTo>
                    <a:lnTo>
                      <a:pt x="46" y="2352"/>
                    </a:lnTo>
                    <a:lnTo>
                      <a:pt x="57" y="2412"/>
                    </a:lnTo>
                    <a:lnTo>
                      <a:pt x="70" y="2472"/>
                    </a:lnTo>
                    <a:lnTo>
                      <a:pt x="86" y="2532"/>
                    </a:lnTo>
                    <a:lnTo>
                      <a:pt x="104" y="2593"/>
                    </a:lnTo>
                    <a:lnTo>
                      <a:pt x="122" y="2654"/>
                    </a:lnTo>
                    <a:lnTo>
                      <a:pt x="143" y="2715"/>
                    </a:lnTo>
                    <a:lnTo>
                      <a:pt x="164" y="2777"/>
                    </a:lnTo>
                    <a:lnTo>
                      <a:pt x="200" y="2870"/>
                    </a:lnTo>
                    <a:lnTo>
                      <a:pt x="232" y="2961"/>
                    </a:lnTo>
                    <a:lnTo>
                      <a:pt x="263" y="3050"/>
                    </a:lnTo>
                    <a:lnTo>
                      <a:pt x="291" y="3135"/>
                    </a:lnTo>
                    <a:lnTo>
                      <a:pt x="316" y="3219"/>
                    </a:lnTo>
                    <a:lnTo>
                      <a:pt x="341" y="3302"/>
                    </a:lnTo>
                    <a:lnTo>
                      <a:pt x="363" y="3383"/>
                    </a:lnTo>
                    <a:lnTo>
                      <a:pt x="383" y="3462"/>
                    </a:lnTo>
                    <a:lnTo>
                      <a:pt x="400" y="3540"/>
                    </a:lnTo>
                    <a:lnTo>
                      <a:pt x="416" y="3616"/>
                    </a:lnTo>
                    <a:lnTo>
                      <a:pt x="429" y="3691"/>
                    </a:lnTo>
                    <a:lnTo>
                      <a:pt x="441" y="3765"/>
                    </a:lnTo>
                    <a:lnTo>
                      <a:pt x="451" y="3839"/>
                    </a:lnTo>
                    <a:lnTo>
                      <a:pt x="458" y="3911"/>
                    </a:lnTo>
                    <a:lnTo>
                      <a:pt x="463" y="3983"/>
                    </a:lnTo>
                    <a:lnTo>
                      <a:pt x="466" y="4056"/>
                    </a:lnTo>
                    <a:lnTo>
                      <a:pt x="467" y="4127"/>
                    </a:lnTo>
                    <a:lnTo>
                      <a:pt x="466" y="4198"/>
                    </a:lnTo>
                    <a:lnTo>
                      <a:pt x="463" y="4270"/>
                    </a:lnTo>
                    <a:lnTo>
                      <a:pt x="458" y="4342"/>
                    </a:lnTo>
                    <a:lnTo>
                      <a:pt x="451" y="4415"/>
                    </a:lnTo>
                    <a:lnTo>
                      <a:pt x="441" y="4487"/>
                    </a:lnTo>
                    <a:lnTo>
                      <a:pt x="431" y="4560"/>
                    </a:lnTo>
                    <a:lnTo>
                      <a:pt x="418" y="4635"/>
                    </a:lnTo>
                    <a:lnTo>
                      <a:pt x="402" y="4709"/>
                    </a:lnTo>
                    <a:lnTo>
                      <a:pt x="385" y="4786"/>
                    </a:lnTo>
                    <a:lnTo>
                      <a:pt x="366" y="4863"/>
                    </a:lnTo>
                    <a:lnTo>
                      <a:pt x="344" y="4942"/>
                    </a:lnTo>
                    <a:lnTo>
                      <a:pt x="322" y="5023"/>
                    </a:lnTo>
                    <a:lnTo>
                      <a:pt x="296" y="5105"/>
                    </a:lnTo>
                    <a:lnTo>
                      <a:pt x="269" y="5189"/>
                    </a:lnTo>
                    <a:lnTo>
                      <a:pt x="239" y="5275"/>
                    </a:lnTo>
                    <a:lnTo>
                      <a:pt x="229" y="5305"/>
                    </a:lnTo>
                    <a:lnTo>
                      <a:pt x="1247" y="5299"/>
                    </a:lnTo>
                    <a:lnTo>
                      <a:pt x="1252" y="5283"/>
                    </a:lnTo>
                    <a:lnTo>
                      <a:pt x="1275" y="5202"/>
                    </a:lnTo>
                    <a:lnTo>
                      <a:pt x="1297" y="5123"/>
                    </a:lnTo>
                    <a:lnTo>
                      <a:pt x="1318" y="5045"/>
                    </a:lnTo>
                    <a:lnTo>
                      <a:pt x="1335" y="4968"/>
                    </a:lnTo>
                    <a:lnTo>
                      <a:pt x="1352" y="4892"/>
                    </a:lnTo>
                    <a:lnTo>
                      <a:pt x="1366" y="4817"/>
                    </a:lnTo>
                    <a:lnTo>
                      <a:pt x="1379" y="4742"/>
                    </a:lnTo>
                    <a:lnTo>
                      <a:pt x="1389" y="4669"/>
                    </a:lnTo>
                    <a:lnTo>
                      <a:pt x="1397" y="4595"/>
                    </a:lnTo>
                    <a:lnTo>
                      <a:pt x="1404" y="4523"/>
                    </a:lnTo>
                    <a:lnTo>
                      <a:pt x="1408" y="4451"/>
                    </a:lnTo>
                    <a:lnTo>
                      <a:pt x="1410" y="4378"/>
                    </a:lnTo>
                    <a:lnTo>
                      <a:pt x="1411" y="4306"/>
                    </a:lnTo>
                    <a:lnTo>
                      <a:pt x="1409" y="4234"/>
                    </a:lnTo>
                    <a:lnTo>
                      <a:pt x="1406" y="4161"/>
                    </a:lnTo>
                    <a:lnTo>
                      <a:pt x="1399" y="4088"/>
                    </a:lnTo>
                    <a:lnTo>
                      <a:pt x="1392" y="4014"/>
                    </a:lnTo>
                    <a:lnTo>
                      <a:pt x="1382" y="3940"/>
                    </a:lnTo>
                    <a:lnTo>
                      <a:pt x="1369" y="3865"/>
                    </a:lnTo>
                    <a:lnTo>
                      <a:pt x="1356" y="3789"/>
                    </a:lnTo>
                    <a:lnTo>
                      <a:pt x="1339" y="3712"/>
                    </a:lnTo>
                    <a:lnTo>
                      <a:pt x="1322" y="3635"/>
                    </a:lnTo>
                    <a:lnTo>
                      <a:pt x="1301" y="3555"/>
                    </a:lnTo>
                    <a:lnTo>
                      <a:pt x="1278" y="3475"/>
                    </a:lnTo>
                    <a:lnTo>
                      <a:pt x="1254" y="3393"/>
                    </a:lnTo>
                    <a:lnTo>
                      <a:pt x="1227" y="3309"/>
                    </a:lnTo>
                    <a:lnTo>
                      <a:pt x="1198" y="3223"/>
                    </a:lnTo>
                    <a:lnTo>
                      <a:pt x="1167" y="3136"/>
                    </a:lnTo>
                    <a:lnTo>
                      <a:pt x="1134" y="3048"/>
                    </a:lnTo>
                    <a:lnTo>
                      <a:pt x="1098" y="2956"/>
                    </a:lnTo>
                    <a:lnTo>
                      <a:pt x="1060" y="2862"/>
                    </a:lnTo>
                    <a:lnTo>
                      <a:pt x="1020" y="2766"/>
                    </a:lnTo>
                    <a:lnTo>
                      <a:pt x="994" y="2704"/>
                    </a:lnTo>
                    <a:lnTo>
                      <a:pt x="971" y="2642"/>
                    </a:lnTo>
                    <a:lnTo>
                      <a:pt x="949" y="2580"/>
                    </a:lnTo>
                    <a:lnTo>
                      <a:pt x="929" y="2519"/>
                    </a:lnTo>
                    <a:lnTo>
                      <a:pt x="911" y="2458"/>
                    </a:lnTo>
                    <a:lnTo>
                      <a:pt x="894" y="2397"/>
                    </a:lnTo>
                    <a:lnTo>
                      <a:pt x="879" y="2336"/>
                    </a:lnTo>
                    <a:lnTo>
                      <a:pt x="865" y="2276"/>
                    </a:lnTo>
                    <a:lnTo>
                      <a:pt x="853" y="2216"/>
                    </a:lnTo>
                    <a:lnTo>
                      <a:pt x="842" y="2156"/>
                    </a:lnTo>
                    <a:lnTo>
                      <a:pt x="833" y="2096"/>
                    </a:lnTo>
                    <a:lnTo>
                      <a:pt x="825" y="2036"/>
                    </a:lnTo>
                    <a:lnTo>
                      <a:pt x="818" y="1977"/>
                    </a:lnTo>
                    <a:lnTo>
                      <a:pt x="811" y="1917"/>
                    </a:lnTo>
                    <a:lnTo>
                      <a:pt x="807" y="1858"/>
                    </a:lnTo>
                    <a:lnTo>
                      <a:pt x="803" y="1798"/>
                    </a:lnTo>
                    <a:lnTo>
                      <a:pt x="800" y="1739"/>
                    </a:lnTo>
                    <a:lnTo>
                      <a:pt x="799" y="1681"/>
                    </a:lnTo>
                    <a:lnTo>
                      <a:pt x="798" y="1622"/>
                    </a:lnTo>
                    <a:lnTo>
                      <a:pt x="798" y="1563"/>
                    </a:lnTo>
                    <a:lnTo>
                      <a:pt x="798" y="1504"/>
                    </a:lnTo>
                    <a:lnTo>
                      <a:pt x="799" y="1444"/>
                    </a:lnTo>
                    <a:lnTo>
                      <a:pt x="801" y="1385"/>
                    </a:lnTo>
                    <a:lnTo>
                      <a:pt x="804" y="1326"/>
                    </a:lnTo>
                    <a:lnTo>
                      <a:pt x="810" y="1207"/>
                    </a:lnTo>
                    <a:lnTo>
                      <a:pt x="818" y="1088"/>
                    </a:lnTo>
                    <a:lnTo>
                      <a:pt x="827" y="968"/>
                    </a:lnTo>
                    <a:lnTo>
                      <a:pt x="836" y="848"/>
                    </a:lnTo>
                    <a:lnTo>
                      <a:pt x="839" y="799"/>
                    </a:lnTo>
                    <a:lnTo>
                      <a:pt x="843" y="749"/>
                    </a:lnTo>
                    <a:lnTo>
                      <a:pt x="848" y="699"/>
                    </a:lnTo>
                    <a:lnTo>
                      <a:pt x="851" y="649"/>
                    </a:lnTo>
                    <a:lnTo>
                      <a:pt x="855" y="598"/>
                    </a:lnTo>
                    <a:lnTo>
                      <a:pt x="858" y="548"/>
                    </a:lnTo>
                    <a:lnTo>
                      <a:pt x="861" y="497"/>
                    </a:lnTo>
                    <a:lnTo>
                      <a:pt x="864" y="446"/>
                    </a:lnTo>
                    <a:lnTo>
                      <a:pt x="867" y="394"/>
                    </a:lnTo>
                    <a:lnTo>
                      <a:pt x="870" y="343"/>
                    </a:lnTo>
                    <a:lnTo>
                      <a:pt x="872" y="291"/>
                    </a:lnTo>
                    <a:lnTo>
                      <a:pt x="874" y="238"/>
                    </a:lnTo>
                    <a:lnTo>
                      <a:pt x="875" y="186"/>
                    </a:lnTo>
                    <a:lnTo>
                      <a:pt x="876" y="133"/>
                    </a:lnTo>
                    <a:lnTo>
                      <a:pt x="878" y="80"/>
                    </a:lnTo>
                    <a:lnTo>
                      <a:pt x="878" y="26"/>
                    </a:lnTo>
                    <a:lnTo>
                      <a:pt x="878" y="4"/>
                    </a:lnTo>
                    <a:lnTo>
                      <a:pt x="188" y="0"/>
                    </a:lnTo>
                    <a:lnTo>
                      <a:pt x="187" y="22"/>
                    </a:lnTo>
                    <a:close/>
                    <a:moveTo>
                      <a:pt x="510" y="4131"/>
                    </a:moveTo>
                    <a:lnTo>
                      <a:pt x="510" y="4092"/>
                    </a:lnTo>
                    <a:lnTo>
                      <a:pt x="509" y="4054"/>
                    </a:lnTo>
                    <a:lnTo>
                      <a:pt x="507" y="4014"/>
                    </a:lnTo>
                    <a:lnTo>
                      <a:pt x="504" y="3975"/>
                    </a:lnTo>
                    <a:lnTo>
                      <a:pt x="502" y="3936"/>
                    </a:lnTo>
                    <a:lnTo>
                      <a:pt x="499" y="3896"/>
                    </a:lnTo>
                    <a:lnTo>
                      <a:pt x="495" y="3857"/>
                    </a:lnTo>
                    <a:lnTo>
                      <a:pt x="491" y="3818"/>
                    </a:lnTo>
                    <a:lnTo>
                      <a:pt x="486" y="3778"/>
                    </a:lnTo>
                    <a:lnTo>
                      <a:pt x="480" y="3738"/>
                    </a:lnTo>
                    <a:lnTo>
                      <a:pt x="473" y="3698"/>
                    </a:lnTo>
                    <a:lnTo>
                      <a:pt x="467" y="3657"/>
                    </a:lnTo>
                    <a:lnTo>
                      <a:pt x="452" y="3575"/>
                    </a:lnTo>
                    <a:lnTo>
                      <a:pt x="434" y="3492"/>
                    </a:lnTo>
                    <a:lnTo>
                      <a:pt x="415" y="3407"/>
                    </a:lnTo>
                    <a:lnTo>
                      <a:pt x="392" y="3322"/>
                    </a:lnTo>
                    <a:lnTo>
                      <a:pt x="367" y="3233"/>
                    </a:lnTo>
                    <a:lnTo>
                      <a:pt x="340" y="3143"/>
                    </a:lnTo>
                    <a:lnTo>
                      <a:pt x="310" y="3051"/>
                    </a:lnTo>
                    <a:lnTo>
                      <a:pt x="278" y="2957"/>
                    </a:lnTo>
                    <a:lnTo>
                      <a:pt x="243" y="2860"/>
                    </a:lnTo>
                    <a:lnTo>
                      <a:pt x="207" y="2761"/>
                    </a:lnTo>
                    <a:lnTo>
                      <a:pt x="185" y="2701"/>
                    </a:lnTo>
                    <a:lnTo>
                      <a:pt x="166" y="2642"/>
                    </a:lnTo>
                    <a:lnTo>
                      <a:pt x="147" y="2583"/>
                    </a:lnTo>
                    <a:lnTo>
                      <a:pt x="130" y="2524"/>
                    </a:lnTo>
                    <a:lnTo>
                      <a:pt x="116" y="2466"/>
                    </a:lnTo>
                    <a:lnTo>
                      <a:pt x="102" y="2409"/>
                    </a:lnTo>
                    <a:lnTo>
                      <a:pt x="91" y="2351"/>
                    </a:lnTo>
                    <a:lnTo>
                      <a:pt x="81" y="2294"/>
                    </a:lnTo>
                    <a:lnTo>
                      <a:pt x="73" y="2236"/>
                    </a:lnTo>
                    <a:lnTo>
                      <a:pt x="64" y="2179"/>
                    </a:lnTo>
                    <a:lnTo>
                      <a:pt x="58" y="2122"/>
                    </a:lnTo>
                    <a:lnTo>
                      <a:pt x="54" y="2066"/>
                    </a:lnTo>
                    <a:lnTo>
                      <a:pt x="50" y="2009"/>
                    </a:lnTo>
                    <a:lnTo>
                      <a:pt x="48" y="1954"/>
                    </a:lnTo>
                    <a:lnTo>
                      <a:pt x="46" y="1898"/>
                    </a:lnTo>
                    <a:lnTo>
                      <a:pt x="46" y="1841"/>
                    </a:lnTo>
                    <a:lnTo>
                      <a:pt x="46" y="1783"/>
                    </a:lnTo>
                    <a:lnTo>
                      <a:pt x="48" y="1725"/>
                    </a:lnTo>
                    <a:lnTo>
                      <a:pt x="50" y="1667"/>
                    </a:lnTo>
                    <a:lnTo>
                      <a:pt x="53" y="1609"/>
                    </a:lnTo>
                    <a:lnTo>
                      <a:pt x="57" y="1551"/>
                    </a:lnTo>
                    <a:lnTo>
                      <a:pt x="62" y="1493"/>
                    </a:lnTo>
                    <a:lnTo>
                      <a:pt x="67" y="1435"/>
                    </a:lnTo>
                    <a:lnTo>
                      <a:pt x="74" y="1378"/>
                    </a:lnTo>
                    <a:lnTo>
                      <a:pt x="80" y="1319"/>
                    </a:lnTo>
                    <a:lnTo>
                      <a:pt x="87" y="1261"/>
                    </a:lnTo>
                    <a:lnTo>
                      <a:pt x="94" y="1203"/>
                    </a:lnTo>
                    <a:lnTo>
                      <a:pt x="102" y="1145"/>
                    </a:lnTo>
                    <a:lnTo>
                      <a:pt x="110" y="1086"/>
                    </a:lnTo>
                    <a:lnTo>
                      <a:pt x="118" y="1027"/>
                    </a:lnTo>
                    <a:lnTo>
                      <a:pt x="127" y="969"/>
                    </a:lnTo>
                    <a:lnTo>
                      <a:pt x="136" y="910"/>
                    </a:lnTo>
                    <a:lnTo>
                      <a:pt x="143" y="857"/>
                    </a:lnTo>
                    <a:lnTo>
                      <a:pt x="151" y="806"/>
                    </a:lnTo>
                    <a:lnTo>
                      <a:pt x="158" y="753"/>
                    </a:lnTo>
                    <a:lnTo>
                      <a:pt x="166" y="700"/>
                    </a:lnTo>
                    <a:lnTo>
                      <a:pt x="173" y="648"/>
                    </a:lnTo>
                    <a:lnTo>
                      <a:pt x="180" y="595"/>
                    </a:lnTo>
                    <a:lnTo>
                      <a:pt x="186" y="541"/>
                    </a:lnTo>
                    <a:lnTo>
                      <a:pt x="193" y="487"/>
                    </a:lnTo>
                    <a:lnTo>
                      <a:pt x="200" y="434"/>
                    </a:lnTo>
                    <a:lnTo>
                      <a:pt x="205" y="379"/>
                    </a:lnTo>
                    <a:lnTo>
                      <a:pt x="211" y="324"/>
                    </a:lnTo>
                    <a:lnTo>
                      <a:pt x="215" y="269"/>
                    </a:lnTo>
                    <a:lnTo>
                      <a:pt x="220" y="213"/>
                    </a:lnTo>
                    <a:lnTo>
                      <a:pt x="224" y="157"/>
                    </a:lnTo>
                    <a:lnTo>
                      <a:pt x="228" y="102"/>
                    </a:lnTo>
                    <a:lnTo>
                      <a:pt x="231" y="45"/>
                    </a:lnTo>
                    <a:lnTo>
                      <a:pt x="266" y="46"/>
                    </a:lnTo>
                    <a:lnTo>
                      <a:pt x="335" y="46"/>
                    </a:lnTo>
                    <a:lnTo>
                      <a:pt x="427" y="47"/>
                    </a:lnTo>
                    <a:lnTo>
                      <a:pt x="530" y="47"/>
                    </a:lnTo>
                    <a:lnTo>
                      <a:pt x="634" y="48"/>
                    </a:lnTo>
                    <a:lnTo>
                      <a:pt x="727" y="48"/>
                    </a:lnTo>
                    <a:lnTo>
                      <a:pt x="796" y="49"/>
                    </a:lnTo>
                    <a:lnTo>
                      <a:pt x="832" y="49"/>
                    </a:lnTo>
                    <a:lnTo>
                      <a:pt x="832" y="101"/>
                    </a:lnTo>
                    <a:lnTo>
                      <a:pt x="831" y="151"/>
                    </a:lnTo>
                    <a:lnTo>
                      <a:pt x="830" y="203"/>
                    </a:lnTo>
                    <a:lnTo>
                      <a:pt x="828" y="254"/>
                    </a:lnTo>
                    <a:lnTo>
                      <a:pt x="826" y="304"/>
                    </a:lnTo>
                    <a:lnTo>
                      <a:pt x="824" y="355"/>
                    </a:lnTo>
                    <a:lnTo>
                      <a:pt x="822" y="405"/>
                    </a:lnTo>
                    <a:lnTo>
                      <a:pt x="819" y="454"/>
                    </a:lnTo>
                    <a:lnTo>
                      <a:pt x="816" y="504"/>
                    </a:lnTo>
                    <a:lnTo>
                      <a:pt x="812" y="553"/>
                    </a:lnTo>
                    <a:lnTo>
                      <a:pt x="809" y="602"/>
                    </a:lnTo>
                    <a:lnTo>
                      <a:pt x="806" y="652"/>
                    </a:lnTo>
                    <a:lnTo>
                      <a:pt x="802" y="700"/>
                    </a:lnTo>
                    <a:lnTo>
                      <a:pt x="799" y="748"/>
                    </a:lnTo>
                    <a:lnTo>
                      <a:pt x="795" y="796"/>
                    </a:lnTo>
                    <a:lnTo>
                      <a:pt x="791" y="844"/>
                    </a:lnTo>
                    <a:lnTo>
                      <a:pt x="788" y="891"/>
                    </a:lnTo>
                    <a:lnTo>
                      <a:pt x="783" y="937"/>
                    </a:lnTo>
                    <a:lnTo>
                      <a:pt x="780" y="984"/>
                    </a:lnTo>
                    <a:lnTo>
                      <a:pt x="777" y="1030"/>
                    </a:lnTo>
                    <a:lnTo>
                      <a:pt x="773" y="1077"/>
                    </a:lnTo>
                    <a:lnTo>
                      <a:pt x="770" y="1122"/>
                    </a:lnTo>
                    <a:lnTo>
                      <a:pt x="767" y="1169"/>
                    </a:lnTo>
                    <a:lnTo>
                      <a:pt x="765" y="1214"/>
                    </a:lnTo>
                    <a:lnTo>
                      <a:pt x="762" y="1261"/>
                    </a:lnTo>
                    <a:lnTo>
                      <a:pt x="760" y="1306"/>
                    </a:lnTo>
                    <a:lnTo>
                      <a:pt x="758" y="1352"/>
                    </a:lnTo>
                    <a:lnTo>
                      <a:pt x="756" y="1397"/>
                    </a:lnTo>
                    <a:lnTo>
                      <a:pt x="755" y="1444"/>
                    </a:lnTo>
                    <a:lnTo>
                      <a:pt x="754" y="1489"/>
                    </a:lnTo>
                    <a:lnTo>
                      <a:pt x="752" y="1535"/>
                    </a:lnTo>
                    <a:lnTo>
                      <a:pt x="752" y="1580"/>
                    </a:lnTo>
                    <a:lnTo>
                      <a:pt x="754" y="1655"/>
                    </a:lnTo>
                    <a:lnTo>
                      <a:pt x="756" y="1728"/>
                    </a:lnTo>
                    <a:lnTo>
                      <a:pt x="759" y="1802"/>
                    </a:lnTo>
                    <a:lnTo>
                      <a:pt x="763" y="1876"/>
                    </a:lnTo>
                    <a:lnTo>
                      <a:pt x="769" y="1949"/>
                    </a:lnTo>
                    <a:lnTo>
                      <a:pt x="777" y="2024"/>
                    </a:lnTo>
                    <a:lnTo>
                      <a:pt x="788" y="2098"/>
                    </a:lnTo>
                    <a:lnTo>
                      <a:pt x="799" y="2173"/>
                    </a:lnTo>
                    <a:lnTo>
                      <a:pt x="806" y="2211"/>
                    </a:lnTo>
                    <a:lnTo>
                      <a:pt x="813" y="2248"/>
                    </a:lnTo>
                    <a:lnTo>
                      <a:pt x="821" y="2285"/>
                    </a:lnTo>
                    <a:lnTo>
                      <a:pt x="830" y="2324"/>
                    </a:lnTo>
                    <a:lnTo>
                      <a:pt x="838" y="2361"/>
                    </a:lnTo>
                    <a:lnTo>
                      <a:pt x="848" y="2399"/>
                    </a:lnTo>
                    <a:lnTo>
                      <a:pt x="858" y="2437"/>
                    </a:lnTo>
                    <a:lnTo>
                      <a:pt x="869" y="2475"/>
                    </a:lnTo>
                    <a:lnTo>
                      <a:pt x="881" y="2513"/>
                    </a:lnTo>
                    <a:lnTo>
                      <a:pt x="892" y="2551"/>
                    </a:lnTo>
                    <a:lnTo>
                      <a:pt x="905" y="2590"/>
                    </a:lnTo>
                    <a:lnTo>
                      <a:pt x="919" y="2629"/>
                    </a:lnTo>
                    <a:lnTo>
                      <a:pt x="932" y="2667"/>
                    </a:lnTo>
                    <a:lnTo>
                      <a:pt x="947" y="2706"/>
                    </a:lnTo>
                    <a:lnTo>
                      <a:pt x="962" y="2745"/>
                    </a:lnTo>
                    <a:lnTo>
                      <a:pt x="979" y="2784"/>
                    </a:lnTo>
                    <a:lnTo>
                      <a:pt x="1026" y="2899"/>
                    </a:lnTo>
                    <a:lnTo>
                      <a:pt x="1071" y="3009"/>
                    </a:lnTo>
                    <a:lnTo>
                      <a:pt x="1112" y="3117"/>
                    </a:lnTo>
                    <a:lnTo>
                      <a:pt x="1150" y="3221"/>
                    </a:lnTo>
                    <a:lnTo>
                      <a:pt x="1168" y="3273"/>
                    </a:lnTo>
                    <a:lnTo>
                      <a:pt x="1184" y="3324"/>
                    </a:lnTo>
                    <a:lnTo>
                      <a:pt x="1201" y="3374"/>
                    </a:lnTo>
                    <a:lnTo>
                      <a:pt x="1216" y="3423"/>
                    </a:lnTo>
                    <a:lnTo>
                      <a:pt x="1231" y="3473"/>
                    </a:lnTo>
                    <a:lnTo>
                      <a:pt x="1245" y="3521"/>
                    </a:lnTo>
                    <a:lnTo>
                      <a:pt x="1258" y="3569"/>
                    </a:lnTo>
                    <a:lnTo>
                      <a:pt x="1270" y="3616"/>
                    </a:lnTo>
                    <a:lnTo>
                      <a:pt x="1283" y="3663"/>
                    </a:lnTo>
                    <a:lnTo>
                      <a:pt x="1293" y="3709"/>
                    </a:lnTo>
                    <a:lnTo>
                      <a:pt x="1303" y="3755"/>
                    </a:lnTo>
                    <a:lnTo>
                      <a:pt x="1313" y="3801"/>
                    </a:lnTo>
                    <a:lnTo>
                      <a:pt x="1321" y="3846"/>
                    </a:lnTo>
                    <a:lnTo>
                      <a:pt x="1329" y="3891"/>
                    </a:lnTo>
                    <a:lnTo>
                      <a:pt x="1335" y="3936"/>
                    </a:lnTo>
                    <a:lnTo>
                      <a:pt x="1341" y="3980"/>
                    </a:lnTo>
                    <a:lnTo>
                      <a:pt x="1348" y="4025"/>
                    </a:lnTo>
                    <a:lnTo>
                      <a:pt x="1352" y="4068"/>
                    </a:lnTo>
                    <a:lnTo>
                      <a:pt x="1356" y="4112"/>
                    </a:lnTo>
                    <a:lnTo>
                      <a:pt x="1360" y="4156"/>
                    </a:lnTo>
                    <a:lnTo>
                      <a:pt x="1362" y="4199"/>
                    </a:lnTo>
                    <a:lnTo>
                      <a:pt x="1364" y="4242"/>
                    </a:lnTo>
                    <a:lnTo>
                      <a:pt x="1365" y="4285"/>
                    </a:lnTo>
                    <a:lnTo>
                      <a:pt x="1365" y="4329"/>
                    </a:lnTo>
                    <a:lnTo>
                      <a:pt x="1365" y="4385"/>
                    </a:lnTo>
                    <a:lnTo>
                      <a:pt x="1363" y="4440"/>
                    </a:lnTo>
                    <a:lnTo>
                      <a:pt x="1360" y="4496"/>
                    </a:lnTo>
                    <a:lnTo>
                      <a:pt x="1356" y="4552"/>
                    </a:lnTo>
                    <a:lnTo>
                      <a:pt x="1350" y="4608"/>
                    </a:lnTo>
                    <a:lnTo>
                      <a:pt x="1344" y="4665"/>
                    </a:lnTo>
                    <a:lnTo>
                      <a:pt x="1335" y="4721"/>
                    </a:lnTo>
                    <a:lnTo>
                      <a:pt x="1327" y="4777"/>
                    </a:lnTo>
                    <a:lnTo>
                      <a:pt x="1317" y="4835"/>
                    </a:lnTo>
                    <a:lnTo>
                      <a:pt x="1305" y="4893"/>
                    </a:lnTo>
                    <a:lnTo>
                      <a:pt x="1293" y="4952"/>
                    </a:lnTo>
                    <a:lnTo>
                      <a:pt x="1279" y="5011"/>
                    </a:lnTo>
                    <a:lnTo>
                      <a:pt x="1264" y="5070"/>
                    </a:lnTo>
                    <a:lnTo>
                      <a:pt x="1248" y="5131"/>
                    </a:lnTo>
                    <a:lnTo>
                      <a:pt x="1231" y="5192"/>
                    </a:lnTo>
                    <a:lnTo>
                      <a:pt x="1213" y="5254"/>
                    </a:lnTo>
                    <a:lnTo>
                      <a:pt x="1198" y="5254"/>
                    </a:lnTo>
                    <a:lnTo>
                      <a:pt x="1167" y="5254"/>
                    </a:lnTo>
                    <a:lnTo>
                      <a:pt x="1121" y="5254"/>
                    </a:lnTo>
                    <a:lnTo>
                      <a:pt x="1064" y="5255"/>
                    </a:lnTo>
                    <a:lnTo>
                      <a:pt x="996" y="5255"/>
                    </a:lnTo>
                    <a:lnTo>
                      <a:pt x="922" y="5255"/>
                    </a:lnTo>
                    <a:lnTo>
                      <a:pt x="843" y="5256"/>
                    </a:lnTo>
                    <a:lnTo>
                      <a:pt x="762" y="5256"/>
                    </a:lnTo>
                    <a:lnTo>
                      <a:pt x="679" y="5257"/>
                    </a:lnTo>
                    <a:lnTo>
                      <a:pt x="600" y="5257"/>
                    </a:lnTo>
                    <a:lnTo>
                      <a:pt x="524" y="5258"/>
                    </a:lnTo>
                    <a:lnTo>
                      <a:pt x="455" y="5258"/>
                    </a:lnTo>
                    <a:lnTo>
                      <a:pt x="395" y="5259"/>
                    </a:lnTo>
                    <a:lnTo>
                      <a:pt x="345" y="5259"/>
                    </a:lnTo>
                    <a:lnTo>
                      <a:pt x="310" y="5259"/>
                    </a:lnTo>
                    <a:lnTo>
                      <a:pt x="292" y="5259"/>
                    </a:lnTo>
                    <a:lnTo>
                      <a:pt x="317" y="5182"/>
                    </a:lnTo>
                    <a:lnTo>
                      <a:pt x="342" y="5105"/>
                    </a:lnTo>
                    <a:lnTo>
                      <a:pt x="365" y="5030"/>
                    </a:lnTo>
                    <a:lnTo>
                      <a:pt x="386" y="4955"/>
                    </a:lnTo>
                    <a:lnTo>
                      <a:pt x="405" y="4883"/>
                    </a:lnTo>
                    <a:lnTo>
                      <a:pt x="424" y="4812"/>
                    </a:lnTo>
                    <a:lnTo>
                      <a:pt x="439" y="4740"/>
                    </a:lnTo>
                    <a:lnTo>
                      <a:pt x="454" y="4671"/>
                    </a:lnTo>
                    <a:lnTo>
                      <a:pt x="467" y="4602"/>
                    </a:lnTo>
                    <a:lnTo>
                      <a:pt x="479" y="4533"/>
                    </a:lnTo>
                    <a:lnTo>
                      <a:pt x="488" y="4465"/>
                    </a:lnTo>
                    <a:lnTo>
                      <a:pt x="495" y="4398"/>
                    </a:lnTo>
                    <a:lnTo>
                      <a:pt x="501" y="4331"/>
                    </a:lnTo>
                    <a:lnTo>
                      <a:pt x="507" y="4265"/>
                    </a:lnTo>
                    <a:lnTo>
                      <a:pt x="509" y="4197"/>
                    </a:lnTo>
                    <a:lnTo>
                      <a:pt x="510" y="4131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61" name="Freeform 35"/>
              <p:cNvSpPr>
                <a:spLocks noEditPoints="1"/>
              </p:cNvSpPr>
              <p:nvPr/>
            </p:nvSpPr>
            <p:spPr bwMode="auto">
              <a:xfrm>
                <a:off x="4044" y="1631"/>
                <a:ext cx="111" cy="79"/>
              </a:xfrm>
              <a:custGeom>
                <a:avLst/>
                <a:gdLst>
                  <a:gd name="T0" fmla="*/ 0 w 777"/>
                  <a:gd name="T1" fmla="*/ 0 h 553"/>
                  <a:gd name="T2" fmla="*/ 0 w 777"/>
                  <a:gd name="T3" fmla="*/ 0 h 553"/>
                  <a:gd name="T4" fmla="*/ 0 w 777"/>
                  <a:gd name="T5" fmla="*/ 0 h 553"/>
                  <a:gd name="T6" fmla="*/ 0 w 777"/>
                  <a:gd name="T7" fmla="*/ 0 h 553"/>
                  <a:gd name="T8" fmla="*/ 0 w 777"/>
                  <a:gd name="T9" fmla="*/ 0 h 553"/>
                  <a:gd name="T10" fmla="*/ 0 w 777"/>
                  <a:gd name="T11" fmla="*/ 0 h 553"/>
                  <a:gd name="T12" fmla="*/ 0 w 777"/>
                  <a:gd name="T13" fmla="*/ 0 h 553"/>
                  <a:gd name="T14" fmla="*/ 0 w 777"/>
                  <a:gd name="T15" fmla="*/ 0 h 553"/>
                  <a:gd name="T16" fmla="*/ 0 w 777"/>
                  <a:gd name="T17" fmla="*/ 0 h 553"/>
                  <a:gd name="T18" fmla="*/ 0 w 777"/>
                  <a:gd name="T19" fmla="*/ 0 h 553"/>
                  <a:gd name="T20" fmla="*/ 0 w 777"/>
                  <a:gd name="T21" fmla="*/ 0 h 553"/>
                  <a:gd name="T22" fmla="*/ 0 w 777"/>
                  <a:gd name="T23" fmla="*/ 0 h 553"/>
                  <a:gd name="T24" fmla="*/ 0 w 777"/>
                  <a:gd name="T25" fmla="*/ 0 h 553"/>
                  <a:gd name="T26" fmla="*/ 0 w 777"/>
                  <a:gd name="T27" fmla="*/ 0 h 553"/>
                  <a:gd name="T28" fmla="*/ 0 w 777"/>
                  <a:gd name="T29" fmla="*/ 0 h 553"/>
                  <a:gd name="T30" fmla="*/ 0 w 777"/>
                  <a:gd name="T31" fmla="*/ 0 h 553"/>
                  <a:gd name="T32" fmla="*/ 0 w 777"/>
                  <a:gd name="T33" fmla="*/ 0 h 553"/>
                  <a:gd name="T34" fmla="*/ 0 w 777"/>
                  <a:gd name="T35" fmla="*/ 0 h 553"/>
                  <a:gd name="T36" fmla="*/ 0 w 777"/>
                  <a:gd name="T37" fmla="*/ 0 h 553"/>
                  <a:gd name="T38" fmla="*/ 0 w 777"/>
                  <a:gd name="T39" fmla="*/ 0 h 553"/>
                  <a:gd name="T40" fmla="*/ 0 w 777"/>
                  <a:gd name="T41" fmla="*/ 0 h 553"/>
                  <a:gd name="T42" fmla="*/ 0 w 777"/>
                  <a:gd name="T43" fmla="*/ 0 h 553"/>
                  <a:gd name="T44" fmla="*/ 0 w 777"/>
                  <a:gd name="T45" fmla="*/ 0 h 553"/>
                  <a:gd name="T46" fmla="*/ 0 w 777"/>
                  <a:gd name="T47" fmla="*/ 0 h 553"/>
                  <a:gd name="T48" fmla="*/ 0 w 777"/>
                  <a:gd name="T49" fmla="*/ 0 h 553"/>
                  <a:gd name="T50" fmla="*/ 0 w 777"/>
                  <a:gd name="T51" fmla="*/ 0 h 553"/>
                  <a:gd name="T52" fmla="*/ 0 w 777"/>
                  <a:gd name="T53" fmla="*/ 0 h 553"/>
                  <a:gd name="T54" fmla="*/ 0 w 777"/>
                  <a:gd name="T55" fmla="*/ 0 h 553"/>
                  <a:gd name="T56" fmla="*/ 0 w 777"/>
                  <a:gd name="T57" fmla="*/ 0 h 553"/>
                  <a:gd name="T58" fmla="*/ 0 w 777"/>
                  <a:gd name="T59" fmla="*/ 0 h 553"/>
                  <a:gd name="T60" fmla="*/ 0 w 777"/>
                  <a:gd name="T61" fmla="*/ 0 h 553"/>
                  <a:gd name="T62" fmla="*/ 0 w 777"/>
                  <a:gd name="T63" fmla="*/ 0 h 553"/>
                  <a:gd name="T64" fmla="*/ 0 w 777"/>
                  <a:gd name="T65" fmla="*/ 0 h 553"/>
                  <a:gd name="T66" fmla="*/ 0 w 777"/>
                  <a:gd name="T67" fmla="*/ 0 h 553"/>
                  <a:gd name="T68" fmla="*/ 0 w 777"/>
                  <a:gd name="T69" fmla="*/ 0 h 553"/>
                  <a:gd name="T70" fmla="*/ 0 w 777"/>
                  <a:gd name="T71" fmla="*/ 0 h 553"/>
                  <a:gd name="T72" fmla="*/ 0 w 777"/>
                  <a:gd name="T73" fmla="*/ 0 h 553"/>
                  <a:gd name="T74" fmla="*/ 0 w 777"/>
                  <a:gd name="T75" fmla="*/ 0 h 553"/>
                  <a:gd name="T76" fmla="*/ 0 w 777"/>
                  <a:gd name="T77" fmla="*/ 0 h 553"/>
                  <a:gd name="T78" fmla="*/ 0 w 777"/>
                  <a:gd name="T79" fmla="*/ 0 h 553"/>
                  <a:gd name="T80" fmla="*/ 0 w 777"/>
                  <a:gd name="T81" fmla="*/ 0 h 553"/>
                  <a:gd name="T82" fmla="*/ 0 w 777"/>
                  <a:gd name="T83" fmla="*/ 0 h 553"/>
                  <a:gd name="T84" fmla="*/ 0 w 777"/>
                  <a:gd name="T85" fmla="*/ 0 h 553"/>
                  <a:gd name="T86" fmla="*/ 0 w 777"/>
                  <a:gd name="T87" fmla="*/ 0 h 553"/>
                  <a:gd name="T88" fmla="*/ 0 w 777"/>
                  <a:gd name="T89" fmla="*/ 0 h 553"/>
                  <a:gd name="T90" fmla="*/ 0 w 777"/>
                  <a:gd name="T91" fmla="*/ 0 h 553"/>
                  <a:gd name="T92" fmla="*/ 0 w 777"/>
                  <a:gd name="T93" fmla="*/ 0 h 553"/>
                  <a:gd name="T94" fmla="*/ 0 w 777"/>
                  <a:gd name="T95" fmla="*/ 0 h 553"/>
                  <a:gd name="T96" fmla="*/ 0 w 777"/>
                  <a:gd name="T97" fmla="*/ 0 h 553"/>
                  <a:gd name="T98" fmla="*/ 0 w 777"/>
                  <a:gd name="T99" fmla="*/ 0 h 553"/>
                  <a:gd name="T100" fmla="*/ 0 w 777"/>
                  <a:gd name="T101" fmla="*/ 0 h 553"/>
                  <a:gd name="T102" fmla="*/ 0 w 777"/>
                  <a:gd name="T103" fmla="*/ 0 h 553"/>
                  <a:gd name="T104" fmla="*/ 0 w 777"/>
                  <a:gd name="T105" fmla="*/ 0 h 553"/>
                  <a:gd name="T106" fmla="*/ 0 w 777"/>
                  <a:gd name="T107" fmla="*/ 0 h 553"/>
                  <a:gd name="T108" fmla="*/ 0 w 777"/>
                  <a:gd name="T109" fmla="*/ 0 h 553"/>
                  <a:gd name="T110" fmla="*/ 0 w 777"/>
                  <a:gd name="T111" fmla="*/ 0 h 553"/>
                  <a:gd name="T112" fmla="*/ 0 w 777"/>
                  <a:gd name="T113" fmla="*/ 0 h 553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777"/>
                  <a:gd name="T172" fmla="*/ 0 h 553"/>
                  <a:gd name="T173" fmla="*/ 777 w 777"/>
                  <a:gd name="T174" fmla="*/ 553 h 553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777" h="553">
                    <a:moveTo>
                      <a:pt x="125" y="0"/>
                    </a:moveTo>
                    <a:lnTo>
                      <a:pt x="123" y="15"/>
                    </a:lnTo>
                    <a:lnTo>
                      <a:pt x="114" y="73"/>
                    </a:lnTo>
                    <a:lnTo>
                      <a:pt x="103" y="132"/>
                    </a:lnTo>
                    <a:lnTo>
                      <a:pt x="92" y="194"/>
                    </a:lnTo>
                    <a:lnTo>
                      <a:pt x="78" y="257"/>
                    </a:lnTo>
                    <a:lnTo>
                      <a:pt x="63" y="322"/>
                    </a:lnTo>
                    <a:lnTo>
                      <a:pt x="46" y="389"/>
                    </a:lnTo>
                    <a:lnTo>
                      <a:pt x="27" y="460"/>
                    </a:lnTo>
                    <a:lnTo>
                      <a:pt x="6" y="532"/>
                    </a:lnTo>
                    <a:lnTo>
                      <a:pt x="0" y="553"/>
                    </a:lnTo>
                    <a:lnTo>
                      <a:pt x="684" y="549"/>
                    </a:lnTo>
                    <a:lnTo>
                      <a:pt x="687" y="536"/>
                    </a:lnTo>
                    <a:lnTo>
                      <a:pt x="705" y="466"/>
                    </a:lnTo>
                    <a:lnTo>
                      <a:pt x="720" y="397"/>
                    </a:lnTo>
                    <a:lnTo>
                      <a:pt x="734" y="329"/>
                    </a:lnTo>
                    <a:lnTo>
                      <a:pt x="746" y="264"/>
                    </a:lnTo>
                    <a:lnTo>
                      <a:pt x="757" y="200"/>
                    </a:lnTo>
                    <a:lnTo>
                      <a:pt x="765" y="138"/>
                    </a:lnTo>
                    <a:lnTo>
                      <a:pt x="771" y="78"/>
                    </a:lnTo>
                    <a:lnTo>
                      <a:pt x="776" y="19"/>
                    </a:lnTo>
                    <a:lnTo>
                      <a:pt x="777" y="0"/>
                    </a:lnTo>
                    <a:lnTo>
                      <a:pt x="139" y="0"/>
                    </a:lnTo>
                    <a:lnTo>
                      <a:pt x="125" y="0"/>
                    </a:lnTo>
                    <a:close/>
                    <a:moveTo>
                      <a:pt x="742" y="35"/>
                    </a:moveTo>
                    <a:lnTo>
                      <a:pt x="737" y="89"/>
                    </a:lnTo>
                    <a:lnTo>
                      <a:pt x="731" y="146"/>
                    </a:lnTo>
                    <a:lnTo>
                      <a:pt x="722" y="203"/>
                    </a:lnTo>
                    <a:lnTo>
                      <a:pt x="713" y="263"/>
                    </a:lnTo>
                    <a:lnTo>
                      <a:pt x="702" y="323"/>
                    </a:lnTo>
                    <a:lnTo>
                      <a:pt x="689" y="386"/>
                    </a:lnTo>
                    <a:lnTo>
                      <a:pt x="675" y="450"/>
                    </a:lnTo>
                    <a:lnTo>
                      <a:pt x="659" y="515"/>
                    </a:lnTo>
                    <a:lnTo>
                      <a:pt x="627" y="516"/>
                    </a:lnTo>
                    <a:lnTo>
                      <a:pt x="559" y="516"/>
                    </a:lnTo>
                    <a:lnTo>
                      <a:pt x="464" y="518"/>
                    </a:lnTo>
                    <a:lnTo>
                      <a:pt x="358" y="518"/>
                    </a:lnTo>
                    <a:lnTo>
                      <a:pt x="249" y="519"/>
                    </a:lnTo>
                    <a:lnTo>
                      <a:pt x="153" y="519"/>
                    </a:lnTo>
                    <a:lnTo>
                      <a:pt x="80" y="520"/>
                    </a:lnTo>
                    <a:lnTo>
                      <a:pt x="44" y="520"/>
                    </a:lnTo>
                    <a:lnTo>
                      <a:pt x="62" y="452"/>
                    </a:lnTo>
                    <a:lnTo>
                      <a:pt x="80" y="387"/>
                    </a:lnTo>
                    <a:lnTo>
                      <a:pt x="95" y="324"/>
                    </a:lnTo>
                    <a:lnTo>
                      <a:pt x="110" y="262"/>
                    </a:lnTo>
                    <a:lnTo>
                      <a:pt x="122" y="203"/>
                    </a:lnTo>
                    <a:lnTo>
                      <a:pt x="133" y="145"/>
                    </a:lnTo>
                    <a:lnTo>
                      <a:pt x="144" y="88"/>
                    </a:lnTo>
                    <a:lnTo>
                      <a:pt x="153" y="35"/>
                    </a:lnTo>
                    <a:lnTo>
                      <a:pt x="184" y="35"/>
                    </a:lnTo>
                    <a:lnTo>
                      <a:pt x="251" y="35"/>
                    </a:lnTo>
                    <a:lnTo>
                      <a:pt x="341" y="35"/>
                    </a:lnTo>
                    <a:lnTo>
                      <a:pt x="445" y="35"/>
                    </a:lnTo>
                    <a:lnTo>
                      <a:pt x="548" y="35"/>
                    </a:lnTo>
                    <a:lnTo>
                      <a:pt x="640" y="35"/>
                    </a:lnTo>
                    <a:lnTo>
                      <a:pt x="708" y="35"/>
                    </a:lnTo>
                    <a:lnTo>
                      <a:pt x="742" y="35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62" name="Freeform 36"/>
              <p:cNvSpPr>
                <a:spLocks noEditPoints="1"/>
              </p:cNvSpPr>
              <p:nvPr/>
            </p:nvSpPr>
            <p:spPr bwMode="auto">
              <a:xfrm>
                <a:off x="4057" y="1641"/>
                <a:ext cx="85" cy="60"/>
              </a:xfrm>
              <a:custGeom>
                <a:avLst/>
                <a:gdLst>
                  <a:gd name="T0" fmla="*/ 0 w 589"/>
                  <a:gd name="T1" fmla="*/ 0 h 421"/>
                  <a:gd name="T2" fmla="*/ 0 w 589"/>
                  <a:gd name="T3" fmla="*/ 0 h 421"/>
                  <a:gd name="T4" fmla="*/ 0 w 589"/>
                  <a:gd name="T5" fmla="*/ 0 h 421"/>
                  <a:gd name="T6" fmla="*/ 0 w 589"/>
                  <a:gd name="T7" fmla="*/ 0 h 421"/>
                  <a:gd name="T8" fmla="*/ 0 w 589"/>
                  <a:gd name="T9" fmla="*/ 0 h 421"/>
                  <a:gd name="T10" fmla="*/ 0 w 589"/>
                  <a:gd name="T11" fmla="*/ 0 h 421"/>
                  <a:gd name="T12" fmla="*/ 0 w 589"/>
                  <a:gd name="T13" fmla="*/ 0 h 421"/>
                  <a:gd name="T14" fmla="*/ 0 w 589"/>
                  <a:gd name="T15" fmla="*/ 0 h 421"/>
                  <a:gd name="T16" fmla="*/ 0 w 589"/>
                  <a:gd name="T17" fmla="*/ 0 h 421"/>
                  <a:gd name="T18" fmla="*/ 0 w 589"/>
                  <a:gd name="T19" fmla="*/ 0 h 421"/>
                  <a:gd name="T20" fmla="*/ 0 w 589"/>
                  <a:gd name="T21" fmla="*/ 0 h 421"/>
                  <a:gd name="T22" fmla="*/ 0 w 589"/>
                  <a:gd name="T23" fmla="*/ 0 h 421"/>
                  <a:gd name="T24" fmla="*/ 0 w 589"/>
                  <a:gd name="T25" fmla="*/ 0 h 421"/>
                  <a:gd name="T26" fmla="*/ 0 w 589"/>
                  <a:gd name="T27" fmla="*/ 0 h 421"/>
                  <a:gd name="T28" fmla="*/ 0 w 589"/>
                  <a:gd name="T29" fmla="*/ 0 h 421"/>
                  <a:gd name="T30" fmla="*/ 0 w 589"/>
                  <a:gd name="T31" fmla="*/ 0 h 421"/>
                  <a:gd name="T32" fmla="*/ 0 w 589"/>
                  <a:gd name="T33" fmla="*/ 0 h 421"/>
                  <a:gd name="T34" fmla="*/ 0 w 589"/>
                  <a:gd name="T35" fmla="*/ 0 h 421"/>
                  <a:gd name="T36" fmla="*/ 0 w 589"/>
                  <a:gd name="T37" fmla="*/ 0 h 421"/>
                  <a:gd name="T38" fmla="*/ 0 w 589"/>
                  <a:gd name="T39" fmla="*/ 0 h 421"/>
                  <a:gd name="T40" fmla="*/ 0 w 589"/>
                  <a:gd name="T41" fmla="*/ 0 h 421"/>
                  <a:gd name="T42" fmla="*/ 0 w 589"/>
                  <a:gd name="T43" fmla="*/ 0 h 421"/>
                  <a:gd name="T44" fmla="*/ 0 w 589"/>
                  <a:gd name="T45" fmla="*/ 0 h 421"/>
                  <a:gd name="T46" fmla="*/ 0 w 589"/>
                  <a:gd name="T47" fmla="*/ 0 h 421"/>
                  <a:gd name="T48" fmla="*/ 0 w 589"/>
                  <a:gd name="T49" fmla="*/ 0 h 421"/>
                  <a:gd name="T50" fmla="*/ 0 w 589"/>
                  <a:gd name="T51" fmla="*/ 0 h 421"/>
                  <a:gd name="T52" fmla="*/ 0 w 589"/>
                  <a:gd name="T53" fmla="*/ 0 h 421"/>
                  <a:gd name="T54" fmla="*/ 0 w 589"/>
                  <a:gd name="T55" fmla="*/ 0 h 421"/>
                  <a:gd name="T56" fmla="*/ 0 w 589"/>
                  <a:gd name="T57" fmla="*/ 0 h 421"/>
                  <a:gd name="T58" fmla="*/ 0 w 589"/>
                  <a:gd name="T59" fmla="*/ 0 h 421"/>
                  <a:gd name="T60" fmla="*/ 0 w 589"/>
                  <a:gd name="T61" fmla="*/ 0 h 421"/>
                  <a:gd name="T62" fmla="*/ 0 w 589"/>
                  <a:gd name="T63" fmla="*/ 0 h 421"/>
                  <a:gd name="T64" fmla="*/ 0 w 589"/>
                  <a:gd name="T65" fmla="*/ 0 h 421"/>
                  <a:gd name="T66" fmla="*/ 0 w 589"/>
                  <a:gd name="T67" fmla="*/ 0 h 421"/>
                  <a:gd name="T68" fmla="*/ 0 w 589"/>
                  <a:gd name="T69" fmla="*/ 0 h 421"/>
                  <a:gd name="T70" fmla="*/ 0 w 589"/>
                  <a:gd name="T71" fmla="*/ 0 h 421"/>
                  <a:gd name="T72" fmla="*/ 0 w 589"/>
                  <a:gd name="T73" fmla="*/ 0 h 421"/>
                  <a:gd name="T74" fmla="*/ 0 w 589"/>
                  <a:gd name="T75" fmla="*/ 0 h 421"/>
                  <a:gd name="T76" fmla="*/ 0 w 589"/>
                  <a:gd name="T77" fmla="*/ 0 h 421"/>
                  <a:gd name="T78" fmla="*/ 0 w 589"/>
                  <a:gd name="T79" fmla="*/ 0 h 421"/>
                  <a:gd name="T80" fmla="*/ 0 w 589"/>
                  <a:gd name="T81" fmla="*/ 0 h 421"/>
                  <a:gd name="T82" fmla="*/ 0 w 589"/>
                  <a:gd name="T83" fmla="*/ 0 h 421"/>
                  <a:gd name="T84" fmla="*/ 0 w 589"/>
                  <a:gd name="T85" fmla="*/ 0 h 421"/>
                  <a:gd name="T86" fmla="*/ 0 w 589"/>
                  <a:gd name="T87" fmla="*/ 0 h 421"/>
                  <a:gd name="T88" fmla="*/ 0 w 589"/>
                  <a:gd name="T89" fmla="*/ 0 h 421"/>
                  <a:gd name="T90" fmla="*/ 0 w 589"/>
                  <a:gd name="T91" fmla="*/ 0 h 421"/>
                  <a:gd name="T92" fmla="*/ 0 w 589"/>
                  <a:gd name="T93" fmla="*/ 0 h 421"/>
                  <a:gd name="T94" fmla="*/ 0 w 589"/>
                  <a:gd name="T95" fmla="*/ 0 h 421"/>
                  <a:gd name="T96" fmla="*/ 0 w 589"/>
                  <a:gd name="T97" fmla="*/ 0 h 421"/>
                  <a:gd name="T98" fmla="*/ 0 w 589"/>
                  <a:gd name="T99" fmla="*/ 0 h 421"/>
                  <a:gd name="T100" fmla="*/ 0 w 589"/>
                  <a:gd name="T101" fmla="*/ 0 h 421"/>
                  <a:gd name="T102" fmla="*/ 0 w 589"/>
                  <a:gd name="T103" fmla="*/ 0 h 421"/>
                  <a:gd name="T104" fmla="*/ 0 w 589"/>
                  <a:gd name="T105" fmla="*/ 0 h 421"/>
                  <a:gd name="T106" fmla="*/ 0 w 589"/>
                  <a:gd name="T107" fmla="*/ 0 h 421"/>
                  <a:gd name="T108" fmla="*/ 0 w 589"/>
                  <a:gd name="T109" fmla="*/ 0 h 421"/>
                  <a:gd name="T110" fmla="*/ 0 w 589"/>
                  <a:gd name="T111" fmla="*/ 0 h 421"/>
                  <a:gd name="T112" fmla="*/ 0 w 589"/>
                  <a:gd name="T113" fmla="*/ 0 h 421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589"/>
                  <a:gd name="T172" fmla="*/ 0 h 421"/>
                  <a:gd name="T173" fmla="*/ 589 w 589"/>
                  <a:gd name="T174" fmla="*/ 421 h 421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589" h="421">
                    <a:moveTo>
                      <a:pt x="95" y="0"/>
                    </a:moveTo>
                    <a:lnTo>
                      <a:pt x="93" y="14"/>
                    </a:lnTo>
                    <a:lnTo>
                      <a:pt x="87" y="57"/>
                    </a:lnTo>
                    <a:lnTo>
                      <a:pt x="79" y="101"/>
                    </a:lnTo>
                    <a:lnTo>
                      <a:pt x="69" y="147"/>
                    </a:lnTo>
                    <a:lnTo>
                      <a:pt x="60" y="194"/>
                    </a:lnTo>
                    <a:lnTo>
                      <a:pt x="48" y="243"/>
                    </a:lnTo>
                    <a:lnTo>
                      <a:pt x="35" y="292"/>
                    </a:lnTo>
                    <a:lnTo>
                      <a:pt x="22" y="345"/>
                    </a:lnTo>
                    <a:lnTo>
                      <a:pt x="6" y="399"/>
                    </a:lnTo>
                    <a:lnTo>
                      <a:pt x="0" y="421"/>
                    </a:lnTo>
                    <a:lnTo>
                      <a:pt x="519" y="416"/>
                    </a:lnTo>
                    <a:lnTo>
                      <a:pt x="522" y="405"/>
                    </a:lnTo>
                    <a:lnTo>
                      <a:pt x="534" y="351"/>
                    </a:lnTo>
                    <a:lnTo>
                      <a:pt x="547" y="300"/>
                    </a:lnTo>
                    <a:lnTo>
                      <a:pt x="557" y="250"/>
                    </a:lnTo>
                    <a:lnTo>
                      <a:pt x="565" y="201"/>
                    </a:lnTo>
                    <a:lnTo>
                      <a:pt x="574" y="154"/>
                    </a:lnTo>
                    <a:lnTo>
                      <a:pt x="580" y="107"/>
                    </a:lnTo>
                    <a:lnTo>
                      <a:pt x="584" y="62"/>
                    </a:lnTo>
                    <a:lnTo>
                      <a:pt x="588" y="17"/>
                    </a:lnTo>
                    <a:lnTo>
                      <a:pt x="589" y="0"/>
                    </a:lnTo>
                    <a:lnTo>
                      <a:pt x="109" y="0"/>
                    </a:lnTo>
                    <a:lnTo>
                      <a:pt x="95" y="0"/>
                    </a:lnTo>
                    <a:close/>
                    <a:moveTo>
                      <a:pt x="554" y="33"/>
                    </a:moveTo>
                    <a:lnTo>
                      <a:pt x="551" y="73"/>
                    </a:lnTo>
                    <a:lnTo>
                      <a:pt x="546" y="114"/>
                    </a:lnTo>
                    <a:lnTo>
                      <a:pt x="540" y="157"/>
                    </a:lnTo>
                    <a:lnTo>
                      <a:pt x="533" y="200"/>
                    </a:lnTo>
                    <a:lnTo>
                      <a:pt x="525" y="244"/>
                    </a:lnTo>
                    <a:lnTo>
                      <a:pt x="516" y="289"/>
                    </a:lnTo>
                    <a:lnTo>
                      <a:pt x="506" y="336"/>
                    </a:lnTo>
                    <a:lnTo>
                      <a:pt x="494" y="384"/>
                    </a:lnTo>
                    <a:lnTo>
                      <a:pt x="469" y="384"/>
                    </a:lnTo>
                    <a:lnTo>
                      <a:pt x="419" y="384"/>
                    </a:lnTo>
                    <a:lnTo>
                      <a:pt x="352" y="384"/>
                    </a:lnTo>
                    <a:lnTo>
                      <a:pt x="274" y="385"/>
                    </a:lnTo>
                    <a:lnTo>
                      <a:pt x="197" y="385"/>
                    </a:lnTo>
                    <a:lnTo>
                      <a:pt x="126" y="386"/>
                    </a:lnTo>
                    <a:lnTo>
                      <a:pt x="73" y="386"/>
                    </a:lnTo>
                    <a:lnTo>
                      <a:pt x="44" y="386"/>
                    </a:lnTo>
                    <a:lnTo>
                      <a:pt x="57" y="338"/>
                    </a:lnTo>
                    <a:lnTo>
                      <a:pt x="69" y="290"/>
                    </a:lnTo>
                    <a:lnTo>
                      <a:pt x="81" y="245"/>
                    </a:lnTo>
                    <a:lnTo>
                      <a:pt x="91" y="199"/>
                    </a:lnTo>
                    <a:lnTo>
                      <a:pt x="100" y="156"/>
                    </a:lnTo>
                    <a:lnTo>
                      <a:pt x="109" y="114"/>
                    </a:lnTo>
                    <a:lnTo>
                      <a:pt x="116" y="73"/>
                    </a:lnTo>
                    <a:lnTo>
                      <a:pt x="123" y="33"/>
                    </a:lnTo>
                    <a:lnTo>
                      <a:pt x="147" y="33"/>
                    </a:lnTo>
                    <a:lnTo>
                      <a:pt x="197" y="33"/>
                    </a:lnTo>
                    <a:lnTo>
                      <a:pt x="262" y="33"/>
                    </a:lnTo>
                    <a:lnTo>
                      <a:pt x="336" y="33"/>
                    </a:lnTo>
                    <a:lnTo>
                      <a:pt x="410" y="33"/>
                    </a:lnTo>
                    <a:lnTo>
                      <a:pt x="477" y="33"/>
                    </a:lnTo>
                    <a:lnTo>
                      <a:pt x="527" y="33"/>
                    </a:lnTo>
                    <a:lnTo>
                      <a:pt x="554" y="33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63" name="Freeform 37"/>
              <p:cNvSpPr>
                <a:spLocks noEditPoints="1"/>
              </p:cNvSpPr>
              <p:nvPr/>
            </p:nvSpPr>
            <p:spPr bwMode="auto">
              <a:xfrm>
                <a:off x="4072" y="1651"/>
                <a:ext cx="55" cy="40"/>
              </a:xfrm>
              <a:custGeom>
                <a:avLst/>
                <a:gdLst>
                  <a:gd name="T0" fmla="*/ 0 w 388"/>
                  <a:gd name="T1" fmla="*/ 0 h 278"/>
                  <a:gd name="T2" fmla="*/ 0 w 388"/>
                  <a:gd name="T3" fmla="*/ 0 h 278"/>
                  <a:gd name="T4" fmla="*/ 0 w 388"/>
                  <a:gd name="T5" fmla="*/ 0 h 278"/>
                  <a:gd name="T6" fmla="*/ 0 w 388"/>
                  <a:gd name="T7" fmla="*/ 0 h 278"/>
                  <a:gd name="T8" fmla="*/ 0 w 388"/>
                  <a:gd name="T9" fmla="*/ 0 h 278"/>
                  <a:gd name="T10" fmla="*/ 0 w 388"/>
                  <a:gd name="T11" fmla="*/ 0 h 278"/>
                  <a:gd name="T12" fmla="*/ 0 w 388"/>
                  <a:gd name="T13" fmla="*/ 0 h 278"/>
                  <a:gd name="T14" fmla="*/ 0 w 388"/>
                  <a:gd name="T15" fmla="*/ 0 h 278"/>
                  <a:gd name="T16" fmla="*/ 0 w 388"/>
                  <a:gd name="T17" fmla="*/ 0 h 278"/>
                  <a:gd name="T18" fmla="*/ 0 w 388"/>
                  <a:gd name="T19" fmla="*/ 0 h 278"/>
                  <a:gd name="T20" fmla="*/ 0 w 388"/>
                  <a:gd name="T21" fmla="*/ 0 h 278"/>
                  <a:gd name="T22" fmla="*/ 0 w 388"/>
                  <a:gd name="T23" fmla="*/ 0 h 278"/>
                  <a:gd name="T24" fmla="*/ 0 w 388"/>
                  <a:gd name="T25" fmla="*/ 0 h 278"/>
                  <a:gd name="T26" fmla="*/ 0 w 388"/>
                  <a:gd name="T27" fmla="*/ 0 h 278"/>
                  <a:gd name="T28" fmla="*/ 0 w 388"/>
                  <a:gd name="T29" fmla="*/ 0 h 278"/>
                  <a:gd name="T30" fmla="*/ 0 w 388"/>
                  <a:gd name="T31" fmla="*/ 0 h 278"/>
                  <a:gd name="T32" fmla="*/ 0 w 388"/>
                  <a:gd name="T33" fmla="*/ 0 h 278"/>
                  <a:gd name="T34" fmla="*/ 0 w 388"/>
                  <a:gd name="T35" fmla="*/ 0 h 278"/>
                  <a:gd name="T36" fmla="*/ 0 w 388"/>
                  <a:gd name="T37" fmla="*/ 0 h 278"/>
                  <a:gd name="T38" fmla="*/ 0 w 388"/>
                  <a:gd name="T39" fmla="*/ 0 h 278"/>
                  <a:gd name="T40" fmla="*/ 0 w 388"/>
                  <a:gd name="T41" fmla="*/ 0 h 278"/>
                  <a:gd name="T42" fmla="*/ 0 w 388"/>
                  <a:gd name="T43" fmla="*/ 0 h 278"/>
                  <a:gd name="T44" fmla="*/ 0 w 388"/>
                  <a:gd name="T45" fmla="*/ 0 h 278"/>
                  <a:gd name="T46" fmla="*/ 0 w 388"/>
                  <a:gd name="T47" fmla="*/ 0 h 278"/>
                  <a:gd name="T48" fmla="*/ 0 w 388"/>
                  <a:gd name="T49" fmla="*/ 0 h 278"/>
                  <a:gd name="T50" fmla="*/ 0 w 388"/>
                  <a:gd name="T51" fmla="*/ 0 h 278"/>
                  <a:gd name="T52" fmla="*/ 0 w 388"/>
                  <a:gd name="T53" fmla="*/ 0 h 278"/>
                  <a:gd name="T54" fmla="*/ 0 w 388"/>
                  <a:gd name="T55" fmla="*/ 0 h 278"/>
                  <a:gd name="T56" fmla="*/ 0 w 388"/>
                  <a:gd name="T57" fmla="*/ 0 h 278"/>
                  <a:gd name="T58" fmla="*/ 0 w 388"/>
                  <a:gd name="T59" fmla="*/ 0 h 278"/>
                  <a:gd name="T60" fmla="*/ 0 w 388"/>
                  <a:gd name="T61" fmla="*/ 0 h 278"/>
                  <a:gd name="T62" fmla="*/ 0 w 388"/>
                  <a:gd name="T63" fmla="*/ 0 h 278"/>
                  <a:gd name="T64" fmla="*/ 0 w 388"/>
                  <a:gd name="T65" fmla="*/ 0 h 278"/>
                  <a:gd name="T66" fmla="*/ 0 w 388"/>
                  <a:gd name="T67" fmla="*/ 0 h 278"/>
                  <a:gd name="T68" fmla="*/ 0 w 388"/>
                  <a:gd name="T69" fmla="*/ 0 h 278"/>
                  <a:gd name="T70" fmla="*/ 0 w 388"/>
                  <a:gd name="T71" fmla="*/ 0 h 278"/>
                  <a:gd name="T72" fmla="*/ 0 w 388"/>
                  <a:gd name="T73" fmla="*/ 0 h 278"/>
                  <a:gd name="T74" fmla="*/ 0 w 388"/>
                  <a:gd name="T75" fmla="*/ 0 h 278"/>
                  <a:gd name="T76" fmla="*/ 0 w 388"/>
                  <a:gd name="T77" fmla="*/ 0 h 278"/>
                  <a:gd name="T78" fmla="*/ 0 w 388"/>
                  <a:gd name="T79" fmla="*/ 0 h 278"/>
                  <a:gd name="T80" fmla="*/ 0 w 388"/>
                  <a:gd name="T81" fmla="*/ 0 h 278"/>
                  <a:gd name="T82" fmla="*/ 0 w 388"/>
                  <a:gd name="T83" fmla="*/ 0 h 278"/>
                  <a:gd name="T84" fmla="*/ 0 w 388"/>
                  <a:gd name="T85" fmla="*/ 0 h 278"/>
                  <a:gd name="T86" fmla="*/ 0 w 388"/>
                  <a:gd name="T87" fmla="*/ 0 h 278"/>
                  <a:gd name="T88" fmla="*/ 0 w 388"/>
                  <a:gd name="T89" fmla="*/ 0 h 278"/>
                  <a:gd name="T90" fmla="*/ 0 w 388"/>
                  <a:gd name="T91" fmla="*/ 0 h 278"/>
                  <a:gd name="T92" fmla="*/ 0 w 388"/>
                  <a:gd name="T93" fmla="*/ 0 h 278"/>
                  <a:gd name="T94" fmla="*/ 0 w 388"/>
                  <a:gd name="T95" fmla="*/ 0 h 278"/>
                  <a:gd name="T96" fmla="*/ 0 w 388"/>
                  <a:gd name="T97" fmla="*/ 0 h 278"/>
                  <a:gd name="T98" fmla="*/ 0 w 388"/>
                  <a:gd name="T99" fmla="*/ 0 h 278"/>
                  <a:gd name="T100" fmla="*/ 0 w 388"/>
                  <a:gd name="T101" fmla="*/ 0 h 278"/>
                  <a:gd name="T102" fmla="*/ 0 w 388"/>
                  <a:gd name="T103" fmla="*/ 0 h 278"/>
                  <a:gd name="T104" fmla="*/ 0 w 388"/>
                  <a:gd name="T105" fmla="*/ 0 h 278"/>
                  <a:gd name="T106" fmla="*/ 0 w 388"/>
                  <a:gd name="T107" fmla="*/ 0 h 278"/>
                  <a:gd name="T108" fmla="*/ 0 w 388"/>
                  <a:gd name="T109" fmla="*/ 0 h 278"/>
                  <a:gd name="T110" fmla="*/ 0 w 388"/>
                  <a:gd name="T111" fmla="*/ 0 h 278"/>
                  <a:gd name="T112" fmla="*/ 0 w 388"/>
                  <a:gd name="T113" fmla="*/ 0 h 278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88"/>
                  <a:gd name="T172" fmla="*/ 0 h 278"/>
                  <a:gd name="T173" fmla="*/ 388 w 388"/>
                  <a:gd name="T174" fmla="*/ 278 h 278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88" h="278">
                    <a:moveTo>
                      <a:pt x="64" y="0"/>
                    </a:moveTo>
                    <a:lnTo>
                      <a:pt x="61" y="14"/>
                    </a:lnTo>
                    <a:lnTo>
                      <a:pt x="57" y="41"/>
                    </a:lnTo>
                    <a:lnTo>
                      <a:pt x="52" y="69"/>
                    </a:lnTo>
                    <a:lnTo>
                      <a:pt x="46" y="98"/>
                    </a:lnTo>
                    <a:lnTo>
                      <a:pt x="40" y="127"/>
                    </a:lnTo>
                    <a:lnTo>
                      <a:pt x="33" y="158"/>
                    </a:lnTo>
                    <a:lnTo>
                      <a:pt x="24" y="190"/>
                    </a:lnTo>
                    <a:lnTo>
                      <a:pt x="16" y="222"/>
                    </a:lnTo>
                    <a:lnTo>
                      <a:pt x="7" y="256"/>
                    </a:lnTo>
                    <a:lnTo>
                      <a:pt x="0" y="278"/>
                    </a:lnTo>
                    <a:lnTo>
                      <a:pt x="341" y="276"/>
                    </a:lnTo>
                    <a:lnTo>
                      <a:pt x="345" y="264"/>
                    </a:lnTo>
                    <a:lnTo>
                      <a:pt x="353" y="230"/>
                    </a:lnTo>
                    <a:lnTo>
                      <a:pt x="360" y="198"/>
                    </a:lnTo>
                    <a:lnTo>
                      <a:pt x="366" y="165"/>
                    </a:lnTo>
                    <a:lnTo>
                      <a:pt x="372" y="134"/>
                    </a:lnTo>
                    <a:lnTo>
                      <a:pt x="377" y="104"/>
                    </a:lnTo>
                    <a:lnTo>
                      <a:pt x="381" y="74"/>
                    </a:lnTo>
                    <a:lnTo>
                      <a:pt x="384" y="46"/>
                    </a:lnTo>
                    <a:lnTo>
                      <a:pt x="386" y="18"/>
                    </a:lnTo>
                    <a:lnTo>
                      <a:pt x="388" y="0"/>
                    </a:lnTo>
                    <a:lnTo>
                      <a:pt x="77" y="0"/>
                    </a:lnTo>
                    <a:lnTo>
                      <a:pt x="64" y="0"/>
                    </a:lnTo>
                    <a:close/>
                    <a:moveTo>
                      <a:pt x="352" y="33"/>
                    </a:moveTo>
                    <a:lnTo>
                      <a:pt x="350" y="57"/>
                    </a:lnTo>
                    <a:lnTo>
                      <a:pt x="347" y="82"/>
                    </a:lnTo>
                    <a:lnTo>
                      <a:pt x="344" y="108"/>
                    </a:lnTo>
                    <a:lnTo>
                      <a:pt x="338" y="133"/>
                    </a:lnTo>
                    <a:lnTo>
                      <a:pt x="334" y="159"/>
                    </a:lnTo>
                    <a:lnTo>
                      <a:pt x="329" y="187"/>
                    </a:lnTo>
                    <a:lnTo>
                      <a:pt x="323" y="214"/>
                    </a:lnTo>
                    <a:lnTo>
                      <a:pt x="316" y="243"/>
                    </a:lnTo>
                    <a:lnTo>
                      <a:pt x="299" y="243"/>
                    </a:lnTo>
                    <a:lnTo>
                      <a:pt x="269" y="243"/>
                    </a:lnTo>
                    <a:lnTo>
                      <a:pt x="229" y="244"/>
                    </a:lnTo>
                    <a:lnTo>
                      <a:pt x="184" y="244"/>
                    </a:lnTo>
                    <a:lnTo>
                      <a:pt x="139" y="244"/>
                    </a:lnTo>
                    <a:lnTo>
                      <a:pt x="98" y="244"/>
                    </a:lnTo>
                    <a:lnTo>
                      <a:pt x="64" y="244"/>
                    </a:lnTo>
                    <a:lnTo>
                      <a:pt x="43" y="245"/>
                    </a:lnTo>
                    <a:lnTo>
                      <a:pt x="51" y="216"/>
                    </a:lnTo>
                    <a:lnTo>
                      <a:pt x="58" y="187"/>
                    </a:lnTo>
                    <a:lnTo>
                      <a:pt x="65" y="160"/>
                    </a:lnTo>
                    <a:lnTo>
                      <a:pt x="71" y="133"/>
                    </a:lnTo>
                    <a:lnTo>
                      <a:pt x="77" y="108"/>
                    </a:lnTo>
                    <a:lnTo>
                      <a:pt x="82" y="82"/>
                    </a:lnTo>
                    <a:lnTo>
                      <a:pt x="86" y="57"/>
                    </a:lnTo>
                    <a:lnTo>
                      <a:pt x="90" y="33"/>
                    </a:lnTo>
                    <a:lnTo>
                      <a:pt x="107" y="33"/>
                    </a:lnTo>
                    <a:lnTo>
                      <a:pt x="137" y="33"/>
                    </a:lnTo>
                    <a:lnTo>
                      <a:pt x="175" y="33"/>
                    </a:lnTo>
                    <a:lnTo>
                      <a:pt x="219" y="33"/>
                    </a:lnTo>
                    <a:lnTo>
                      <a:pt x="262" y="33"/>
                    </a:lnTo>
                    <a:lnTo>
                      <a:pt x="301" y="33"/>
                    </a:lnTo>
                    <a:lnTo>
                      <a:pt x="333" y="33"/>
                    </a:lnTo>
                    <a:lnTo>
                      <a:pt x="352" y="33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64" name="Freeform 38"/>
              <p:cNvSpPr>
                <a:spLocks/>
              </p:cNvSpPr>
              <p:nvPr/>
            </p:nvSpPr>
            <p:spPr bwMode="auto">
              <a:xfrm>
                <a:off x="4088" y="1662"/>
                <a:ext cx="24" cy="17"/>
              </a:xfrm>
              <a:custGeom>
                <a:avLst/>
                <a:gdLst>
                  <a:gd name="T0" fmla="*/ 0 w 172"/>
                  <a:gd name="T1" fmla="*/ 0 h 121"/>
                  <a:gd name="T2" fmla="*/ 0 w 172"/>
                  <a:gd name="T3" fmla="*/ 0 h 121"/>
                  <a:gd name="T4" fmla="*/ 0 w 172"/>
                  <a:gd name="T5" fmla="*/ 0 h 121"/>
                  <a:gd name="T6" fmla="*/ 0 w 172"/>
                  <a:gd name="T7" fmla="*/ 0 h 121"/>
                  <a:gd name="T8" fmla="*/ 0 w 172"/>
                  <a:gd name="T9" fmla="*/ 0 h 121"/>
                  <a:gd name="T10" fmla="*/ 0 w 172"/>
                  <a:gd name="T11" fmla="*/ 0 h 121"/>
                  <a:gd name="T12" fmla="*/ 0 w 172"/>
                  <a:gd name="T13" fmla="*/ 0 h 121"/>
                  <a:gd name="T14" fmla="*/ 0 w 172"/>
                  <a:gd name="T15" fmla="*/ 0 h 121"/>
                  <a:gd name="T16" fmla="*/ 0 w 172"/>
                  <a:gd name="T17" fmla="*/ 0 h 121"/>
                  <a:gd name="T18" fmla="*/ 0 w 172"/>
                  <a:gd name="T19" fmla="*/ 0 h 121"/>
                  <a:gd name="T20" fmla="*/ 0 w 172"/>
                  <a:gd name="T21" fmla="*/ 0 h 12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72"/>
                  <a:gd name="T34" fmla="*/ 0 h 121"/>
                  <a:gd name="T35" fmla="*/ 172 w 172"/>
                  <a:gd name="T36" fmla="*/ 121 h 121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72" h="121">
                    <a:moveTo>
                      <a:pt x="152" y="120"/>
                    </a:moveTo>
                    <a:lnTo>
                      <a:pt x="0" y="121"/>
                    </a:lnTo>
                    <a:lnTo>
                      <a:pt x="9" y="86"/>
                    </a:lnTo>
                    <a:lnTo>
                      <a:pt x="17" y="55"/>
                    </a:lnTo>
                    <a:lnTo>
                      <a:pt x="23" y="26"/>
                    </a:lnTo>
                    <a:lnTo>
                      <a:pt x="27" y="0"/>
                    </a:lnTo>
                    <a:lnTo>
                      <a:pt x="172" y="0"/>
                    </a:lnTo>
                    <a:lnTo>
                      <a:pt x="169" y="26"/>
                    </a:lnTo>
                    <a:lnTo>
                      <a:pt x="165" y="55"/>
                    </a:lnTo>
                    <a:lnTo>
                      <a:pt x="159" y="86"/>
                    </a:lnTo>
                    <a:lnTo>
                      <a:pt x="152" y="120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65" name="Freeform 39"/>
              <p:cNvSpPr>
                <a:spLocks noEditPoints="1"/>
              </p:cNvSpPr>
              <p:nvPr/>
            </p:nvSpPr>
            <p:spPr bwMode="auto">
              <a:xfrm>
                <a:off x="4066" y="1507"/>
                <a:ext cx="98" cy="83"/>
              </a:xfrm>
              <a:custGeom>
                <a:avLst/>
                <a:gdLst>
                  <a:gd name="T0" fmla="*/ 0 w 683"/>
                  <a:gd name="T1" fmla="*/ 0 h 579"/>
                  <a:gd name="T2" fmla="*/ 0 w 683"/>
                  <a:gd name="T3" fmla="*/ 0 h 579"/>
                  <a:gd name="T4" fmla="*/ 0 w 683"/>
                  <a:gd name="T5" fmla="*/ 0 h 579"/>
                  <a:gd name="T6" fmla="*/ 0 w 683"/>
                  <a:gd name="T7" fmla="*/ 0 h 579"/>
                  <a:gd name="T8" fmla="*/ 0 w 683"/>
                  <a:gd name="T9" fmla="*/ 0 h 579"/>
                  <a:gd name="T10" fmla="*/ 0 w 683"/>
                  <a:gd name="T11" fmla="*/ 0 h 579"/>
                  <a:gd name="T12" fmla="*/ 0 w 683"/>
                  <a:gd name="T13" fmla="*/ 0 h 579"/>
                  <a:gd name="T14" fmla="*/ 0 w 683"/>
                  <a:gd name="T15" fmla="*/ 0 h 579"/>
                  <a:gd name="T16" fmla="*/ 0 w 683"/>
                  <a:gd name="T17" fmla="*/ 0 h 579"/>
                  <a:gd name="T18" fmla="*/ 0 w 683"/>
                  <a:gd name="T19" fmla="*/ 0 h 579"/>
                  <a:gd name="T20" fmla="*/ 0 w 683"/>
                  <a:gd name="T21" fmla="*/ 0 h 579"/>
                  <a:gd name="T22" fmla="*/ 0 w 683"/>
                  <a:gd name="T23" fmla="*/ 0 h 579"/>
                  <a:gd name="T24" fmla="*/ 0 w 683"/>
                  <a:gd name="T25" fmla="*/ 0 h 579"/>
                  <a:gd name="T26" fmla="*/ 0 w 683"/>
                  <a:gd name="T27" fmla="*/ 0 h 579"/>
                  <a:gd name="T28" fmla="*/ 0 w 683"/>
                  <a:gd name="T29" fmla="*/ 0 h 579"/>
                  <a:gd name="T30" fmla="*/ 0 w 683"/>
                  <a:gd name="T31" fmla="*/ 0 h 579"/>
                  <a:gd name="T32" fmla="*/ 0 w 683"/>
                  <a:gd name="T33" fmla="*/ 0 h 579"/>
                  <a:gd name="T34" fmla="*/ 0 w 683"/>
                  <a:gd name="T35" fmla="*/ 0 h 579"/>
                  <a:gd name="T36" fmla="*/ 0 w 683"/>
                  <a:gd name="T37" fmla="*/ 0 h 579"/>
                  <a:gd name="T38" fmla="*/ 0 w 683"/>
                  <a:gd name="T39" fmla="*/ 0 h 579"/>
                  <a:gd name="T40" fmla="*/ 0 w 683"/>
                  <a:gd name="T41" fmla="*/ 0 h 579"/>
                  <a:gd name="T42" fmla="*/ 0 w 683"/>
                  <a:gd name="T43" fmla="*/ 0 h 579"/>
                  <a:gd name="T44" fmla="*/ 0 w 683"/>
                  <a:gd name="T45" fmla="*/ 0 h 579"/>
                  <a:gd name="T46" fmla="*/ 0 w 683"/>
                  <a:gd name="T47" fmla="*/ 0 h 579"/>
                  <a:gd name="T48" fmla="*/ 0 w 683"/>
                  <a:gd name="T49" fmla="*/ 0 h 579"/>
                  <a:gd name="T50" fmla="*/ 0 w 683"/>
                  <a:gd name="T51" fmla="*/ 0 h 579"/>
                  <a:gd name="T52" fmla="*/ 0 w 683"/>
                  <a:gd name="T53" fmla="*/ 0 h 579"/>
                  <a:gd name="T54" fmla="*/ 0 w 683"/>
                  <a:gd name="T55" fmla="*/ 0 h 579"/>
                  <a:gd name="T56" fmla="*/ 0 w 683"/>
                  <a:gd name="T57" fmla="*/ 0 h 579"/>
                  <a:gd name="T58" fmla="*/ 0 w 683"/>
                  <a:gd name="T59" fmla="*/ 0 h 579"/>
                  <a:gd name="T60" fmla="*/ 0 w 683"/>
                  <a:gd name="T61" fmla="*/ 0 h 579"/>
                  <a:gd name="T62" fmla="*/ 0 w 683"/>
                  <a:gd name="T63" fmla="*/ 0 h 579"/>
                  <a:gd name="T64" fmla="*/ 0 w 683"/>
                  <a:gd name="T65" fmla="*/ 0 h 579"/>
                  <a:gd name="T66" fmla="*/ 0 w 683"/>
                  <a:gd name="T67" fmla="*/ 0 h 579"/>
                  <a:gd name="T68" fmla="*/ 0 w 683"/>
                  <a:gd name="T69" fmla="*/ 0 h 579"/>
                  <a:gd name="T70" fmla="*/ 0 w 683"/>
                  <a:gd name="T71" fmla="*/ 0 h 579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683"/>
                  <a:gd name="T109" fmla="*/ 0 h 579"/>
                  <a:gd name="T110" fmla="*/ 683 w 683"/>
                  <a:gd name="T111" fmla="*/ 579 h 579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683" h="579">
                    <a:moveTo>
                      <a:pt x="577" y="0"/>
                    </a:moveTo>
                    <a:lnTo>
                      <a:pt x="0" y="47"/>
                    </a:lnTo>
                    <a:lnTo>
                      <a:pt x="4" y="65"/>
                    </a:lnTo>
                    <a:lnTo>
                      <a:pt x="17" y="129"/>
                    </a:lnTo>
                    <a:lnTo>
                      <a:pt x="26" y="192"/>
                    </a:lnTo>
                    <a:lnTo>
                      <a:pt x="34" y="254"/>
                    </a:lnTo>
                    <a:lnTo>
                      <a:pt x="41" y="316"/>
                    </a:lnTo>
                    <a:lnTo>
                      <a:pt x="45" y="377"/>
                    </a:lnTo>
                    <a:lnTo>
                      <a:pt x="46" y="438"/>
                    </a:lnTo>
                    <a:lnTo>
                      <a:pt x="46" y="500"/>
                    </a:lnTo>
                    <a:lnTo>
                      <a:pt x="44" y="561"/>
                    </a:lnTo>
                    <a:lnTo>
                      <a:pt x="43" y="579"/>
                    </a:lnTo>
                    <a:lnTo>
                      <a:pt x="683" y="579"/>
                    </a:lnTo>
                    <a:lnTo>
                      <a:pt x="682" y="562"/>
                    </a:lnTo>
                    <a:lnTo>
                      <a:pt x="681" y="529"/>
                    </a:lnTo>
                    <a:lnTo>
                      <a:pt x="679" y="496"/>
                    </a:lnTo>
                    <a:lnTo>
                      <a:pt x="676" y="464"/>
                    </a:lnTo>
                    <a:lnTo>
                      <a:pt x="673" y="431"/>
                    </a:lnTo>
                    <a:lnTo>
                      <a:pt x="669" y="399"/>
                    </a:lnTo>
                    <a:lnTo>
                      <a:pt x="665" y="366"/>
                    </a:lnTo>
                    <a:lnTo>
                      <a:pt x="659" y="333"/>
                    </a:lnTo>
                    <a:lnTo>
                      <a:pt x="653" y="300"/>
                    </a:lnTo>
                    <a:lnTo>
                      <a:pt x="647" y="266"/>
                    </a:lnTo>
                    <a:lnTo>
                      <a:pt x="640" y="232"/>
                    </a:lnTo>
                    <a:lnTo>
                      <a:pt x="632" y="196"/>
                    </a:lnTo>
                    <a:lnTo>
                      <a:pt x="623" y="161"/>
                    </a:lnTo>
                    <a:lnTo>
                      <a:pt x="604" y="88"/>
                    </a:lnTo>
                    <a:lnTo>
                      <a:pt x="581" y="11"/>
                    </a:lnTo>
                    <a:lnTo>
                      <a:pt x="577" y="0"/>
                    </a:lnTo>
                    <a:close/>
                    <a:moveTo>
                      <a:pt x="650" y="547"/>
                    </a:moveTo>
                    <a:lnTo>
                      <a:pt x="617" y="547"/>
                    </a:lnTo>
                    <a:lnTo>
                      <a:pt x="551" y="547"/>
                    </a:lnTo>
                    <a:lnTo>
                      <a:pt x="462" y="547"/>
                    </a:lnTo>
                    <a:lnTo>
                      <a:pt x="362" y="547"/>
                    </a:lnTo>
                    <a:lnTo>
                      <a:pt x="262" y="547"/>
                    </a:lnTo>
                    <a:lnTo>
                      <a:pt x="173" y="547"/>
                    </a:lnTo>
                    <a:lnTo>
                      <a:pt x="107" y="547"/>
                    </a:lnTo>
                    <a:lnTo>
                      <a:pt x="76" y="547"/>
                    </a:lnTo>
                    <a:lnTo>
                      <a:pt x="76" y="524"/>
                    </a:lnTo>
                    <a:lnTo>
                      <a:pt x="77" y="502"/>
                    </a:lnTo>
                    <a:lnTo>
                      <a:pt x="78" y="481"/>
                    </a:lnTo>
                    <a:lnTo>
                      <a:pt x="78" y="459"/>
                    </a:lnTo>
                    <a:lnTo>
                      <a:pt x="77" y="411"/>
                    </a:lnTo>
                    <a:lnTo>
                      <a:pt x="75" y="365"/>
                    </a:lnTo>
                    <a:lnTo>
                      <a:pt x="72" y="317"/>
                    </a:lnTo>
                    <a:lnTo>
                      <a:pt x="67" y="270"/>
                    </a:lnTo>
                    <a:lnTo>
                      <a:pt x="62" y="222"/>
                    </a:lnTo>
                    <a:lnTo>
                      <a:pt x="55" y="175"/>
                    </a:lnTo>
                    <a:lnTo>
                      <a:pt x="47" y="126"/>
                    </a:lnTo>
                    <a:lnTo>
                      <a:pt x="37" y="76"/>
                    </a:lnTo>
                    <a:lnTo>
                      <a:pt x="67" y="74"/>
                    </a:lnTo>
                    <a:lnTo>
                      <a:pt x="128" y="69"/>
                    </a:lnTo>
                    <a:lnTo>
                      <a:pt x="209" y="63"/>
                    </a:lnTo>
                    <a:lnTo>
                      <a:pt x="299" y="55"/>
                    </a:lnTo>
                    <a:lnTo>
                      <a:pt x="389" y="47"/>
                    </a:lnTo>
                    <a:lnTo>
                      <a:pt x="468" y="41"/>
                    </a:lnTo>
                    <a:lnTo>
                      <a:pt x="527" y="36"/>
                    </a:lnTo>
                    <a:lnTo>
                      <a:pt x="555" y="34"/>
                    </a:lnTo>
                    <a:lnTo>
                      <a:pt x="576" y="104"/>
                    </a:lnTo>
                    <a:lnTo>
                      <a:pt x="593" y="173"/>
                    </a:lnTo>
                    <a:lnTo>
                      <a:pt x="602" y="206"/>
                    </a:lnTo>
                    <a:lnTo>
                      <a:pt x="609" y="238"/>
                    </a:lnTo>
                    <a:lnTo>
                      <a:pt x="616" y="270"/>
                    </a:lnTo>
                    <a:lnTo>
                      <a:pt x="622" y="302"/>
                    </a:lnTo>
                    <a:lnTo>
                      <a:pt x="627" y="333"/>
                    </a:lnTo>
                    <a:lnTo>
                      <a:pt x="633" y="364"/>
                    </a:lnTo>
                    <a:lnTo>
                      <a:pt x="637" y="394"/>
                    </a:lnTo>
                    <a:lnTo>
                      <a:pt x="640" y="425"/>
                    </a:lnTo>
                    <a:lnTo>
                      <a:pt x="643" y="455"/>
                    </a:lnTo>
                    <a:lnTo>
                      <a:pt x="646" y="486"/>
                    </a:lnTo>
                    <a:lnTo>
                      <a:pt x="648" y="516"/>
                    </a:lnTo>
                    <a:lnTo>
                      <a:pt x="650" y="547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66" name="Freeform 40"/>
              <p:cNvSpPr>
                <a:spLocks noEditPoints="1"/>
              </p:cNvSpPr>
              <p:nvPr/>
            </p:nvSpPr>
            <p:spPr bwMode="auto">
              <a:xfrm>
                <a:off x="4078" y="1517"/>
                <a:ext cx="74" cy="63"/>
              </a:xfrm>
              <a:custGeom>
                <a:avLst/>
                <a:gdLst>
                  <a:gd name="T0" fmla="*/ 0 w 520"/>
                  <a:gd name="T1" fmla="*/ 0 h 443"/>
                  <a:gd name="T2" fmla="*/ 0 w 520"/>
                  <a:gd name="T3" fmla="*/ 0 h 443"/>
                  <a:gd name="T4" fmla="*/ 0 w 520"/>
                  <a:gd name="T5" fmla="*/ 0 h 443"/>
                  <a:gd name="T6" fmla="*/ 0 w 520"/>
                  <a:gd name="T7" fmla="*/ 0 h 443"/>
                  <a:gd name="T8" fmla="*/ 0 w 520"/>
                  <a:gd name="T9" fmla="*/ 0 h 443"/>
                  <a:gd name="T10" fmla="*/ 0 w 520"/>
                  <a:gd name="T11" fmla="*/ 0 h 443"/>
                  <a:gd name="T12" fmla="*/ 0 w 520"/>
                  <a:gd name="T13" fmla="*/ 0 h 443"/>
                  <a:gd name="T14" fmla="*/ 0 w 520"/>
                  <a:gd name="T15" fmla="*/ 0 h 443"/>
                  <a:gd name="T16" fmla="*/ 0 w 520"/>
                  <a:gd name="T17" fmla="*/ 0 h 443"/>
                  <a:gd name="T18" fmla="*/ 0 w 520"/>
                  <a:gd name="T19" fmla="*/ 0 h 443"/>
                  <a:gd name="T20" fmla="*/ 0 w 520"/>
                  <a:gd name="T21" fmla="*/ 0 h 443"/>
                  <a:gd name="T22" fmla="*/ 0 w 520"/>
                  <a:gd name="T23" fmla="*/ 0 h 443"/>
                  <a:gd name="T24" fmla="*/ 0 w 520"/>
                  <a:gd name="T25" fmla="*/ 0 h 443"/>
                  <a:gd name="T26" fmla="*/ 0 w 520"/>
                  <a:gd name="T27" fmla="*/ 0 h 443"/>
                  <a:gd name="T28" fmla="*/ 0 w 520"/>
                  <a:gd name="T29" fmla="*/ 0 h 443"/>
                  <a:gd name="T30" fmla="*/ 0 w 520"/>
                  <a:gd name="T31" fmla="*/ 0 h 443"/>
                  <a:gd name="T32" fmla="*/ 0 w 520"/>
                  <a:gd name="T33" fmla="*/ 0 h 443"/>
                  <a:gd name="T34" fmla="*/ 0 w 520"/>
                  <a:gd name="T35" fmla="*/ 0 h 443"/>
                  <a:gd name="T36" fmla="*/ 0 w 520"/>
                  <a:gd name="T37" fmla="*/ 0 h 443"/>
                  <a:gd name="T38" fmla="*/ 0 w 520"/>
                  <a:gd name="T39" fmla="*/ 0 h 443"/>
                  <a:gd name="T40" fmla="*/ 0 w 520"/>
                  <a:gd name="T41" fmla="*/ 0 h 443"/>
                  <a:gd name="T42" fmla="*/ 0 w 520"/>
                  <a:gd name="T43" fmla="*/ 0 h 443"/>
                  <a:gd name="T44" fmla="*/ 0 w 520"/>
                  <a:gd name="T45" fmla="*/ 0 h 443"/>
                  <a:gd name="T46" fmla="*/ 0 w 520"/>
                  <a:gd name="T47" fmla="*/ 0 h 443"/>
                  <a:gd name="T48" fmla="*/ 0 w 520"/>
                  <a:gd name="T49" fmla="*/ 0 h 443"/>
                  <a:gd name="T50" fmla="*/ 0 w 520"/>
                  <a:gd name="T51" fmla="*/ 0 h 443"/>
                  <a:gd name="T52" fmla="*/ 0 w 520"/>
                  <a:gd name="T53" fmla="*/ 0 h 443"/>
                  <a:gd name="T54" fmla="*/ 0 w 520"/>
                  <a:gd name="T55" fmla="*/ 0 h 443"/>
                  <a:gd name="T56" fmla="*/ 0 w 520"/>
                  <a:gd name="T57" fmla="*/ 0 h 443"/>
                  <a:gd name="T58" fmla="*/ 0 w 520"/>
                  <a:gd name="T59" fmla="*/ 0 h 443"/>
                  <a:gd name="T60" fmla="*/ 0 w 520"/>
                  <a:gd name="T61" fmla="*/ 0 h 443"/>
                  <a:gd name="T62" fmla="*/ 0 w 520"/>
                  <a:gd name="T63" fmla="*/ 0 h 443"/>
                  <a:gd name="T64" fmla="*/ 0 w 520"/>
                  <a:gd name="T65" fmla="*/ 0 h 443"/>
                  <a:gd name="T66" fmla="*/ 0 w 520"/>
                  <a:gd name="T67" fmla="*/ 0 h 443"/>
                  <a:gd name="T68" fmla="*/ 0 w 520"/>
                  <a:gd name="T69" fmla="*/ 0 h 443"/>
                  <a:gd name="T70" fmla="*/ 0 w 520"/>
                  <a:gd name="T71" fmla="*/ 0 h 443"/>
                  <a:gd name="T72" fmla="*/ 0 w 520"/>
                  <a:gd name="T73" fmla="*/ 0 h 443"/>
                  <a:gd name="T74" fmla="*/ 0 w 520"/>
                  <a:gd name="T75" fmla="*/ 0 h 443"/>
                  <a:gd name="T76" fmla="*/ 0 w 520"/>
                  <a:gd name="T77" fmla="*/ 0 h 443"/>
                  <a:gd name="T78" fmla="*/ 0 w 520"/>
                  <a:gd name="T79" fmla="*/ 0 h 443"/>
                  <a:gd name="T80" fmla="*/ 0 w 520"/>
                  <a:gd name="T81" fmla="*/ 0 h 443"/>
                  <a:gd name="T82" fmla="*/ 0 w 520"/>
                  <a:gd name="T83" fmla="*/ 0 h 443"/>
                  <a:gd name="T84" fmla="*/ 0 w 520"/>
                  <a:gd name="T85" fmla="*/ 0 h 443"/>
                  <a:gd name="T86" fmla="*/ 0 w 520"/>
                  <a:gd name="T87" fmla="*/ 0 h 443"/>
                  <a:gd name="T88" fmla="*/ 0 w 520"/>
                  <a:gd name="T89" fmla="*/ 0 h 443"/>
                  <a:gd name="T90" fmla="*/ 0 w 520"/>
                  <a:gd name="T91" fmla="*/ 0 h 443"/>
                  <a:gd name="T92" fmla="*/ 0 w 520"/>
                  <a:gd name="T93" fmla="*/ 0 h 443"/>
                  <a:gd name="T94" fmla="*/ 0 w 520"/>
                  <a:gd name="T95" fmla="*/ 0 h 443"/>
                  <a:gd name="T96" fmla="*/ 0 w 520"/>
                  <a:gd name="T97" fmla="*/ 0 h 443"/>
                  <a:gd name="T98" fmla="*/ 0 w 520"/>
                  <a:gd name="T99" fmla="*/ 0 h 443"/>
                  <a:gd name="T100" fmla="*/ 0 w 520"/>
                  <a:gd name="T101" fmla="*/ 0 h 443"/>
                  <a:gd name="T102" fmla="*/ 0 w 520"/>
                  <a:gd name="T103" fmla="*/ 0 h 443"/>
                  <a:gd name="T104" fmla="*/ 0 w 520"/>
                  <a:gd name="T105" fmla="*/ 0 h 443"/>
                  <a:gd name="T106" fmla="*/ 0 w 520"/>
                  <a:gd name="T107" fmla="*/ 0 h 443"/>
                  <a:gd name="T108" fmla="*/ 0 w 520"/>
                  <a:gd name="T109" fmla="*/ 0 h 443"/>
                  <a:gd name="T110" fmla="*/ 0 w 520"/>
                  <a:gd name="T111" fmla="*/ 0 h 443"/>
                  <a:gd name="T112" fmla="*/ 0 w 520"/>
                  <a:gd name="T113" fmla="*/ 0 h 443"/>
                  <a:gd name="T114" fmla="*/ 0 w 520"/>
                  <a:gd name="T115" fmla="*/ 0 h 443"/>
                  <a:gd name="T116" fmla="*/ 0 w 520"/>
                  <a:gd name="T117" fmla="*/ 0 h 443"/>
                  <a:gd name="T118" fmla="*/ 0 w 520"/>
                  <a:gd name="T119" fmla="*/ 0 h 443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520"/>
                  <a:gd name="T181" fmla="*/ 0 h 443"/>
                  <a:gd name="T182" fmla="*/ 520 w 520"/>
                  <a:gd name="T183" fmla="*/ 443 h 443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520" h="443">
                    <a:moveTo>
                      <a:pt x="439" y="0"/>
                    </a:moveTo>
                    <a:lnTo>
                      <a:pt x="0" y="36"/>
                    </a:lnTo>
                    <a:lnTo>
                      <a:pt x="3" y="55"/>
                    </a:lnTo>
                    <a:lnTo>
                      <a:pt x="12" y="103"/>
                    </a:lnTo>
                    <a:lnTo>
                      <a:pt x="21" y="149"/>
                    </a:lnTo>
                    <a:lnTo>
                      <a:pt x="26" y="196"/>
                    </a:lnTo>
                    <a:lnTo>
                      <a:pt x="31" y="242"/>
                    </a:lnTo>
                    <a:lnTo>
                      <a:pt x="33" y="288"/>
                    </a:lnTo>
                    <a:lnTo>
                      <a:pt x="35" y="333"/>
                    </a:lnTo>
                    <a:lnTo>
                      <a:pt x="34" y="380"/>
                    </a:lnTo>
                    <a:lnTo>
                      <a:pt x="33" y="425"/>
                    </a:lnTo>
                    <a:lnTo>
                      <a:pt x="32" y="443"/>
                    </a:lnTo>
                    <a:lnTo>
                      <a:pt x="520" y="443"/>
                    </a:lnTo>
                    <a:lnTo>
                      <a:pt x="519" y="425"/>
                    </a:lnTo>
                    <a:lnTo>
                      <a:pt x="517" y="377"/>
                    </a:lnTo>
                    <a:lnTo>
                      <a:pt x="512" y="327"/>
                    </a:lnTo>
                    <a:lnTo>
                      <a:pt x="506" y="278"/>
                    </a:lnTo>
                    <a:lnTo>
                      <a:pt x="498" y="229"/>
                    </a:lnTo>
                    <a:lnTo>
                      <a:pt x="488" y="177"/>
                    </a:lnTo>
                    <a:lnTo>
                      <a:pt x="475" y="124"/>
                    </a:lnTo>
                    <a:lnTo>
                      <a:pt x="460" y="69"/>
                    </a:lnTo>
                    <a:lnTo>
                      <a:pt x="443" y="13"/>
                    </a:lnTo>
                    <a:lnTo>
                      <a:pt x="439" y="0"/>
                    </a:lnTo>
                    <a:close/>
                    <a:moveTo>
                      <a:pt x="487" y="410"/>
                    </a:moveTo>
                    <a:lnTo>
                      <a:pt x="461" y="410"/>
                    </a:lnTo>
                    <a:lnTo>
                      <a:pt x="412" y="410"/>
                    </a:lnTo>
                    <a:lnTo>
                      <a:pt x="347" y="410"/>
                    </a:lnTo>
                    <a:lnTo>
                      <a:pt x="275" y="410"/>
                    </a:lnTo>
                    <a:lnTo>
                      <a:pt x="202" y="410"/>
                    </a:lnTo>
                    <a:lnTo>
                      <a:pt x="138" y="410"/>
                    </a:lnTo>
                    <a:lnTo>
                      <a:pt x="90" y="410"/>
                    </a:lnTo>
                    <a:lnTo>
                      <a:pt x="64" y="410"/>
                    </a:lnTo>
                    <a:lnTo>
                      <a:pt x="65" y="394"/>
                    </a:lnTo>
                    <a:lnTo>
                      <a:pt x="66" y="379"/>
                    </a:lnTo>
                    <a:lnTo>
                      <a:pt x="66" y="364"/>
                    </a:lnTo>
                    <a:lnTo>
                      <a:pt x="66" y="349"/>
                    </a:lnTo>
                    <a:lnTo>
                      <a:pt x="66" y="313"/>
                    </a:lnTo>
                    <a:lnTo>
                      <a:pt x="64" y="278"/>
                    </a:lnTo>
                    <a:lnTo>
                      <a:pt x="62" y="244"/>
                    </a:lnTo>
                    <a:lnTo>
                      <a:pt x="59" y="209"/>
                    </a:lnTo>
                    <a:lnTo>
                      <a:pt x="55" y="174"/>
                    </a:lnTo>
                    <a:lnTo>
                      <a:pt x="49" y="138"/>
                    </a:lnTo>
                    <a:lnTo>
                      <a:pt x="43" y="103"/>
                    </a:lnTo>
                    <a:lnTo>
                      <a:pt x="37" y="66"/>
                    </a:lnTo>
                    <a:lnTo>
                      <a:pt x="61" y="64"/>
                    </a:lnTo>
                    <a:lnTo>
                      <a:pt x="105" y="60"/>
                    </a:lnTo>
                    <a:lnTo>
                      <a:pt x="164" y="55"/>
                    </a:lnTo>
                    <a:lnTo>
                      <a:pt x="229" y="50"/>
                    </a:lnTo>
                    <a:lnTo>
                      <a:pt x="294" y="45"/>
                    </a:lnTo>
                    <a:lnTo>
                      <a:pt x="352" y="39"/>
                    </a:lnTo>
                    <a:lnTo>
                      <a:pt x="395" y="36"/>
                    </a:lnTo>
                    <a:lnTo>
                      <a:pt x="416" y="34"/>
                    </a:lnTo>
                    <a:lnTo>
                      <a:pt x="432" y="86"/>
                    </a:lnTo>
                    <a:lnTo>
                      <a:pt x="445" y="136"/>
                    </a:lnTo>
                    <a:lnTo>
                      <a:pt x="457" y="184"/>
                    </a:lnTo>
                    <a:lnTo>
                      <a:pt x="466" y="231"/>
                    </a:lnTo>
                    <a:lnTo>
                      <a:pt x="473" y="276"/>
                    </a:lnTo>
                    <a:lnTo>
                      <a:pt x="479" y="321"/>
                    </a:lnTo>
                    <a:lnTo>
                      <a:pt x="483" y="365"/>
                    </a:lnTo>
                    <a:lnTo>
                      <a:pt x="487" y="410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67" name="Freeform 41"/>
              <p:cNvSpPr>
                <a:spLocks noEditPoints="1"/>
              </p:cNvSpPr>
              <p:nvPr/>
            </p:nvSpPr>
            <p:spPr bwMode="auto">
              <a:xfrm>
                <a:off x="4089" y="1526"/>
                <a:ext cx="52" cy="45"/>
              </a:xfrm>
              <a:custGeom>
                <a:avLst/>
                <a:gdLst>
                  <a:gd name="T0" fmla="*/ 0 w 365"/>
                  <a:gd name="T1" fmla="*/ 0 h 313"/>
                  <a:gd name="T2" fmla="*/ 0 w 365"/>
                  <a:gd name="T3" fmla="*/ 0 h 313"/>
                  <a:gd name="T4" fmla="*/ 0 w 365"/>
                  <a:gd name="T5" fmla="*/ 0 h 313"/>
                  <a:gd name="T6" fmla="*/ 0 w 365"/>
                  <a:gd name="T7" fmla="*/ 0 h 313"/>
                  <a:gd name="T8" fmla="*/ 0 w 365"/>
                  <a:gd name="T9" fmla="*/ 0 h 313"/>
                  <a:gd name="T10" fmla="*/ 0 w 365"/>
                  <a:gd name="T11" fmla="*/ 0 h 313"/>
                  <a:gd name="T12" fmla="*/ 0 w 365"/>
                  <a:gd name="T13" fmla="*/ 0 h 313"/>
                  <a:gd name="T14" fmla="*/ 0 w 365"/>
                  <a:gd name="T15" fmla="*/ 0 h 313"/>
                  <a:gd name="T16" fmla="*/ 0 w 365"/>
                  <a:gd name="T17" fmla="*/ 0 h 313"/>
                  <a:gd name="T18" fmla="*/ 0 w 365"/>
                  <a:gd name="T19" fmla="*/ 0 h 313"/>
                  <a:gd name="T20" fmla="*/ 0 w 365"/>
                  <a:gd name="T21" fmla="*/ 0 h 313"/>
                  <a:gd name="T22" fmla="*/ 0 w 365"/>
                  <a:gd name="T23" fmla="*/ 0 h 313"/>
                  <a:gd name="T24" fmla="*/ 0 w 365"/>
                  <a:gd name="T25" fmla="*/ 0 h 313"/>
                  <a:gd name="T26" fmla="*/ 0 w 365"/>
                  <a:gd name="T27" fmla="*/ 0 h 313"/>
                  <a:gd name="T28" fmla="*/ 0 w 365"/>
                  <a:gd name="T29" fmla="*/ 0 h 313"/>
                  <a:gd name="T30" fmla="*/ 0 w 365"/>
                  <a:gd name="T31" fmla="*/ 0 h 313"/>
                  <a:gd name="T32" fmla="*/ 0 w 365"/>
                  <a:gd name="T33" fmla="*/ 0 h 313"/>
                  <a:gd name="T34" fmla="*/ 0 w 365"/>
                  <a:gd name="T35" fmla="*/ 0 h 313"/>
                  <a:gd name="T36" fmla="*/ 0 w 365"/>
                  <a:gd name="T37" fmla="*/ 0 h 313"/>
                  <a:gd name="T38" fmla="*/ 0 w 365"/>
                  <a:gd name="T39" fmla="*/ 0 h 313"/>
                  <a:gd name="T40" fmla="*/ 0 w 365"/>
                  <a:gd name="T41" fmla="*/ 0 h 313"/>
                  <a:gd name="T42" fmla="*/ 0 w 365"/>
                  <a:gd name="T43" fmla="*/ 0 h 313"/>
                  <a:gd name="T44" fmla="*/ 0 w 365"/>
                  <a:gd name="T45" fmla="*/ 0 h 313"/>
                  <a:gd name="T46" fmla="*/ 0 w 365"/>
                  <a:gd name="T47" fmla="*/ 0 h 313"/>
                  <a:gd name="T48" fmla="*/ 0 w 365"/>
                  <a:gd name="T49" fmla="*/ 0 h 313"/>
                  <a:gd name="T50" fmla="*/ 0 w 365"/>
                  <a:gd name="T51" fmla="*/ 0 h 313"/>
                  <a:gd name="T52" fmla="*/ 0 w 365"/>
                  <a:gd name="T53" fmla="*/ 0 h 313"/>
                  <a:gd name="T54" fmla="*/ 0 w 365"/>
                  <a:gd name="T55" fmla="*/ 0 h 313"/>
                  <a:gd name="T56" fmla="*/ 0 w 365"/>
                  <a:gd name="T57" fmla="*/ 0 h 313"/>
                  <a:gd name="T58" fmla="*/ 0 w 365"/>
                  <a:gd name="T59" fmla="*/ 0 h 313"/>
                  <a:gd name="T60" fmla="*/ 0 w 365"/>
                  <a:gd name="T61" fmla="*/ 0 h 313"/>
                  <a:gd name="T62" fmla="*/ 0 w 365"/>
                  <a:gd name="T63" fmla="*/ 0 h 313"/>
                  <a:gd name="T64" fmla="*/ 0 w 365"/>
                  <a:gd name="T65" fmla="*/ 0 h 313"/>
                  <a:gd name="T66" fmla="*/ 0 w 365"/>
                  <a:gd name="T67" fmla="*/ 0 h 313"/>
                  <a:gd name="T68" fmla="*/ 0 w 365"/>
                  <a:gd name="T69" fmla="*/ 0 h 313"/>
                  <a:gd name="T70" fmla="*/ 0 w 365"/>
                  <a:gd name="T71" fmla="*/ 0 h 313"/>
                  <a:gd name="T72" fmla="*/ 0 w 365"/>
                  <a:gd name="T73" fmla="*/ 0 h 313"/>
                  <a:gd name="T74" fmla="*/ 0 w 365"/>
                  <a:gd name="T75" fmla="*/ 0 h 313"/>
                  <a:gd name="T76" fmla="*/ 0 w 365"/>
                  <a:gd name="T77" fmla="*/ 0 h 313"/>
                  <a:gd name="T78" fmla="*/ 0 w 365"/>
                  <a:gd name="T79" fmla="*/ 0 h 313"/>
                  <a:gd name="T80" fmla="*/ 0 w 365"/>
                  <a:gd name="T81" fmla="*/ 0 h 313"/>
                  <a:gd name="T82" fmla="*/ 0 w 365"/>
                  <a:gd name="T83" fmla="*/ 0 h 313"/>
                  <a:gd name="T84" fmla="*/ 0 w 365"/>
                  <a:gd name="T85" fmla="*/ 0 h 313"/>
                  <a:gd name="T86" fmla="*/ 0 w 365"/>
                  <a:gd name="T87" fmla="*/ 0 h 313"/>
                  <a:gd name="T88" fmla="*/ 0 w 365"/>
                  <a:gd name="T89" fmla="*/ 0 h 313"/>
                  <a:gd name="T90" fmla="*/ 0 w 365"/>
                  <a:gd name="T91" fmla="*/ 0 h 313"/>
                  <a:gd name="T92" fmla="*/ 0 w 365"/>
                  <a:gd name="T93" fmla="*/ 0 h 313"/>
                  <a:gd name="T94" fmla="*/ 0 w 365"/>
                  <a:gd name="T95" fmla="*/ 0 h 313"/>
                  <a:gd name="T96" fmla="*/ 0 w 365"/>
                  <a:gd name="T97" fmla="*/ 0 h 313"/>
                  <a:gd name="T98" fmla="*/ 0 w 365"/>
                  <a:gd name="T99" fmla="*/ 0 h 313"/>
                  <a:gd name="T100" fmla="*/ 0 w 365"/>
                  <a:gd name="T101" fmla="*/ 0 h 313"/>
                  <a:gd name="T102" fmla="*/ 0 w 365"/>
                  <a:gd name="T103" fmla="*/ 0 h 313"/>
                  <a:gd name="T104" fmla="*/ 0 w 365"/>
                  <a:gd name="T105" fmla="*/ 0 h 313"/>
                  <a:gd name="T106" fmla="*/ 0 w 365"/>
                  <a:gd name="T107" fmla="*/ 0 h 313"/>
                  <a:gd name="T108" fmla="*/ 0 w 365"/>
                  <a:gd name="T109" fmla="*/ 0 h 313"/>
                  <a:gd name="T110" fmla="*/ 0 w 365"/>
                  <a:gd name="T111" fmla="*/ 0 h 313"/>
                  <a:gd name="T112" fmla="*/ 0 w 365"/>
                  <a:gd name="T113" fmla="*/ 0 h 313"/>
                  <a:gd name="T114" fmla="*/ 0 w 365"/>
                  <a:gd name="T115" fmla="*/ 0 h 313"/>
                  <a:gd name="T116" fmla="*/ 0 w 365"/>
                  <a:gd name="T117" fmla="*/ 0 h 313"/>
                  <a:gd name="T118" fmla="*/ 0 w 365"/>
                  <a:gd name="T119" fmla="*/ 0 h 313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365"/>
                  <a:gd name="T181" fmla="*/ 0 h 313"/>
                  <a:gd name="T182" fmla="*/ 365 w 365"/>
                  <a:gd name="T183" fmla="*/ 313 h 313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365" h="313">
                    <a:moveTo>
                      <a:pt x="309" y="0"/>
                    </a:moveTo>
                    <a:lnTo>
                      <a:pt x="0" y="26"/>
                    </a:lnTo>
                    <a:lnTo>
                      <a:pt x="3" y="44"/>
                    </a:lnTo>
                    <a:lnTo>
                      <a:pt x="10" y="77"/>
                    </a:lnTo>
                    <a:lnTo>
                      <a:pt x="15" y="108"/>
                    </a:lnTo>
                    <a:lnTo>
                      <a:pt x="19" y="140"/>
                    </a:lnTo>
                    <a:lnTo>
                      <a:pt x="22" y="171"/>
                    </a:lnTo>
                    <a:lnTo>
                      <a:pt x="24" y="202"/>
                    </a:lnTo>
                    <a:lnTo>
                      <a:pt x="25" y="233"/>
                    </a:lnTo>
                    <a:lnTo>
                      <a:pt x="25" y="264"/>
                    </a:lnTo>
                    <a:lnTo>
                      <a:pt x="24" y="295"/>
                    </a:lnTo>
                    <a:lnTo>
                      <a:pt x="23" y="313"/>
                    </a:lnTo>
                    <a:lnTo>
                      <a:pt x="365" y="313"/>
                    </a:lnTo>
                    <a:lnTo>
                      <a:pt x="365" y="295"/>
                    </a:lnTo>
                    <a:lnTo>
                      <a:pt x="363" y="262"/>
                    </a:lnTo>
                    <a:lnTo>
                      <a:pt x="360" y="228"/>
                    </a:lnTo>
                    <a:lnTo>
                      <a:pt x="356" y="195"/>
                    </a:lnTo>
                    <a:lnTo>
                      <a:pt x="350" y="161"/>
                    </a:lnTo>
                    <a:lnTo>
                      <a:pt x="343" y="125"/>
                    </a:lnTo>
                    <a:lnTo>
                      <a:pt x="334" y="89"/>
                    </a:lnTo>
                    <a:lnTo>
                      <a:pt x="325" y="52"/>
                    </a:lnTo>
                    <a:lnTo>
                      <a:pt x="312" y="13"/>
                    </a:lnTo>
                    <a:lnTo>
                      <a:pt x="309" y="0"/>
                    </a:lnTo>
                    <a:close/>
                    <a:moveTo>
                      <a:pt x="332" y="279"/>
                    </a:moveTo>
                    <a:lnTo>
                      <a:pt x="313" y="279"/>
                    </a:lnTo>
                    <a:lnTo>
                      <a:pt x="280" y="279"/>
                    </a:lnTo>
                    <a:lnTo>
                      <a:pt x="239" y="279"/>
                    </a:lnTo>
                    <a:lnTo>
                      <a:pt x="194" y="279"/>
                    </a:lnTo>
                    <a:lnTo>
                      <a:pt x="147" y="279"/>
                    </a:lnTo>
                    <a:lnTo>
                      <a:pt x="106" y="279"/>
                    </a:lnTo>
                    <a:lnTo>
                      <a:pt x="74" y="279"/>
                    </a:lnTo>
                    <a:lnTo>
                      <a:pt x="55" y="279"/>
                    </a:lnTo>
                    <a:lnTo>
                      <a:pt x="55" y="270"/>
                    </a:lnTo>
                    <a:lnTo>
                      <a:pt x="56" y="261"/>
                    </a:lnTo>
                    <a:lnTo>
                      <a:pt x="56" y="253"/>
                    </a:lnTo>
                    <a:lnTo>
                      <a:pt x="56" y="243"/>
                    </a:lnTo>
                    <a:lnTo>
                      <a:pt x="56" y="220"/>
                    </a:lnTo>
                    <a:lnTo>
                      <a:pt x="55" y="197"/>
                    </a:lnTo>
                    <a:lnTo>
                      <a:pt x="53" y="173"/>
                    </a:lnTo>
                    <a:lnTo>
                      <a:pt x="51" y="150"/>
                    </a:lnTo>
                    <a:lnTo>
                      <a:pt x="49" y="126"/>
                    </a:lnTo>
                    <a:lnTo>
                      <a:pt x="46" y="103"/>
                    </a:lnTo>
                    <a:lnTo>
                      <a:pt x="42" y="79"/>
                    </a:lnTo>
                    <a:lnTo>
                      <a:pt x="38" y="55"/>
                    </a:lnTo>
                    <a:lnTo>
                      <a:pt x="55" y="54"/>
                    </a:lnTo>
                    <a:lnTo>
                      <a:pt x="85" y="51"/>
                    </a:lnTo>
                    <a:lnTo>
                      <a:pt x="122" y="48"/>
                    </a:lnTo>
                    <a:lnTo>
                      <a:pt x="165" y="45"/>
                    </a:lnTo>
                    <a:lnTo>
                      <a:pt x="205" y="42"/>
                    </a:lnTo>
                    <a:lnTo>
                      <a:pt x="242" y="39"/>
                    </a:lnTo>
                    <a:lnTo>
                      <a:pt x="270" y="36"/>
                    </a:lnTo>
                    <a:lnTo>
                      <a:pt x="287" y="34"/>
                    </a:lnTo>
                    <a:lnTo>
                      <a:pt x="296" y="69"/>
                    </a:lnTo>
                    <a:lnTo>
                      <a:pt x="304" y="101"/>
                    </a:lnTo>
                    <a:lnTo>
                      <a:pt x="312" y="133"/>
                    </a:lnTo>
                    <a:lnTo>
                      <a:pt x="319" y="163"/>
                    </a:lnTo>
                    <a:lnTo>
                      <a:pt x="323" y="193"/>
                    </a:lnTo>
                    <a:lnTo>
                      <a:pt x="327" y="222"/>
                    </a:lnTo>
                    <a:lnTo>
                      <a:pt x="330" y="251"/>
                    </a:lnTo>
                    <a:lnTo>
                      <a:pt x="332" y="279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68" name="Freeform 42"/>
              <p:cNvSpPr>
                <a:spLocks/>
              </p:cNvSpPr>
              <p:nvPr/>
            </p:nvSpPr>
            <p:spPr bwMode="auto">
              <a:xfrm>
                <a:off x="4104" y="1539"/>
                <a:ext cx="23" cy="19"/>
              </a:xfrm>
              <a:custGeom>
                <a:avLst/>
                <a:gdLst>
                  <a:gd name="T0" fmla="*/ 0 w 162"/>
                  <a:gd name="T1" fmla="*/ 0 h 138"/>
                  <a:gd name="T2" fmla="*/ 0 w 162"/>
                  <a:gd name="T3" fmla="*/ 0 h 138"/>
                  <a:gd name="T4" fmla="*/ 0 w 162"/>
                  <a:gd name="T5" fmla="*/ 0 h 138"/>
                  <a:gd name="T6" fmla="*/ 0 w 162"/>
                  <a:gd name="T7" fmla="*/ 0 h 138"/>
                  <a:gd name="T8" fmla="*/ 0 w 162"/>
                  <a:gd name="T9" fmla="*/ 0 h 138"/>
                  <a:gd name="T10" fmla="*/ 0 w 162"/>
                  <a:gd name="T11" fmla="*/ 0 h 138"/>
                  <a:gd name="T12" fmla="*/ 0 w 162"/>
                  <a:gd name="T13" fmla="*/ 0 h 138"/>
                  <a:gd name="T14" fmla="*/ 0 w 162"/>
                  <a:gd name="T15" fmla="*/ 0 h 138"/>
                  <a:gd name="T16" fmla="*/ 0 w 162"/>
                  <a:gd name="T17" fmla="*/ 0 h 138"/>
                  <a:gd name="T18" fmla="*/ 0 w 162"/>
                  <a:gd name="T19" fmla="*/ 0 h 138"/>
                  <a:gd name="T20" fmla="*/ 0 w 162"/>
                  <a:gd name="T21" fmla="*/ 0 h 138"/>
                  <a:gd name="T22" fmla="*/ 0 w 162"/>
                  <a:gd name="T23" fmla="*/ 0 h 138"/>
                  <a:gd name="T24" fmla="*/ 0 w 162"/>
                  <a:gd name="T25" fmla="*/ 0 h 138"/>
                  <a:gd name="T26" fmla="*/ 0 w 162"/>
                  <a:gd name="T27" fmla="*/ 0 h 138"/>
                  <a:gd name="T28" fmla="*/ 0 w 162"/>
                  <a:gd name="T29" fmla="*/ 0 h 13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62"/>
                  <a:gd name="T46" fmla="*/ 0 h 138"/>
                  <a:gd name="T47" fmla="*/ 162 w 162"/>
                  <a:gd name="T48" fmla="*/ 138 h 13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62" h="138">
                    <a:moveTo>
                      <a:pt x="162" y="138"/>
                    </a:moveTo>
                    <a:lnTo>
                      <a:pt x="10" y="138"/>
                    </a:lnTo>
                    <a:lnTo>
                      <a:pt x="10" y="121"/>
                    </a:lnTo>
                    <a:lnTo>
                      <a:pt x="10" y="105"/>
                    </a:lnTo>
                    <a:lnTo>
                      <a:pt x="10" y="89"/>
                    </a:lnTo>
                    <a:lnTo>
                      <a:pt x="9" y="74"/>
                    </a:lnTo>
                    <a:lnTo>
                      <a:pt x="5" y="43"/>
                    </a:lnTo>
                    <a:lnTo>
                      <a:pt x="0" y="12"/>
                    </a:lnTo>
                    <a:lnTo>
                      <a:pt x="137" y="0"/>
                    </a:lnTo>
                    <a:lnTo>
                      <a:pt x="146" y="33"/>
                    </a:lnTo>
                    <a:lnTo>
                      <a:pt x="155" y="67"/>
                    </a:lnTo>
                    <a:lnTo>
                      <a:pt x="157" y="84"/>
                    </a:lnTo>
                    <a:lnTo>
                      <a:pt x="160" y="102"/>
                    </a:lnTo>
                    <a:lnTo>
                      <a:pt x="161" y="119"/>
                    </a:lnTo>
                    <a:lnTo>
                      <a:pt x="162" y="138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69" name="Freeform 43"/>
              <p:cNvSpPr>
                <a:spLocks noEditPoints="1"/>
              </p:cNvSpPr>
              <p:nvPr/>
            </p:nvSpPr>
            <p:spPr bwMode="auto">
              <a:xfrm>
                <a:off x="4045" y="1406"/>
                <a:ext cx="95" cy="68"/>
              </a:xfrm>
              <a:custGeom>
                <a:avLst/>
                <a:gdLst>
                  <a:gd name="T0" fmla="*/ 0 w 664"/>
                  <a:gd name="T1" fmla="*/ 0 h 480"/>
                  <a:gd name="T2" fmla="*/ 0 w 664"/>
                  <a:gd name="T3" fmla="*/ 0 h 480"/>
                  <a:gd name="T4" fmla="*/ 0 w 664"/>
                  <a:gd name="T5" fmla="*/ 0 h 480"/>
                  <a:gd name="T6" fmla="*/ 0 w 664"/>
                  <a:gd name="T7" fmla="*/ 0 h 480"/>
                  <a:gd name="T8" fmla="*/ 0 w 664"/>
                  <a:gd name="T9" fmla="*/ 0 h 480"/>
                  <a:gd name="T10" fmla="*/ 0 w 664"/>
                  <a:gd name="T11" fmla="*/ 0 h 480"/>
                  <a:gd name="T12" fmla="*/ 0 w 664"/>
                  <a:gd name="T13" fmla="*/ 0 h 480"/>
                  <a:gd name="T14" fmla="*/ 0 w 664"/>
                  <a:gd name="T15" fmla="*/ 0 h 480"/>
                  <a:gd name="T16" fmla="*/ 0 w 664"/>
                  <a:gd name="T17" fmla="*/ 0 h 480"/>
                  <a:gd name="T18" fmla="*/ 0 w 664"/>
                  <a:gd name="T19" fmla="*/ 0 h 480"/>
                  <a:gd name="T20" fmla="*/ 0 w 664"/>
                  <a:gd name="T21" fmla="*/ 0 h 480"/>
                  <a:gd name="T22" fmla="*/ 0 w 664"/>
                  <a:gd name="T23" fmla="*/ 0 h 480"/>
                  <a:gd name="T24" fmla="*/ 0 w 664"/>
                  <a:gd name="T25" fmla="*/ 0 h 480"/>
                  <a:gd name="T26" fmla="*/ 0 w 664"/>
                  <a:gd name="T27" fmla="*/ 0 h 480"/>
                  <a:gd name="T28" fmla="*/ 0 w 664"/>
                  <a:gd name="T29" fmla="*/ 0 h 480"/>
                  <a:gd name="T30" fmla="*/ 0 w 664"/>
                  <a:gd name="T31" fmla="*/ 0 h 480"/>
                  <a:gd name="T32" fmla="*/ 0 w 664"/>
                  <a:gd name="T33" fmla="*/ 0 h 480"/>
                  <a:gd name="T34" fmla="*/ 0 w 664"/>
                  <a:gd name="T35" fmla="*/ 0 h 480"/>
                  <a:gd name="T36" fmla="*/ 0 w 664"/>
                  <a:gd name="T37" fmla="*/ 0 h 480"/>
                  <a:gd name="T38" fmla="*/ 0 w 664"/>
                  <a:gd name="T39" fmla="*/ 0 h 480"/>
                  <a:gd name="T40" fmla="*/ 0 w 664"/>
                  <a:gd name="T41" fmla="*/ 0 h 480"/>
                  <a:gd name="T42" fmla="*/ 0 w 664"/>
                  <a:gd name="T43" fmla="*/ 0 h 480"/>
                  <a:gd name="T44" fmla="*/ 0 w 664"/>
                  <a:gd name="T45" fmla="*/ 0 h 480"/>
                  <a:gd name="T46" fmla="*/ 0 w 664"/>
                  <a:gd name="T47" fmla="*/ 0 h 480"/>
                  <a:gd name="T48" fmla="*/ 0 w 664"/>
                  <a:gd name="T49" fmla="*/ 0 h 480"/>
                  <a:gd name="T50" fmla="*/ 0 w 664"/>
                  <a:gd name="T51" fmla="*/ 0 h 480"/>
                  <a:gd name="T52" fmla="*/ 0 w 664"/>
                  <a:gd name="T53" fmla="*/ 0 h 480"/>
                  <a:gd name="T54" fmla="*/ 0 w 664"/>
                  <a:gd name="T55" fmla="*/ 0 h 480"/>
                  <a:gd name="T56" fmla="*/ 0 w 664"/>
                  <a:gd name="T57" fmla="*/ 0 h 480"/>
                  <a:gd name="T58" fmla="*/ 0 w 664"/>
                  <a:gd name="T59" fmla="*/ 0 h 480"/>
                  <a:gd name="T60" fmla="*/ 0 w 664"/>
                  <a:gd name="T61" fmla="*/ 0 h 480"/>
                  <a:gd name="T62" fmla="*/ 0 w 664"/>
                  <a:gd name="T63" fmla="*/ 0 h 480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664"/>
                  <a:gd name="T97" fmla="*/ 0 h 480"/>
                  <a:gd name="T98" fmla="*/ 664 w 664"/>
                  <a:gd name="T99" fmla="*/ 480 h 480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664" h="480">
                    <a:moveTo>
                      <a:pt x="0" y="0"/>
                    </a:moveTo>
                    <a:lnTo>
                      <a:pt x="3" y="14"/>
                    </a:lnTo>
                    <a:lnTo>
                      <a:pt x="9" y="45"/>
                    </a:lnTo>
                    <a:lnTo>
                      <a:pt x="15" y="75"/>
                    </a:lnTo>
                    <a:lnTo>
                      <a:pt x="21" y="104"/>
                    </a:lnTo>
                    <a:lnTo>
                      <a:pt x="28" y="134"/>
                    </a:lnTo>
                    <a:lnTo>
                      <a:pt x="36" y="163"/>
                    </a:lnTo>
                    <a:lnTo>
                      <a:pt x="44" y="192"/>
                    </a:lnTo>
                    <a:lnTo>
                      <a:pt x="52" y="221"/>
                    </a:lnTo>
                    <a:lnTo>
                      <a:pt x="61" y="249"/>
                    </a:lnTo>
                    <a:lnTo>
                      <a:pt x="71" y="278"/>
                    </a:lnTo>
                    <a:lnTo>
                      <a:pt x="81" y="306"/>
                    </a:lnTo>
                    <a:lnTo>
                      <a:pt x="91" y="334"/>
                    </a:lnTo>
                    <a:lnTo>
                      <a:pt x="103" y="361"/>
                    </a:lnTo>
                    <a:lnTo>
                      <a:pt x="114" y="389"/>
                    </a:lnTo>
                    <a:lnTo>
                      <a:pt x="126" y="416"/>
                    </a:lnTo>
                    <a:lnTo>
                      <a:pt x="138" y="444"/>
                    </a:lnTo>
                    <a:lnTo>
                      <a:pt x="151" y="471"/>
                    </a:lnTo>
                    <a:lnTo>
                      <a:pt x="157" y="480"/>
                    </a:lnTo>
                    <a:lnTo>
                      <a:pt x="664" y="448"/>
                    </a:lnTo>
                    <a:lnTo>
                      <a:pt x="656" y="433"/>
                    </a:lnTo>
                    <a:lnTo>
                      <a:pt x="631" y="383"/>
                    </a:lnTo>
                    <a:lnTo>
                      <a:pt x="609" y="333"/>
                    </a:lnTo>
                    <a:lnTo>
                      <a:pt x="587" y="281"/>
                    </a:lnTo>
                    <a:lnTo>
                      <a:pt x="569" y="229"/>
                    </a:lnTo>
                    <a:lnTo>
                      <a:pt x="551" y="176"/>
                    </a:lnTo>
                    <a:lnTo>
                      <a:pt x="535" y="123"/>
                    </a:lnTo>
                    <a:lnTo>
                      <a:pt x="520" y="68"/>
                    </a:lnTo>
                    <a:lnTo>
                      <a:pt x="508" y="12"/>
                    </a:lnTo>
                    <a:lnTo>
                      <a:pt x="505" y="0"/>
                    </a:lnTo>
                    <a:lnTo>
                      <a:pt x="16" y="0"/>
                    </a:lnTo>
                    <a:lnTo>
                      <a:pt x="0" y="0"/>
                    </a:lnTo>
                    <a:close/>
                    <a:moveTo>
                      <a:pt x="484" y="25"/>
                    </a:moveTo>
                    <a:lnTo>
                      <a:pt x="497" y="79"/>
                    </a:lnTo>
                    <a:lnTo>
                      <a:pt x="510" y="131"/>
                    </a:lnTo>
                    <a:lnTo>
                      <a:pt x="525" y="182"/>
                    </a:lnTo>
                    <a:lnTo>
                      <a:pt x="542" y="232"/>
                    </a:lnTo>
                    <a:lnTo>
                      <a:pt x="561" y="282"/>
                    </a:lnTo>
                    <a:lnTo>
                      <a:pt x="580" y="330"/>
                    </a:lnTo>
                    <a:lnTo>
                      <a:pt x="601" y="378"/>
                    </a:lnTo>
                    <a:lnTo>
                      <a:pt x="624" y="426"/>
                    </a:lnTo>
                    <a:lnTo>
                      <a:pt x="597" y="428"/>
                    </a:lnTo>
                    <a:lnTo>
                      <a:pt x="543" y="431"/>
                    </a:lnTo>
                    <a:lnTo>
                      <a:pt x="473" y="435"/>
                    </a:lnTo>
                    <a:lnTo>
                      <a:pt x="395" y="439"/>
                    </a:lnTo>
                    <a:lnTo>
                      <a:pt x="318" y="443"/>
                    </a:lnTo>
                    <a:lnTo>
                      <a:pt x="250" y="447"/>
                    </a:lnTo>
                    <a:lnTo>
                      <a:pt x="199" y="450"/>
                    </a:lnTo>
                    <a:lnTo>
                      <a:pt x="175" y="452"/>
                    </a:lnTo>
                    <a:lnTo>
                      <a:pt x="151" y="402"/>
                    </a:lnTo>
                    <a:lnTo>
                      <a:pt x="130" y="350"/>
                    </a:lnTo>
                    <a:lnTo>
                      <a:pt x="110" y="298"/>
                    </a:lnTo>
                    <a:lnTo>
                      <a:pt x="92" y="246"/>
                    </a:lnTo>
                    <a:lnTo>
                      <a:pt x="76" y="192"/>
                    </a:lnTo>
                    <a:lnTo>
                      <a:pt x="61" y="138"/>
                    </a:lnTo>
                    <a:lnTo>
                      <a:pt x="48" y="83"/>
                    </a:lnTo>
                    <a:lnTo>
                      <a:pt x="37" y="27"/>
                    </a:lnTo>
                    <a:lnTo>
                      <a:pt x="64" y="27"/>
                    </a:lnTo>
                    <a:lnTo>
                      <a:pt x="115" y="27"/>
                    </a:lnTo>
                    <a:lnTo>
                      <a:pt x="185" y="27"/>
                    </a:lnTo>
                    <a:lnTo>
                      <a:pt x="263" y="26"/>
                    </a:lnTo>
                    <a:lnTo>
                      <a:pt x="340" y="26"/>
                    </a:lnTo>
                    <a:lnTo>
                      <a:pt x="409" y="26"/>
                    </a:lnTo>
                    <a:lnTo>
                      <a:pt x="459" y="26"/>
                    </a:lnTo>
                    <a:lnTo>
                      <a:pt x="484" y="25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70" name="Freeform 44"/>
              <p:cNvSpPr>
                <a:spLocks noEditPoints="1"/>
              </p:cNvSpPr>
              <p:nvPr/>
            </p:nvSpPr>
            <p:spPr bwMode="auto">
              <a:xfrm>
                <a:off x="4058" y="1414"/>
                <a:ext cx="71" cy="51"/>
              </a:xfrm>
              <a:custGeom>
                <a:avLst/>
                <a:gdLst>
                  <a:gd name="T0" fmla="*/ 0 w 493"/>
                  <a:gd name="T1" fmla="*/ 0 h 357"/>
                  <a:gd name="T2" fmla="*/ 0 w 493"/>
                  <a:gd name="T3" fmla="*/ 0 h 357"/>
                  <a:gd name="T4" fmla="*/ 0 w 493"/>
                  <a:gd name="T5" fmla="*/ 0 h 357"/>
                  <a:gd name="T6" fmla="*/ 0 w 493"/>
                  <a:gd name="T7" fmla="*/ 0 h 357"/>
                  <a:gd name="T8" fmla="*/ 0 w 493"/>
                  <a:gd name="T9" fmla="*/ 0 h 357"/>
                  <a:gd name="T10" fmla="*/ 0 w 493"/>
                  <a:gd name="T11" fmla="*/ 0 h 357"/>
                  <a:gd name="T12" fmla="*/ 0 w 493"/>
                  <a:gd name="T13" fmla="*/ 0 h 357"/>
                  <a:gd name="T14" fmla="*/ 0 w 493"/>
                  <a:gd name="T15" fmla="*/ 0 h 357"/>
                  <a:gd name="T16" fmla="*/ 0 w 493"/>
                  <a:gd name="T17" fmla="*/ 0 h 357"/>
                  <a:gd name="T18" fmla="*/ 0 w 493"/>
                  <a:gd name="T19" fmla="*/ 0 h 357"/>
                  <a:gd name="T20" fmla="*/ 0 w 493"/>
                  <a:gd name="T21" fmla="*/ 0 h 357"/>
                  <a:gd name="T22" fmla="*/ 0 w 493"/>
                  <a:gd name="T23" fmla="*/ 0 h 357"/>
                  <a:gd name="T24" fmla="*/ 0 w 493"/>
                  <a:gd name="T25" fmla="*/ 0 h 357"/>
                  <a:gd name="T26" fmla="*/ 0 w 493"/>
                  <a:gd name="T27" fmla="*/ 0 h 357"/>
                  <a:gd name="T28" fmla="*/ 0 w 493"/>
                  <a:gd name="T29" fmla="*/ 0 h 357"/>
                  <a:gd name="T30" fmla="*/ 0 w 493"/>
                  <a:gd name="T31" fmla="*/ 0 h 357"/>
                  <a:gd name="T32" fmla="*/ 0 w 493"/>
                  <a:gd name="T33" fmla="*/ 0 h 357"/>
                  <a:gd name="T34" fmla="*/ 0 w 493"/>
                  <a:gd name="T35" fmla="*/ 0 h 357"/>
                  <a:gd name="T36" fmla="*/ 0 w 493"/>
                  <a:gd name="T37" fmla="*/ 0 h 357"/>
                  <a:gd name="T38" fmla="*/ 0 w 493"/>
                  <a:gd name="T39" fmla="*/ 0 h 357"/>
                  <a:gd name="T40" fmla="*/ 0 w 493"/>
                  <a:gd name="T41" fmla="*/ 0 h 357"/>
                  <a:gd name="T42" fmla="*/ 0 w 493"/>
                  <a:gd name="T43" fmla="*/ 0 h 357"/>
                  <a:gd name="T44" fmla="*/ 0 w 493"/>
                  <a:gd name="T45" fmla="*/ 0 h 357"/>
                  <a:gd name="T46" fmla="*/ 0 w 493"/>
                  <a:gd name="T47" fmla="*/ 0 h 357"/>
                  <a:gd name="T48" fmla="*/ 0 w 493"/>
                  <a:gd name="T49" fmla="*/ 0 h 357"/>
                  <a:gd name="T50" fmla="*/ 0 w 493"/>
                  <a:gd name="T51" fmla="*/ 0 h 357"/>
                  <a:gd name="T52" fmla="*/ 0 w 493"/>
                  <a:gd name="T53" fmla="*/ 0 h 357"/>
                  <a:gd name="T54" fmla="*/ 0 w 493"/>
                  <a:gd name="T55" fmla="*/ 0 h 357"/>
                  <a:gd name="T56" fmla="*/ 0 w 493"/>
                  <a:gd name="T57" fmla="*/ 0 h 357"/>
                  <a:gd name="T58" fmla="*/ 0 w 493"/>
                  <a:gd name="T59" fmla="*/ 0 h 357"/>
                  <a:gd name="T60" fmla="*/ 0 w 493"/>
                  <a:gd name="T61" fmla="*/ 0 h 357"/>
                  <a:gd name="T62" fmla="*/ 0 w 493"/>
                  <a:gd name="T63" fmla="*/ 0 h 357"/>
                  <a:gd name="T64" fmla="*/ 0 w 493"/>
                  <a:gd name="T65" fmla="*/ 0 h 357"/>
                  <a:gd name="T66" fmla="*/ 0 w 493"/>
                  <a:gd name="T67" fmla="*/ 0 h 357"/>
                  <a:gd name="T68" fmla="*/ 0 w 493"/>
                  <a:gd name="T69" fmla="*/ 0 h 357"/>
                  <a:gd name="T70" fmla="*/ 0 w 493"/>
                  <a:gd name="T71" fmla="*/ 0 h 357"/>
                  <a:gd name="T72" fmla="*/ 0 w 493"/>
                  <a:gd name="T73" fmla="*/ 0 h 357"/>
                  <a:gd name="T74" fmla="*/ 0 w 493"/>
                  <a:gd name="T75" fmla="*/ 0 h 357"/>
                  <a:gd name="T76" fmla="*/ 0 w 493"/>
                  <a:gd name="T77" fmla="*/ 0 h 357"/>
                  <a:gd name="T78" fmla="*/ 0 w 493"/>
                  <a:gd name="T79" fmla="*/ 0 h 357"/>
                  <a:gd name="T80" fmla="*/ 0 w 493"/>
                  <a:gd name="T81" fmla="*/ 0 h 357"/>
                  <a:gd name="T82" fmla="*/ 0 w 493"/>
                  <a:gd name="T83" fmla="*/ 0 h 357"/>
                  <a:gd name="T84" fmla="*/ 0 w 493"/>
                  <a:gd name="T85" fmla="*/ 0 h 357"/>
                  <a:gd name="T86" fmla="*/ 0 w 493"/>
                  <a:gd name="T87" fmla="*/ 0 h 357"/>
                  <a:gd name="T88" fmla="*/ 0 w 493"/>
                  <a:gd name="T89" fmla="*/ 0 h 357"/>
                  <a:gd name="T90" fmla="*/ 0 w 493"/>
                  <a:gd name="T91" fmla="*/ 0 h 357"/>
                  <a:gd name="T92" fmla="*/ 0 w 493"/>
                  <a:gd name="T93" fmla="*/ 0 h 357"/>
                  <a:gd name="T94" fmla="*/ 0 w 493"/>
                  <a:gd name="T95" fmla="*/ 0 h 357"/>
                  <a:gd name="T96" fmla="*/ 0 w 493"/>
                  <a:gd name="T97" fmla="*/ 0 h 357"/>
                  <a:gd name="T98" fmla="*/ 0 w 493"/>
                  <a:gd name="T99" fmla="*/ 0 h 357"/>
                  <a:gd name="T100" fmla="*/ 0 w 493"/>
                  <a:gd name="T101" fmla="*/ 0 h 357"/>
                  <a:gd name="T102" fmla="*/ 0 w 493"/>
                  <a:gd name="T103" fmla="*/ 0 h 357"/>
                  <a:gd name="T104" fmla="*/ 0 w 493"/>
                  <a:gd name="T105" fmla="*/ 0 h 357"/>
                  <a:gd name="T106" fmla="*/ 0 w 493"/>
                  <a:gd name="T107" fmla="*/ 0 h 357"/>
                  <a:gd name="T108" fmla="*/ 0 w 493"/>
                  <a:gd name="T109" fmla="*/ 0 h 357"/>
                  <a:gd name="T110" fmla="*/ 0 w 493"/>
                  <a:gd name="T111" fmla="*/ 0 h 357"/>
                  <a:gd name="T112" fmla="*/ 0 w 493"/>
                  <a:gd name="T113" fmla="*/ 0 h 357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493"/>
                  <a:gd name="T172" fmla="*/ 0 h 357"/>
                  <a:gd name="T173" fmla="*/ 493 w 493"/>
                  <a:gd name="T174" fmla="*/ 357 h 357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493" h="357">
                    <a:moveTo>
                      <a:pt x="0" y="3"/>
                    </a:moveTo>
                    <a:lnTo>
                      <a:pt x="2" y="16"/>
                    </a:lnTo>
                    <a:lnTo>
                      <a:pt x="11" y="61"/>
                    </a:lnTo>
                    <a:lnTo>
                      <a:pt x="21" y="103"/>
                    </a:lnTo>
                    <a:lnTo>
                      <a:pt x="32" y="145"/>
                    </a:lnTo>
                    <a:lnTo>
                      <a:pt x="45" y="187"/>
                    </a:lnTo>
                    <a:lnTo>
                      <a:pt x="59" y="227"/>
                    </a:lnTo>
                    <a:lnTo>
                      <a:pt x="75" y="267"/>
                    </a:lnTo>
                    <a:lnTo>
                      <a:pt x="91" y="308"/>
                    </a:lnTo>
                    <a:lnTo>
                      <a:pt x="110" y="347"/>
                    </a:lnTo>
                    <a:lnTo>
                      <a:pt x="114" y="357"/>
                    </a:lnTo>
                    <a:lnTo>
                      <a:pt x="493" y="337"/>
                    </a:lnTo>
                    <a:lnTo>
                      <a:pt x="485" y="320"/>
                    </a:lnTo>
                    <a:lnTo>
                      <a:pt x="468" y="283"/>
                    </a:lnTo>
                    <a:lnTo>
                      <a:pt x="451" y="246"/>
                    </a:lnTo>
                    <a:lnTo>
                      <a:pt x="435" y="208"/>
                    </a:lnTo>
                    <a:lnTo>
                      <a:pt x="421" y="170"/>
                    </a:lnTo>
                    <a:lnTo>
                      <a:pt x="409" y="132"/>
                    </a:lnTo>
                    <a:lnTo>
                      <a:pt x="396" y="93"/>
                    </a:lnTo>
                    <a:lnTo>
                      <a:pt x="386" y="52"/>
                    </a:lnTo>
                    <a:lnTo>
                      <a:pt x="377" y="12"/>
                    </a:lnTo>
                    <a:lnTo>
                      <a:pt x="373" y="0"/>
                    </a:lnTo>
                    <a:lnTo>
                      <a:pt x="16" y="3"/>
                    </a:lnTo>
                    <a:lnTo>
                      <a:pt x="0" y="3"/>
                    </a:lnTo>
                    <a:close/>
                    <a:moveTo>
                      <a:pt x="353" y="25"/>
                    </a:moveTo>
                    <a:lnTo>
                      <a:pt x="362" y="64"/>
                    </a:lnTo>
                    <a:lnTo>
                      <a:pt x="371" y="101"/>
                    </a:lnTo>
                    <a:lnTo>
                      <a:pt x="383" y="137"/>
                    </a:lnTo>
                    <a:lnTo>
                      <a:pt x="395" y="173"/>
                    </a:lnTo>
                    <a:lnTo>
                      <a:pt x="408" y="208"/>
                    </a:lnTo>
                    <a:lnTo>
                      <a:pt x="422" y="244"/>
                    </a:lnTo>
                    <a:lnTo>
                      <a:pt x="438" y="278"/>
                    </a:lnTo>
                    <a:lnTo>
                      <a:pt x="454" y="312"/>
                    </a:lnTo>
                    <a:lnTo>
                      <a:pt x="432" y="314"/>
                    </a:lnTo>
                    <a:lnTo>
                      <a:pt x="393" y="316"/>
                    </a:lnTo>
                    <a:lnTo>
                      <a:pt x="345" y="318"/>
                    </a:lnTo>
                    <a:lnTo>
                      <a:pt x="290" y="321"/>
                    </a:lnTo>
                    <a:lnTo>
                      <a:pt x="235" y="323"/>
                    </a:lnTo>
                    <a:lnTo>
                      <a:pt x="187" y="326"/>
                    </a:lnTo>
                    <a:lnTo>
                      <a:pt x="151" y="327"/>
                    </a:lnTo>
                    <a:lnTo>
                      <a:pt x="133" y="328"/>
                    </a:lnTo>
                    <a:lnTo>
                      <a:pt x="116" y="293"/>
                    </a:lnTo>
                    <a:lnTo>
                      <a:pt x="102" y="257"/>
                    </a:lnTo>
                    <a:lnTo>
                      <a:pt x="88" y="220"/>
                    </a:lnTo>
                    <a:lnTo>
                      <a:pt x="75" y="183"/>
                    </a:lnTo>
                    <a:lnTo>
                      <a:pt x="63" y="145"/>
                    </a:lnTo>
                    <a:lnTo>
                      <a:pt x="53" y="107"/>
                    </a:lnTo>
                    <a:lnTo>
                      <a:pt x="44" y="69"/>
                    </a:lnTo>
                    <a:lnTo>
                      <a:pt x="36" y="29"/>
                    </a:lnTo>
                    <a:lnTo>
                      <a:pt x="57" y="29"/>
                    </a:lnTo>
                    <a:lnTo>
                      <a:pt x="94" y="28"/>
                    </a:lnTo>
                    <a:lnTo>
                      <a:pt x="143" y="28"/>
                    </a:lnTo>
                    <a:lnTo>
                      <a:pt x="197" y="27"/>
                    </a:lnTo>
                    <a:lnTo>
                      <a:pt x="251" y="26"/>
                    </a:lnTo>
                    <a:lnTo>
                      <a:pt x="298" y="26"/>
                    </a:lnTo>
                    <a:lnTo>
                      <a:pt x="334" y="26"/>
                    </a:lnTo>
                    <a:lnTo>
                      <a:pt x="353" y="25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71" name="Freeform 45"/>
              <p:cNvSpPr>
                <a:spLocks noEditPoints="1"/>
              </p:cNvSpPr>
              <p:nvPr/>
            </p:nvSpPr>
            <p:spPr bwMode="auto">
              <a:xfrm>
                <a:off x="4071" y="1422"/>
                <a:ext cx="47" cy="34"/>
              </a:xfrm>
              <a:custGeom>
                <a:avLst/>
                <a:gdLst>
                  <a:gd name="T0" fmla="*/ 0 w 329"/>
                  <a:gd name="T1" fmla="*/ 0 h 238"/>
                  <a:gd name="T2" fmla="*/ 0 w 329"/>
                  <a:gd name="T3" fmla="*/ 0 h 238"/>
                  <a:gd name="T4" fmla="*/ 0 w 329"/>
                  <a:gd name="T5" fmla="*/ 0 h 238"/>
                  <a:gd name="T6" fmla="*/ 0 w 329"/>
                  <a:gd name="T7" fmla="*/ 0 h 238"/>
                  <a:gd name="T8" fmla="*/ 0 w 329"/>
                  <a:gd name="T9" fmla="*/ 0 h 238"/>
                  <a:gd name="T10" fmla="*/ 0 w 329"/>
                  <a:gd name="T11" fmla="*/ 0 h 238"/>
                  <a:gd name="T12" fmla="*/ 0 w 329"/>
                  <a:gd name="T13" fmla="*/ 0 h 238"/>
                  <a:gd name="T14" fmla="*/ 0 w 329"/>
                  <a:gd name="T15" fmla="*/ 0 h 238"/>
                  <a:gd name="T16" fmla="*/ 0 w 329"/>
                  <a:gd name="T17" fmla="*/ 0 h 238"/>
                  <a:gd name="T18" fmla="*/ 0 w 329"/>
                  <a:gd name="T19" fmla="*/ 0 h 238"/>
                  <a:gd name="T20" fmla="*/ 0 w 329"/>
                  <a:gd name="T21" fmla="*/ 0 h 238"/>
                  <a:gd name="T22" fmla="*/ 0 w 329"/>
                  <a:gd name="T23" fmla="*/ 0 h 238"/>
                  <a:gd name="T24" fmla="*/ 0 w 329"/>
                  <a:gd name="T25" fmla="*/ 0 h 238"/>
                  <a:gd name="T26" fmla="*/ 0 w 329"/>
                  <a:gd name="T27" fmla="*/ 0 h 238"/>
                  <a:gd name="T28" fmla="*/ 0 w 329"/>
                  <a:gd name="T29" fmla="*/ 0 h 238"/>
                  <a:gd name="T30" fmla="*/ 0 w 329"/>
                  <a:gd name="T31" fmla="*/ 0 h 238"/>
                  <a:gd name="T32" fmla="*/ 0 w 329"/>
                  <a:gd name="T33" fmla="*/ 0 h 238"/>
                  <a:gd name="T34" fmla="*/ 0 w 329"/>
                  <a:gd name="T35" fmla="*/ 0 h 238"/>
                  <a:gd name="T36" fmla="*/ 0 w 329"/>
                  <a:gd name="T37" fmla="*/ 0 h 238"/>
                  <a:gd name="T38" fmla="*/ 0 w 329"/>
                  <a:gd name="T39" fmla="*/ 0 h 238"/>
                  <a:gd name="T40" fmla="*/ 0 w 329"/>
                  <a:gd name="T41" fmla="*/ 0 h 238"/>
                  <a:gd name="T42" fmla="*/ 0 w 329"/>
                  <a:gd name="T43" fmla="*/ 0 h 238"/>
                  <a:gd name="T44" fmla="*/ 0 w 329"/>
                  <a:gd name="T45" fmla="*/ 0 h 238"/>
                  <a:gd name="T46" fmla="*/ 0 w 329"/>
                  <a:gd name="T47" fmla="*/ 0 h 238"/>
                  <a:gd name="T48" fmla="*/ 0 w 329"/>
                  <a:gd name="T49" fmla="*/ 0 h 238"/>
                  <a:gd name="T50" fmla="*/ 0 w 329"/>
                  <a:gd name="T51" fmla="*/ 0 h 238"/>
                  <a:gd name="T52" fmla="*/ 0 w 329"/>
                  <a:gd name="T53" fmla="*/ 0 h 238"/>
                  <a:gd name="T54" fmla="*/ 0 w 329"/>
                  <a:gd name="T55" fmla="*/ 0 h 238"/>
                  <a:gd name="T56" fmla="*/ 0 w 329"/>
                  <a:gd name="T57" fmla="*/ 0 h 238"/>
                  <a:gd name="T58" fmla="*/ 0 w 329"/>
                  <a:gd name="T59" fmla="*/ 0 h 238"/>
                  <a:gd name="T60" fmla="*/ 0 w 329"/>
                  <a:gd name="T61" fmla="*/ 0 h 238"/>
                  <a:gd name="T62" fmla="*/ 0 w 329"/>
                  <a:gd name="T63" fmla="*/ 0 h 238"/>
                  <a:gd name="T64" fmla="*/ 0 w 329"/>
                  <a:gd name="T65" fmla="*/ 0 h 238"/>
                  <a:gd name="T66" fmla="*/ 0 w 329"/>
                  <a:gd name="T67" fmla="*/ 0 h 238"/>
                  <a:gd name="T68" fmla="*/ 0 w 329"/>
                  <a:gd name="T69" fmla="*/ 0 h 238"/>
                  <a:gd name="T70" fmla="*/ 0 w 329"/>
                  <a:gd name="T71" fmla="*/ 0 h 238"/>
                  <a:gd name="T72" fmla="*/ 0 w 329"/>
                  <a:gd name="T73" fmla="*/ 0 h 238"/>
                  <a:gd name="T74" fmla="*/ 0 w 329"/>
                  <a:gd name="T75" fmla="*/ 0 h 238"/>
                  <a:gd name="T76" fmla="*/ 0 w 329"/>
                  <a:gd name="T77" fmla="*/ 0 h 238"/>
                  <a:gd name="T78" fmla="*/ 0 w 329"/>
                  <a:gd name="T79" fmla="*/ 0 h 238"/>
                  <a:gd name="T80" fmla="*/ 0 w 329"/>
                  <a:gd name="T81" fmla="*/ 0 h 238"/>
                  <a:gd name="T82" fmla="*/ 0 w 329"/>
                  <a:gd name="T83" fmla="*/ 0 h 238"/>
                  <a:gd name="T84" fmla="*/ 0 w 329"/>
                  <a:gd name="T85" fmla="*/ 0 h 238"/>
                  <a:gd name="T86" fmla="*/ 0 w 329"/>
                  <a:gd name="T87" fmla="*/ 0 h 238"/>
                  <a:gd name="T88" fmla="*/ 0 w 329"/>
                  <a:gd name="T89" fmla="*/ 0 h 238"/>
                  <a:gd name="T90" fmla="*/ 0 w 329"/>
                  <a:gd name="T91" fmla="*/ 0 h 238"/>
                  <a:gd name="T92" fmla="*/ 0 w 329"/>
                  <a:gd name="T93" fmla="*/ 0 h 238"/>
                  <a:gd name="T94" fmla="*/ 0 w 329"/>
                  <a:gd name="T95" fmla="*/ 0 h 238"/>
                  <a:gd name="T96" fmla="*/ 0 w 329"/>
                  <a:gd name="T97" fmla="*/ 0 h 238"/>
                  <a:gd name="T98" fmla="*/ 0 w 329"/>
                  <a:gd name="T99" fmla="*/ 0 h 238"/>
                  <a:gd name="T100" fmla="*/ 0 w 329"/>
                  <a:gd name="T101" fmla="*/ 0 h 238"/>
                  <a:gd name="T102" fmla="*/ 0 w 329"/>
                  <a:gd name="T103" fmla="*/ 0 h 238"/>
                  <a:gd name="T104" fmla="*/ 0 w 329"/>
                  <a:gd name="T105" fmla="*/ 0 h 238"/>
                  <a:gd name="T106" fmla="*/ 0 w 329"/>
                  <a:gd name="T107" fmla="*/ 0 h 238"/>
                  <a:gd name="T108" fmla="*/ 0 w 329"/>
                  <a:gd name="T109" fmla="*/ 0 h 238"/>
                  <a:gd name="T110" fmla="*/ 0 w 329"/>
                  <a:gd name="T111" fmla="*/ 0 h 238"/>
                  <a:gd name="T112" fmla="*/ 0 w 329"/>
                  <a:gd name="T113" fmla="*/ 0 h 238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29"/>
                  <a:gd name="T172" fmla="*/ 0 h 238"/>
                  <a:gd name="T173" fmla="*/ 329 w 329"/>
                  <a:gd name="T174" fmla="*/ 238 h 238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29" h="238">
                    <a:moveTo>
                      <a:pt x="0" y="4"/>
                    </a:moveTo>
                    <a:lnTo>
                      <a:pt x="2" y="18"/>
                    </a:lnTo>
                    <a:lnTo>
                      <a:pt x="8" y="46"/>
                    </a:lnTo>
                    <a:lnTo>
                      <a:pt x="15" y="73"/>
                    </a:lnTo>
                    <a:lnTo>
                      <a:pt x="22" y="100"/>
                    </a:lnTo>
                    <a:lnTo>
                      <a:pt x="29" y="126"/>
                    </a:lnTo>
                    <a:lnTo>
                      <a:pt x="38" y="152"/>
                    </a:lnTo>
                    <a:lnTo>
                      <a:pt x="49" y="177"/>
                    </a:lnTo>
                    <a:lnTo>
                      <a:pt x="59" y="203"/>
                    </a:lnTo>
                    <a:lnTo>
                      <a:pt x="70" y="229"/>
                    </a:lnTo>
                    <a:lnTo>
                      <a:pt x="76" y="238"/>
                    </a:lnTo>
                    <a:lnTo>
                      <a:pt x="329" y="226"/>
                    </a:lnTo>
                    <a:lnTo>
                      <a:pt x="321" y="209"/>
                    </a:lnTo>
                    <a:lnTo>
                      <a:pt x="309" y="186"/>
                    </a:lnTo>
                    <a:lnTo>
                      <a:pt x="299" y="162"/>
                    </a:lnTo>
                    <a:lnTo>
                      <a:pt x="289" y="138"/>
                    </a:lnTo>
                    <a:lnTo>
                      <a:pt x="279" y="114"/>
                    </a:lnTo>
                    <a:lnTo>
                      <a:pt x="271" y="89"/>
                    </a:lnTo>
                    <a:lnTo>
                      <a:pt x="264" y="63"/>
                    </a:lnTo>
                    <a:lnTo>
                      <a:pt x="256" y="39"/>
                    </a:lnTo>
                    <a:lnTo>
                      <a:pt x="250" y="12"/>
                    </a:lnTo>
                    <a:lnTo>
                      <a:pt x="248" y="0"/>
                    </a:lnTo>
                    <a:lnTo>
                      <a:pt x="16" y="4"/>
                    </a:lnTo>
                    <a:lnTo>
                      <a:pt x="0" y="4"/>
                    </a:lnTo>
                    <a:close/>
                    <a:moveTo>
                      <a:pt x="227" y="26"/>
                    </a:moveTo>
                    <a:lnTo>
                      <a:pt x="233" y="50"/>
                    </a:lnTo>
                    <a:lnTo>
                      <a:pt x="239" y="72"/>
                    </a:lnTo>
                    <a:lnTo>
                      <a:pt x="245" y="95"/>
                    </a:lnTo>
                    <a:lnTo>
                      <a:pt x="252" y="116"/>
                    </a:lnTo>
                    <a:lnTo>
                      <a:pt x="261" y="138"/>
                    </a:lnTo>
                    <a:lnTo>
                      <a:pt x="269" y="160"/>
                    </a:lnTo>
                    <a:lnTo>
                      <a:pt x="278" y="181"/>
                    </a:lnTo>
                    <a:lnTo>
                      <a:pt x="289" y="202"/>
                    </a:lnTo>
                    <a:lnTo>
                      <a:pt x="273" y="202"/>
                    </a:lnTo>
                    <a:lnTo>
                      <a:pt x="248" y="203"/>
                    </a:lnTo>
                    <a:lnTo>
                      <a:pt x="219" y="205"/>
                    </a:lnTo>
                    <a:lnTo>
                      <a:pt x="187" y="206"/>
                    </a:lnTo>
                    <a:lnTo>
                      <a:pt x="156" y="207"/>
                    </a:lnTo>
                    <a:lnTo>
                      <a:pt x="128" y="208"/>
                    </a:lnTo>
                    <a:lnTo>
                      <a:pt x="107" y="209"/>
                    </a:lnTo>
                    <a:lnTo>
                      <a:pt x="94" y="210"/>
                    </a:lnTo>
                    <a:lnTo>
                      <a:pt x="84" y="189"/>
                    </a:lnTo>
                    <a:lnTo>
                      <a:pt x="75" y="167"/>
                    </a:lnTo>
                    <a:lnTo>
                      <a:pt x="66" y="144"/>
                    </a:lnTo>
                    <a:lnTo>
                      <a:pt x="59" y="122"/>
                    </a:lnTo>
                    <a:lnTo>
                      <a:pt x="52" y="100"/>
                    </a:lnTo>
                    <a:lnTo>
                      <a:pt x="46" y="77"/>
                    </a:lnTo>
                    <a:lnTo>
                      <a:pt x="41" y="54"/>
                    </a:lnTo>
                    <a:lnTo>
                      <a:pt x="35" y="30"/>
                    </a:lnTo>
                    <a:lnTo>
                      <a:pt x="50" y="30"/>
                    </a:lnTo>
                    <a:lnTo>
                      <a:pt x="74" y="29"/>
                    </a:lnTo>
                    <a:lnTo>
                      <a:pt x="101" y="29"/>
                    </a:lnTo>
                    <a:lnTo>
                      <a:pt x="134" y="28"/>
                    </a:lnTo>
                    <a:lnTo>
                      <a:pt x="165" y="27"/>
                    </a:lnTo>
                    <a:lnTo>
                      <a:pt x="191" y="27"/>
                    </a:lnTo>
                    <a:lnTo>
                      <a:pt x="214" y="26"/>
                    </a:lnTo>
                    <a:lnTo>
                      <a:pt x="227" y="26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72" name="Freeform 46"/>
              <p:cNvSpPr>
                <a:spLocks/>
              </p:cNvSpPr>
              <p:nvPr/>
            </p:nvSpPr>
            <p:spPr bwMode="auto">
              <a:xfrm>
                <a:off x="4084" y="1432"/>
                <a:ext cx="21" cy="15"/>
              </a:xfrm>
              <a:custGeom>
                <a:avLst/>
                <a:gdLst>
                  <a:gd name="T0" fmla="*/ 0 w 145"/>
                  <a:gd name="T1" fmla="*/ 0 h 104"/>
                  <a:gd name="T2" fmla="*/ 0 w 145"/>
                  <a:gd name="T3" fmla="*/ 0 h 104"/>
                  <a:gd name="T4" fmla="*/ 0 w 145"/>
                  <a:gd name="T5" fmla="*/ 0 h 104"/>
                  <a:gd name="T6" fmla="*/ 0 w 145"/>
                  <a:gd name="T7" fmla="*/ 0 h 104"/>
                  <a:gd name="T8" fmla="*/ 0 w 145"/>
                  <a:gd name="T9" fmla="*/ 0 h 104"/>
                  <a:gd name="T10" fmla="*/ 0 w 145"/>
                  <a:gd name="T11" fmla="*/ 0 h 104"/>
                  <a:gd name="T12" fmla="*/ 0 w 145"/>
                  <a:gd name="T13" fmla="*/ 0 h 104"/>
                  <a:gd name="T14" fmla="*/ 0 w 145"/>
                  <a:gd name="T15" fmla="*/ 0 h 104"/>
                  <a:gd name="T16" fmla="*/ 0 w 145"/>
                  <a:gd name="T17" fmla="*/ 0 h 104"/>
                  <a:gd name="T18" fmla="*/ 0 w 145"/>
                  <a:gd name="T19" fmla="*/ 0 h 104"/>
                  <a:gd name="T20" fmla="*/ 0 w 145"/>
                  <a:gd name="T21" fmla="*/ 0 h 104"/>
                  <a:gd name="T22" fmla="*/ 0 w 145"/>
                  <a:gd name="T23" fmla="*/ 0 h 104"/>
                  <a:gd name="T24" fmla="*/ 0 w 145"/>
                  <a:gd name="T25" fmla="*/ 0 h 104"/>
                  <a:gd name="T26" fmla="*/ 0 w 145"/>
                  <a:gd name="T27" fmla="*/ 0 h 104"/>
                  <a:gd name="T28" fmla="*/ 0 w 145"/>
                  <a:gd name="T29" fmla="*/ 0 h 104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45"/>
                  <a:gd name="T46" fmla="*/ 0 h 104"/>
                  <a:gd name="T47" fmla="*/ 145 w 145"/>
                  <a:gd name="T48" fmla="*/ 104 h 104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45" h="104">
                    <a:moveTo>
                      <a:pt x="110" y="0"/>
                    </a:moveTo>
                    <a:lnTo>
                      <a:pt x="115" y="24"/>
                    </a:lnTo>
                    <a:lnTo>
                      <a:pt x="123" y="49"/>
                    </a:lnTo>
                    <a:lnTo>
                      <a:pt x="127" y="62"/>
                    </a:lnTo>
                    <a:lnTo>
                      <a:pt x="132" y="74"/>
                    </a:lnTo>
                    <a:lnTo>
                      <a:pt x="139" y="86"/>
                    </a:lnTo>
                    <a:lnTo>
                      <a:pt x="145" y="100"/>
                    </a:lnTo>
                    <a:lnTo>
                      <a:pt x="33" y="104"/>
                    </a:lnTo>
                    <a:lnTo>
                      <a:pt x="27" y="91"/>
                    </a:lnTo>
                    <a:lnTo>
                      <a:pt x="22" y="78"/>
                    </a:lnTo>
                    <a:lnTo>
                      <a:pt x="17" y="65"/>
                    </a:lnTo>
                    <a:lnTo>
                      <a:pt x="13" y="52"/>
                    </a:lnTo>
                    <a:lnTo>
                      <a:pt x="5" y="26"/>
                    </a:lnTo>
                    <a:lnTo>
                      <a:pt x="0" y="2"/>
                    </a:lnTo>
                    <a:lnTo>
                      <a:pt x="110" y="0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73" name="Freeform 47"/>
              <p:cNvSpPr>
                <a:spLocks noEditPoints="1"/>
              </p:cNvSpPr>
              <p:nvPr/>
            </p:nvSpPr>
            <p:spPr bwMode="auto">
              <a:xfrm>
                <a:off x="4030" y="1323"/>
                <a:ext cx="55" cy="41"/>
              </a:xfrm>
              <a:custGeom>
                <a:avLst/>
                <a:gdLst>
                  <a:gd name="T0" fmla="*/ 0 w 384"/>
                  <a:gd name="T1" fmla="*/ 0 h 284"/>
                  <a:gd name="T2" fmla="*/ 0 w 384"/>
                  <a:gd name="T3" fmla="*/ 0 h 284"/>
                  <a:gd name="T4" fmla="*/ 0 w 384"/>
                  <a:gd name="T5" fmla="*/ 0 h 284"/>
                  <a:gd name="T6" fmla="*/ 0 w 384"/>
                  <a:gd name="T7" fmla="*/ 0 h 284"/>
                  <a:gd name="T8" fmla="*/ 0 w 384"/>
                  <a:gd name="T9" fmla="*/ 0 h 284"/>
                  <a:gd name="T10" fmla="*/ 0 w 384"/>
                  <a:gd name="T11" fmla="*/ 0 h 284"/>
                  <a:gd name="T12" fmla="*/ 0 w 384"/>
                  <a:gd name="T13" fmla="*/ 0 h 284"/>
                  <a:gd name="T14" fmla="*/ 0 w 384"/>
                  <a:gd name="T15" fmla="*/ 0 h 284"/>
                  <a:gd name="T16" fmla="*/ 0 w 384"/>
                  <a:gd name="T17" fmla="*/ 0 h 284"/>
                  <a:gd name="T18" fmla="*/ 0 w 384"/>
                  <a:gd name="T19" fmla="*/ 0 h 284"/>
                  <a:gd name="T20" fmla="*/ 0 w 384"/>
                  <a:gd name="T21" fmla="*/ 0 h 284"/>
                  <a:gd name="T22" fmla="*/ 0 w 384"/>
                  <a:gd name="T23" fmla="*/ 0 h 284"/>
                  <a:gd name="T24" fmla="*/ 0 w 384"/>
                  <a:gd name="T25" fmla="*/ 0 h 284"/>
                  <a:gd name="T26" fmla="*/ 0 w 384"/>
                  <a:gd name="T27" fmla="*/ 0 h 284"/>
                  <a:gd name="T28" fmla="*/ 0 w 384"/>
                  <a:gd name="T29" fmla="*/ 0 h 284"/>
                  <a:gd name="T30" fmla="*/ 0 w 384"/>
                  <a:gd name="T31" fmla="*/ 0 h 284"/>
                  <a:gd name="T32" fmla="*/ 0 w 384"/>
                  <a:gd name="T33" fmla="*/ 0 h 284"/>
                  <a:gd name="T34" fmla="*/ 0 w 384"/>
                  <a:gd name="T35" fmla="*/ 0 h 284"/>
                  <a:gd name="T36" fmla="*/ 0 w 384"/>
                  <a:gd name="T37" fmla="*/ 0 h 284"/>
                  <a:gd name="T38" fmla="*/ 0 w 384"/>
                  <a:gd name="T39" fmla="*/ 0 h 284"/>
                  <a:gd name="T40" fmla="*/ 0 w 384"/>
                  <a:gd name="T41" fmla="*/ 0 h 284"/>
                  <a:gd name="T42" fmla="*/ 0 w 384"/>
                  <a:gd name="T43" fmla="*/ 0 h 284"/>
                  <a:gd name="T44" fmla="*/ 0 w 384"/>
                  <a:gd name="T45" fmla="*/ 0 h 284"/>
                  <a:gd name="T46" fmla="*/ 0 w 384"/>
                  <a:gd name="T47" fmla="*/ 0 h 284"/>
                  <a:gd name="T48" fmla="*/ 0 w 384"/>
                  <a:gd name="T49" fmla="*/ 0 h 284"/>
                  <a:gd name="T50" fmla="*/ 0 w 384"/>
                  <a:gd name="T51" fmla="*/ 0 h 284"/>
                  <a:gd name="T52" fmla="*/ 0 w 384"/>
                  <a:gd name="T53" fmla="*/ 0 h 284"/>
                  <a:gd name="T54" fmla="*/ 0 w 384"/>
                  <a:gd name="T55" fmla="*/ 0 h 284"/>
                  <a:gd name="T56" fmla="*/ 0 w 384"/>
                  <a:gd name="T57" fmla="*/ 0 h 284"/>
                  <a:gd name="T58" fmla="*/ 0 w 384"/>
                  <a:gd name="T59" fmla="*/ 0 h 284"/>
                  <a:gd name="T60" fmla="*/ 0 w 384"/>
                  <a:gd name="T61" fmla="*/ 0 h 284"/>
                  <a:gd name="T62" fmla="*/ 0 w 384"/>
                  <a:gd name="T63" fmla="*/ 0 h 284"/>
                  <a:gd name="T64" fmla="*/ 0 w 384"/>
                  <a:gd name="T65" fmla="*/ 0 h 284"/>
                  <a:gd name="T66" fmla="*/ 0 w 384"/>
                  <a:gd name="T67" fmla="*/ 0 h 284"/>
                  <a:gd name="T68" fmla="*/ 0 w 384"/>
                  <a:gd name="T69" fmla="*/ 0 h 284"/>
                  <a:gd name="T70" fmla="*/ 0 w 384"/>
                  <a:gd name="T71" fmla="*/ 0 h 284"/>
                  <a:gd name="T72" fmla="*/ 0 w 384"/>
                  <a:gd name="T73" fmla="*/ 0 h 284"/>
                  <a:gd name="T74" fmla="*/ 0 w 384"/>
                  <a:gd name="T75" fmla="*/ 0 h 284"/>
                  <a:gd name="T76" fmla="*/ 0 w 384"/>
                  <a:gd name="T77" fmla="*/ 0 h 284"/>
                  <a:gd name="T78" fmla="*/ 0 w 384"/>
                  <a:gd name="T79" fmla="*/ 0 h 284"/>
                  <a:gd name="T80" fmla="*/ 0 w 384"/>
                  <a:gd name="T81" fmla="*/ 0 h 284"/>
                  <a:gd name="T82" fmla="*/ 0 w 384"/>
                  <a:gd name="T83" fmla="*/ 0 h 284"/>
                  <a:gd name="T84" fmla="*/ 0 w 384"/>
                  <a:gd name="T85" fmla="*/ 0 h 284"/>
                  <a:gd name="T86" fmla="*/ 0 w 384"/>
                  <a:gd name="T87" fmla="*/ 0 h 284"/>
                  <a:gd name="T88" fmla="*/ 0 w 384"/>
                  <a:gd name="T89" fmla="*/ 0 h 284"/>
                  <a:gd name="T90" fmla="*/ 0 w 384"/>
                  <a:gd name="T91" fmla="*/ 0 h 284"/>
                  <a:gd name="T92" fmla="*/ 0 w 384"/>
                  <a:gd name="T93" fmla="*/ 0 h 284"/>
                  <a:gd name="T94" fmla="*/ 0 w 384"/>
                  <a:gd name="T95" fmla="*/ 0 h 284"/>
                  <a:gd name="T96" fmla="*/ 0 w 384"/>
                  <a:gd name="T97" fmla="*/ 0 h 284"/>
                  <a:gd name="T98" fmla="*/ 0 w 384"/>
                  <a:gd name="T99" fmla="*/ 0 h 284"/>
                  <a:gd name="T100" fmla="*/ 0 w 384"/>
                  <a:gd name="T101" fmla="*/ 0 h 284"/>
                  <a:gd name="T102" fmla="*/ 0 w 384"/>
                  <a:gd name="T103" fmla="*/ 0 h 284"/>
                  <a:gd name="T104" fmla="*/ 0 w 384"/>
                  <a:gd name="T105" fmla="*/ 0 h 284"/>
                  <a:gd name="T106" fmla="*/ 0 w 384"/>
                  <a:gd name="T107" fmla="*/ 0 h 284"/>
                  <a:gd name="T108" fmla="*/ 0 w 384"/>
                  <a:gd name="T109" fmla="*/ 0 h 284"/>
                  <a:gd name="T110" fmla="*/ 0 w 384"/>
                  <a:gd name="T111" fmla="*/ 0 h 284"/>
                  <a:gd name="T112" fmla="*/ 0 w 384"/>
                  <a:gd name="T113" fmla="*/ 0 h 284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84"/>
                  <a:gd name="T172" fmla="*/ 0 h 284"/>
                  <a:gd name="T173" fmla="*/ 384 w 384"/>
                  <a:gd name="T174" fmla="*/ 284 h 284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84" h="284">
                    <a:moveTo>
                      <a:pt x="0" y="19"/>
                    </a:moveTo>
                    <a:lnTo>
                      <a:pt x="1" y="32"/>
                    </a:lnTo>
                    <a:lnTo>
                      <a:pt x="5" y="58"/>
                    </a:lnTo>
                    <a:lnTo>
                      <a:pt x="9" y="87"/>
                    </a:lnTo>
                    <a:lnTo>
                      <a:pt x="13" y="116"/>
                    </a:lnTo>
                    <a:lnTo>
                      <a:pt x="18" y="146"/>
                    </a:lnTo>
                    <a:lnTo>
                      <a:pt x="23" y="177"/>
                    </a:lnTo>
                    <a:lnTo>
                      <a:pt x="29" y="208"/>
                    </a:lnTo>
                    <a:lnTo>
                      <a:pt x="34" y="239"/>
                    </a:lnTo>
                    <a:lnTo>
                      <a:pt x="40" y="270"/>
                    </a:lnTo>
                    <a:lnTo>
                      <a:pt x="43" y="284"/>
                    </a:lnTo>
                    <a:lnTo>
                      <a:pt x="384" y="263"/>
                    </a:lnTo>
                    <a:lnTo>
                      <a:pt x="381" y="250"/>
                    </a:lnTo>
                    <a:lnTo>
                      <a:pt x="374" y="219"/>
                    </a:lnTo>
                    <a:lnTo>
                      <a:pt x="367" y="189"/>
                    </a:lnTo>
                    <a:lnTo>
                      <a:pt x="361" y="158"/>
                    </a:lnTo>
                    <a:lnTo>
                      <a:pt x="354" y="128"/>
                    </a:lnTo>
                    <a:lnTo>
                      <a:pt x="349" y="99"/>
                    </a:lnTo>
                    <a:lnTo>
                      <a:pt x="344" y="69"/>
                    </a:lnTo>
                    <a:lnTo>
                      <a:pt x="339" y="41"/>
                    </a:lnTo>
                    <a:lnTo>
                      <a:pt x="334" y="13"/>
                    </a:lnTo>
                    <a:lnTo>
                      <a:pt x="332" y="0"/>
                    </a:lnTo>
                    <a:lnTo>
                      <a:pt x="12" y="19"/>
                    </a:lnTo>
                    <a:lnTo>
                      <a:pt x="0" y="19"/>
                    </a:lnTo>
                    <a:close/>
                    <a:moveTo>
                      <a:pt x="309" y="27"/>
                    </a:moveTo>
                    <a:lnTo>
                      <a:pt x="313" y="52"/>
                    </a:lnTo>
                    <a:lnTo>
                      <a:pt x="318" y="77"/>
                    </a:lnTo>
                    <a:lnTo>
                      <a:pt x="322" y="104"/>
                    </a:lnTo>
                    <a:lnTo>
                      <a:pt x="328" y="130"/>
                    </a:lnTo>
                    <a:lnTo>
                      <a:pt x="333" y="157"/>
                    </a:lnTo>
                    <a:lnTo>
                      <a:pt x="339" y="184"/>
                    </a:lnTo>
                    <a:lnTo>
                      <a:pt x="345" y="211"/>
                    </a:lnTo>
                    <a:lnTo>
                      <a:pt x="351" y="238"/>
                    </a:lnTo>
                    <a:lnTo>
                      <a:pt x="333" y="239"/>
                    </a:lnTo>
                    <a:lnTo>
                      <a:pt x="300" y="241"/>
                    </a:lnTo>
                    <a:lnTo>
                      <a:pt x="257" y="245"/>
                    </a:lnTo>
                    <a:lnTo>
                      <a:pt x="209" y="247"/>
                    </a:lnTo>
                    <a:lnTo>
                      <a:pt x="161" y="250"/>
                    </a:lnTo>
                    <a:lnTo>
                      <a:pt x="118" y="253"/>
                    </a:lnTo>
                    <a:lnTo>
                      <a:pt x="84" y="255"/>
                    </a:lnTo>
                    <a:lnTo>
                      <a:pt x="66" y="256"/>
                    </a:lnTo>
                    <a:lnTo>
                      <a:pt x="60" y="228"/>
                    </a:lnTo>
                    <a:lnTo>
                      <a:pt x="55" y="201"/>
                    </a:lnTo>
                    <a:lnTo>
                      <a:pt x="51" y="173"/>
                    </a:lnTo>
                    <a:lnTo>
                      <a:pt x="45" y="146"/>
                    </a:lnTo>
                    <a:lnTo>
                      <a:pt x="41" y="120"/>
                    </a:lnTo>
                    <a:lnTo>
                      <a:pt x="38" y="95"/>
                    </a:lnTo>
                    <a:lnTo>
                      <a:pt x="34" y="69"/>
                    </a:lnTo>
                    <a:lnTo>
                      <a:pt x="31" y="44"/>
                    </a:lnTo>
                    <a:lnTo>
                      <a:pt x="48" y="43"/>
                    </a:lnTo>
                    <a:lnTo>
                      <a:pt x="80" y="41"/>
                    </a:lnTo>
                    <a:lnTo>
                      <a:pt x="122" y="39"/>
                    </a:lnTo>
                    <a:lnTo>
                      <a:pt x="168" y="36"/>
                    </a:lnTo>
                    <a:lnTo>
                      <a:pt x="216" y="33"/>
                    </a:lnTo>
                    <a:lnTo>
                      <a:pt x="258" y="31"/>
                    </a:lnTo>
                    <a:lnTo>
                      <a:pt x="290" y="28"/>
                    </a:lnTo>
                    <a:lnTo>
                      <a:pt x="309" y="27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74" name="Freeform 48"/>
              <p:cNvSpPr>
                <a:spLocks noEditPoints="1"/>
              </p:cNvSpPr>
              <p:nvPr/>
            </p:nvSpPr>
            <p:spPr bwMode="auto">
              <a:xfrm>
                <a:off x="4042" y="1332"/>
                <a:ext cx="31" cy="23"/>
              </a:xfrm>
              <a:custGeom>
                <a:avLst/>
                <a:gdLst>
                  <a:gd name="T0" fmla="*/ 0 w 219"/>
                  <a:gd name="T1" fmla="*/ 0 h 164"/>
                  <a:gd name="T2" fmla="*/ 0 w 219"/>
                  <a:gd name="T3" fmla="*/ 0 h 164"/>
                  <a:gd name="T4" fmla="*/ 0 w 219"/>
                  <a:gd name="T5" fmla="*/ 0 h 164"/>
                  <a:gd name="T6" fmla="*/ 0 w 219"/>
                  <a:gd name="T7" fmla="*/ 0 h 164"/>
                  <a:gd name="T8" fmla="*/ 0 w 219"/>
                  <a:gd name="T9" fmla="*/ 0 h 164"/>
                  <a:gd name="T10" fmla="*/ 0 w 219"/>
                  <a:gd name="T11" fmla="*/ 0 h 164"/>
                  <a:gd name="T12" fmla="*/ 0 w 219"/>
                  <a:gd name="T13" fmla="*/ 0 h 164"/>
                  <a:gd name="T14" fmla="*/ 0 w 219"/>
                  <a:gd name="T15" fmla="*/ 0 h 164"/>
                  <a:gd name="T16" fmla="*/ 0 w 219"/>
                  <a:gd name="T17" fmla="*/ 0 h 164"/>
                  <a:gd name="T18" fmla="*/ 0 w 219"/>
                  <a:gd name="T19" fmla="*/ 0 h 164"/>
                  <a:gd name="T20" fmla="*/ 0 w 219"/>
                  <a:gd name="T21" fmla="*/ 0 h 164"/>
                  <a:gd name="T22" fmla="*/ 0 w 219"/>
                  <a:gd name="T23" fmla="*/ 0 h 164"/>
                  <a:gd name="T24" fmla="*/ 0 w 219"/>
                  <a:gd name="T25" fmla="*/ 0 h 164"/>
                  <a:gd name="T26" fmla="*/ 0 w 219"/>
                  <a:gd name="T27" fmla="*/ 0 h 164"/>
                  <a:gd name="T28" fmla="*/ 0 w 219"/>
                  <a:gd name="T29" fmla="*/ 0 h 164"/>
                  <a:gd name="T30" fmla="*/ 0 w 219"/>
                  <a:gd name="T31" fmla="*/ 0 h 164"/>
                  <a:gd name="T32" fmla="*/ 0 w 219"/>
                  <a:gd name="T33" fmla="*/ 0 h 164"/>
                  <a:gd name="T34" fmla="*/ 0 w 219"/>
                  <a:gd name="T35" fmla="*/ 0 h 164"/>
                  <a:gd name="T36" fmla="*/ 0 w 219"/>
                  <a:gd name="T37" fmla="*/ 0 h 164"/>
                  <a:gd name="T38" fmla="*/ 0 w 219"/>
                  <a:gd name="T39" fmla="*/ 0 h 164"/>
                  <a:gd name="T40" fmla="*/ 0 w 219"/>
                  <a:gd name="T41" fmla="*/ 0 h 164"/>
                  <a:gd name="T42" fmla="*/ 0 w 219"/>
                  <a:gd name="T43" fmla="*/ 0 h 164"/>
                  <a:gd name="T44" fmla="*/ 0 w 219"/>
                  <a:gd name="T45" fmla="*/ 0 h 164"/>
                  <a:gd name="T46" fmla="*/ 0 w 219"/>
                  <a:gd name="T47" fmla="*/ 0 h 16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219"/>
                  <a:gd name="T73" fmla="*/ 0 h 164"/>
                  <a:gd name="T74" fmla="*/ 219 w 219"/>
                  <a:gd name="T75" fmla="*/ 164 h 164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219" h="164">
                    <a:moveTo>
                      <a:pt x="0" y="12"/>
                    </a:moveTo>
                    <a:lnTo>
                      <a:pt x="24" y="164"/>
                    </a:lnTo>
                    <a:lnTo>
                      <a:pt x="205" y="154"/>
                    </a:lnTo>
                    <a:lnTo>
                      <a:pt x="219" y="152"/>
                    </a:lnTo>
                    <a:lnTo>
                      <a:pt x="188" y="0"/>
                    </a:lnTo>
                    <a:lnTo>
                      <a:pt x="12" y="12"/>
                    </a:lnTo>
                    <a:lnTo>
                      <a:pt x="0" y="12"/>
                    </a:lnTo>
                    <a:close/>
                    <a:moveTo>
                      <a:pt x="166" y="28"/>
                    </a:moveTo>
                    <a:lnTo>
                      <a:pt x="170" y="50"/>
                    </a:lnTo>
                    <a:lnTo>
                      <a:pt x="176" y="79"/>
                    </a:lnTo>
                    <a:lnTo>
                      <a:pt x="181" y="107"/>
                    </a:lnTo>
                    <a:lnTo>
                      <a:pt x="186" y="128"/>
                    </a:lnTo>
                    <a:lnTo>
                      <a:pt x="159" y="130"/>
                    </a:lnTo>
                    <a:lnTo>
                      <a:pt x="117" y="132"/>
                    </a:lnTo>
                    <a:lnTo>
                      <a:pt x="76" y="135"/>
                    </a:lnTo>
                    <a:lnTo>
                      <a:pt x="47" y="136"/>
                    </a:lnTo>
                    <a:lnTo>
                      <a:pt x="44" y="115"/>
                    </a:lnTo>
                    <a:lnTo>
                      <a:pt x="39" y="85"/>
                    </a:lnTo>
                    <a:lnTo>
                      <a:pt x="35" y="56"/>
                    </a:lnTo>
                    <a:lnTo>
                      <a:pt x="31" y="37"/>
                    </a:lnTo>
                    <a:lnTo>
                      <a:pt x="57" y="36"/>
                    </a:lnTo>
                    <a:lnTo>
                      <a:pt x="98" y="33"/>
                    </a:lnTo>
                    <a:lnTo>
                      <a:pt x="138" y="30"/>
                    </a:lnTo>
                    <a:lnTo>
                      <a:pt x="166" y="28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75" name="Freeform 49"/>
              <p:cNvSpPr>
                <a:spLocks/>
              </p:cNvSpPr>
              <p:nvPr/>
            </p:nvSpPr>
            <p:spPr bwMode="auto">
              <a:xfrm>
                <a:off x="4051" y="1339"/>
                <a:ext cx="12" cy="9"/>
              </a:xfrm>
              <a:custGeom>
                <a:avLst/>
                <a:gdLst>
                  <a:gd name="T0" fmla="*/ 0 w 89"/>
                  <a:gd name="T1" fmla="*/ 0 h 65"/>
                  <a:gd name="T2" fmla="*/ 0 w 89"/>
                  <a:gd name="T3" fmla="*/ 0 h 65"/>
                  <a:gd name="T4" fmla="*/ 0 w 89"/>
                  <a:gd name="T5" fmla="*/ 0 h 65"/>
                  <a:gd name="T6" fmla="*/ 0 w 89"/>
                  <a:gd name="T7" fmla="*/ 0 h 65"/>
                  <a:gd name="T8" fmla="*/ 0 w 89"/>
                  <a:gd name="T9" fmla="*/ 0 h 65"/>
                  <a:gd name="T10" fmla="*/ 0 w 89"/>
                  <a:gd name="T11" fmla="*/ 0 h 65"/>
                  <a:gd name="T12" fmla="*/ 0 w 89"/>
                  <a:gd name="T13" fmla="*/ 0 h 65"/>
                  <a:gd name="T14" fmla="*/ 0 w 89"/>
                  <a:gd name="T15" fmla="*/ 0 h 65"/>
                  <a:gd name="T16" fmla="*/ 0 w 89"/>
                  <a:gd name="T17" fmla="*/ 0 h 65"/>
                  <a:gd name="T18" fmla="*/ 0 w 89"/>
                  <a:gd name="T19" fmla="*/ 0 h 65"/>
                  <a:gd name="T20" fmla="*/ 0 w 89"/>
                  <a:gd name="T21" fmla="*/ 0 h 6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89"/>
                  <a:gd name="T34" fmla="*/ 0 h 65"/>
                  <a:gd name="T35" fmla="*/ 89 w 89"/>
                  <a:gd name="T36" fmla="*/ 65 h 6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89" h="65">
                    <a:moveTo>
                      <a:pt x="77" y="0"/>
                    </a:moveTo>
                    <a:lnTo>
                      <a:pt x="79" y="16"/>
                    </a:lnTo>
                    <a:lnTo>
                      <a:pt x="82" y="30"/>
                    </a:lnTo>
                    <a:lnTo>
                      <a:pt x="85" y="46"/>
                    </a:lnTo>
                    <a:lnTo>
                      <a:pt x="89" y="60"/>
                    </a:lnTo>
                    <a:lnTo>
                      <a:pt x="10" y="65"/>
                    </a:lnTo>
                    <a:lnTo>
                      <a:pt x="7" y="50"/>
                    </a:lnTo>
                    <a:lnTo>
                      <a:pt x="5" y="35"/>
                    </a:lnTo>
                    <a:lnTo>
                      <a:pt x="2" y="20"/>
                    </a:lnTo>
                    <a:lnTo>
                      <a:pt x="0" y="5"/>
                    </a:lnTo>
                    <a:lnTo>
                      <a:pt x="77" y="0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76" name="Freeform 50"/>
              <p:cNvSpPr>
                <a:spLocks noEditPoints="1"/>
              </p:cNvSpPr>
              <p:nvPr/>
            </p:nvSpPr>
            <p:spPr bwMode="auto">
              <a:xfrm>
                <a:off x="4020" y="1315"/>
                <a:ext cx="76" cy="56"/>
              </a:xfrm>
              <a:custGeom>
                <a:avLst/>
                <a:gdLst>
                  <a:gd name="T0" fmla="*/ 0 w 533"/>
                  <a:gd name="T1" fmla="*/ 0 h 391"/>
                  <a:gd name="T2" fmla="*/ 0 w 533"/>
                  <a:gd name="T3" fmla="*/ 0 h 391"/>
                  <a:gd name="T4" fmla="*/ 0 w 533"/>
                  <a:gd name="T5" fmla="*/ 0 h 391"/>
                  <a:gd name="T6" fmla="*/ 0 w 533"/>
                  <a:gd name="T7" fmla="*/ 0 h 391"/>
                  <a:gd name="T8" fmla="*/ 0 w 533"/>
                  <a:gd name="T9" fmla="*/ 0 h 391"/>
                  <a:gd name="T10" fmla="*/ 0 w 533"/>
                  <a:gd name="T11" fmla="*/ 0 h 391"/>
                  <a:gd name="T12" fmla="*/ 0 w 533"/>
                  <a:gd name="T13" fmla="*/ 0 h 391"/>
                  <a:gd name="T14" fmla="*/ 0 w 533"/>
                  <a:gd name="T15" fmla="*/ 0 h 391"/>
                  <a:gd name="T16" fmla="*/ 0 w 533"/>
                  <a:gd name="T17" fmla="*/ 0 h 391"/>
                  <a:gd name="T18" fmla="*/ 0 w 533"/>
                  <a:gd name="T19" fmla="*/ 0 h 391"/>
                  <a:gd name="T20" fmla="*/ 0 w 533"/>
                  <a:gd name="T21" fmla="*/ 0 h 391"/>
                  <a:gd name="T22" fmla="*/ 0 w 533"/>
                  <a:gd name="T23" fmla="*/ 0 h 391"/>
                  <a:gd name="T24" fmla="*/ 0 w 533"/>
                  <a:gd name="T25" fmla="*/ 0 h 391"/>
                  <a:gd name="T26" fmla="*/ 0 w 533"/>
                  <a:gd name="T27" fmla="*/ 0 h 391"/>
                  <a:gd name="T28" fmla="*/ 0 w 533"/>
                  <a:gd name="T29" fmla="*/ 0 h 391"/>
                  <a:gd name="T30" fmla="*/ 0 w 533"/>
                  <a:gd name="T31" fmla="*/ 0 h 391"/>
                  <a:gd name="T32" fmla="*/ 0 w 533"/>
                  <a:gd name="T33" fmla="*/ 0 h 391"/>
                  <a:gd name="T34" fmla="*/ 0 w 533"/>
                  <a:gd name="T35" fmla="*/ 0 h 391"/>
                  <a:gd name="T36" fmla="*/ 0 w 533"/>
                  <a:gd name="T37" fmla="*/ 0 h 391"/>
                  <a:gd name="T38" fmla="*/ 0 w 533"/>
                  <a:gd name="T39" fmla="*/ 0 h 391"/>
                  <a:gd name="T40" fmla="*/ 0 w 533"/>
                  <a:gd name="T41" fmla="*/ 0 h 391"/>
                  <a:gd name="T42" fmla="*/ 0 w 533"/>
                  <a:gd name="T43" fmla="*/ 0 h 391"/>
                  <a:gd name="T44" fmla="*/ 0 w 533"/>
                  <a:gd name="T45" fmla="*/ 0 h 391"/>
                  <a:gd name="T46" fmla="*/ 0 w 533"/>
                  <a:gd name="T47" fmla="*/ 0 h 391"/>
                  <a:gd name="T48" fmla="*/ 0 w 533"/>
                  <a:gd name="T49" fmla="*/ 0 h 391"/>
                  <a:gd name="T50" fmla="*/ 0 w 533"/>
                  <a:gd name="T51" fmla="*/ 0 h 391"/>
                  <a:gd name="T52" fmla="*/ 0 w 533"/>
                  <a:gd name="T53" fmla="*/ 0 h 391"/>
                  <a:gd name="T54" fmla="*/ 0 w 533"/>
                  <a:gd name="T55" fmla="*/ 0 h 391"/>
                  <a:gd name="T56" fmla="*/ 0 w 533"/>
                  <a:gd name="T57" fmla="*/ 0 h 391"/>
                  <a:gd name="T58" fmla="*/ 0 w 533"/>
                  <a:gd name="T59" fmla="*/ 0 h 391"/>
                  <a:gd name="T60" fmla="*/ 0 w 533"/>
                  <a:gd name="T61" fmla="*/ 0 h 391"/>
                  <a:gd name="T62" fmla="*/ 0 w 533"/>
                  <a:gd name="T63" fmla="*/ 0 h 391"/>
                  <a:gd name="T64" fmla="*/ 0 w 533"/>
                  <a:gd name="T65" fmla="*/ 0 h 391"/>
                  <a:gd name="T66" fmla="*/ 0 w 533"/>
                  <a:gd name="T67" fmla="*/ 0 h 391"/>
                  <a:gd name="T68" fmla="*/ 0 w 533"/>
                  <a:gd name="T69" fmla="*/ 0 h 391"/>
                  <a:gd name="T70" fmla="*/ 0 w 533"/>
                  <a:gd name="T71" fmla="*/ 0 h 391"/>
                  <a:gd name="T72" fmla="*/ 0 w 533"/>
                  <a:gd name="T73" fmla="*/ 0 h 391"/>
                  <a:gd name="T74" fmla="*/ 0 w 533"/>
                  <a:gd name="T75" fmla="*/ 0 h 391"/>
                  <a:gd name="T76" fmla="*/ 0 w 533"/>
                  <a:gd name="T77" fmla="*/ 0 h 391"/>
                  <a:gd name="T78" fmla="*/ 0 w 533"/>
                  <a:gd name="T79" fmla="*/ 0 h 391"/>
                  <a:gd name="T80" fmla="*/ 0 w 533"/>
                  <a:gd name="T81" fmla="*/ 0 h 391"/>
                  <a:gd name="T82" fmla="*/ 0 w 533"/>
                  <a:gd name="T83" fmla="*/ 0 h 391"/>
                  <a:gd name="T84" fmla="*/ 0 w 533"/>
                  <a:gd name="T85" fmla="*/ 0 h 391"/>
                  <a:gd name="T86" fmla="*/ 0 w 533"/>
                  <a:gd name="T87" fmla="*/ 0 h 391"/>
                  <a:gd name="T88" fmla="*/ 0 w 533"/>
                  <a:gd name="T89" fmla="*/ 0 h 391"/>
                  <a:gd name="T90" fmla="*/ 0 w 533"/>
                  <a:gd name="T91" fmla="*/ 0 h 391"/>
                  <a:gd name="T92" fmla="*/ 0 w 533"/>
                  <a:gd name="T93" fmla="*/ 0 h 391"/>
                  <a:gd name="T94" fmla="*/ 0 w 533"/>
                  <a:gd name="T95" fmla="*/ 0 h 391"/>
                  <a:gd name="T96" fmla="*/ 0 w 533"/>
                  <a:gd name="T97" fmla="*/ 0 h 391"/>
                  <a:gd name="T98" fmla="*/ 0 w 533"/>
                  <a:gd name="T99" fmla="*/ 0 h 391"/>
                  <a:gd name="T100" fmla="*/ 0 w 533"/>
                  <a:gd name="T101" fmla="*/ 0 h 391"/>
                  <a:gd name="T102" fmla="*/ 0 w 533"/>
                  <a:gd name="T103" fmla="*/ 0 h 391"/>
                  <a:gd name="T104" fmla="*/ 0 w 533"/>
                  <a:gd name="T105" fmla="*/ 0 h 391"/>
                  <a:gd name="T106" fmla="*/ 0 w 533"/>
                  <a:gd name="T107" fmla="*/ 0 h 391"/>
                  <a:gd name="T108" fmla="*/ 0 w 533"/>
                  <a:gd name="T109" fmla="*/ 0 h 391"/>
                  <a:gd name="T110" fmla="*/ 0 w 533"/>
                  <a:gd name="T111" fmla="*/ 0 h 391"/>
                  <a:gd name="T112" fmla="*/ 0 w 533"/>
                  <a:gd name="T113" fmla="*/ 0 h 391"/>
                  <a:gd name="T114" fmla="*/ 0 w 533"/>
                  <a:gd name="T115" fmla="*/ 0 h 391"/>
                  <a:gd name="T116" fmla="*/ 0 w 533"/>
                  <a:gd name="T117" fmla="*/ 0 h 391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533"/>
                  <a:gd name="T178" fmla="*/ 0 h 391"/>
                  <a:gd name="T179" fmla="*/ 533 w 533"/>
                  <a:gd name="T180" fmla="*/ 391 h 391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533" h="391">
                    <a:moveTo>
                      <a:pt x="0" y="28"/>
                    </a:moveTo>
                    <a:lnTo>
                      <a:pt x="2" y="39"/>
                    </a:lnTo>
                    <a:lnTo>
                      <a:pt x="8" y="86"/>
                    </a:lnTo>
                    <a:lnTo>
                      <a:pt x="14" y="131"/>
                    </a:lnTo>
                    <a:lnTo>
                      <a:pt x="20" y="174"/>
                    </a:lnTo>
                    <a:lnTo>
                      <a:pt x="28" y="216"/>
                    </a:lnTo>
                    <a:lnTo>
                      <a:pt x="34" y="257"/>
                    </a:lnTo>
                    <a:lnTo>
                      <a:pt x="41" y="298"/>
                    </a:lnTo>
                    <a:lnTo>
                      <a:pt x="49" y="338"/>
                    </a:lnTo>
                    <a:lnTo>
                      <a:pt x="58" y="377"/>
                    </a:lnTo>
                    <a:lnTo>
                      <a:pt x="61" y="391"/>
                    </a:lnTo>
                    <a:lnTo>
                      <a:pt x="533" y="363"/>
                    </a:lnTo>
                    <a:lnTo>
                      <a:pt x="529" y="349"/>
                    </a:lnTo>
                    <a:lnTo>
                      <a:pt x="518" y="306"/>
                    </a:lnTo>
                    <a:lnTo>
                      <a:pt x="509" y="262"/>
                    </a:lnTo>
                    <a:lnTo>
                      <a:pt x="500" y="219"/>
                    </a:lnTo>
                    <a:lnTo>
                      <a:pt x="491" y="177"/>
                    </a:lnTo>
                    <a:lnTo>
                      <a:pt x="483" y="134"/>
                    </a:lnTo>
                    <a:lnTo>
                      <a:pt x="475" y="93"/>
                    </a:lnTo>
                    <a:lnTo>
                      <a:pt x="468" y="52"/>
                    </a:lnTo>
                    <a:lnTo>
                      <a:pt x="462" y="14"/>
                    </a:lnTo>
                    <a:lnTo>
                      <a:pt x="460" y="0"/>
                    </a:lnTo>
                    <a:lnTo>
                      <a:pt x="12" y="27"/>
                    </a:lnTo>
                    <a:lnTo>
                      <a:pt x="0" y="28"/>
                    </a:lnTo>
                    <a:close/>
                    <a:moveTo>
                      <a:pt x="437" y="28"/>
                    </a:moveTo>
                    <a:lnTo>
                      <a:pt x="443" y="64"/>
                    </a:lnTo>
                    <a:lnTo>
                      <a:pt x="449" y="100"/>
                    </a:lnTo>
                    <a:lnTo>
                      <a:pt x="456" y="137"/>
                    </a:lnTo>
                    <a:lnTo>
                      <a:pt x="464" y="176"/>
                    </a:lnTo>
                    <a:lnTo>
                      <a:pt x="471" y="215"/>
                    </a:lnTo>
                    <a:lnTo>
                      <a:pt x="479" y="254"/>
                    </a:lnTo>
                    <a:lnTo>
                      <a:pt x="488" y="293"/>
                    </a:lnTo>
                    <a:lnTo>
                      <a:pt x="498" y="333"/>
                    </a:lnTo>
                    <a:lnTo>
                      <a:pt x="498" y="336"/>
                    </a:lnTo>
                    <a:lnTo>
                      <a:pt x="499" y="338"/>
                    </a:lnTo>
                    <a:lnTo>
                      <a:pt x="475" y="340"/>
                    </a:lnTo>
                    <a:lnTo>
                      <a:pt x="426" y="342"/>
                    </a:lnTo>
                    <a:lnTo>
                      <a:pt x="362" y="346"/>
                    </a:lnTo>
                    <a:lnTo>
                      <a:pt x="291" y="350"/>
                    </a:lnTo>
                    <a:lnTo>
                      <a:pt x="219" y="355"/>
                    </a:lnTo>
                    <a:lnTo>
                      <a:pt x="155" y="359"/>
                    </a:lnTo>
                    <a:lnTo>
                      <a:pt x="106" y="362"/>
                    </a:lnTo>
                    <a:lnTo>
                      <a:pt x="82" y="363"/>
                    </a:lnTo>
                    <a:lnTo>
                      <a:pt x="74" y="326"/>
                    </a:lnTo>
                    <a:lnTo>
                      <a:pt x="68" y="290"/>
                    </a:lnTo>
                    <a:lnTo>
                      <a:pt x="61" y="252"/>
                    </a:lnTo>
                    <a:lnTo>
                      <a:pt x="54" y="215"/>
                    </a:lnTo>
                    <a:lnTo>
                      <a:pt x="48" y="176"/>
                    </a:lnTo>
                    <a:lnTo>
                      <a:pt x="42" y="136"/>
                    </a:lnTo>
                    <a:lnTo>
                      <a:pt x="37" y="95"/>
                    </a:lnTo>
                    <a:lnTo>
                      <a:pt x="31" y="52"/>
                    </a:lnTo>
                    <a:lnTo>
                      <a:pt x="53" y="51"/>
                    </a:lnTo>
                    <a:lnTo>
                      <a:pt x="100" y="48"/>
                    </a:lnTo>
                    <a:lnTo>
                      <a:pt x="162" y="44"/>
                    </a:lnTo>
                    <a:lnTo>
                      <a:pt x="232" y="40"/>
                    </a:lnTo>
                    <a:lnTo>
                      <a:pt x="302" y="36"/>
                    </a:lnTo>
                    <a:lnTo>
                      <a:pt x="365" y="32"/>
                    </a:lnTo>
                    <a:lnTo>
                      <a:pt x="412" y="30"/>
                    </a:lnTo>
                    <a:lnTo>
                      <a:pt x="437" y="28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77" name="Freeform 51"/>
              <p:cNvSpPr>
                <a:spLocks/>
              </p:cNvSpPr>
              <p:nvPr/>
            </p:nvSpPr>
            <p:spPr bwMode="auto">
              <a:xfrm>
                <a:off x="4023" y="1251"/>
                <a:ext cx="39" cy="33"/>
              </a:xfrm>
              <a:custGeom>
                <a:avLst/>
                <a:gdLst>
                  <a:gd name="T0" fmla="*/ 0 w 270"/>
                  <a:gd name="T1" fmla="*/ 0 h 232"/>
                  <a:gd name="T2" fmla="*/ 0 w 270"/>
                  <a:gd name="T3" fmla="*/ 0 h 232"/>
                  <a:gd name="T4" fmla="*/ 0 w 270"/>
                  <a:gd name="T5" fmla="*/ 0 h 232"/>
                  <a:gd name="T6" fmla="*/ 0 w 270"/>
                  <a:gd name="T7" fmla="*/ 0 h 232"/>
                  <a:gd name="T8" fmla="*/ 0 w 270"/>
                  <a:gd name="T9" fmla="*/ 0 h 23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70"/>
                  <a:gd name="T16" fmla="*/ 0 h 232"/>
                  <a:gd name="T17" fmla="*/ 270 w 270"/>
                  <a:gd name="T18" fmla="*/ 232 h 23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70" h="232">
                    <a:moveTo>
                      <a:pt x="136" y="232"/>
                    </a:moveTo>
                    <a:lnTo>
                      <a:pt x="270" y="116"/>
                    </a:lnTo>
                    <a:lnTo>
                      <a:pt x="136" y="0"/>
                    </a:lnTo>
                    <a:lnTo>
                      <a:pt x="0" y="116"/>
                    </a:lnTo>
                    <a:lnTo>
                      <a:pt x="136" y="232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78" name="Freeform 52"/>
              <p:cNvSpPr>
                <a:spLocks/>
              </p:cNvSpPr>
              <p:nvPr/>
            </p:nvSpPr>
            <p:spPr bwMode="auto">
              <a:xfrm>
                <a:off x="4030" y="1213"/>
                <a:ext cx="25" cy="22"/>
              </a:xfrm>
              <a:custGeom>
                <a:avLst/>
                <a:gdLst>
                  <a:gd name="T0" fmla="*/ 0 w 173"/>
                  <a:gd name="T1" fmla="*/ 0 h 148"/>
                  <a:gd name="T2" fmla="*/ 0 w 173"/>
                  <a:gd name="T3" fmla="*/ 0 h 148"/>
                  <a:gd name="T4" fmla="*/ 0 w 173"/>
                  <a:gd name="T5" fmla="*/ 0 h 148"/>
                  <a:gd name="T6" fmla="*/ 0 w 173"/>
                  <a:gd name="T7" fmla="*/ 0 h 148"/>
                  <a:gd name="T8" fmla="*/ 0 w 173"/>
                  <a:gd name="T9" fmla="*/ 0 h 1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3"/>
                  <a:gd name="T16" fmla="*/ 0 h 148"/>
                  <a:gd name="T17" fmla="*/ 173 w 173"/>
                  <a:gd name="T18" fmla="*/ 148 h 1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3" h="148">
                    <a:moveTo>
                      <a:pt x="87" y="148"/>
                    </a:moveTo>
                    <a:lnTo>
                      <a:pt x="173" y="74"/>
                    </a:lnTo>
                    <a:lnTo>
                      <a:pt x="87" y="0"/>
                    </a:lnTo>
                    <a:lnTo>
                      <a:pt x="0" y="74"/>
                    </a:lnTo>
                    <a:lnTo>
                      <a:pt x="87" y="148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79" name="Freeform 53"/>
              <p:cNvSpPr>
                <a:spLocks/>
              </p:cNvSpPr>
              <p:nvPr/>
            </p:nvSpPr>
            <p:spPr bwMode="auto">
              <a:xfrm>
                <a:off x="4033" y="1178"/>
                <a:ext cx="19" cy="16"/>
              </a:xfrm>
              <a:custGeom>
                <a:avLst/>
                <a:gdLst>
                  <a:gd name="T0" fmla="*/ 0 w 127"/>
                  <a:gd name="T1" fmla="*/ 0 h 110"/>
                  <a:gd name="T2" fmla="*/ 0 w 127"/>
                  <a:gd name="T3" fmla="*/ 0 h 110"/>
                  <a:gd name="T4" fmla="*/ 0 w 127"/>
                  <a:gd name="T5" fmla="*/ 0 h 110"/>
                  <a:gd name="T6" fmla="*/ 0 w 127"/>
                  <a:gd name="T7" fmla="*/ 0 h 110"/>
                  <a:gd name="T8" fmla="*/ 0 w 127"/>
                  <a:gd name="T9" fmla="*/ 0 h 1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27"/>
                  <a:gd name="T16" fmla="*/ 0 h 110"/>
                  <a:gd name="T17" fmla="*/ 127 w 127"/>
                  <a:gd name="T18" fmla="*/ 110 h 1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27" h="110">
                    <a:moveTo>
                      <a:pt x="64" y="110"/>
                    </a:moveTo>
                    <a:lnTo>
                      <a:pt x="127" y="55"/>
                    </a:lnTo>
                    <a:lnTo>
                      <a:pt x="64" y="0"/>
                    </a:lnTo>
                    <a:lnTo>
                      <a:pt x="0" y="55"/>
                    </a:lnTo>
                    <a:lnTo>
                      <a:pt x="64" y="110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80" name="Freeform 54"/>
              <p:cNvSpPr>
                <a:spLocks/>
              </p:cNvSpPr>
              <p:nvPr/>
            </p:nvSpPr>
            <p:spPr bwMode="auto">
              <a:xfrm>
                <a:off x="4038" y="1149"/>
                <a:ext cx="9" cy="8"/>
              </a:xfrm>
              <a:custGeom>
                <a:avLst/>
                <a:gdLst>
                  <a:gd name="T0" fmla="*/ 0 w 67"/>
                  <a:gd name="T1" fmla="*/ 0 h 57"/>
                  <a:gd name="T2" fmla="*/ 0 w 67"/>
                  <a:gd name="T3" fmla="*/ 0 h 57"/>
                  <a:gd name="T4" fmla="*/ 0 w 67"/>
                  <a:gd name="T5" fmla="*/ 0 h 57"/>
                  <a:gd name="T6" fmla="*/ 0 w 67"/>
                  <a:gd name="T7" fmla="*/ 0 h 57"/>
                  <a:gd name="T8" fmla="*/ 0 w 67"/>
                  <a:gd name="T9" fmla="*/ 0 h 5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7"/>
                  <a:gd name="T16" fmla="*/ 0 h 57"/>
                  <a:gd name="T17" fmla="*/ 67 w 67"/>
                  <a:gd name="T18" fmla="*/ 57 h 5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7" h="57">
                    <a:moveTo>
                      <a:pt x="34" y="57"/>
                    </a:moveTo>
                    <a:lnTo>
                      <a:pt x="67" y="29"/>
                    </a:lnTo>
                    <a:lnTo>
                      <a:pt x="34" y="0"/>
                    </a:lnTo>
                    <a:lnTo>
                      <a:pt x="0" y="29"/>
                    </a:lnTo>
                    <a:lnTo>
                      <a:pt x="34" y="57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81" name="Freeform 55"/>
              <p:cNvSpPr>
                <a:spLocks/>
              </p:cNvSpPr>
              <p:nvPr/>
            </p:nvSpPr>
            <p:spPr bwMode="auto">
              <a:xfrm>
                <a:off x="3804" y="960"/>
                <a:ext cx="42" cy="26"/>
              </a:xfrm>
              <a:custGeom>
                <a:avLst/>
                <a:gdLst>
                  <a:gd name="T0" fmla="*/ 0 w 295"/>
                  <a:gd name="T1" fmla="*/ 0 h 181"/>
                  <a:gd name="T2" fmla="*/ 0 w 295"/>
                  <a:gd name="T3" fmla="*/ 0 h 181"/>
                  <a:gd name="T4" fmla="*/ 0 w 295"/>
                  <a:gd name="T5" fmla="*/ 0 h 181"/>
                  <a:gd name="T6" fmla="*/ 0 w 295"/>
                  <a:gd name="T7" fmla="*/ 0 h 181"/>
                  <a:gd name="T8" fmla="*/ 0 w 295"/>
                  <a:gd name="T9" fmla="*/ 0 h 181"/>
                  <a:gd name="T10" fmla="*/ 0 w 295"/>
                  <a:gd name="T11" fmla="*/ 0 h 181"/>
                  <a:gd name="T12" fmla="*/ 0 w 295"/>
                  <a:gd name="T13" fmla="*/ 0 h 181"/>
                  <a:gd name="T14" fmla="*/ 0 w 295"/>
                  <a:gd name="T15" fmla="*/ 0 h 181"/>
                  <a:gd name="T16" fmla="*/ 0 w 295"/>
                  <a:gd name="T17" fmla="*/ 0 h 181"/>
                  <a:gd name="T18" fmla="*/ 0 w 295"/>
                  <a:gd name="T19" fmla="*/ 0 h 181"/>
                  <a:gd name="T20" fmla="*/ 0 w 295"/>
                  <a:gd name="T21" fmla="*/ 0 h 181"/>
                  <a:gd name="T22" fmla="*/ 0 w 295"/>
                  <a:gd name="T23" fmla="*/ 0 h 181"/>
                  <a:gd name="T24" fmla="*/ 0 w 295"/>
                  <a:gd name="T25" fmla="*/ 0 h 181"/>
                  <a:gd name="T26" fmla="*/ 0 w 295"/>
                  <a:gd name="T27" fmla="*/ 0 h 181"/>
                  <a:gd name="T28" fmla="*/ 0 w 295"/>
                  <a:gd name="T29" fmla="*/ 0 h 181"/>
                  <a:gd name="T30" fmla="*/ 0 w 295"/>
                  <a:gd name="T31" fmla="*/ 0 h 181"/>
                  <a:gd name="T32" fmla="*/ 0 w 295"/>
                  <a:gd name="T33" fmla="*/ 0 h 181"/>
                  <a:gd name="T34" fmla="*/ 0 w 295"/>
                  <a:gd name="T35" fmla="*/ 0 h 181"/>
                  <a:gd name="T36" fmla="*/ 0 w 295"/>
                  <a:gd name="T37" fmla="*/ 0 h 181"/>
                  <a:gd name="T38" fmla="*/ 0 w 295"/>
                  <a:gd name="T39" fmla="*/ 0 h 181"/>
                  <a:gd name="T40" fmla="*/ 0 w 295"/>
                  <a:gd name="T41" fmla="*/ 0 h 181"/>
                  <a:gd name="T42" fmla="*/ 0 w 295"/>
                  <a:gd name="T43" fmla="*/ 0 h 181"/>
                  <a:gd name="T44" fmla="*/ 0 w 295"/>
                  <a:gd name="T45" fmla="*/ 0 h 181"/>
                  <a:gd name="T46" fmla="*/ 0 w 295"/>
                  <a:gd name="T47" fmla="*/ 0 h 181"/>
                  <a:gd name="T48" fmla="*/ 0 w 295"/>
                  <a:gd name="T49" fmla="*/ 0 h 181"/>
                  <a:gd name="T50" fmla="*/ 0 w 295"/>
                  <a:gd name="T51" fmla="*/ 0 h 181"/>
                  <a:gd name="T52" fmla="*/ 0 w 295"/>
                  <a:gd name="T53" fmla="*/ 0 h 181"/>
                  <a:gd name="T54" fmla="*/ 0 w 295"/>
                  <a:gd name="T55" fmla="*/ 0 h 181"/>
                  <a:gd name="T56" fmla="*/ 0 w 295"/>
                  <a:gd name="T57" fmla="*/ 0 h 181"/>
                  <a:gd name="T58" fmla="*/ 0 w 295"/>
                  <a:gd name="T59" fmla="*/ 0 h 181"/>
                  <a:gd name="T60" fmla="*/ 0 w 295"/>
                  <a:gd name="T61" fmla="*/ 0 h 181"/>
                  <a:gd name="T62" fmla="*/ 0 w 295"/>
                  <a:gd name="T63" fmla="*/ 0 h 181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95"/>
                  <a:gd name="T97" fmla="*/ 0 h 181"/>
                  <a:gd name="T98" fmla="*/ 295 w 295"/>
                  <a:gd name="T99" fmla="*/ 181 h 181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95" h="181">
                    <a:moveTo>
                      <a:pt x="0" y="95"/>
                    </a:moveTo>
                    <a:lnTo>
                      <a:pt x="1" y="104"/>
                    </a:lnTo>
                    <a:lnTo>
                      <a:pt x="4" y="114"/>
                    </a:lnTo>
                    <a:lnTo>
                      <a:pt x="7" y="122"/>
                    </a:lnTo>
                    <a:lnTo>
                      <a:pt x="12" y="130"/>
                    </a:lnTo>
                    <a:lnTo>
                      <a:pt x="19" y="138"/>
                    </a:lnTo>
                    <a:lnTo>
                      <a:pt x="27" y="145"/>
                    </a:lnTo>
                    <a:lnTo>
                      <a:pt x="36" y="152"/>
                    </a:lnTo>
                    <a:lnTo>
                      <a:pt x="45" y="158"/>
                    </a:lnTo>
                    <a:lnTo>
                      <a:pt x="56" y="163"/>
                    </a:lnTo>
                    <a:lnTo>
                      <a:pt x="67" y="168"/>
                    </a:lnTo>
                    <a:lnTo>
                      <a:pt x="79" y="173"/>
                    </a:lnTo>
                    <a:lnTo>
                      <a:pt x="93" y="176"/>
                    </a:lnTo>
                    <a:lnTo>
                      <a:pt x="106" y="178"/>
                    </a:lnTo>
                    <a:lnTo>
                      <a:pt x="121" y="180"/>
                    </a:lnTo>
                    <a:lnTo>
                      <a:pt x="135" y="181"/>
                    </a:lnTo>
                    <a:lnTo>
                      <a:pt x="151" y="181"/>
                    </a:lnTo>
                    <a:lnTo>
                      <a:pt x="166" y="180"/>
                    </a:lnTo>
                    <a:lnTo>
                      <a:pt x="181" y="178"/>
                    </a:lnTo>
                    <a:lnTo>
                      <a:pt x="194" y="176"/>
                    </a:lnTo>
                    <a:lnTo>
                      <a:pt x="209" y="172"/>
                    </a:lnTo>
                    <a:lnTo>
                      <a:pt x="221" y="167"/>
                    </a:lnTo>
                    <a:lnTo>
                      <a:pt x="232" y="162"/>
                    </a:lnTo>
                    <a:lnTo>
                      <a:pt x="244" y="157"/>
                    </a:lnTo>
                    <a:lnTo>
                      <a:pt x="254" y="151"/>
                    </a:lnTo>
                    <a:lnTo>
                      <a:pt x="263" y="144"/>
                    </a:lnTo>
                    <a:lnTo>
                      <a:pt x="272" y="136"/>
                    </a:lnTo>
                    <a:lnTo>
                      <a:pt x="279" y="129"/>
                    </a:lnTo>
                    <a:lnTo>
                      <a:pt x="285" y="121"/>
                    </a:lnTo>
                    <a:lnTo>
                      <a:pt x="290" y="113"/>
                    </a:lnTo>
                    <a:lnTo>
                      <a:pt x="293" y="103"/>
                    </a:lnTo>
                    <a:lnTo>
                      <a:pt x="295" y="95"/>
                    </a:lnTo>
                    <a:lnTo>
                      <a:pt x="295" y="86"/>
                    </a:lnTo>
                    <a:lnTo>
                      <a:pt x="294" y="76"/>
                    </a:lnTo>
                    <a:lnTo>
                      <a:pt x="292" y="67"/>
                    </a:lnTo>
                    <a:lnTo>
                      <a:pt x="288" y="59"/>
                    </a:lnTo>
                    <a:lnTo>
                      <a:pt x="283" y="51"/>
                    </a:lnTo>
                    <a:lnTo>
                      <a:pt x="276" y="43"/>
                    </a:lnTo>
                    <a:lnTo>
                      <a:pt x="268" y="36"/>
                    </a:lnTo>
                    <a:lnTo>
                      <a:pt x="260" y="29"/>
                    </a:lnTo>
                    <a:lnTo>
                      <a:pt x="250" y="24"/>
                    </a:lnTo>
                    <a:lnTo>
                      <a:pt x="240" y="17"/>
                    </a:lnTo>
                    <a:lnTo>
                      <a:pt x="228" y="13"/>
                    </a:lnTo>
                    <a:lnTo>
                      <a:pt x="216" y="9"/>
                    </a:lnTo>
                    <a:lnTo>
                      <a:pt x="202" y="5"/>
                    </a:lnTo>
                    <a:lnTo>
                      <a:pt x="189" y="3"/>
                    </a:lnTo>
                    <a:lnTo>
                      <a:pt x="174" y="1"/>
                    </a:lnTo>
                    <a:lnTo>
                      <a:pt x="160" y="0"/>
                    </a:lnTo>
                    <a:lnTo>
                      <a:pt x="144" y="0"/>
                    </a:lnTo>
                    <a:lnTo>
                      <a:pt x="130" y="1"/>
                    </a:lnTo>
                    <a:lnTo>
                      <a:pt x="114" y="3"/>
                    </a:lnTo>
                    <a:lnTo>
                      <a:pt x="101" y="6"/>
                    </a:lnTo>
                    <a:lnTo>
                      <a:pt x="88" y="9"/>
                    </a:lnTo>
                    <a:lnTo>
                      <a:pt x="74" y="13"/>
                    </a:lnTo>
                    <a:lnTo>
                      <a:pt x="63" y="19"/>
                    </a:lnTo>
                    <a:lnTo>
                      <a:pt x="51" y="24"/>
                    </a:lnTo>
                    <a:lnTo>
                      <a:pt x="41" y="30"/>
                    </a:lnTo>
                    <a:lnTo>
                      <a:pt x="32" y="37"/>
                    </a:lnTo>
                    <a:lnTo>
                      <a:pt x="24" y="44"/>
                    </a:lnTo>
                    <a:lnTo>
                      <a:pt x="16" y="52"/>
                    </a:lnTo>
                    <a:lnTo>
                      <a:pt x="10" y="60"/>
                    </a:lnTo>
                    <a:lnTo>
                      <a:pt x="6" y="68"/>
                    </a:lnTo>
                    <a:lnTo>
                      <a:pt x="2" y="77"/>
                    </a:lnTo>
                    <a:lnTo>
                      <a:pt x="0" y="86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82" name="Freeform 56"/>
              <p:cNvSpPr>
                <a:spLocks/>
              </p:cNvSpPr>
              <p:nvPr/>
            </p:nvSpPr>
            <p:spPr bwMode="auto">
              <a:xfrm>
                <a:off x="3309" y="964"/>
                <a:ext cx="42" cy="26"/>
              </a:xfrm>
              <a:custGeom>
                <a:avLst/>
                <a:gdLst>
                  <a:gd name="T0" fmla="*/ 0 w 295"/>
                  <a:gd name="T1" fmla="*/ 0 h 180"/>
                  <a:gd name="T2" fmla="*/ 0 w 295"/>
                  <a:gd name="T3" fmla="*/ 0 h 180"/>
                  <a:gd name="T4" fmla="*/ 0 w 295"/>
                  <a:gd name="T5" fmla="*/ 0 h 180"/>
                  <a:gd name="T6" fmla="*/ 0 w 295"/>
                  <a:gd name="T7" fmla="*/ 0 h 180"/>
                  <a:gd name="T8" fmla="*/ 0 w 295"/>
                  <a:gd name="T9" fmla="*/ 0 h 180"/>
                  <a:gd name="T10" fmla="*/ 0 w 295"/>
                  <a:gd name="T11" fmla="*/ 0 h 180"/>
                  <a:gd name="T12" fmla="*/ 0 w 295"/>
                  <a:gd name="T13" fmla="*/ 0 h 180"/>
                  <a:gd name="T14" fmla="*/ 0 w 295"/>
                  <a:gd name="T15" fmla="*/ 0 h 180"/>
                  <a:gd name="T16" fmla="*/ 0 w 295"/>
                  <a:gd name="T17" fmla="*/ 0 h 180"/>
                  <a:gd name="T18" fmla="*/ 0 w 295"/>
                  <a:gd name="T19" fmla="*/ 0 h 180"/>
                  <a:gd name="T20" fmla="*/ 0 w 295"/>
                  <a:gd name="T21" fmla="*/ 0 h 180"/>
                  <a:gd name="T22" fmla="*/ 0 w 295"/>
                  <a:gd name="T23" fmla="*/ 0 h 180"/>
                  <a:gd name="T24" fmla="*/ 0 w 295"/>
                  <a:gd name="T25" fmla="*/ 0 h 180"/>
                  <a:gd name="T26" fmla="*/ 0 w 295"/>
                  <a:gd name="T27" fmla="*/ 0 h 180"/>
                  <a:gd name="T28" fmla="*/ 0 w 295"/>
                  <a:gd name="T29" fmla="*/ 0 h 180"/>
                  <a:gd name="T30" fmla="*/ 0 w 295"/>
                  <a:gd name="T31" fmla="*/ 0 h 180"/>
                  <a:gd name="T32" fmla="*/ 0 w 295"/>
                  <a:gd name="T33" fmla="*/ 0 h 180"/>
                  <a:gd name="T34" fmla="*/ 0 w 295"/>
                  <a:gd name="T35" fmla="*/ 0 h 180"/>
                  <a:gd name="T36" fmla="*/ 0 w 295"/>
                  <a:gd name="T37" fmla="*/ 0 h 180"/>
                  <a:gd name="T38" fmla="*/ 0 w 295"/>
                  <a:gd name="T39" fmla="*/ 0 h 180"/>
                  <a:gd name="T40" fmla="*/ 0 w 295"/>
                  <a:gd name="T41" fmla="*/ 0 h 180"/>
                  <a:gd name="T42" fmla="*/ 0 w 295"/>
                  <a:gd name="T43" fmla="*/ 0 h 180"/>
                  <a:gd name="T44" fmla="*/ 0 w 295"/>
                  <a:gd name="T45" fmla="*/ 0 h 180"/>
                  <a:gd name="T46" fmla="*/ 0 w 295"/>
                  <a:gd name="T47" fmla="*/ 0 h 180"/>
                  <a:gd name="T48" fmla="*/ 0 w 295"/>
                  <a:gd name="T49" fmla="*/ 0 h 180"/>
                  <a:gd name="T50" fmla="*/ 0 w 295"/>
                  <a:gd name="T51" fmla="*/ 0 h 180"/>
                  <a:gd name="T52" fmla="*/ 0 w 295"/>
                  <a:gd name="T53" fmla="*/ 0 h 180"/>
                  <a:gd name="T54" fmla="*/ 0 w 295"/>
                  <a:gd name="T55" fmla="*/ 0 h 180"/>
                  <a:gd name="T56" fmla="*/ 0 w 295"/>
                  <a:gd name="T57" fmla="*/ 0 h 180"/>
                  <a:gd name="T58" fmla="*/ 0 w 295"/>
                  <a:gd name="T59" fmla="*/ 0 h 180"/>
                  <a:gd name="T60" fmla="*/ 0 w 295"/>
                  <a:gd name="T61" fmla="*/ 0 h 180"/>
                  <a:gd name="T62" fmla="*/ 0 w 295"/>
                  <a:gd name="T63" fmla="*/ 0 h 180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95"/>
                  <a:gd name="T97" fmla="*/ 0 h 180"/>
                  <a:gd name="T98" fmla="*/ 295 w 295"/>
                  <a:gd name="T99" fmla="*/ 180 h 180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95" h="180">
                    <a:moveTo>
                      <a:pt x="0" y="95"/>
                    </a:moveTo>
                    <a:lnTo>
                      <a:pt x="1" y="104"/>
                    </a:lnTo>
                    <a:lnTo>
                      <a:pt x="4" y="113"/>
                    </a:lnTo>
                    <a:lnTo>
                      <a:pt x="8" y="122"/>
                    </a:lnTo>
                    <a:lnTo>
                      <a:pt x="13" y="129"/>
                    </a:lnTo>
                    <a:lnTo>
                      <a:pt x="20" y="137"/>
                    </a:lnTo>
                    <a:lnTo>
                      <a:pt x="27" y="145"/>
                    </a:lnTo>
                    <a:lnTo>
                      <a:pt x="36" y="151"/>
                    </a:lnTo>
                    <a:lnTo>
                      <a:pt x="45" y="157"/>
                    </a:lnTo>
                    <a:lnTo>
                      <a:pt x="57" y="162"/>
                    </a:lnTo>
                    <a:lnTo>
                      <a:pt x="68" y="167"/>
                    </a:lnTo>
                    <a:lnTo>
                      <a:pt x="81" y="172"/>
                    </a:lnTo>
                    <a:lnTo>
                      <a:pt x="93" y="175"/>
                    </a:lnTo>
                    <a:lnTo>
                      <a:pt x="107" y="178"/>
                    </a:lnTo>
                    <a:lnTo>
                      <a:pt x="121" y="180"/>
                    </a:lnTo>
                    <a:lnTo>
                      <a:pt x="136" y="180"/>
                    </a:lnTo>
                    <a:lnTo>
                      <a:pt x="151" y="180"/>
                    </a:lnTo>
                    <a:lnTo>
                      <a:pt x="166" y="179"/>
                    </a:lnTo>
                    <a:lnTo>
                      <a:pt x="181" y="178"/>
                    </a:lnTo>
                    <a:lnTo>
                      <a:pt x="195" y="175"/>
                    </a:lnTo>
                    <a:lnTo>
                      <a:pt x="209" y="172"/>
                    </a:lnTo>
                    <a:lnTo>
                      <a:pt x="221" y="167"/>
                    </a:lnTo>
                    <a:lnTo>
                      <a:pt x="233" y="162"/>
                    </a:lnTo>
                    <a:lnTo>
                      <a:pt x="244" y="156"/>
                    </a:lnTo>
                    <a:lnTo>
                      <a:pt x="254" y="150"/>
                    </a:lnTo>
                    <a:lnTo>
                      <a:pt x="263" y="144"/>
                    </a:lnTo>
                    <a:lnTo>
                      <a:pt x="272" y="136"/>
                    </a:lnTo>
                    <a:lnTo>
                      <a:pt x="279" y="128"/>
                    </a:lnTo>
                    <a:lnTo>
                      <a:pt x="285" y="121"/>
                    </a:lnTo>
                    <a:lnTo>
                      <a:pt x="290" y="112"/>
                    </a:lnTo>
                    <a:lnTo>
                      <a:pt x="293" y="103"/>
                    </a:lnTo>
                    <a:lnTo>
                      <a:pt x="295" y="94"/>
                    </a:lnTo>
                    <a:lnTo>
                      <a:pt x="295" y="85"/>
                    </a:lnTo>
                    <a:lnTo>
                      <a:pt x="294" y="75"/>
                    </a:lnTo>
                    <a:lnTo>
                      <a:pt x="292" y="67"/>
                    </a:lnTo>
                    <a:lnTo>
                      <a:pt x="288" y="59"/>
                    </a:lnTo>
                    <a:lnTo>
                      <a:pt x="283" y="51"/>
                    </a:lnTo>
                    <a:lnTo>
                      <a:pt x="277" y="42"/>
                    </a:lnTo>
                    <a:lnTo>
                      <a:pt x="269" y="35"/>
                    </a:lnTo>
                    <a:lnTo>
                      <a:pt x="260" y="29"/>
                    </a:lnTo>
                    <a:lnTo>
                      <a:pt x="250" y="23"/>
                    </a:lnTo>
                    <a:lnTo>
                      <a:pt x="240" y="17"/>
                    </a:lnTo>
                    <a:lnTo>
                      <a:pt x="228" y="12"/>
                    </a:lnTo>
                    <a:lnTo>
                      <a:pt x="216" y="8"/>
                    </a:lnTo>
                    <a:lnTo>
                      <a:pt x="202" y="5"/>
                    </a:lnTo>
                    <a:lnTo>
                      <a:pt x="189" y="2"/>
                    </a:lnTo>
                    <a:lnTo>
                      <a:pt x="175" y="1"/>
                    </a:lnTo>
                    <a:lnTo>
                      <a:pt x="160" y="0"/>
                    </a:lnTo>
                    <a:lnTo>
                      <a:pt x="145" y="0"/>
                    </a:lnTo>
                    <a:lnTo>
                      <a:pt x="130" y="1"/>
                    </a:lnTo>
                    <a:lnTo>
                      <a:pt x="116" y="3"/>
                    </a:lnTo>
                    <a:lnTo>
                      <a:pt x="101" y="5"/>
                    </a:lnTo>
                    <a:lnTo>
                      <a:pt x="88" y="9"/>
                    </a:lnTo>
                    <a:lnTo>
                      <a:pt x="75" y="13"/>
                    </a:lnTo>
                    <a:lnTo>
                      <a:pt x="63" y="17"/>
                    </a:lnTo>
                    <a:lnTo>
                      <a:pt x="52" y="24"/>
                    </a:lnTo>
                    <a:lnTo>
                      <a:pt x="41" y="30"/>
                    </a:lnTo>
                    <a:lnTo>
                      <a:pt x="32" y="36"/>
                    </a:lnTo>
                    <a:lnTo>
                      <a:pt x="24" y="43"/>
                    </a:lnTo>
                    <a:lnTo>
                      <a:pt x="16" y="52"/>
                    </a:lnTo>
                    <a:lnTo>
                      <a:pt x="10" y="60"/>
                    </a:lnTo>
                    <a:lnTo>
                      <a:pt x="6" y="68"/>
                    </a:lnTo>
                    <a:lnTo>
                      <a:pt x="3" y="76"/>
                    </a:lnTo>
                    <a:lnTo>
                      <a:pt x="1" y="86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83" name="Freeform 57"/>
              <p:cNvSpPr>
                <a:spLocks/>
              </p:cNvSpPr>
              <p:nvPr/>
            </p:nvSpPr>
            <p:spPr bwMode="auto">
              <a:xfrm>
                <a:off x="3932" y="926"/>
                <a:ext cx="6" cy="7"/>
              </a:xfrm>
              <a:custGeom>
                <a:avLst/>
                <a:gdLst>
                  <a:gd name="T0" fmla="*/ 0 w 42"/>
                  <a:gd name="T1" fmla="*/ 0 h 46"/>
                  <a:gd name="T2" fmla="*/ 0 w 42"/>
                  <a:gd name="T3" fmla="*/ 0 h 46"/>
                  <a:gd name="T4" fmla="*/ 0 w 42"/>
                  <a:gd name="T5" fmla="*/ 0 h 46"/>
                  <a:gd name="T6" fmla="*/ 0 w 42"/>
                  <a:gd name="T7" fmla="*/ 0 h 46"/>
                  <a:gd name="T8" fmla="*/ 0 w 42"/>
                  <a:gd name="T9" fmla="*/ 0 h 46"/>
                  <a:gd name="T10" fmla="*/ 0 w 42"/>
                  <a:gd name="T11" fmla="*/ 0 h 46"/>
                  <a:gd name="T12" fmla="*/ 0 w 42"/>
                  <a:gd name="T13" fmla="*/ 0 h 46"/>
                  <a:gd name="T14" fmla="*/ 0 w 42"/>
                  <a:gd name="T15" fmla="*/ 0 h 46"/>
                  <a:gd name="T16" fmla="*/ 0 w 42"/>
                  <a:gd name="T17" fmla="*/ 0 h 46"/>
                  <a:gd name="T18" fmla="*/ 0 w 42"/>
                  <a:gd name="T19" fmla="*/ 0 h 46"/>
                  <a:gd name="T20" fmla="*/ 0 w 42"/>
                  <a:gd name="T21" fmla="*/ 0 h 4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2"/>
                  <a:gd name="T34" fmla="*/ 0 h 46"/>
                  <a:gd name="T35" fmla="*/ 42 w 42"/>
                  <a:gd name="T36" fmla="*/ 46 h 4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2" h="46">
                    <a:moveTo>
                      <a:pt x="0" y="45"/>
                    </a:moveTo>
                    <a:lnTo>
                      <a:pt x="3" y="45"/>
                    </a:lnTo>
                    <a:lnTo>
                      <a:pt x="6" y="46"/>
                    </a:lnTo>
                    <a:lnTo>
                      <a:pt x="15" y="34"/>
                    </a:lnTo>
                    <a:lnTo>
                      <a:pt x="25" y="23"/>
                    </a:lnTo>
                    <a:lnTo>
                      <a:pt x="34" y="11"/>
                    </a:lnTo>
                    <a:lnTo>
                      <a:pt x="42" y="0"/>
                    </a:lnTo>
                    <a:lnTo>
                      <a:pt x="32" y="11"/>
                    </a:lnTo>
                    <a:lnTo>
                      <a:pt x="21" y="22"/>
                    </a:lnTo>
                    <a:lnTo>
                      <a:pt x="11" y="33"/>
                    </a:lnTo>
                    <a:lnTo>
                      <a:pt x="0" y="45"/>
                    </a:lnTo>
                    <a:close/>
                  </a:path>
                </a:pathLst>
              </a:custGeom>
              <a:solidFill>
                <a:srgbClr val="6855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</p:grpSp>
        <p:pic>
          <p:nvPicPr>
            <p:cNvPr id="137424" name="Picture 58" descr="j0417464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80" y="480"/>
              <a:ext cx="949" cy="1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137425" name="Group 59"/>
            <p:cNvGrpSpPr>
              <a:grpSpLocks/>
            </p:cNvGrpSpPr>
            <p:nvPr/>
          </p:nvGrpSpPr>
          <p:grpSpPr bwMode="auto">
            <a:xfrm>
              <a:off x="1776" y="1479"/>
              <a:ext cx="781" cy="736"/>
              <a:chOff x="3172" y="1249"/>
              <a:chExt cx="781" cy="736"/>
            </a:xfrm>
          </p:grpSpPr>
          <p:sp>
            <p:nvSpPr>
              <p:cNvPr id="137445" name="Freeform 60"/>
              <p:cNvSpPr>
                <a:spLocks/>
              </p:cNvSpPr>
              <p:nvPr/>
            </p:nvSpPr>
            <p:spPr bwMode="auto">
              <a:xfrm>
                <a:off x="3176" y="1551"/>
                <a:ext cx="771" cy="230"/>
              </a:xfrm>
              <a:custGeom>
                <a:avLst/>
                <a:gdLst>
                  <a:gd name="T0" fmla="*/ 0 w 5394"/>
                  <a:gd name="T1" fmla="*/ 0 h 1609"/>
                  <a:gd name="T2" fmla="*/ 0 w 5394"/>
                  <a:gd name="T3" fmla="*/ 0 h 1609"/>
                  <a:gd name="T4" fmla="*/ 0 w 5394"/>
                  <a:gd name="T5" fmla="*/ 0 h 1609"/>
                  <a:gd name="T6" fmla="*/ 0 w 5394"/>
                  <a:gd name="T7" fmla="*/ 0 h 1609"/>
                  <a:gd name="T8" fmla="*/ 0 w 5394"/>
                  <a:gd name="T9" fmla="*/ 0 h 1609"/>
                  <a:gd name="T10" fmla="*/ 0 w 5394"/>
                  <a:gd name="T11" fmla="*/ 0 h 1609"/>
                  <a:gd name="T12" fmla="*/ 0 w 5394"/>
                  <a:gd name="T13" fmla="*/ 0 h 1609"/>
                  <a:gd name="T14" fmla="*/ 0 w 5394"/>
                  <a:gd name="T15" fmla="*/ 0 h 1609"/>
                  <a:gd name="T16" fmla="*/ 0 w 5394"/>
                  <a:gd name="T17" fmla="*/ 0 h 1609"/>
                  <a:gd name="T18" fmla="*/ 0 w 5394"/>
                  <a:gd name="T19" fmla="*/ 0 h 1609"/>
                  <a:gd name="T20" fmla="*/ 0 w 5394"/>
                  <a:gd name="T21" fmla="*/ 0 h 1609"/>
                  <a:gd name="T22" fmla="*/ 0 w 5394"/>
                  <a:gd name="T23" fmla="*/ 0 h 1609"/>
                  <a:gd name="T24" fmla="*/ 0 w 5394"/>
                  <a:gd name="T25" fmla="*/ 0 h 1609"/>
                  <a:gd name="T26" fmla="*/ 0 w 5394"/>
                  <a:gd name="T27" fmla="*/ 0 h 1609"/>
                  <a:gd name="T28" fmla="*/ 0 w 5394"/>
                  <a:gd name="T29" fmla="*/ 0 h 1609"/>
                  <a:gd name="T30" fmla="*/ 0 w 5394"/>
                  <a:gd name="T31" fmla="*/ 0 h 1609"/>
                  <a:gd name="T32" fmla="*/ 0 w 5394"/>
                  <a:gd name="T33" fmla="*/ 0 h 1609"/>
                  <a:gd name="T34" fmla="*/ 0 w 5394"/>
                  <a:gd name="T35" fmla="*/ 0 h 1609"/>
                  <a:gd name="T36" fmla="*/ 0 w 5394"/>
                  <a:gd name="T37" fmla="*/ 0 h 1609"/>
                  <a:gd name="T38" fmla="*/ 0 w 5394"/>
                  <a:gd name="T39" fmla="*/ 0 h 1609"/>
                  <a:gd name="T40" fmla="*/ 0 w 5394"/>
                  <a:gd name="T41" fmla="*/ 0 h 1609"/>
                  <a:gd name="T42" fmla="*/ 0 w 5394"/>
                  <a:gd name="T43" fmla="*/ 0 h 1609"/>
                  <a:gd name="T44" fmla="*/ 0 w 5394"/>
                  <a:gd name="T45" fmla="*/ 0 h 1609"/>
                  <a:gd name="T46" fmla="*/ 0 w 5394"/>
                  <a:gd name="T47" fmla="*/ 0 h 1609"/>
                  <a:gd name="T48" fmla="*/ 0 w 5394"/>
                  <a:gd name="T49" fmla="*/ 0 h 1609"/>
                  <a:gd name="T50" fmla="*/ 0 w 5394"/>
                  <a:gd name="T51" fmla="*/ 0 h 1609"/>
                  <a:gd name="T52" fmla="*/ 0 w 5394"/>
                  <a:gd name="T53" fmla="*/ 0 h 1609"/>
                  <a:gd name="T54" fmla="*/ 0 w 5394"/>
                  <a:gd name="T55" fmla="*/ 0 h 1609"/>
                  <a:gd name="T56" fmla="*/ 0 w 5394"/>
                  <a:gd name="T57" fmla="*/ 0 h 1609"/>
                  <a:gd name="T58" fmla="*/ 0 w 5394"/>
                  <a:gd name="T59" fmla="*/ 0 h 1609"/>
                  <a:gd name="T60" fmla="*/ 0 w 5394"/>
                  <a:gd name="T61" fmla="*/ 0 h 1609"/>
                  <a:gd name="T62" fmla="*/ 0 w 5394"/>
                  <a:gd name="T63" fmla="*/ 0 h 1609"/>
                  <a:gd name="T64" fmla="*/ 0 w 5394"/>
                  <a:gd name="T65" fmla="*/ 0 h 1609"/>
                  <a:gd name="T66" fmla="*/ 0 w 5394"/>
                  <a:gd name="T67" fmla="*/ 0 h 1609"/>
                  <a:gd name="T68" fmla="*/ 0 w 5394"/>
                  <a:gd name="T69" fmla="*/ 0 h 1609"/>
                  <a:gd name="T70" fmla="*/ 0 w 5394"/>
                  <a:gd name="T71" fmla="*/ 0 h 1609"/>
                  <a:gd name="T72" fmla="*/ 0 w 5394"/>
                  <a:gd name="T73" fmla="*/ 0 h 1609"/>
                  <a:gd name="T74" fmla="*/ 0 w 5394"/>
                  <a:gd name="T75" fmla="*/ 0 h 1609"/>
                  <a:gd name="T76" fmla="*/ 0 w 5394"/>
                  <a:gd name="T77" fmla="*/ 0 h 1609"/>
                  <a:gd name="T78" fmla="*/ 0 w 5394"/>
                  <a:gd name="T79" fmla="*/ 0 h 1609"/>
                  <a:gd name="T80" fmla="*/ 0 w 5394"/>
                  <a:gd name="T81" fmla="*/ 0 h 1609"/>
                  <a:gd name="T82" fmla="*/ 0 w 5394"/>
                  <a:gd name="T83" fmla="*/ 0 h 1609"/>
                  <a:gd name="T84" fmla="*/ 0 w 5394"/>
                  <a:gd name="T85" fmla="*/ 0 h 1609"/>
                  <a:gd name="T86" fmla="*/ 0 w 5394"/>
                  <a:gd name="T87" fmla="*/ 0 h 1609"/>
                  <a:gd name="T88" fmla="*/ 0 w 5394"/>
                  <a:gd name="T89" fmla="*/ 0 h 1609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5394"/>
                  <a:gd name="T136" fmla="*/ 0 h 1609"/>
                  <a:gd name="T137" fmla="*/ 5394 w 5394"/>
                  <a:gd name="T138" fmla="*/ 1609 h 1609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5394" h="1609">
                    <a:moveTo>
                      <a:pt x="4799" y="12"/>
                    </a:moveTo>
                    <a:lnTo>
                      <a:pt x="4755" y="11"/>
                    </a:lnTo>
                    <a:lnTo>
                      <a:pt x="4627" y="9"/>
                    </a:lnTo>
                    <a:lnTo>
                      <a:pt x="4430" y="7"/>
                    </a:lnTo>
                    <a:lnTo>
                      <a:pt x="4173" y="5"/>
                    </a:lnTo>
                    <a:lnTo>
                      <a:pt x="3869" y="2"/>
                    </a:lnTo>
                    <a:lnTo>
                      <a:pt x="3528" y="0"/>
                    </a:lnTo>
                    <a:lnTo>
                      <a:pt x="3162" y="0"/>
                    </a:lnTo>
                    <a:lnTo>
                      <a:pt x="2783" y="0"/>
                    </a:lnTo>
                    <a:lnTo>
                      <a:pt x="2592" y="1"/>
                    </a:lnTo>
                    <a:lnTo>
                      <a:pt x="2402" y="2"/>
                    </a:lnTo>
                    <a:lnTo>
                      <a:pt x="2213" y="4"/>
                    </a:lnTo>
                    <a:lnTo>
                      <a:pt x="2028" y="6"/>
                    </a:lnTo>
                    <a:lnTo>
                      <a:pt x="1850" y="9"/>
                    </a:lnTo>
                    <a:lnTo>
                      <a:pt x="1677" y="13"/>
                    </a:lnTo>
                    <a:lnTo>
                      <a:pt x="1513" y="18"/>
                    </a:lnTo>
                    <a:lnTo>
                      <a:pt x="1358" y="23"/>
                    </a:lnTo>
                    <a:lnTo>
                      <a:pt x="1213" y="29"/>
                    </a:lnTo>
                    <a:lnTo>
                      <a:pt x="1081" y="36"/>
                    </a:lnTo>
                    <a:lnTo>
                      <a:pt x="963" y="45"/>
                    </a:lnTo>
                    <a:lnTo>
                      <a:pt x="860" y="53"/>
                    </a:lnTo>
                    <a:lnTo>
                      <a:pt x="773" y="63"/>
                    </a:lnTo>
                    <a:lnTo>
                      <a:pt x="705" y="75"/>
                    </a:lnTo>
                    <a:lnTo>
                      <a:pt x="655" y="87"/>
                    </a:lnTo>
                    <a:lnTo>
                      <a:pt x="627" y="99"/>
                    </a:lnTo>
                    <a:lnTo>
                      <a:pt x="612" y="113"/>
                    </a:lnTo>
                    <a:lnTo>
                      <a:pt x="595" y="128"/>
                    </a:lnTo>
                    <a:lnTo>
                      <a:pt x="579" y="145"/>
                    </a:lnTo>
                    <a:lnTo>
                      <a:pt x="560" y="164"/>
                    </a:lnTo>
                    <a:lnTo>
                      <a:pt x="522" y="209"/>
                    </a:lnTo>
                    <a:lnTo>
                      <a:pt x="479" y="260"/>
                    </a:lnTo>
                    <a:lnTo>
                      <a:pt x="435" y="314"/>
                    </a:lnTo>
                    <a:lnTo>
                      <a:pt x="390" y="373"/>
                    </a:lnTo>
                    <a:lnTo>
                      <a:pt x="344" y="435"/>
                    </a:lnTo>
                    <a:lnTo>
                      <a:pt x="297" y="497"/>
                    </a:lnTo>
                    <a:lnTo>
                      <a:pt x="251" y="560"/>
                    </a:lnTo>
                    <a:lnTo>
                      <a:pt x="206" y="622"/>
                    </a:lnTo>
                    <a:lnTo>
                      <a:pt x="163" y="680"/>
                    </a:lnTo>
                    <a:lnTo>
                      <a:pt x="123" y="734"/>
                    </a:lnTo>
                    <a:lnTo>
                      <a:pt x="85" y="784"/>
                    </a:lnTo>
                    <a:lnTo>
                      <a:pt x="52" y="826"/>
                    </a:lnTo>
                    <a:lnTo>
                      <a:pt x="23" y="861"/>
                    </a:lnTo>
                    <a:lnTo>
                      <a:pt x="0" y="887"/>
                    </a:lnTo>
                    <a:lnTo>
                      <a:pt x="18" y="914"/>
                    </a:lnTo>
                    <a:lnTo>
                      <a:pt x="44" y="940"/>
                    </a:lnTo>
                    <a:lnTo>
                      <a:pt x="80" y="967"/>
                    </a:lnTo>
                    <a:lnTo>
                      <a:pt x="122" y="995"/>
                    </a:lnTo>
                    <a:lnTo>
                      <a:pt x="173" y="1023"/>
                    </a:lnTo>
                    <a:lnTo>
                      <a:pt x="228" y="1051"/>
                    </a:lnTo>
                    <a:lnTo>
                      <a:pt x="291" y="1079"/>
                    </a:lnTo>
                    <a:lnTo>
                      <a:pt x="360" y="1106"/>
                    </a:lnTo>
                    <a:lnTo>
                      <a:pt x="433" y="1134"/>
                    </a:lnTo>
                    <a:lnTo>
                      <a:pt x="510" y="1162"/>
                    </a:lnTo>
                    <a:lnTo>
                      <a:pt x="592" y="1190"/>
                    </a:lnTo>
                    <a:lnTo>
                      <a:pt x="678" y="1217"/>
                    </a:lnTo>
                    <a:lnTo>
                      <a:pt x="766" y="1244"/>
                    </a:lnTo>
                    <a:lnTo>
                      <a:pt x="857" y="1271"/>
                    </a:lnTo>
                    <a:lnTo>
                      <a:pt x="950" y="1297"/>
                    </a:lnTo>
                    <a:lnTo>
                      <a:pt x="1044" y="1322"/>
                    </a:lnTo>
                    <a:lnTo>
                      <a:pt x="1139" y="1346"/>
                    </a:lnTo>
                    <a:lnTo>
                      <a:pt x="1234" y="1370"/>
                    </a:lnTo>
                    <a:lnTo>
                      <a:pt x="1329" y="1394"/>
                    </a:lnTo>
                    <a:lnTo>
                      <a:pt x="1424" y="1416"/>
                    </a:lnTo>
                    <a:lnTo>
                      <a:pt x="1517" y="1437"/>
                    </a:lnTo>
                    <a:lnTo>
                      <a:pt x="1609" y="1457"/>
                    </a:lnTo>
                    <a:lnTo>
                      <a:pt x="1698" y="1476"/>
                    </a:lnTo>
                    <a:lnTo>
                      <a:pt x="1785" y="1493"/>
                    </a:lnTo>
                    <a:lnTo>
                      <a:pt x="1868" y="1510"/>
                    </a:lnTo>
                    <a:lnTo>
                      <a:pt x="1948" y="1524"/>
                    </a:lnTo>
                    <a:lnTo>
                      <a:pt x="2023" y="1538"/>
                    </a:lnTo>
                    <a:lnTo>
                      <a:pt x="2094" y="1549"/>
                    </a:lnTo>
                    <a:lnTo>
                      <a:pt x="2159" y="1559"/>
                    </a:lnTo>
                    <a:lnTo>
                      <a:pt x="2218" y="1568"/>
                    </a:lnTo>
                    <a:lnTo>
                      <a:pt x="2270" y="1574"/>
                    </a:lnTo>
                    <a:lnTo>
                      <a:pt x="2317" y="1578"/>
                    </a:lnTo>
                    <a:lnTo>
                      <a:pt x="2414" y="1586"/>
                    </a:lnTo>
                    <a:lnTo>
                      <a:pt x="2513" y="1592"/>
                    </a:lnTo>
                    <a:lnTo>
                      <a:pt x="2611" y="1599"/>
                    </a:lnTo>
                    <a:lnTo>
                      <a:pt x="2711" y="1603"/>
                    </a:lnTo>
                    <a:lnTo>
                      <a:pt x="2811" y="1606"/>
                    </a:lnTo>
                    <a:lnTo>
                      <a:pt x="2911" y="1608"/>
                    </a:lnTo>
                    <a:lnTo>
                      <a:pt x="3010" y="1609"/>
                    </a:lnTo>
                    <a:lnTo>
                      <a:pt x="3111" y="1609"/>
                    </a:lnTo>
                    <a:lnTo>
                      <a:pt x="3212" y="1607"/>
                    </a:lnTo>
                    <a:lnTo>
                      <a:pt x="3312" y="1603"/>
                    </a:lnTo>
                    <a:lnTo>
                      <a:pt x="3412" y="1598"/>
                    </a:lnTo>
                    <a:lnTo>
                      <a:pt x="3512" y="1591"/>
                    </a:lnTo>
                    <a:lnTo>
                      <a:pt x="3613" y="1583"/>
                    </a:lnTo>
                    <a:lnTo>
                      <a:pt x="3712" y="1573"/>
                    </a:lnTo>
                    <a:lnTo>
                      <a:pt x="3812" y="1560"/>
                    </a:lnTo>
                    <a:lnTo>
                      <a:pt x="3911" y="1547"/>
                    </a:lnTo>
                    <a:lnTo>
                      <a:pt x="4009" y="1531"/>
                    </a:lnTo>
                    <a:lnTo>
                      <a:pt x="4108" y="1514"/>
                    </a:lnTo>
                    <a:lnTo>
                      <a:pt x="4206" y="1493"/>
                    </a:lnTo>
                    <a:lnTo>
                      <a:pt x="4303" y="1471"/>
                    </a:lnTo>
                    <a:lnTo>
                      <a:pt x="4399" y="1448"/>
                    </a:lnTo>
                    <a:lnTo>
                      <a:pt x="4494" y="1421"/>
                    </a:lnTo>
                    <a:lnTo>
                      <a:pt x="4589" y="1392"/>
                    </a:lnTo>
                    <a:lnTo>
                      <a:pt x="4683" y="1361"/>
                    </a:lnTo>
                    <a:lnTo>
                      <a:pt x="4776" y="1328"/>
                    </a:lnTo>
                    <a:lnTo>
                      <a:pt x="4868" y="1292"/>
                    </a:lnTo>
                    <a:lnTo>
                      <a:pt x="4959" y="1252"/>
                    </a:lnTo>
                    <a:lnTo>
                      <a:pt x="5048" y="1211"/>
                    </a:lnTo>
                    <a:lnTo>
                      <a:pt x="5137" y="1167"/>
                    </a:lnTo>
                    <a:lnTo>
                      <a:pt x="5224" y="1120"/>
                    </a:lnTo>
                    <a:lnTo>
                      <a:pt x="5309" y="1070"/>
                    </a:lnTo>
                    <a:lnTo>
                      <a:pt x="5394" y="1019"/>
                    </a:lnTo>
                    <a:lnTo>
                      <a:pt x="5382" y="994"/>
                    </a:lnTo>
                    <a:lnTo>
                      <a:pt x="5367" y="968"/>
                    </a:lnTo>
                    <a:lnTo>
                      <a:pt x="5352" y="942"/>
                    </a:lnTo>
                    <a:lnTo>
                      <a:pt x="5333" y="914"/>
                    </a:lnTo>
                    <a:lnTo>
                      <a:pt x="5314" y="885"/>
                    </a:lnTo>
                    <a:lnTo>
                      <a:pt x="5292" y="855"/>
                    </a:lnTo>
                    <a:lnTo>
                      <a:pt x="5269" y="825"/>
                    </a:lnTo>
                    <a:lnTo>
                      <a:pt x="5245" y="793"/>
                    </a:lnTo>
                    <a:lnTo>
                      <a:pt x="5196" y="729"/>
                    </a:lnTo>
                    <a:lnTo>
                      <a:pt x="5143" y="662"/>
                    </a:lnTo>
                    <a:lnTo>
                      <a:pt x="5089" y="594"/>
                    </a:lnTo>
                    <a:lnTo>
                      <a:pt x="5037" y="524"/>
                    </a:lnTo>
                    <a:lnTo>
                      <a:pt x="5011" y="489"/>
                    </a:lnTo>
                    <a:lnTo>
                      <a:pt x="4986" y="454"/>
                    </a:lnTo>
                    <a:lnTo>
                      <a:pt x="4961" y="420"/>
                    </a:lnTo>
                    <a:lnTo>
                      <a:pt x="4937" y="386"/>
                    </a:lnTo>
                    <a:lnTo>
                      <a:pt x="4916" y="351"/>
                    </a:lnTo>
                    <a:lnTo>
                      <a:pt x="4895" y="318"/>
                    </a:lnTo>
                    <a:lnTo>
                      <a:pt x="4875" y="283"/>
                    </a:lnTo>
                    <a:lnTo>
                      <a:pt x="4858" y="250"/>
                    </a:lnTo>
                    <a:lnTo>
                      <a:pt x="4841" y="218"/>
                    </a:lnTo>
                    <a:lnTo>
                      <a:pt x="4828" y="186"/>
                    </a:lnTo>
                    <a:lnTo>
                      <a:pt x="4817" y="155"/>
                    </a:lnTo>
                    <a:lnTo>
                      <a:pt x="4807" y="124"/>
                    </a:lnTo>
                    <a:lnTo>
                      <a:pt x="4801" y="95"/>
                    </a:lnTo>
                    <a:lnTo>
                      <a:pt x="4797" y="66"/>
                    </a:lnTo>
                    <a:lnTo>
                      <a:pt x="4797" y="38"/>
                    </a:lnTo>
                    <a:lnTo>
                      <a:pt x="4799" y="12"/>
                    </a:lnTo>
                    <a:close/>
                  </a:path>
                </a:pathLst>
              </a:custGeom>
              <a:solidFill>
                <a:srgbClr val="25A9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46" name="Freeform 61"/>
              <p:cNvSpPr>
                <a:spLocks/>
              </p:cNvSpPr>
              <p:nvPr/>
            </p:nvSpPr>
            <p:spPr bwMode="auto">
              <a:xfrm>
                <a:off x="3172" y="1438"/>
                <a:ext cx="781" cy="547"/>
              </a:xfrm>
              <a:custGeom>
                <a:avLst/>
                <a:gdLst>
                  <a:gd name="T0" fmla="*/ 0 w 5469"/>
                  <a:gd name="T1" fmla="*/ 0 h 3830"/>
                  <a:gd name="T2" fmla="*/ 0 w 5469"/>
                  <a:gd name="T3" fmla="*/ 0 h 3830"/>
                  <a:gd name="T4" fmla="*/ 0 w 5469"/>
                  <a:gd name="T5" fmla="*/ 0 h 3830"/>
                  <a:gd name="T6" fmla="*/ 0 w 5469"/>
                  <a:gd name="T7" fmla="*/ 0 h 3830"/>
                  <a:gd name="T8" fmla="*/ 0 w 5469"/>
                  <a:gd name="T9" fmla="*/ 0 h 3830"/>
                  <a:gd name="T10" fmla="*/ 0 w 5469"/>
                  <a:gd name="T11" fmla="*/ 0 h 3830"/>
                  <a:gd name="T12" fmla="*/ 0 w 5469"/>
                  <a:gd name="T13" fmla="*/ 0 h 3830"/>
                  <a:gd name="T14" fmla="*/ 0 w 5469"/>
                  <a:gd name="T15" fmla="*/ 0 h 3830"/>
                  <a:gd name="T16" fmla="*/ 0 w 5469"/>
                  <a:gd name="T17" fmla="*/ 0 h 3830"/>
                  <a:gd name="T18" fmla="*/ 0 w 5469"/>
                  <a:gd name="T19" fmla="*/ 0 h 3830"/>
                  <a:gd name="T20" fmla="*/ 0 w 5469"/>
                  <a:gd name="T21" fmla="*/ 0 h 3830"/>
                  <a:gd name="T22" fmla="*/ 0 w 5469"/>
                  <a:gd name="T23" fmla="*/ 0 h 3830"/>
                  <a:gd name="T24" fmla="*/ 0 w 5469"/>
                  <a:gd name="T25" fmla="*/ 0 h 3830"/>
                  <a:gd name="T26" fmla="*/ 0 w 5469"/>
                  <a:gd name="T27" fmla="*/ 0 h 3830"/>
                  <a:gd name="T28" fmla="*/ 0 w 5469"/>
                  <a:gd name="T29" fmla="*/ 0 h 3830"/>
                  <a:gd name="T30" fmla="*/ 0 w 5469"/>
                  <a:gd name="T31" fmla="*/ 0 h 3830"/>
                  <a:gd name="T32" fmla="*/ 0 w 5469"/>
                  <a:gd name="T33" fmla="*/ 0 h 3830"/>
                  <a:gd name="T34" fmla="*/ 0 w 5469"/>
                  <a:gd name="T35" fmla="*/ 0 h 3830"/>
                  <a:gd name="T36" fmla="*/ 0 w 5469"/>
                  <a:gd name="T37" fmla="*/ 0 h 3830"/>
                  <a:gd name="T38" fmla="*/ 0 w 5469"/>
                  <a:gd name="T39" fmla="*/ 0 h 3830"/>
                  <a:gd name="T40" fmla="*/ 0 w 5469"/>
                  <a:gd name="T41" fmla="*/ 0 h 3830"/>
                  <a:gd name="T42" fmla="*/ 0 w 5469"/>
                  <a:gd name="T43" fmla="*/ 0 h 3830"/>
                  <a:gd name="T44" fmla="*/ 0 w 5469"/>
                  <a:gd name="T45" fmla="*/ 0 h 3830"/>
                  <a:gd name="T46" fmla="*/ 0 w 5469"/>
                  <a:gd name="T47" fmla="*/ 0 h 3830"/>
                  <a:gd name="T48" fmla="*/ 0 w 5469"/>
                  <a:gd name="T49" fmla="*/ 0 h 3830"/>
                  <a:gd name="T50" fmla="*/ 0 w 5469"/>
                  <a:gd name="T51" fmla="*/ 0 h 3830"/>
                  <a:gd name="T52" fmla="*/ 0 w 5469"/>
                  <a:gd name="T53" fmla="*/ 0 h 3830"/>
                  <a:gd name="T54" fmla="*/ 0 w 5469"/>
                  <a:gd name="T55" fmla="*/ 0 h 3830"/>
                  <a:gd name="T56" fmla="*/ 0 w 5469"/>
                  <a:gd name="T57" fmla="*/ 0 h 3830"/>
                  <a:gd name="T58" fmla="*/ 0 w 5469"/>
                  <a:gd name="T59" fmla="*/ 0 h 3830"/>
                  <a:gd name="T60" fmla="*/ 0 w 5469"/>
                  <a:gd name="T61" fmla="*/ 0 h 3830"/>
                  <a:gd name="T62" fmla="*/ 0 w 5469"/>
                  <a:gd name="T63" fmla="*/ 0 h 3830"/>
                  <a:gd name="T64" fmla="*/ 0 w 5469"/>
                  <a:gd name="T65" fmla="*/ 0 h 3830"/>
                  <a:gd name="T66" fmla="*/ 0 w 5469"/>
                  <a:gd name="T67" fmla="*/ 0 h 3830"/>
                  <a:gd name="T68" fmla="*/ 0 w 5469"/>
                  <a:gd name="T69" fmla="*/ 0 h 3830"/>
                  <a:gd name="T70" fmla="*/ 0 w 5469"/>
                  <a:gd name="T71" fmla="*/ 0 h 3830"/>
                  <a:gd name="T72" fmla="*/ 0 w 5469"/>
                  <a:gd name="T73" fmla="*/ 0 h 3830"/>
                  <a:gd name="T74" fmla="*/ 0 w 5469"/>
                  <a:gd name="T75" fmla="*/ 0 h 3830"/>
                  <a:gd name="T76" fmla="*/ 0 w 5469"/>
                  <a:gd name="T77" fmla="*/ 0 h 3830"/>
                  <a:gd name="T78" fmla="*/ 0 w 5469"/>
                  <a:gd name="T79" fmla="*/ 0 h 3830"/>
                  <a:gd name="T80" fmla="*/ 0 w 5469"/>
                  <a:gd name="T81" fmla="*/ 0 h 3830"/>
                  <a:gd name="T82" fmla="*/ 0 w 5469"/>
                  <a:gd name="T83" fmla="*/ 0 h 3830"/>
                  <a:gd name="T84" fmla="*/ 0 w 5469"/>
                  <a:gd name="T85" fmla="*/ 0 h 3830"/>
                  <a:gd name="T86" fmla="*/ 0 w 5469"/>
                  <a:gd name="T87" fmla="*/ 0 h 3830"/>
                  <a:gd name="T88" fmla="*/ 0 w 5469"/>
                  <a:gd name="T89" fmla="*/ 0 h 3830"/>
                  <a:gd name="T90" fmla="*/ 0 w 5469"/>
                  <a:gd name="T91" fmla="*/ 0 h 3830"/>
                  <a:gd name="T92" fmla="*/ 0 w 5469"/>
                  <a:gd name="T93" fmla="*/ 0 h 3830"/>
                  <a:gd name="T94" fmla="*/ 0 w 5469"/>
                  <a:gd name="T95" fmla="*/ 0 h 3830"/>
                  <a:gd name="T96" fmla="*/ 0 w 5469"/>
                  <a:gd name="T97" fmla="*/ 0 h 3830"/>
                  <a:gd name="T98" fmla="*/ 0 w 5469"/>
                  <a:gd name="T99" fmla="*/ 0 h 3830"/>
                  <a:gd name="T100" fmla="*/ 0 w 5469"/>
                  <a:gd name="T101" fmla="*/ 0 h 3830"/>
                  <a:gd name="T102" fmla="*/ 0 w 5469"/>
                  <a:gd name="T103" fmla="*/ 0 h 3830"/>
                  <a:gd name="T104" fmla="*/ 0 w 5469"/>
                  <a:gd name="T105" fmla="*/ 0 h 3830"/>
                  <a:gd name="T106" fmla="*/ 0 w 5469"/>
                  <a:gd name="T107" fmla="*/ 0 h 3830"/>
                  <a:gd name="T108" fmla="*/ 0 w 5469"/>
                  <a:gd name="T109" fmla="*/ 0 h 3830"/>
                  <a:gd name="T110" fmla="*/ 0 w 5469"/>
                  <a:gd name="T111" fmla="*/ 0 h 3830"/>
                  <a:gd name="T112" fmla="*/ 0 w 5469"/>
                  <a:gd name="T113" fmla="*/ 0 h 3830"/>
                  <a:gd name="T114" fmla="*/ 0 w 5469"/>
                  <a:gd name="T115" fmla="*/ 0 h 3830"/>
                  <a:gd name="T116" fmla="*/ 0 w 5469"/>
                  <a:gd name="T117" fmla="*/ 0 h 383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5469"/>
                  <a:gd name="T178" fmla="*/ 0 h 3830"/>
                  <a:gd name="T179" fmla="*/ 5469 w 5469"/>
                  <a:gd name="T180" fmla="*/ 3830 h 3830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5469" h="3830">
                    <a:moveTo>
                      <a:pt x="3674" y="36"/>
                    </a:moveTo>
                    <a:lnTo>
                      <a:pt x="3649" y="29"/>
                    </a:lnTo>
                    <a:lnTo>
                      <a:pt x="3625" y="24"/>
                    </a:lnTo>
                    <a:lnTo>
                      <a:pt x="3601" y="19"/>
                    </a:lnTo>
                    <a:lnTo>
                      <a:pt x="3576" y="13"/>
                    </a:lnTo>
                    <a:lnTo>
                      <a:pt x="3552" y="10"/>
                    </a:lnTo>
                    <a:lnTo>
                      <a:pt x="3527" y="7"/>
                    </a:lnTo>
                    <a:lnTo>
                      <a:pt x="3502" y="5"/>
                    </a:lnTo>
                    <a:lnTo>
                      <a:pt x="3477" y="3"/>
                    </a:lnTo>
                    <a:lnTo>
                      <a:pt x="3427" y="1"/>
                    </a:lnTo>
                    <a:lnTo>
                      <a:pt x="3376" y="0"/>
                    </a:lnTo>
                    <a:lnTo>
                      <a:pt x="3325" y="1"/>
                    </a:lnTo>
                    <a:lnTo>
                      <a:pt x="3275" y="3"/>
                    </a:lnTo>
                    <a:lnTo>
                      <a:pt x="3223" y="6"/>
                    </a:lnTo>
                    <a:lnTo>
                      <a:pt x="3171" y="9"/>
                    </a:lnTo>
                    <a:lnTo>
                      <a:pt x="3121" y="12"/>
                    </a:lnTo>
                    <a:lnTo>
                      <a:pt x="3069" y="15"/>
                    </a:lnTo>
                    <a:lnTo>
                      <a:pt x="3018" y="18"/>
                    </a:lnTo>
                    <a:lnTo>
                      <a:pt x="2968" y="19"/>
                    </a:lnTo>
                    <a:lnTo>
                      <a:pt x="2917" y="19"/>
                    </a:lnTo>
                    <a:lnTo>
                      <a:pt x="2868" y="18"/>
                    </a:lnTo>
                    <a:lnTo>
                      <a:pt x="2778" y="12"/>
                    </a:lnTo>
                    <a:lnTo>
                      <a:pt x="2687" y="9"/>
                    </a:lnTo>
                    <a:lnTo>
                      <a:pt x="2596" y="7"/>
                    </a:lnTo>
                    <a:lnTo>
                      <a:pt x="2505" y="6"/>
                    </a:lnTo>
                    <a:lnTo>
                      <a:pt x="2459" y="6"/>
                    </a:lnTo>
                    <a:lnTo>
                      <a:pt x="2415" y="7"/>
                    </a:lnTo>
                    <a:lnTo>
                      <a:pt x="2369" y="8"/>
                    </a:lnTo>
                    <a:lnTo>
                      <a:pt x="2324" y="10"/>
                    </a:lnTo>
                    <a:lnTo>
                      <a:pt x="2280" y="12"/>
                    </a:lnTo>
                    <a:lnTo>
                      <a:pt x="2234" y="15"/>
                    </a:lnTo>
                    <a:lnTo>
                      <a:pt x="2190" y="20"/>
                    </a:lnTo>
                    <a:lnTo>
                      <a:pt x="2145" y="24"/>
                    </a:lnTo>
                    <a:lnTo>
                      <a:pt x="2101" y="30"/>
                    </a:lnTo>
                    <a:lnTo>
                      <a:pt x="2056" y="36"/>
                    </a:lnTo>
                    <a:lnTo>
                      <a:pt x="2012" y="43"/>
                    </a:lnTo>
                    <a:lnTo>
                      <a:pt x="1968" y="52"/>
                    </a:lnTo>
                    <a:lnTo>
                      <a:pt x="1925" y="61"/>
                    </a:lnTo>
                    <a:lnTo>
                      <a:pt x="1882" y="71"/>
                    </a:lnTo>
                    <a:lnTo>
                      <a:pt x="1838" y="83"/>
                    </a:lnTo>
                    <a:lnTo>
                      <a:pt x="1796" y="95"/>
                    </a:lnTo>
                    <a:lnTo>
                      <a:pt x="1754" y="110"/>
                    </a:lnTo>
                    <a:lnTo>
                      <a:pt x="1711" y="124"/>
                    </a:lnTo>
                    <a:lnTo>
                      <a:pt x="1670" y="141"/>
                    </a:lnTo>
                    <a:lnTo>
                      <a:pt x="1629" y="158"/>
                    </a:lnTo>
                    <a:lnTo>
                      <a:pt x="1587" y="178"/>
                    </a:lnTo>
                    <a:lnTo>
                      <a:pt x="1547" y="197"/>
                    </a:lnTo>
                    <a:lnTo>
                      <a:pt x="1507" y="219"/>
                    </a:lnTo>
                    <a:lnTo>
                      <a:pt x="1467" y="243"/>
                    </a:lnTo>
                    <a:lnTo>
                      <a:pt x="1357" y="315"/>
                    </a:lnTo>
                    <a:lnTo>
                      <a:pt x="1250" y="395"/>
                    </a:lnTo>
                    <a:lnTo>
                      <a:pt x="1150" y="479"/>
                    </a:lnTo>
                    <a:lnTo>
                      <a:pt x="1054" y="568"/>
                    </a:lnTo>
                    <a:lnTo>
                      <a:pt x="963" y="662"/>
                    </a:lnTo>
                    <a:lnTo>
                      <a:pt x="877" y="759"/>
                    </a:lnTo>
                    <a:lnTo>
                      <a:pt x="796" y="860"/>
                    </a:lnTo>
                    <a:lnTo>
                      <a:pt x="718" y="965"/>
                    </a:lnTo>
                    <a:lnTo>
                      <a:pt x="646" y="1070"/>
                    </a:lnTo>
                    <a:lnTo>
                      <a:pt x="578" y="1179"/>
                    </a:lnTo>
                    <a:lnTo>
                      <a:pt x="515" y="1288"/>
                    </a:lnTo>
                    <a:lnTo>
                      <a:pt x="455" y="1399"/>
                    </a:lnTo>
                    <a:lnTo>
                      <a:pt x="399" y="1510"/>
                    </a:lnTo>
                    <a:lnTo>
                      <a:pt x="348" y="1620"/>
                    </a:lnTo>
                    <a:lnTo>
                      <a:pt x="301" y="1730"/>
                    </a:lnTo>
                    <a:lnTo>
                      <a:pt x="257" y="1838"/>
                    </a:lnTo>
                    <a:lnTo>
                      <a:pt x="217" y="1945"/>
                    </a:lnTo>
                    <a:lnTo>
                      <a:pt x="181" y="2049"/>
                    </a:lnTo>
                    <a:lnTo>
                      <a:pt x="148" y="2151"/>
                    </a:lnTo>
                    <a:lnTo>
                      <a:pt x="119" y="2250"/>
                    </a:lnTo>
                    <a:lnTo>
                      <a:pt x="93" y="2344"/>
                    </a:lnTo>
                    <a:lnTo>
                      <a:pt x="71" y="2434"/>
                    </a:lnTo>
                    <a:lnTo>
                      <a:pt x="52" y="2520"/>
                    </a:lnTo>
                    <a:lnTo>
                      <a:pt x="36" y="2600"/>
                    </a:lnTo>
                    <a:lnTo>
                      <a:pt x="23" y="2673"/>
                    </a:lnTo>
                    <a:lnTo>
                      <a:pt x="13" y="2741"/>
                    </a:lnTo>
                    <a:lnTo>
                      <a:pt x="6" y="2801"/>
                    </a:lnTo>
                    <a:lnTo>
                      <a:pt x="2" y="2855"/>
                    </a:lnTo>
                    <a:lnTo>
                      <a:pt x="0" y="2899"/>
                    </a:lnTo>
                    <a:lnTo>
                      <a:pt x="1" y="2937"/>
                    </a:lnTo>
                    <a:lnTo>
                      <a:pt x="4" y="2965"/>
                    </a:lnTo>
                    <a:lnTo>
                      <a:pt x="10" y="2982"/>
                    </a:lnTo>
                    <a:lnTo>
                      <a:pt x="27" y="3013"/>
                    </a:lnTo>
                    <a:lnTo>
                      <a:pt x="45" y="3043"/>
                    </a:lnTo>
                    <a:lnTo>
                      <a:pt x="64" y="3072"/>
                    </a:lnTo>
                    <a:lnTo>
                      <a:pt x="83" y="3100"/>
                    </a:lnTo>
                    <a:lnTo>
                      <a:pt x="102" y="3126"/>
                    </a:lnTo>
                    <a:lnTo>
                      <a:pt x="123" y="3152"/>
                    </a:lnTo>
                    <a:lnTo>
                      <a:pt x="144" y="3176"/>
                    </a:lnTo>
                    <a:lnTo>
                      <a:pt x="165" y="3200"/>
                    </a:lnTo>
                    <a:lnTo>
                      <a:pt x="187" y="3223"/>
                    </a:lnTo>
                    <a:lnTo>
                      <a:pt x="210" y="3244"/>
                    </a:lnTo>
                    <a:lnTo>
                      <a:pt x="231" y="3264"/>
                    </a:lnTo>
                    <a:lnTo>
                      <a:pt x="254" y="3284"/>
                    </a:lnTo>
                    <a:lnTo>
                      <a:pt x="278" y="3304"/>
                    </a:lnTo>
                    <a:lnTo>
                      <a:pt x="301" y="3321"/>
                    </a:lnTo>
                    <a:lnTo>
                      <a:pt x="324" y="3338"/>
                    </a:lnTo>
                    <a:lnTo>
                      <a:pt x="348" y="3354"/>
                    </a:lnTo>
                    <a:lnTo>
                      <a:pt x="372" y="3370"/>
                    </a:lnTo>
                    <a:lnTo>
                      <a:pt x="396" y="3384"/>
                    </a:lnTo>
                    <a:lnTo>
                      <a:pt x="418" y="3398"/>
                    </a:lnTo>
                    <a:lnTo>
                      <a:pt x="442" y="3410"/>
                    </a:lnTo>
                    <a:lnTo>
                      <a:pt x="466" y="3423"/>
                    </a:lnTo>
                    <a:lnTo>
                      <a:pt x="490" y="3434"/>
                    </a:lnTo>
                    <a:lnTo>
                      <a:pt x="512" y="3445"/>
                    </a:lnTo>
                    <a:lnTo>
                      <a:pt x="536" y="3455"/>
                    </a:lnTo>
                    <a:lnTo>
                      <a:pt x="559" y="3464"/>
                    </a:lnTo>
                    <a:lnTo>
                      <a:pt x="582" y="3472"/>
                    </a:lnTo>
                    <a:lnTo>
                      <a:pt x="603" y="3480"/>
                    </a:lnTo>
                    <a:lnTo>
                      <a:pt x="625" y="3488"/>
                    </a:lnTo>
                    <a:lnTo>
                      <a:pt x="667" y="3500"/>
                    </a:lnTo>
                    <a:lnTo>
                      <a:pt x="708" y="3510"/>
                    </a:lnTo>
                    <a:lnTo>
                      <a:pt x="753" y="3522"/>
                    </a:lnTo>
                    <a:lnTo>
                      <a:pt x="802" y="3535"/>
                    </a:lnTo>
                    <a:lnTo>
                      <a:pt x="852" y="3550"/>
                    </a:lnTo>
                    <a:lnTo>
                      <a:pt x="904" y="3566"/>
                    </a:lnTo>
                    <a:lnTo>
                      <a:pt x="959" y="3583"/>
                    </a:lnTo>
                    <a:lnTo>
                      <a:pt x="1015" y="3600"/>
                    </a:lnTo>
                    <a:lnTo>
                      <a:pt x="1072" y="3619"/>
                    </a:lnTo>
                    <a:lnTo>
                      <a:pt x="1130" y="3637"/>
                    </a:lnTo>
                    <a:lnTo>
                      <a:pt x="1190" y="3654"/>
                    </a:lnTo>
                    <a:lnTo>
                      <a:pt x="1250" y="3672"/>
                    </a:lnTo>
                    <a:lnTo>
                      <a:pt x="1312" y="3688"/>
                    </a:lnTo>
                    <a:lnTo>
                      <a:pt x="1374" y="3703"/>
                    </a:lnTo>
                    <a:lnTo>
                      <a:pt x="1436" y="3716"/>
                    </a:lnTo>
                    <a:lnTo>
                      <a:pt x="1499" y="3729"/>
                    </a:lnTo>
                    <a:lnTo>
                      <a:pt x="1530" y="3734"/>
                    </a:lnTo>
                    <a:lnTo>
                      <a:pt x="1562" y="3738"/>
                    </a:lnTo>
                    <a:lnTo>
                      <a:pt x="1593" y="3742"/>
                    </a:lnTo>
                    <a:lnTo>
                      <a:pt x="1624" y="3745"/>
                    </a:lnTo>
                    <a:lnTo>
                      <a:pt x="1678" y="3750"/>
                    </a:lnTo>
                    <a:lnTo>
                      <a:pt x="1733" y="3756"/>
                    </a:lnTo>
                    <a:lnTo>
                      <a:pt x="1791" y="3762"/>
                    </a:lnTo>
                    <a:lnTo>
                      <a:pt x="1850" y="3768"/>
                    </a:lnTo>
                    <a:lnTo>
                      <a:pt x="1910" y="3774"/>
                    </a:lnTo>
                    <a:lnTo>
                      <a:pt x="1972" y="3780"/>
                    </a:lnTo>
                    <a:lnTo>
                      <a:pt x="2035" y="3787"/>
                    </a:lnTo>
                    <a:lnTo>
                      <a:pt x="2098" y="3793"/>
                    </a:lnTo>
                    <a:lnTo>
                      <a:pt x="2162" y="3799"/>
                    </a:lnTo>
                    <a:lnTo>
                      <a:pt x="2225" y="3805"/>
                    </a:lnTo>
                    <a:lnTo>
                      <a:pt x="2289" y="3810"/>
                    </a:lnTo>
                    <a:lnTo>
                      <a:pt x="2351" y="3816"/>
                    </a:lnTo>
                    <a:lnTo>
                      <a:pt x="2413" y="3820"/>
                    </a:lnTo>
                    <a:lnTo>
                      <a:pt x="2473" y="3824"/>
                    </a:lnTo>
                    <a:lnTo>
                      <a:pt x="2532" y="3827"/>
                    </a:lnTo>
                    <a:lnTo>
                      <a:pt x="2590" y="3829"/>
                    </a:lnTo>
                    <a:lnTo>
                      <a:pt x="2620" y="3830"/>
                    </a:lnTo>
                    <a:lnTo>
                      <a:pt x="2649" y="3830"/>
                    </a:lnTo>
                    <a:lnTo>
                      <a:pt x="2678" y="3830"/>
                    </a:lnTo>
                    <a:lnTo>
                      <a:pt x="2708" y="3829"/>
                    </a:lnTo>
                    <a:lnTo>
                      <a:pt x="2768" y="3826"/>
                    </a:lnTo>
                    <a:lnTo>
                      <a:pt x="2828" y="3822"/>
                    </a:lnTo>
                    <a:lnTo>
                      <a:pt x="2887" y="3816"/>
                    </a:lnTo>
                    <a:lnTo>
                      <a:pt x="2947" y="3809"/>
                    </a:lnTo>
                    <a:lnTo>
                      <a:pt x="3007" y="3802"/>
                    </a:lnTo>
                    <a:lnTo>
                      <a:pt x="3066" y="3794"/>
                    </a:lnTo>
                    <a:lnTo>
                      <a:pt x="3125" y="3787"/>
                    </a:lnTo>
                    <a:lnTo>
                      <a:pt x="3184" y="3778"/>
                    </a:lnTo>
                    <a:lnTo>
                      <a:pt x="3243" y="3770"/>
                    </a:lnTo>
                    <a:lnTo>
                      <a:pt x="3301" y="3764"/>
                    </a:lnTo>
                    <a:lnTo>
                      <a:pt x="3358" y="3757"/>
                    </a:lnTo>
                    <a:lnTo>
                      <a:pt x="3416" y="3751"/>
                    </a:lnTo>
                    <a:lnTo>
                      <a:pt x="3474" y="3747"/>
                    </a:lnTo>
                    <a:lnTo>
                      <a:pt x="3531" y="3745"/>
                    </a:lnTo>
                    <a:lnTo>
                      <a:pt x="3582" y="3743"/>
                    </a:lnTo>
                    <a:lnTo>
                      <a:pt x="3637" y="3738"/>
                    </a:lnTo>
                    <a:lnTo>
                      <a:pt x="3696" y="3732"/>
                    </a:lnTo>
                    <a:lnTo>
                      <a:pt x="3759" y="3723"/>
                    </a:lnTo>
                    <a:lnTo>
                      <a:pt x="3825" y="3714"/>
                    </a:lnTo>
                    <a:lnTo>
                      <a:pt x="3893" y="3704"/>
                    </a:lnTo>
                    <a:lnTo>
                      <a:pt x="3961" y="3692"/>
                    </a:lnTo>
                    <a:lnTo>
                      <a:pt x="4029" y="3681"/>
                    </a:lnTo>
                    <a:lnTo>
                      <a:pt x="4097" y="3669"/>
                    </a:lnTo>
                    <a:lnTo>
                      <a:pt x="4164" y="3656"/>
                    </a:lnTo>
                    <a:lnTo>
                      <a:pt x="4230" y="3643"/>
                    </a:lnTo>
                    <a:lnTo>
                      <a:pt x="4292" y="3630"/>
                    </a:lnTo>
                    <a:lnTo>
                      <a:pt x="4349" y="3619"/>
                    </a:lnTo>
                    <a:lnTo>
                      <a:pt x="4403" y="3608"/>
                    </a:lnTo>
                    <a:lnTo>
                      <a:pt x="4453" y="3597"/>
                    </a:lnTo>
                    <a:lnTo>
                      <a:pt x="4495" y="3588"/>
                    </a:lnTo>
                    <a:lnTo>
                      <a:pt x="4557" y="3575"/>
                    </a:lnTo>
                    <a:lnTo>
                      <a:pt x="4622" y="3558"/>
                    </a:lnTo>
                    <a:lnTo>
                      <a:pt x="4691" y="3538"/>
                    </a:lnTo>
                    <a:lnTo>
                      <a:pt x="4763" y="3518"/>
                    </a:lnTo>
                    <a:lnTo>
                      <a:pt x="4799" y="3505"/>
                    </a:lnTo>
                    <a:lnTo>
                      <a:pt x="4836" y="3494"/>
                    </a:lnTo>
                    <a:lnTo>
                      <a:pt x="4872" y="3480"/>
                    </a:lnTo>
                    <a:lnTo>
                      <a:pt x="4908" y="3467"/>
                    </a:lnTo>
                    <a:lnTo>
                      <a:pt x="4946" y="3454"/>
                    </a:lnTo>
                    <a:lnTo>
                      <a:pt x="4982" y="3439"/>
                    </a:lnTo>
                    <a:lnTo>
                      <a:pt x="5018" y="3424"/>
                    </a:lnTo>
                    <a:lnTo>
                      <a:pt x="5053" y="3408"/>
                    </a:lnTo>
                    <a:lnTo>
                      <a:pt x="5088" y="3393"/>
                    </a:lnTo>
                    <a:lnTo>
                      <a:pt x="5122" y="3376"/>
                    </a:lnTo>
                    <a:lnTo>
                      <a:pt x="5155" y="3358"/>
                    </a:lnTo>
                    <a:lnTo>
                      <a:pt x="5188" y="3341"/>
                    </a:lnTo>
                    <a:lnTo>
                      <a:pt x="5219" y="3323"/>
                    </a:lnTo>
                    <a:lnTo>
                      <a:pt x="5249" y="3305"/>
                    </a:lnTo>
                    <a:lnTo>
                      <a:pt x="5278" y="3286"/>
                    </a:lnTo>
                    <a:lnTo>
                      <a:pt x="5306" y="3266"/>
                    </a:lnTo>
                    <a:lnTo>
                      <a:pt x="5332" y="3247"/>
                    </a:lnTo>
                    <a:lnTo>
                      <a:pt x="5356" y="3226"/>
                    </a:lnTo>
                    <a:lnTo>
                      <a:pt x="5379" y="3205"/>
                    </a:lnTo>
                    <a:lnTo>
                      <a:pt x="5399" y="3184"/>
                    </a:lnTo>
                    <a:lnTo>
                      <a:pt x="5418" y="3162"/>
                    </a:lnTo>
                    <a:lnTo>
                      <a:pt x="5434" y="3140"/>
                    </a:lnTo>
                    <a:lnTo>
                      <a:pt x="5448" y="3118"/>
                    </a:lnTo>
                    <a:lnTo>
                      <a:pt x="5460" y="3095"/>
                    </a:lnTo>
                    <a:lnTo>
                      <a:pt x="5466" y="3070"/>
                    </a:lnTo>
                    <a:lnTo>
                      <a:pt x="5469" y="3034"/>
                    </a:lnTo>
                    <a:lnTo>
                      <a:pt x="5468" y="2985"/>
                    </a:lnTo>
                    <a:lnTo>
                      <a:pt x="5463" y="2925"/>
                    </a:lnTo>
                    <a:lnTo>
                      <a:pt x="5455" y="2856"/>
                    </a:lnTo>
                    <a:lnTo>
                      <a:pt x="5444" y="2777"/>
                    </a:lnTo>
                    <a:lnTo>
                      <a:pt x="5427" y="2689"/>
                    </a:lnTo>
                    <a:lnTo>
                      <a:pt x="5408" y="2594"/>
                    </a:lnTo>
                    <a:lnTo>
                      <a:pt x="5385" y="2493"/>
                    </a:lnTo>
                    <a:lnTo>
                      <a:pt x="5357" y="2384"/>
                    </a:lnTo>
                    <a:lnTo>
                      <a:pt x="5326" y="2271"/>
                    </a:lnTo>
                    <a:lnTo>
                      <a:pt x="5291" y="2152"/>
                    </a:lnTo>
                    <a:lnTo>
                      <a:pt x="5252" y="2030"/>
                    </a:lnTo>
                    <a:lnTo>
                      <a:pt x="5208" y="1905"/>
                    </a:lnTo>
                    <a:lnTo>
                      <a:pt x="5161" y="1777"/>
                    </a:lnTo>
                    <a:lnTo>
                      <a:pt x="5109" y="1648"/>
                    </a:lnTo>
                    <a:lnTo>
                      <a:pt x="5053" y="1519"/>
                    </a:lnTo>
                    <a:lnTo>
                      <a:pt x="4992" y="1390"/>
                    </a:lnTo>
                    <a:lnTo>
                      <a:pt x="4928" y="1261"/>
                    </a:lnTo>
                    <a:lnTo>
                      <a:pt x="4859" y="1134"/>
                    </a:lnTo>
                    <a:lnTo>
                      <a:pt x="4785" y="1010"/>
                    </a:lnTo>
                    <a:lnTo>
                      <a:pt x="4708" y="889"/>
                    </a:lnTo>
                    <a:lnTo>
                      <a:pt x="4625" y="772"/>
                    </a:lnTo>
                    <a:lnTo>
                      <a:pt x="4538" y="661"/>
                    </a:lnTo>
                    <a:lnTo>
                      <a:pt x="4447" y="554"/>
                    </a:lnTo>
                    <a:lnTo>
                      <a:pt x="4350" y="455"/>
                    </a:lnTo>
                    <a:lnTo>
                      <a:pt x="4250" y="362"/>
                    </a:lnTo>
                    <a:lnTo>
                      <a:pt x="4144" y="278"/>
                    </a:lnTo>
                    <a:lnTo>
                      <a:pt x="4033" y="202"/>
                    </a:lnTo>
                    <a:lnTo>
                      <a:pt x="3918" y="136"/>
                    </a:lnTo>
                    <a:lnTo>
                      <a:pt x="3799" y="81"/>
                    </a:lnTo>
                    <a:lnTo>
                      <a:pt x="3674" y="36"/>
                    </a:lnTo>
                    <a:close/>
                  </a:path>
                </a:pathLst>
              </a:custGeom>
              <a:solidFill>
                <a:srgbClr val="C93A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47" name="Freeform 62"/>
              <p:cNvSpPr>
                <a:spLocks/>
              </p:cNvSpPr>
              <p:nvPr/>
            </p:nvSpPr>
            <p:spPr bwMode="auto">
              <a:xfrm>
                <a:off x="3268" y="1490"/>
                <a:ext cx="685" cy="426"/>
              </a:xfrm>
              <a:custGeom>
                <a:avLst/>
                <a:gdLst>
                  <a:gd name="T0" fmla="*/ 0 w 4792"/>
                  <a:gd name="T1" fmla="*/ 0 h 2984"/>
                  <a:gd name="T2" fmla="*/ 0 w 4792"/>
                  <a:gd name="T3" fmla="*/ 0 h 2984"/>
                  <a:gd name="T4" fmla="*/ 0 w 4792"/>
                  <a:gd name="T5" fmla="*/ 0 h 2984"/>
                  <a:gd name="T6" fmla="*/ 0 w 4792"/>
                  <a:gd name="T7" fmla="*/ 0 h 2984"/>
                  <a:gd name="T8" fmla="*/ 0 w 4792"/>
                  <a:gd name="T9" fmla="*/ 0 h 2984"/>
                  <a:gd name="T10" fmla="*/ 0 w 4792"/>
                  <a:gd name="T11" fmla="*/ 0 h 2984"/>
                  <a:gd name="T12" fmla="*/ 0 w 4792"/>
                  <a:gd name="T13" fmla="*/ 0 h 2984"/>
                  <a:gd name="T14" fmla="*/ 0 w 4792"/>
                  <a:gd name="T15" fmla="*/ 0 h 2984"/>
                  <a:gd name="T16" fmla="*/ 0 w 4792"/>
                  <a:gd name="T17" fmla="*/ 0 h 2984"/>
                  <a:gd name="T18" fmla="*/ 0 w 4792"/>
                  <a:gd name="T19" fmla="*/ 0 h 2984"/>
                  <a:gd name="T20" fmla="*/ 0 w 4792"/>
                  <a:gd name="T21" fmla="*/ 0 h 2984"/>
                  <a:gd name="T22" fmla="*/ 0 w 4792"/>
                  <a:gd name="T23" fmla="*/ 0 h 2984"/>
                  <a:gd name="T24" fmla="*/ 0 w 4792"/>
                  <a:gd name="T25" fmla="*/ 0 h 2984"/>
                  <a:gd name="T26" fmla="*/ 0 w 4792"/>
                  <a:gd name="T27" fmla="*/ 0 h 2984"/>
                  <a:gd name="T28" fmla="*/ 0 w 4792"/>
                  <a:gd name="T29" fmla="*/ 0 h 2984"/>
                  <a:gd name="T30" fmla="*/ 0 w 4792"/>
                  <a:gd name="T31" fmla="*/ 0 h 2984"/>
                  <a:gd name="T32" fmla="*/ 0 w 4792"/>
                  <a:gd name="T33" fmla="*/ 0 h 2984"/>
                  <a:gd name="T34" fmla="*/ 0 w 4792"/>
                  <a:gd name="T35" fmla="*/ 0 h 2984"/>
                  <a:gd name="T36" fmla="*/ 0 w 4792"/>
                  <a:gd name="T37" fmla="*/ 0 h 2984"/>
                  <a:gd name="T38" fmla="*/ 0 w 4792"/>
                  <a:gd name="T39" fmla="*/ 0 h 2984"/>
                  <a:gd name="T40" fmla="*/ 0 w 4792"/>
                  <a:gd name="T41" fmla="*/ 0 h 2984"/>
                  <a:gd name="T42" fmla="*/ 0 w 4792"/>
                  <a:gd name="T43" fmla="*/ 0 h 2984"/>
                  <a:gd name="T44" fmla="*/ 0 w 4792"/>
                  <a:gd name="T45" fmla="*/ 0 h 2984"/>
                  <a:gd name="T46" fmla="*/ 0 w 4792"/>
                  <a:gd name="T47" fmla="*/ 0 h 2984"/>
                  <a:gd name="T48" fmla="*/ 0 w 4792"/>
                  <a:gd name="T49" fmla="*/ 0 h 2984"/>
                  <a:gd name="T50" fmla="*/ 0 w 4792"/>
                  <a:gd name="T51" fmla="*/ 0 h 2984"/>
                  <a:gd name="T52" fmla="*/ 0 w 4792"/>
                  <a:gd name="T53" fmla="*/ 0 h 2984"/>
                  <a:gd name="T54" fmla="*/ 0 w 4792"/>
                  <a:gd name="T55" fmla="*/ 0 h 2984"/>
                  <a:gd name="T56" fmla="*/ 0 w 4792"/>
                  <a:gd name="T57" fmla="*/ 0 h 2984"/>
                  <a:gd name="T58" fmla="*/ 0 w 4792"/>
                  <a:gd name="T59" fmla="*/ 0 h 2984"/>
                  <a:gd name="T60" fmla="*/ 0 w 4792"/>
                  <a:gd name="T61" fmla="*/ 0 h 2984"/>
                  <a:gd name="T62" fmla="*/ 0 w 4792"/>
                  <a:gd name="T63" fmla="*/ 0 h 2984"/>
                  <a:gd name="T64" fmla="*/ 0 w 4792"/>
                  <a:gd name="T65" fmla="*/ 0 h 2984"/>
                  <a:gd name="T66" fmla="*/ 0 w 4792"/>
                  <a:gd name="T67" fmla="*/ 0 h 2984"/>
                  <a:gd name="T68" fmla="*/ 0 w 4792"/>
                  <a:gd name="T69" fmla="*/ 0 h 2984"/>
                  <a:gd name="T70" fmla="*/ 0 w 4792"/>
                  <a:gd name="T71" fmla="*/ 0 h 2984"/>
                  <a:gd name="T72" fmla="*/ 0 w 4792"/>
                  <a:gd name="T73" fmla="*/ 0 h 2984"/>
                  <a:gd name="T74" fmla="*/ 0 w 4792"/>
                  <a:gd name="T75" fmla="*/ 0 h 2984"/>
                  <a:gd name="T76" fmla="*/ 0 w 4792"/>
                  <a:gd name="T77" fmla="*/ 0 h 2984"/>
                  <a:gd name="T78" fmla="*/ 0 w 4792"/>
                  <a:gd name="T79" fmla="*/ 0 h 2984"/>
                  <a:gd name="T80" fmla="*/ 0 w 4792"/>
                  <a:gd name="T81" fmla="*/ 0 h 2984"/>
                  <a:gd name="T82" fmla="*/ 0 w 4792"/>
                  <a:gd name="T83" fmla="*/ 0 h 2984"/>
                  <a:gd name="T84" fmla="*/ 0 w 4792"/>
                  <a:gd name="T85" fmla="*/ 0 h 2984"/>
                  <a:gd name="T86" fmla="*/ 0 w 4792"/>
                  <a:gd name="T87" fmla="*/ 0 h 2984"/>
                  <a:gd name="T88" fmla="*/ 0 w 4792"/>
                  <a:gd name="T89" fmla="*/ 0 h 2984"/>
                  <a:gd name="T90" fmla="*/ 0 w 4792"/>
                  <a:gd name="T91" fmla="*/ 0 h 2984"/>
                  <a:gd name="T92" fmla="*/ 0 w 4792"/>
                  <a:gd name="T93" fmla="*/ 0 h 2984"/>
                  <a:gd name="T94" fmla="*/ 0 w 4792"/>
                  <a:gd name="T95" fmla="*/ 0 h 2984"/>
                  <a:gd name="T96" fmla="*/ 0 w 4792"/>
                  <a:gd name="T97" fmla="*/ 0 h 2984"/>
                  <a:gd name="T98" fmla="*/ 0 w 4792"/>
                  <a:gd name="T99" fmla="*/ 0 h 2984"/>
                  <a:gd name="T100" fmla="*/ 0 w 4792"/>
                  <a:gd name="T101" fmla="*/ 0 h 2984"/>
                  <a:gd name="T102" fmla="*/ 0 w 4792"/>
                  <a:gd name="T103" fmla="*/ 0 h 2984"/>
                  <a:gd name="T104" fmla="*/ 0 w 4792"/>
                  <a:gd name="T105" fmla="*/ 0 h 2984"/>
                  <a:gd name="T106" fmla="*/ 0 w 4792"/>
                  <a:gd name="T107" fmla="*/ 0 h 2984"/>
                  <a:gd name="T108" fmla="*/ 0 w 4792"/>
                  <a:gd name="T109" fmla="*/ 0 h 2984"/>
                  <a:gd name="T110" fmla="*/ 0 w 4792"/>
                  <a:gd name="T111" fmla="*/ 0 h 298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4792"/>
                  <a:gd name="T169" fmla="*/ 0 h 2984"/>
                  <a:gd name="T170" fmla="*/ 4792 w 4792"/>
                  <a:gd name="T171" fmla="*/ 2984 h 298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4792" h="2984">
                    <a:moveTo>
                      <a:pt x="4783" y="2731"/>
                    </a:moveTo>
                    <a:lnTo>
                      <a:pt x="4788" y="2711"/>
                    </a:lnTo>
                    <a:lnTo>
                      <a:pt x="4791" y="2683"/>
                    </a:lnTo>
                    <a:lnTo>
                      <a:pt x="4792" y="2646"/>
                    </a:lnTo>
                    <a:lnTo>
                      <a:pt x="4788" y="2602"/>
                    </a:lnTo>
                    <a:lnTo>
                      <a:pt x="4784" y="2550"/>
                    </a:lnTo>
                    <a:lnTo>
                      <a:pt x="4776" y="2491"/>
                    </a:lnTo>
                    <a:lnTo>
                      <a:pt x="4767" y="2425"/>
                    </a:lnTo>
                    <a:lnTo>
                      <a:pt x="4753" y="2353"/>
                    </a:lnTo>
                    <a:lnTo>
                      <a:pt x="4738" y="2276"/>
                    </a:lnTo>
                    <a:lnTo>
                      <a:pt x="4720" y="2193"/>
                    </a:lnTo>
                    <a:lnTo>
                      <a:pt x="4699" y="2105"/>
                    </a:lnTo>
                    <a:lnTo>
                      <a:pt x="4675" y="2013"/>
                    </a:lnTo>
                    <a:lnTo>
                      <a:pt x="4649" y="1918"/>
                    </a:lnTo>
                    <a:lnTo>
                      <a:pt x="4620" y="1819"/>
                    </a:lnTo>
                    <a:lnTo>
                      <a:pt x="4588" y="1717"/>
                    </a:lnTo>
                    <a:lnTo>
                      <a:pt x="4553" y="1613"/>
                    </a:lnTo>
                    <a:lnTo>
                      <a:pt x="4516" y="1508"/>
                    </a:lnTo>
                    <a:lnTo>
                      <a:pt x="4475" y="1400"/>
                    </a:lnTo>
                    <a:lnTo>
                      <a:pt x="4432" y="1291"/>
                    </a:lnTo>
                    <a:lnTo>
                      <a:pt x="4385" y="1182"/>
                    </a:lnTo>
                    <a:lnTo>
                      <a:pt x="4337" y="1073"/>
                    </a:lnTo>
                    <a:lnTo>
                      <a:pt x="4285" y="964"/>
                    </a:lnTo>
                    <a:lnTo>
                      <a:pt x="4230" y="856"/>
                    </a:lnTo>
                    <a:lnTo>
                      <a:pt x="4173" y="750"/>
                    </a:lnTo>
                    <a:lnTo>
                      <a:pt x="4112" y="644"/>
                    </a:lnTo>
                    <a:lnTo>
                      <a:pt x="4049" y="542"/>
                    </a:lnTo>
                    <a:lnTo>
                      <a:pt x="3981" y="442"/>
                    </a:lnTo>
                    <a:lnTo>
                      <a:pt x="3912" y="345"/>
                    </a:lnTo>
                    <a:lnTo>
                      <a:pt x="3839" y="252"/>
                    </a:lnTo>
                    <a:lnTo>
                      <a:pt x="3763" y="163"/>
                    </a:lnTo>
                    <a:lnTo>
                      <a:pt x="3685" y="79"/>
                    </a:lnTo>
                    <a:lnTo>
                      <a:pt x="3602" y="0"/>
                    </a:lnTo>
                    <a:lnTo>
                      <a:pt x="3578" y="2"/>
                    </a:lnTo>
                    <a:lnTo>
                      <a:pt x="3541" y="4"/>
                    </a:lnTo>
                    <a:lnTo>
                      <a:pt x="3492" y="6"/>
                    </a:lnTo>
                    <a:lnTo>
                      <a:pt x="3431" y="8"/>
                    </a:lnTo>
                    <a:lnTo>
                      <a:pt x="3279" y="10"/>
                    </a:lnTo>
                    <a:lnTo>
                      <a:pt x="3092" y="11"/>
                    </a:lnTo>
                    <a:lnTo>
                      <a:pt x="2875" y="11"/>
                    </a:lnTo>
                    <a:lnTo>
                      <a:pt x="2637" y="11"/>
                    </a:lnTo>
                    <a:lnTo>
                      <a:pt x="2383" y="11"/>
                    </a:lnTo>
                    <a:lnTo>
                      <a:pt x="2120" y="10"/>
                    </a:lnTo>
                    <a:lnTo>
                      <a:pt x="1855" y="11"/>
                    </a:lnTo>
                    <a:lnTo>
                      <a:pt x="1594" y="11"/>
                    </a:lnTo>
                    <a:lnTo>
                      <a:pt x="1343" y="13"/>
                    </a:lnTo>
                    <a:lnTo>
                      <a:pt x="1111" y="15"/>
                    </a:lnTo>
                    <a:lnTo>
                      <a:pt x="1003" y="18"/>
                    </a:lnTo>
                    <a:lnTo>
                      <a:pt x="902" y="20"/>
                    </a:lnTo>
                    <a:lnTo>
                      <a:pt x="808" y="23"/>
                    </a:lnTo>
                    <a:lnTo>
                      <a:pt x="723" y="25"/>
                    </a:lnTo>
                    <a:lnTo>
                      <a:pt x="647" y="29"/>
                    </a:lnTo>
                    <a:lnTo>
                      <a:pt x="582" y="33"/>
                    </a:lnTo>
                    <a:lnTo>
                      <a:pt x="527" y="37"/>
                    </a:lnTo>
                    <a:lnTo>
                      <a:pt x="483" y="42"/>
                    </a:lnTo>
                    <a:lnTo>
                      <a:pt x="449" y="72"/>
                    </a:lnTo>
                    <a:lnTo>
                      <a:pt x="415" y="103"/>
                    </a:lnTo>
                    <a:lnTo>
                      <a:pt x="381" y="134"/>
                    </a:lnTo>
                    <a:lnTo>
                      <a:pt x="349" y="166"/>
                    </a:lnTo>
                    <a:lnTo>
                      <a:pt x="316" y="198"/>
                    </a:lnTo>
                    <a:lnTo>
                      <a:pt x="285" y="232"/>
                    </a:lnTo>
                    <a:lnTo>
                      <a:pt x="254" y="265"/>
                    </a:lnTo>
                    <a:lnTo>
                      <a:pt x="223" y="299"/>
                    </a:lnTo>
                    <a:lnTo>
                      <a:pt x="193" y="333"/>
                    </a:lnTo>
                    <a:lnTo>
                      <a:pt x="164" y="368"/>
                    </a:lnTo>
                    <a:lnTo>
                      <a:pt x="135" y="403"/>
                    </a:lnTo>
                    <a:lnTo>
                      <a:pt x="107" y="438"/>
                    </a:lnTo>
                    <a:lnTo>
                      <a:pt x="79" y="475"/>
                    </a:lnTo>
                    <a:lnTo>
                      <a:pt x="52" y="511"/>
                    </a:lnTo>
                    <a:lnTo>
                      <a:pt x="26" y="547"/>
                    </a:lnTo>
                    <a:lnTo>
                      <a:pt x="0" y="584"/>
                    </a:lnTo>
                    <a:lnTo>
                      <a:pt x="10" y="614"/>
                    </a:lnTo>
                    <a:lnTo>
                      <a:pt x="23" y="645"/>
                    </a:lnTo>
                    <a:lnTo>
                      <a:pt x="36" y="675"/>
                    </a:lnTo>
                    <a:lnTo>
                      <a:pt x="49" y="705"/>
                    </a:lnTo>
                    <a:lnTo>
                      <a:pt x="65" y="735"/>
                    </a:lnTo>
                    <a:lnTo>
                      <a:pt x="81" y="764"/>
                    </a:lnTo>
                    <a:lnTo>
                      <a:pt x="99" y="793"/>
                    </a:lnTo>
                    <a:lnTo>
                      <a:pt x="118" y="822"/>
                    </a:lnTo>
                    <a:lnTo>
                      <a:pt x="136" y="850"/>
                    </a:lnTo>
                    <a:lnTo>
                      <a:pt x="156" y="878"/>
                    </a:lnTo>
                    <a:lnTo>
                      <a:pt x="178" y="905"/>
                    </a:lnTo>
                    <a:lnTo>
                      <a:pt x="199" y="931"/>
                    </a:lnTo>
                    <a:lnTo>
                      <a:pt x="221" y="956"/>
                    </a:lnTo>
                    <a:lnTo>
                      <a:pt x="245" y="981"/>
                    </a:lnTo>
                    <a:lnTo>
                      <a:pt x="267" y="1006"/>
                    </a:lnTo>
                    <a:lnTo>
                      <a:pt x="292" y="1029"/>
                    </a:lnTo>
                    <a:lnTo>
                      <a:pt x="317" y="1052"/>
                    </a:lnTo>
                    <a:lnTo>
                      <a:pt x="343" y="1073"/>
                    </a:lnTo>
                    <a:lnTo>
                      <a:pt x="369" y="1094"/>
                    </a:lnTo>
                    <a:lnTo>
                      <a:pt x="395" y="1114"/>
                    </a:lnTo>
                    <a:lnTo>
                      <a:pt x="421" y="1132"/>
                    </a:lnTo>
                    <a:lnTo>
                      <a:pt x="448" y="1149"/>
                    </a:lnTo>
                    <a:lnTo>
                      <a:pt x="476" y="1165"/>
                    </a:lnTo>
                    <a:lnTo>
                      <a:pt x="503" y="1181"/>
                    </a:lnTo>
                    <a:lnTo>
                      <a:pt x="531" y="1194"/>
                    </a:lnTo>
                    <a:lnTo>
                      <a:pt x="560" y="1207"/>
                    </a:lnTo>
                    <a:lnTo>
                      <a:pt x="588" y="1218"/>
                    </a:lnTo>
                    <a:lnTo>
                      <a:pt x="616" y="1227"/>
                    </a:lnTo>
                    <a:lnTo>
                      <a:pt x="645" y="1236"/>
                    </a:lnTo>
                    <a:lnTo>
                      <a:pt x="673" y="1242"/>
                    </a:lnTo>
                    <a:lnTo>
                      <a:pt x="701" y="1247"/>
                    </a:lnTo>
                    <a:lnTo>
                      <a:pt x="729" y="1250"/>
                    </a:lnTo>
                    <a:lnTo>
                      <a:pt x="767" y="1253"/>
                    </a:lnTo>
                    <a:lnTo>
                      <a:pt x="804" y="1253"/>
                    </a:lnTo>
                    <a:lnTo>
                      <a:pt x="841" y="1253"/>
                    </a:lnTo>
                    <a:lnTo>
                      <a:pt x="879" y="1252"/>
                    </a:lnTo>
                    <a:lnTo>
                      <a:pt x="917" y="1250"/>
                    </a:lnTo>
                    <a:lnTo>
                      <a:pt x="957" y="1249"/>
                    </a:lnTo>
                    <a:lnTo>
                      <a:pt x="995" y="1248"/>
                    </a:lnTo>
                    <a:lnTo>
                      <a:pt x="1033" y="1248"/>
                    </a:lnTo>
                    <a:lnTo>
                      <a:pt x="1070" y="1250"/>
                    </a:lnTo>
                    <a:lnTo>
                      <a:pt x="1108" y="1253"/>
                    </a:lnTo>
                    <a:lnTo>
                      <a:pt x="1126" y="1256"/>
                    </a:lnTo>
                    <a:lnTo>
                      <a:pt x="1144" y="1259"/>
                    </a:lnTo>
                    <a:lnTo>
                      <a:pt x="1161" y="1262"/>
                    </a:lnTo>
                    <a:lnTo>
                      <a:pt x="1179" y="1268"/>
                    </a:lnTo>
                    <a:lnTo>
                      <a:pt x="1196" y="1273"/>
                    </a:lnTo>
                    <a:lnTo>
                      <a:pt x="1213" y="1279"/>
                    </a:lnTo>
                    <a:lnTo>
                      <a:pt x="1229" y="1286"/>
                    </a:lnTo>
                    <a:lnTo>
                      <a:pt x="1246" y="1294"/>
                    </a:lnTo>
                    <a:lnTo>
                      <a:pt x="1262" y="1303"/>
                    </a:lnTo>
                    <a:lnTo>
                      <a:pt x="1277" y="1313"/>
                    </a:lnTo>
                    <a:lnTo>
                      <a:pt x="1293" y="1323"/>
                    </a:lnTo>
                    <a:lnTo>
                      <a:pt x="1307" y="1336"/>
                    </a:lnTo>
                    <a:lnTo>
                      <a:pt x="1321" y="1350"/>
                    </a:lnTo>
                    <a:lnTo>
                      <a:pt x="1335" y="1365"/>
                    </a:lnTo>
                    <a:lnTo>
                      <a:pt x="1347" y="1381"/>
                    </a:lnTo>
                    <a:lnTo>
                      <a:pt x="1359" y="1399"/>
                    </a:lnTo>
                    <a:lnTo>
                      <a:pt x="1370" y="1419"/>
                    </a:lnTo>
                    <a:lnTo>
                      <a:pt x="1381" y="1438"/>
                    </a:lnTo>
                    <a:lnTo>
                      <a:pt x="1392" y="1459"/>
                    </a:lnTo>
                    <a:lnTo>
                      <a:pt x="1402" y="1480"/>
                    </a:lnTo>
                    <a:lnTo>
                      <a:pt x="1440" y="1572"/>
                    </a:lnTo>
                    <a:lnTo>
                      <a:pt x="1479" y="1666"/>
                    </a:lnTo>
                    <a:lnTo>
                      <a:pt x="1488" y="1690"/>
                    </a:lnTo>
                    <a:lnTo>
                      <a:pt x="1498" y="1712"/>
                    </a:lnTo>
                    <a:lnTo>
                      <a:pt x="1509" y="1734"/>
                    </a:lnTo>
                    <a:lnTo>
                      <a:pt x="1520" y="1757"/>
                    </a:lnTo>
                    <a:lnTo>
                      <a:pt x="1531" y="1777"/>
                    </a:lnTo>
                    <a:lnTo>
                      <a:pt x="1544" y="1797"/>
                    </a:lnTo>
                    <a:lnTo>
                      <a:pt x="1556" y="1817"/>
                    </a:lnTo>
                    <a:lnTo>
                      <a:pt x="1569" y="1835"/>
                    </a:lnTo>
                    <a:lnTo>
                      <a:pt x="1583" y="1852"/>
                    </a:lnTo>
                    <a:lnTo>
                      <a:pt x="1598" y="1868"/>
                    </a:lnTo>
                    <a:lnTo>
                      <a:pt x="1614" y="1882"/>
                    </a:lnTo>
                    <a:lnTo>
                      <a:pt x="1630" y="1895"/>
                    </a:lnTo>
                    <a:lnTo>
                      <a:pt x="1648" y="1907"/>
                    </a:lnTo>
                    <a:lnTo>
                      <a:pt x="1668" y="1916"/>
                    </a:lnTo>
                    <a:lnTo>
                      <a:pt x="1687" y="1923"/>
                    </a:lnTo>
                    <a:lnTo>
                      <a:pt x="1708" y="1929"/>
                    </a:lnTo>
                    <a:lnTo>
                      <a:pt x="1737" y="1935"/>
                    </a:lnTo>
                    <a:lnTo>
                      <a:pt x="1762" y="1937"/>
                    </a:lnTo>
                    <a:lnTo>
                      <a:pt x="1785" y="1937"/>
                    </a:lnTo>
                    <a:lnTo>
                      <a:pt x="1807" y="1935"/>
                    </a:lnTo>
                    <a:lnTo>
                      <a:pt x="1827" y="1930"/>
                    </a:lnTo>
                    <a:lnTo>
                      <a:pt x="1844" y="1924"/>
                    </a:lnTo>
                    <a:lnTo>
                      <a:pt x="1860" y="1916"/>
                    </a:lnTo>
                    <a:lnTo>
                      <a:pt x="1874" y="1907"/>
                    </a:lnTo>
                    <a:lnTo>
                      <a:pt x="1888" y="1894"/>
                    </a:lnTo>
                    <a:lnTo>
                      <a:pt x="1899" y="1882"/>
                    </a:lnTo>
                    <a:lnTo>
                      <a:pt x="1908" y="1867"/>
                    </a:lnTo>
                    <a:lnTo>
                      <a:pt x="1918" y="1852"/>
                    </a:lnTo>
                    <a:lnTo>
                      <a:pt x="1926" y="1835"/>
                    </a:lnTo>
                    <a:lnTo>
                      <a:pt x="1933" y="1818"/>
                    </a:lnTo>
                    <a:lnTo>
                      <a:pt x="1939" y="1799"/>
                    </a:lnTo>
                    <a:lnTo>
                      <a:pt x="1946" y="1779"/>
                    </a:lnTo>
                    <a:lnTo>
                      <a:pt x="1964" y="1698"/>
                    </a:lnTo>
                    <a:lnTo>
                      <a:pt x="1984" y="1615"/>
                    </a:lnTo>
                    <a:lnTo>
                      <a:pt x="1989" y="1595"/>
                    </a:lnTo>
                    <a:lnTo>
                      <a:pt x="1995" y="1576"/>
                    </a:lnTo>
                    <a:lnTo>
                      <a:pt x="2002" y="1557"/>
                    </a:lnTo>
                    <a:lnTo>
                      <a:pt x="2010" y="1539"/>
                    </a:lnTo>
                    <a:lnTo>
                      <a:pt x="2019" y="1522"/>
                    </a:lnTo>
                    <a:lnTo>
                      <a:pt x="2028" y="1505"/>
                    </a:lnTo>
                    <a:lnTo>
                      <a:pt x="2040" y="1491"/>
                    </a:lnTo>
                    <a:lnTo>
                      <a:pt x="2051" y="1478"/>
                    </a:lnTo>
                    <a:lnTo>
                      <a:pt x="2063" y="1466"/>
                    </a:lnTo>
                    <a:lnTo>
                      <a:pt x="2077" y="1456"/>
                    </a:lnTo>
                    <a:lnTo>
                      <a:pt x="2091" y="1448"/>
                    </a:lnTo>
                    <a:lnTo>
                      <a:pt x="2106" y="1438"/>
                    </a:lnTo>
                    <a:lnTo>
                      <a:pt x="2122" y="1431"/>
                    </a:lnTo>
                    <a:lnTo>
                      <a:pt x="2139" y="1425"/>
                    </a:lnTo>
                    <a:lnTo>
                      <a:pt x="2156" y="1419"/>
                    </a:lnTo>
                    <a:lnTo>
                      <a:pt x="2174" y="1413"/>
                    </a:lnTo>
                    <a:lnTo>
                      <a:pt x="2193" y="1408"/>
                    </a:lnTo>
                    <a:lnTo>
                      <a:pt x="2212" y="1405"/>
                    </a:lnTo>
                    <a:lnTo>
                      <a:pt x="2232" y="1401"/>
                    </a:lnTo>
                    <a:lnTo>
                      <a:pt x="2253" y="1398"/>
                    </a:lnTo>
                    <a:lnTo>
                      <a:pt x="2293" y="1394"/>
                    </a:lnTo>
                    <a:lnTo>
                      <a:pt x="2335" y="1391"/>
                    </a:lnTo>
                    <a:lnTo>
                      <a:pt x="2379" y="1390"/>
                    </a:lnTo>
                    <a:lnTo>
                      <a:pt x="2421" y="1389"/>
                    </a:lnTo>
                    <a:lnTo>
                      <a:pt x="2463" y="1389"/>
                    </a:lnTo>
                    <a:lnTo>
                      <a:pt x="2505" y="1389"/>
                    </a:lnTo>
                    <a:lnTo>
                      <a:pt x="2545" y="1389"/>
                    </a:lnTo>
                    <a:lnTo>
                      <a:pt x="2583" y="1388"/>
                    </a:lnTo>
                    <a:lnTo>
                      <a:pt x="2619" y="1387"/>
                    </a:lnTo>
                    <a:lnTo>
                      <a:pt x="2652" y="1383"/>
                    </a:lnTo>
                    <a:lnTo>
                      <a:pt x="2686" y="1379"/>
                    </a:lnTo>
                    <a:lnTo>
                      <a:pt x="2721" y="1374"/>
                    </a:lnTo>
                    <a:lnTo>
                      <a:pt x="2757" y="1368"/>
                    </a:lnTo>
                    <a:lnTo>
                      <a:pt x="2794" y="1361"/>
                    </a:lnTo>
                    <a:lnTo>
                      <a:pt x="2872" y="1345"/>
                    </a:lnTo>
                    <a:lnTo>
                      <a:pt x="2951" y="1330"/>
                    </a:lnTo>
                    <a:lnTo>
                      <a:pt x="2991" y="1322"/>
                    </a:lnTo>
                    <a:lnTo>
                      <a:pt x="3032" y="1315"/>
                    </a:lnTo>
                    <a:lnTo>
                      <a:pt x="3072" y="1308"/>
                    </a:lnTo>
                    <a:lnTo>
                      <a:pt x="3112" y="1303"/>
                    </a:lnTo>
                    <a:lnTo>
                      <a:pt x="3152" y="1298"/>
                    </a:lnTo>
                    <a:lnTo>
                      <a:pt x="3191" y="1295"/>
                    </a:lnTo>
                    <a:lnTo>
                      <a:pt x="3229" y="1292"/>
                    </a:lnTo>
                    <a:lnTo>
                      <a:pt x="3267" y="1292"/>
                    </a:lnTo>
                    <a:lnTo>
                      <a:pt x="3303" y="1295"/>
                    </a:lnTo>
                    <a:lnTo>
                      <a:pt x="3338" y="1298"/>
                    </a:lnTo>
                    <a:lnTo>
                      <a:pt x="3372" y="1304"/>
                    </a:lnTo>
                    <a:lnTo>
                      <a:pt x="3404" y="1313"/>
                    </a:lnTo>
                    <a:lnTo>
                      <a:pt x="3434" y="1325"/>
                    </a:lnTo>
                    <a:lnTo>
                      <a:pt x="3462" y="1338"/>
                    </a:lnTo>
                    <a:lnTo>
                      <a:pt x="3487" y="1356"/>
                    </a:lnTo>
                    <a:lnTo>
                      <a:pt x="3511" y="1376"/>
                    </a:lnTo>
                    <a:lnTo>
                      <a:pt x="3532" y="1401"/>
                    </a:lnTo>
                    <a:lnTo>
                      <a:pt x="3550" y="1429"/>
                    </a:lnTo>
                    <a:lnTo>
                      <a:pt x="3566" y="1460"/>
                    </a:lnTo>
                    <a:lnTo>
                      <a:pt x="3579" y="1496"/>
                    </a:lnTo>
                    <a:lnTo>
                      <a:pt x="3589" y="1536"/>
                    </a:lnTo>
                    <a:lnTo>
                      <a:pt x="3595" y="1582"/>
                    </a:lnTo>
                    <a:lnTo>
                      <a:pt x="3597" y="1631"/>
                    </a:lnTo>
                    <a:lnTo>
                      <a:pt x="3596" y="1685"/>
                    </a:lnTo>
                    <a:lnTo>
                      <a:pt x="3631" y="1678"/>
                    </a:lnTo>
                    <a:lnTo>
                      <a:pt x="3663" y="1670"/>
                    </a:lnTo>
                    <a:lnTo>
                      <a:pt x="3693" y="1663"/>
                    </a:lnTo>
                    <a:lnTo>
                      <a:pt x="3720" y="1654"/>
                    </a:lnTo>
                    <a:lnTo>
                      <a:pt x="3746" y="1646"/>
                    </a:lnTo>
                    <a:lnTo>
                      <a:pt x="3768" y="1637"/>
                    </a:lnTo>
                    <a:lnTo>
                      <a:pt x="3779" y="1632"/>
                    </a:lnTo>
                    <a:lnTo>
                      <a:pt x="3789" y="1626"/>
                    </a:lnTo>
                    <a:lnTo>
                      <a:pt x="3799" y="1620"/>
                    </a:lnTo>
                    <a:lnTo>
                      <a:pt x="3809" y="1614"/>
                    </a:lnTo>
                    <a:lnTo>
                      <a:pt x="3817" y="1608"/>
                    </a:lnTo>
                    <a:lnTo>
                      <a:pt x="3825" y="1601"/>
                    </a:lnTo>
                    <a:lnTo>
                      <a:pt x="3834" y="1593"/>
                    </a:lnTo>
                    <a:lnTo>
                      <a:pt x="3842" y="1585"/>
                    </a:lnTo>
                    <a:lnTo>
                      <a:pt x="3849" y="1577"/>
                    </a:lnTo>
                    <a:lnTo>
                      <a:pt x="3855" y="1568"/>
                    </a:lnTo>
                    <a:lnTo>
                      <a:pt x="3863" y="1557"/>
                    </a:lnTo>
                    <a:lnTo>
                      <a:pt x="3869" y="1547"/>
                    </a:lnTo>
                    <a:lnTo>
                      <a:pt x="3874" y="1535"/>
                    </a:lnTo>
                    <a:lnTo>
                      <a:pt x="3880" y="1524"/>
                    </a:lnTo>
                    <a:lnTo>
                      <a:pt x="3885" y="1512"/>
                    </a:lnTo>
                    <a:lnTo>
                      <a:pt x="3890" y="1497"/>
                    </a:lnTo>
                    <a:lnTo>
                      <a:pt x="3900" y="1468"/>
                    </a:lnTo>
                    <a:lnTo>
                      <a:pt x="3908" y="1435"/>
                    </a:lnTo>
                    <a:lnTo>
                      <a:pt x="3911" y="1422"/>
                    </a:lnTo>
                    <a:lnTo>
                      <a:pt x="3912" y="1408"/>
                    </a:lnTo>
                    <a:lnTo>
                      <a:pt x="3913" y="1394"/>
                    </a:lnTo>
                    <a:lnTo>
                      <a:pt x="3914" y="1379"/>
                    </a:lnTo>
                    <a:lnTo>
                      <a:pt x="3914" y="1350"/>
                    </a:lnTo>
                    <a:lnTo>
                      <a:pt x="3912" y="1320"/>
                    </a:lnTo>
                    <a:lnTo>
                      <a:pt x="3909" y="1290"/>
                    </a:lnTo>
                    <a:lnTo>
                      <a:pt x="3907" y="1259"/>
                    </a:lnTo>
                    <a:lnTo>
                      <a:pt x="3905" y="1229"/>
                    </a:lnTo>
                    <a:lnTo>
                      <a:pt x="3904" y="1200"/>
                    </a:lnTo>
                    <a:lnTo>
                      <a:pt x="3904" y="1186"/>
                    </a:lnTo>
                    <a:lnTo>
                      <a:pt x="3905" y="1171"/>
                    </a:lnTo>
                    <a:lnTo>
                      <a:pt x="3906" y="1158"/>
                    </a:lnTo>
                    <a:lnTo>
                      <a:pt x="3908" y="1145"/>
                    </a:lnTo>
                    <a:lnTo>
                      <a:pt x="3910" y="1131"/>
                    </a:lnTo>
                    <a:lnTo>
                      <a:pt x="3914" y="1119"/>
                    </a:lnTo>
                    <a:lnTo>
                      <a:pt x="3918" y="1107"/>
                    </a:lnTo>
                    <a:lnTo>
                      <a:pt x="3925" y="1096"/>
                    </a:lnTo>
                    <a:lnTo>
                      <a:pt x="3931" y="1085"/>
                    </a:lnTo>
                    <a:lnTo>
                      <a:pt x="3939" y="1075"/>
                    </a:lnTo>
                    <a:lnTo>
                      <a:pt x="3948" y="1065"/>
                    </a:lnTo>
                    <a:lnTo>
                      <a:pt x="3959" y="1057"/>
                    </a:lnTo>
                    <a:lnTo>
                      <a:pt x="3971" y="1048"/>
                    </a:lnTo>
                    <a:lnTo>
                      <a:pt x="3984" y="1041"/>
                    </a:lnTo>
                    <a:lnTo>
                      <a:pt x="3999" y="1035"/>
                    </a:lnTo>
                    <a:lnTo>
                      <a:pt x="4017" y="1030"/>
                    </a:lnTo>
                    <a:lnTo>
                      <a:pt x="4043" y="1053"/>
                    </a:lnTo>
                    <a:lnTo>
                      <a:pt x="4068" y="1076"/>
                    </a:lnTo>
                    <a:lnTo>
                      <a:pt x="4092" y="1101"/>
                    </a:lnTo>
                    <a:lnTo>
                      <a:pt x="4115" y="1126"/>
                    </a:lnTo>
                    <a:lnTo>
                      <a:pt x="4135" y="1152"/>
                    </a:lnTo>
                    <a:lnTo>
                      <a:pt x="4155" y="1179"/>
                    </a:lnTo>
                    <a:lnTo>
                      <a:pt x="4174" y="1206"/>
                    </a:lnTo>
                    <a:lnTo>
                      <a:pt x="4190" y="1234"/>
                    </a:lnTo>
                    <a:lnTo>
                      <a:pt x="4206" y="1261"/>
                    </a:lnTo>
                    <a:lnTo>
                      <a:pt x="4220" y="1290"/>
                    </a:lnTo>
                    <a:lnTo>
                      <a:pt x="4234" y="1319"/>
                    </a:lnTo>
                    <a:lnTo>
                      <a:pt x="4246" y="1349"/>
                    </a:lnTo>
                    <a:lnTo>
                      <a:pt x="4257" y="1380"/>
                    </a:lnTo>
                    <a:lnTo>
                      <a:pt x="4268" y="1410"/>
                    </a:lnTo>
                    <a:lnTo>
                      <a:pt x="4277" y="1441"/>
                    </a:lnTo>
                    <a:lnTo>
                      <a:pt x="4285" y="1473"/>
                    </a:lnTo>
                    <a:lnTo>
                      <a:pt x="4293" y="1504"/>
                    </a:lnTo>
                    <a:lnTo>
                      <a:pt x="4301" y="1536"/>
                    </a:lnTo>
                    <a:lnTo>
                      <a:pt x="4307" y="1569"/>
                    </a:lnTo>
                    <a:lnTo>
                      <a:pt x="4313" y="1602"/>
                    </a:lnTo>
                    <a:lnTo>
                      <a:pt x="4323" y="1667"/>
                    </a:lnTo>
                    <a:lnTo>
                      <a:pt x="4332" y="1733"/>
                    </a:lnTo>
                    <a:lnTo>
                      <a:pt x="4339" y="1799"/>
                    </a:lnTo>
                    <a:lnTo>
                      <a:pt x="4345" y="1864"/>
                    </a:lnTo>
                    <a:lnTo>
                      <a:pt x="4350" y="1930"/>
                    </a:lnTo>
                    <a:lnTo>
                      <a:pt x="4356" y="1996"/>
                    </a:lnTo>
                    <a:lnTo>
                      <a:pt x="4364" y="2056"/>
                    </a:lnTo>
                    <a:lnTo>
                      <a:pt x="4372" y="2117"/>
                    </a:lnTo>
                    <a:lnTo>
                      <a:pt x="4382" y="2178"/>
                    </a:lnTo>
                    <a:lnTo>
                      <a:pt x="4394" y="2240"/>
                    </a:lnTo>
                    <a:lnTo>
                      <a:pt x="4405" y="2301"/>
                    </a:lnTo>
                    <a:lnTo>
                      <a:pt x="4417" y="2363"/>
                    </a:lnTo>
                    <a:lnTo>
                      <a:pt x="4431" y="2425"/>
                    </a:lnTo>
                    <a:lnTo>
                      <a:pt x="4443" y="2488"/>
                    </a:lnTo>
                    <a:lnTo>
                      <a:pt x="4456" y="2550"/>
                    </a:lnTo>
                    <a:lnTo>
                      <a:pt x="4466" y="2612"/>
                    </a:lnTo>
                    <a:lnTo>
                      <a:pt x="4476" y="2675"/>
                    </a:lnTo>
                    <a:lnTo>
                      <a:pt x="4486" y="2737"/>
                    </a:lnTo>
                    <a:lnTo>
                      <a:pt x="4492" y="2799"/>
                    </a:lnTo>
                    <a:lnTo>
                      <a:pt x="4497" y="2861"/>
                    </a:lnTo>
                    <a:lnTo>
                      <a:pt x="4498" y="2892"/>
                    </a:lnTo>
                    <a:lnTo>
                      <a:pt x="4499" y="2923"/>
                    </a:lnTo>
                    <a:lnTo>
                      <a:pt x="4499" y="2954"/>
                    </a:lnTo>
                    <a:lnTo>
                      <a:pt x="4499" y="2984"/>
                    </a:lnTo>
                    <a:lnTo>
                      <a:pt x="4524" y="2971"/>
                    </a:lnTo>
                    <a:lnTo>
                      <a:pt x="4549" y="2956"/>
                    </a:lnTo>
                    <a:lnTo>
                      <a:pt x="4572" y="2942"/>
                    </a:lnTo>
                    <a:lnTo>
                      <a:pt x="4595" y="2927"/>
                    </a:lnTo>
                    <a:lnTo>
                      <a:pt x="4617" y="2913"/>
                    </a:lnTo>
                    <a:lnTo>
                      <a:pt x="4638" y="2897"/>
                    </a:lnTo>
                    <a:lnTo>
                      <a:pt x="4657" y="2882"/>
                    </a:lnTo>
                    <a:lnTo>
                      <a:pt x="4676" y="2866"/>
                    </a:lnTo>
                    <a:lnTo>
                      <a:pt x="4693" y="2851"/>
                    </a:lnTo>
                    <a:lnTo>
                      <a:pt x="4710" y="2834"/>
                    </a:lnTo>
                    <a:lnTo>
                      <a:pt x="4725" y="2818"/>
                    </a:lnTo>
                    <a:lnTo>
                      <a:pt x="4739" y="2801"/>
                    </a:lnTo>
                    <a:lnTo>
                      <a:pt x="4752" y="2784"/>
                    </a:lnTo>
                    <a:lnTo>
                      <a:pt x="4764" y="2766"/>
                    </a:lnTo>
                    <a:lnTo>
                      <a:pt x="4774" y="2748"/>
                    </a:lnTo>
                    <a:lnTo>
                      <a:pt x="4783" y="2731"/>
                    </a:lnTo>
                    <a:close/>
                  </a:path>
                </a:pathLst>
              </a:custGeom>
              <a:solidFill>
                <a:srgbClr val="9F2C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48" name="Freeform 63"/>
              <p:cNvSpPr>
                <a:spLocks/>
              </p:cNvSpPr>
              <p:nvPr/>
            </p:nvSpPr>
            <p:spPr bwMode="auto">
              <a:xfrm>
                <a:off x="3466" y="1249"/>
                <a:ext cx="200" cy="51"/>
              </a:xfrm>
              <a:custGeom>
                <a:avLst/>
                <a:gdLst>
                  <a:gd name="T0" fmla="*/ 0 w 1397"/>
                  <a:gd name="T1" fmla="*/ 0 h 357"/>
                  <a:gd name="T2" fmla="*/ 0 w 1397"/>
                  <a:gd name="T3" fmla="*/ 0 h 357"/>
                  <a:gd name="T4" fmla="*/ 0 w 1397"/>
                  <a:gd name="T5" fmla="*/ 0 h 357"/>
                  <a:gd name="T6" fmla="*/ 0 w 1397"/>
                  <a:gd name="T7" fmla="*/ 0 h 357"/>
                  <a:gd name="T8" fmla="*/ 0 w 1397"/>
                  <a:gd name="T9" fmla="*/ 0 h 357"/>
                  <a:gd name="T10" fmla="*/ 0 w 1397"/>
                  <a:gd name="T11" fmla="*/ 0 h 357"/>
                  <a:gd name="T12" fmla="*/ 0 w 1397"/>
                  <a:gd name="T13" fmla="*/ 0 h 357"/>
                  <a:gd name="T14" fmla="*/ 0 w 1397"/>
                  <a:gd name="T15" fmla="*/ 0 h 357"/>
                  <a:gd name="T16" fmla="*/ 0 w 1397"/>
                  <a:gd name="T17" fmla="*/ 0 h 357"/>
                  <a:gd name="T18" fmla="*/ 0 w 1397"/>
                  <a:gd name="T19" fmla="*/ 0 h 357"/>
                  <a:gd name="T20" fmla="*/ 0 w 1397"/>
                  <a:gd name="T21" fmla="*/ 0 h 357"/>
                  <a:gd name="T22" fmla="*/ 0 w 1397"/>
                  <a:gd name="T23" fmla="*/ 0 h 357"/>
                  <a:gd name="T24" fmla="*/ 0 w 1397"/>
                  <a:gd name="T25" fmla="*/ 0 h 357"/>
                  <a:gd name="T26" fmla="*/ 0 w 1397"/>
                  <a:gd name="T27" fmla="*/ 0 h 357"/>
                  <a:gd name="T28" fmla="*/ 0 w 1397"/>
                  <a:gd name="T29" fmla="*/ 0 h 357"/>
                  <a:gd name="T30" fmla="*/ 0 w 1397"/>
                  <a:gd name="T31" fmla="*/ 0 h 357"/>
                  <a:gd name="T32" fmla="*/ 0 w 1397"/>
                  <a:gd name="T33" fmla="*/ 0 h 357"/>
                  <a:gd name="T34" fmla="*/ 0 w 1397"/>
                  <a:gd name="T35" fmla="*/ 0 h 357"/>
                  <a:gd name="T36" fmla="*/ 0 w 1397"/>
                  <a:gd name="T37" fmla="*/ 0 h 357"/>
                  <a:gd name="T38" fmla="*/ 0 w 1397"/>
                  <a:gd name="T39" fmla="*/ 0 h 357"/>
                  <a:gd name="T40" fmla="*/ 0 w 1397"/>
                  <a:gd name="T41" fmla="*/ 0 h 357"/>
                  <a:gd name="T42" fmla="*/ 0 w 1397"/>
                  <a:gd name="T43" fmla="*/ 0 h 357"/>
                  <a:gd name="T44" fmla="*/ 0 w 1397"/>
                  <a:gd name="T45" fmla="*/ 0 h 357"/>
                  <a:gd name="T46" fmla="*/ 0 w 1397"/>
                  <a:gd name="T47" fmla="*/ 0 h 357"/>
                  <a:gd name="T48" fmla="*/ 0 w 1397"/>
                  <a:gd name="T49" fmla="*/ 0 h 357"/>
                  <a:gd name="T50" fmla="*/ 0 w 1397"/>
                  <a:gd name="T51" fmla="*/ 0 h 357"/>
                  <a:gd name="T52" fmla="*/ 0 w 1397"/>
                  <a:gd name="T53" fmla="*/ 0 h 357"/>
                  <a:gd name="T54" fmla="*/ 0 w 1397"/>
                  <a:gd name="T55" fmla="*/ 0 h 357"/>
                  <a:gd name="T56" fmla="*/ 0 w 1397"/>
                  <a:gd name="T57" fmla="*/ 0 h 357"/>
                  <a:gd name="T58" fmla="*/ 0 w 1397"/>
                  <a:gd name="T59" fmla="*/ 0 h 357"/>
                  <a:gd name="T60" fmla="*/ 0 w 1397"/>
                  <a:gd name="T61" fmla="*/ 0 h 357"/>
                  <a:gd name="T62" fmla="*/ 0 w 1397"/>
                  <a:gd name="T63" fmla="*/ 0 h 357"/>
                  <a:gd name="T64" fmla="*/ 0 w 1397"/>
                  <a:gd name="T65" fmla="*/ 0 h 357"/>
                  <a:gd name="T66" fmla="*/ 0 w 1397"/>
                  <a:gd name="T67" fmla="*/ 0 h 357"/>
                  <a:gd name="T68" fmla="*/ 0 w 1397"/>
                  <a:gd name="T69" fmla="*/ 0 h 357"/>
                  <a:gd name="T70" fmla="*/ 0 w 1397"/>
                  <a:gd name="T71" fmla="*/ 0 h 357"/>
                  <a:gd name="T72" fmla="*/ 0 w 1397"/>
                  <a:gd name="T73" fmla="*/ 0 h 357"/>
                  <a:gd name="T74" fmla="*/ 0 w 1397"/>
                  <a:gd name="T75" fmla="*/ 0 h 357"/>
                  <a:gd name="T76" fmla="*/ 0 w 1397"/>
                  <a:gd name="T77" fmla="*/ 0 h 357"/>
                  <a:gd name="T78" fmla="*/ 0 w 1397"/>
                  <a:gd name="T79" fmla="*/ 0 h 357"/>
                  <a:gd name="T80" fmla="*/ 0 w 1397"/>
                  <a:gd name="T81" fmla="*/ 0 h 357"/>
                  <a:gd name="T82" fmla="*/ 0 w 1397"/>
                  <a:gd name="T83" fmla="*/ 0 h 357"/>
                  <a:gd name="T84" fmla="*/ 0 w 1397"/>
                  <a:gd name="T85" fmla="*/ 0 h 357"/>
                  <a:gd name="T86" fmla="*/ 0 w 1397"/>
                  <a:gd name="T87" fmla="*/ 0 h 357"/>
                  <a:gd name="T88" fmla="*/ 0 w 1397"/>
                  <a:gd name="T89" fmla="*/ 0 h 357"/>
                  <a:gd name="T90" fmla="*/ 0 w 1397"/>
                  <a:gd name="T91" fmla="*/ 0 h 357"/>
                  <a:gd name="T92" fmla="*/ 0 w 1397"/>
                  <a:gd name="T93" fmla="*/ 0 h 357"/>
                  <a:gd name="T94" fmla="*/ 0 w 1397"/>
                  <a:gd name="T95" fmla="*/ 0 h 357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1397"/>
                  <a:gd name="T145" fmla="*/ 0 h 357"/>
                  <a:gd name="T146" fmla="*/ 1397 w 1397"/>
                  <a:gd name="T147" fmla="*/ 357 h 357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1397" h="357">
                    <a:moveTo>
                      <a:pt x="694" y="357"/>
                    </a:moveTo>
                    <a:lnTo>
                      <a:pt x="722" y="357"/>
                    </a:lnTo>
                    <a:lnTo>
                      <a:pt x="750" y="356"/>
                    </a:lnTo>
                    <a:lnTo>
                      <a:pt x="779" y="355"/>
                    </a:lnTo>
                    <a:lnTo>
                      <a:pt x="807" y="353"/>
                    </a:lnTo>
                    <a:lnTo>
                      <a:pt x="833" y="351"/>
                    </a:lnTo>
                    <a:lnTo>
                      <a:pt x="861" y="348"/>
                    </a:lnTo>
                    <a:lnTo>
                      <a:pt x="888" y="344"/>
                    </a:lnTo>
                    <a:lnTo>
                      <a:pt x="915" y="340"/>
                    </a:lnTo>
                    <a:lnTo>
                      <a:pt x="942" y="335"/>
                    </a:lnTo>
                    <a:lnTo>
                      <a:pt x="968" y="329"/>
                    </a:lnTo>
                    <a:lnTo>
                      <a:pt x="994" y="323"/>
                    </a:lnTo>
                    <a:lnTo>
                      <a:pt x="1020" y="317"/>
                    </a:lnTo>
                    <a:lnTo>
                      <a:pt x="1044" y="310"/>
                    </a:lnTo>
                    <a:lnTo>
                      <a:pt x="1068" y="302"/>
                    </a:lnTo>
                    <a:lnTo>
                      <a:pt x="1092" y="294"/>
                    </a:lnTo>
                    <a:lnTo>
                      <a:pt x="1116" y="285"/>
                    </a:lnTo>
                    <a:lnTo>
                      <a:pt x="1138" y="276"/>
                    </a:lnTo>
                    <a:lnTo>
                      <a:pt x="1161" y="266"/>
                    </a:lnTo>
                    <a:lnTo>
                      <a:pt x="1183" y="256"/>
                    </a:lnTo>
                    <a:lnTo>
                      <a:pt x="1203" y="246"/>
                    </a:lnTo>
                    <a:lnTo>
                      <a:pt x="1224" y="234"/>
                    </a:lnTo>
                    <a:lnTo>
                      <a:pt x="1244" y="222"/>
                    </a:lnTo>
                    <a:lnTo>
                      <a:pt x="1262" y="209"/>
                    </a:lnTo>
                    <a:lnTo>
                      <a:pt x="1281" y="197"/>
                    </a:lnTo>
                    <a:lnTo>
                      <a:pt x="1299" y="184"/>
                    </a:lnTo>
                    <a:lnTo>
                      <a:pt x="1315" y="170"/>
                    </a:lnTo>
                    <a:lnTo>
                      <a:pt x="1331" y="156"/>
                    </a:lnTo>
                    <a:lnTo>
                      <a:pt x="1346" y="140"/>
                    </a:lnTo>
                    <a:lnTo>
                      <a:pt x="1359" y="125"/>
                    </a:lnTo>
                    <a:lnTo>
                      <a:pt x="1373" y="109"/>
                    </a:lnTo>
                    <a:lnTo>
                      <a:pt x="1385" y="93"/>
                    </a:lnTo>
                    <a:lnTo>
                      <a:pt x="1397" y="76"/>
                    </a:lnTo>
                    <a:lnTo>
                      <a:pt x="1373" y="68"/>
                    </a:lnTo>
                    <a:lnTo>
                      <a:pt x="1346" y="60"/>
                    </a:lnTo>
                    <a:lnTo>
                      <a:pt x="1315" y="52"/>
                    </a:lnTo>
                    <a:lnTo>
                      <a:pt x="1281" y="45"/>
                    </a:lnTo>
                    <a:lnTo>
                      <a:pt x="1244" y="39"/>
                    </a:lnTo>
                    <a:lnTo>
                      <a:pt x="1203" y="33"/>
                    </a:lnTo>
                    <a:lnTo>
                      <a:pt x="1161" y="27"/>
                    </a:lnTo>
                    <a:lnTo>
                      <a:pt x="1117" y="22"/>
                    </a:lnTo>
                    <a:lnTo>
                      <a:pt x="1069" y="17"/>
                    </a:lnTo>
                    <a:lnTo>
                      <a:pt x="1021" y="13"/>
                    </a:lnTo>
                    <a:lnTo>
                      <a:pt x="970" y="10"/>
                    </a:lnTo>
                    <a:lnTo>
                      <a:pt x="918" y="7"/>
                    </a:lnTo>
                    <a:lnTo>
                      <a:pt x="866" y="5"/>
                    </a:lnTo>
                    <a:lnTo>
                      <a:pt x="812" y="3"/>
                    </a:lnTo>
                    <a:lnTo>
                      <a:pt x="757" y="1"/>
                    </a:lnTo>
                    <a:lnTo>
                      <a:pt x="703" y="0"/>
                    </a:lnTo>
                    <a:lnTo>
                      <a:pt x="649" y="0"/>
                    </a:lnTo>
                    <a:lnTo>
                      <a:pt x="595" y="0"/>
                    </a:lnTo>
                    <a:lnTo>
                      <a:pt x="540" y="1"/>
                    </a:lnTo>
                    <a:lnTo>
                      <a:pt x="487" y="2"/>
                    </a:lnTo>
                    <a:lnTo>
                      <a:pt x="436" y="4"/>
                    </a:lnTo>
                    <a:lnTo>
                      <a:pt x="384" y="6"/>
                    </a:lnTo>
                    <a:lnTo>
                      <a:pt x="335" y="9"/>
                    </a:lnTo>
                    <a:lnTo>
                      <a:pt x="288" y="12"/>
                    </a:lnTo>
                    <a:lnTo>
                      <a:pt x="241" y="16"/>
                    </a:lnTo>
                    <a:lnTo>
                      <a:pt x="198" y="21"/>
                    </a:lnTo>
                    <a:lnTo>
                      <a:pt x="158" y="26"/>
                    </a:lnTo>
                    <a:lnTo>
                      <a:pt x="119" y="33"/>
                    </a:lnTo>
                    <a:lnTo>
                      <a:pt x="84" y="39"/>
                    </a:lnTo>
                    <a:lnTo>
                      <a:pt x="52" y="46"/>
                    </a:lnTo>
                    <a:lnTo>
                      <a:pt x="24" y="54"/>
                    </a:lnTo>
                    <a:lnTo>
                      <a:pt x="0" y="63"/>
                    </a:lnTo>
                    <a:lnTo>
                      <a:pt x="11" y="79"/>
                    </a:lnTo>
                    <a:lnTo>
                      <a:pt x="23" y="95"/>
                    </a:lnTo>
                    <a:lnTo>
                      <a:pt x="37" y="110"/>
                    </a:lnTo>
                    <a:lnTo>
                      <a:pt x="51" y="125"/>
                    </a:lnTo>
                    <a:lnTo>
                      <a:pt x="66" y="139"/>
                    </a:lnTo>
                    <a:lnTo>
                      <a:pt x="82" y="154"/>
                    </a:lnTo>
                    <a:lnTo>
                      <a:pt x="99" y="168"/>
                    </a:lnTo>
                    <a:lnTo>
                      <a:pt x="116" y="182"/>
                    </a:lnTo>
                    <a:lnTo>
                      <a:pt x="134" y="194"/>
                    </a:lnTo>
                    <a:lnTo>
                      <a:pt x="153" y="207"/>
                    </a:lnTo>
                    <a:lnTo>
                      <a:pt x="172" y="220"/>
                    </a:lnTo>
                    <a:lnTo>
                      <a:pt x="193" y="231"/>
                    </a:lnTo>
                    <a:lnTo>
                      <a:pt x="213" y="243"/>
                    </a:lnTo>
                    <a:lnTo>
                      <a:pt x="235" y="254"/>
                    </a:lnTo>
                    <a:lnTo>
                      <a:pt x="257" y="264"/>
                    </a:lnTo>
                    <a:lnTo>
                      <a:pt x="280" y="274"/>
                    </a:lnTo>
                    <a:lnTo>
                      <a:pt x="302" y="284"/>
                    </a:lnTo>
                    <a:lnTo>
                      <a:pt x="326" y="292"/>
                    </a:lnTo>
                    <a:lnTo>
                      <a:pt x="350" y="300"/>
                    </a:lnTo>
                    <a:lnTo>
                      <a:pt x="375" y="309"/>
                    </a:lnTo>
                    <a:lnTo>
                      <a:pt x="399" y="316"/>
                    </a:lnTo>
                    <a:lnTo>
                      <a:pt x="424" y="323"/>
                    </a:lnTo>
                    <a:lnTo>
                      <a:pt x="450" y="329"/>
                    </a:lnTo>
                    <a:lnTo>
                      <a:pt x="476" y="335"/>
                    </a:lnTo>
                    <a:lnTo>
                      <a:pt x="503" y="340"/>
                    </a:lnTo>
                    <a:lnTo>
                      <a:pt x="529" y="344"/>
                    </a:lnTo>
                    <a:lnTo>
                      <a:pt x="556" y="348"/>
                    </a:lnTo>
                    <a:lnTo>
                      <a:pt x="583" y="351"/>
                    </a:lnTo>
                    <a:lnTo>
                      <a:pt x="610" y="354"/>
                    </a:lnTo>
                    <a:lnTo>
                      <a:pt x="638" y="355"/>
                    </a:lnTo>
                    <a:lnTo>
                      <a:pt x="666" y="356"/>
                    </a:lnTo>
                    <a:lnTo>
                      <a:pt x="694" y="357"/>
                    </a:lnTo>
                    <a:close/>
                  </a:path>
                </a:pathLst>
              </a:custGeom>
              <a:solidFill>
                <a:srgbClr val="E17E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49" name="Freeform 64"/>
              <p:cNvSpPr>
                <a:spLocks/>
              </p:cNvSpPr>
              <p:nvPr/>
            </p:nvSpPr>
            <p:spPr bwMode="auto">
              <a:xfrm>
                <a:off x="3572" y="1489"/>
                <a:ext cx="218" cy="265"/>
              </a:xfrm>
              <a:custGeom>
                <a:avLst/>
                <a:gdLst>
                  <a:gd name="T0" fmla="*/ 0 w 1524"/>
                  <a:gd name="T1" fmla="*/ 0 h 1853"/>
                  <a:gd name="T2" fmla="*/ 0 w 1524"/>
                  <a:gd name="T3" fmla="*/ 0 h 1853"/>
                  <a:gd name="T4" fmla="*/ 0 w 1524"/>
                  <a:gd name="T5" fmla="*/ 0 h 1853"/>
                  <a:gd name="T6" fmla="*/ 0 w 1524"/>
                  <a:gd name="T7" fmla="*/ 0 h 1853"/>
                  <a:gd name="T8" fmla="*/ 0 w 1524"/>
                  <a:gd name="T9" fmla="*/ 0 h 1853"/>
                  <a:gd name="T10" fmla="*/ 0 w 1524"/>
                  <a:gd name="T11" fmla="*/ 0 h 1853"/>
                  <a:gd name="T12" fmla="*/ 0 w 1524"/>
                  <a:gd name="T13" fmla="*/ 0 h 1853"/>
                  <a:gd name="T14" fmla="*/ 0 w 1524"/>
                  <a:gd name="T15" fmla="*/ 0 h 1853"/>
                  <a:gd name="T16" fmla="*/ 0 w 1524"/>
                  <a:gd name="T17" fmla="*/ 0 h 1853"/>
                  <a:gd name="T18" fmla="*/ 0 w 1524"/>
                  <a:gd name="T19" fmla="*/ 0 h 1853"/>
                  <a:gd name="T20" fmla="*/ 0 w 1524"/>
                  <a:gd name="T21" fmla="*/ 0 h 1853"/>
                  <a:gd name="T22" fmla="*/ 0 w 1524"/>
                  <a:gd name="T23" fmla="*/ 0 h 1853"/>
                  <a:gd name="T24" fmla="*/ 0 w 1524"/>
                  <a:gd name="T25" fmla="*/ 0 h 1853"/>
                  <a:gd name="T26" fmla="*/ 0 w 1524"/>
                  <a:gd name="T27" fmla="*/ 0 h 1853"/>
                  <a:gd name="T28" fmla="*/ 0 w 1524"/>
                  <a:gd name="T29" fmla="*/ 0 h 1853"/>
                  <a:gd name="T30" fmla="*/ 0 w 1524"/>
                  <a:gd name="T31" fmla="*/ 0 h 1853"/>
                  <a:gd name="T32" fmla="*/ 0 w 1524"/>
                  <a:gd name="T33" fmla="*/ 0 h 1853"/>
                  <a:gd name="T34" fmla="*/ 0 w 1524"/>
                  <a:gd name="T35" fmla="*/ 0 h 1853"/>
                  <a:gd name="T36" fmla="*/ 0 w 1524"/>
                  <a:gd name="T37" fmla="*/ 0 h 1853"/>
                  <a:gd name="T38" fmla="*/ 0 w 1524"/>
                  <a:gd name="T39" fmla="*/ 0 h 1853"/>
                  <a:gd name="T40" fmla="*/ 0 w 1524"/>
                  <a:gd name="T41" fmla="*/ 0 h 1853"/>
                  <a:gd name="T42" fmla="*/ 0 w 1524"/>
                  <a:gd name="T43" fmla="*/ 0 h 1853"/>
                  <a:gd name="T44" fmla="*/ 0 w 1524"/>
                  <a:gd name="T45" fmla="*/ 0 h 1853"/>
                  <a:gd name="T46" fmla="*/ 0 w 1524"/>
                  <a:gd name="T47" fmla="*/ 0 h 1853"/>
                  <a:gd name="T48" fmla="*/ 0 w 1524"/>
                  <a:gd name="T49" fmla="*/ 0 h 1853"/>
                  <a:gd name="T50" fmla="*/ 0 w 1524"/>
                  <a:gd name="T51" fmla="*/ 0 h 1853"/>
                  <a:gd name="T52" fmla="*/ 0 w 1524"/>
                  <a:gd name="T53" fmla="*/ 0 h 1853"/>
                  <a:gd name="T54" fmla="*/ 0 w 1524"/>
                  <a:gd name="T55" fmla="*/ 0 h 1853"/>
                  <a:gd name="T56" fmla="*/ 0 w 1524"/>
                  <a:gd name="T57" fmla="*/ 0 h 1853"/>
                  <a:gd name="T58" fmla="*/ 0 w 1524"/>
                  <a:gd name="T59" fmla="*/ 0 h 1853"/>
                  <a:gd name="T60" fmla="*/ 0 w 1524"/>
                  <a:gd name="T61" fmla="*/ 0 h 1853"/>
                  <a:gd name="T62" fmla="*/ 0 w 1524"/>
                  <a:gd name="T63" fmla="*/ 0 h 1853"/>
                  <a:gd name="T64" fmla="*/ 0 w 1524"/>
                  <a:gd name="T65" fmla="*/ 0 h 1853"/>
                  <a:gd name="T66" fmla="*/ 0 w 1524"/>
                  <a:gd name="T67" fmla="*/ 0 h 1853"/>
                  <a:gd name="T68" fmla="*/ 0 w 1524"/>
                  <a:gd name="T69" fmla="*/ 0 h 1853"/>
                  <a:gd name="T70" fmla="*/ 0 w 1524"/>
                  <a:gd name="T71" fmla="*/ 0 h 1853"/>
                  <a:gd name="T72" fmla="*/ 0 w 1524"/>
                  <a:gd name="T73" fmla="*/ 0 h 1853"/>
                  <a:gd name="T74" fmla="*/ 0 w 1524"/>
                  <a:gd name="T75" fmla="*/ 0 h 1853"/>
                  <a:gd name="T76" fmla="*/ 0 w 1524"/>
                  <a:gd name="T77" fmla="*/ 0 h 1853"/>
                  <a:gd name="T78" fmla="*/ 0 w 1524"/>
                  <a:gd name="T79" fmla="*/ 0 h 1853"/>
                  <a:gd name="T80" fmla="*/ 0 w 1524"/>
                  <a:gd name="T81" fmla="*/ 0 h 1853"/>
                  <a:gd name="T82" fmla="*/ 0 w 1524"/>
                  <a:gd name="T83" fmla="*/ 0 h 1853"/>
                  <a:gd name="T84" fmla="*/ 0 w 1524"/>
                  <a:gd name="T85" fmla="*/ 0 h 1853"/>
                  <a:gd name="T86" fmla="*/ 0 w 1524"/>
                  <a:gd name="T87" fmla="*/ 0 h 1853"/>
                  <a:gd name="T88" fmla="*/ 0 w 1524"/>
                  <a:gd name="T89" fmla="*/ 0 h 1853"/>
                  <a:gd name="T90" fmla="*/ 0 w 1524"/>
                  <a:gd name="T91" fmla="*/ 0 h 1853"/>
                  <a:gd name="T92" fmla="*/ 0 w 1524"/>
                  <a:gd name="T93" fmla="*/ 0 h 1853"/>
                  <a:gd name="T94" fmla="*/ 0 w 1524"/>
                  <a:gd name="T95" fmla="*/ 0 h 1853"/>
                  <a:gd name="T96" fmla="*/ 0 w 1524"/>
                  <a:gd name="T97" fmla="*/ 0 h 1853"/>
                  <a:gd name="T98" fmla="*/ 0 w 1524"/>
                  <a:gd name="T99" fmla="*/ 0 h 1853"/>
                  <a:gd name="T100" fmla="*/ 0 w 1524"/>
                  <a:gd name="T101" fmla="*/ 0 h 1853"/>
                  <a:gd name="T102" fmla="*/ 0 w 1524"/>
                  <a:gd name="T103" fmla="*/ 0 h 1853"/>
                  <a:gd name="T104" fmla="*/ 0 w 1524"/>
                  <a:gd name="T105" fmla="*/ 0 h 1853"/>
                  <a:gd name="T106" fmla="*/ 0 w 1524"/>
                  <a:gd name="T107" fmla="*/ 0 h 1853"/>
                  <a:gd name="T108" fmla="*/ 0 w 1524"/>
                  <a:gd name="T109" fmla="*/ 0 h 1853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524"/>
                  <a:gd name="T166" fmla="*/ 0 h 1853"/>
                  <a:gd name="T167" fmla="*/ 1524 w 1524"/>
                  <a:gd name="T168" fmla="*/ 1853 h 1853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524" h="1853">
                    <a:moveTo>
                      <a:pt x="955" y="0"/>
                    </a:moveTo>
                    <a:lnTo>
                      <a:pt x="835" y="25"/>
                    </a:lnTo>
                    <a:lnTo>
                      <a:pt x="868" y="61"/>
                    </a:lnTo>
                    <a:lnTo>
                      <a:pt x="901" y="96"/>
                    </a:lnTo>
                    <a:lnTo>
                      <a:pt x="932" y="132"/>
                    </a:lnTo>
                    <a:lnTo>
                      <a:pt x="963" y="167"/>
                    </a:lnTo>
                    <a:lnTo>
                      <a:pt x="993" y="201"/>
                    </a:lnTo>
                    <a:lnTo>
                      <a:pt x="1022" y="236"/>
                    </a:lnTo>
                    <a:lnTo>
                      <a:pt x="1050" y="271"/>
                    </a:lnTo>
                    <a:lnTo>
                      <a:pt x="1078" y="305"/>
                    </a:lnTo>
                    <a:lnTo>
                      <a:pt x="1098" y="331"/>
                    </a:lnTo>
                    <a:lnTo>
                      <a:pt x="1118" y="360"/>
                    </a:lnTo>
                    <a:lnTo>
                      <a:pt x="1136" y="390"/>
                    </a:lnTo>
                    <a:lnTo>
                      <a:pt x="1155" y="422"/>
                    </a:lnTo>
                    <a:lnTo>
                      <a:pt x="1173" y="455"/>
                    </a:lnTo>
                    <a:lnTo>
                      <a:pt x="1191" y="490"/>
                    </a:lnTo>
                    <a:lnTo>
                      <a:pt x="1207" y="525"/>
                    </a:lnTo>
                    <a:lnTo>
                      <a:pt x="1224" y="563"/>
                    </a:lnTo>
                    <a:lnTo>
                      <a:pt x="1241" y="601"/>
                    </a:lnTo>
                    <a:lnTo>
                      <a:pt x="1255" y="641"/>
                    </a:lnTo>
                    <a:lnTo>
                      <a:pt x="1270" y="681"/>
                    </a:lnTo>
                    <a:lnTo>
                      <a:pt x="1284" y="722"/>
                    </a:lnTo>
                    <a:lnTo>
                      <a:pt x="1297" y="764"/>
                    </a:lnTo>
                    <a:lnTo>
                      <a:pt x="1310" y="806"/>
                    </a:lnTo>
                    <a:lnTo>
                      <a:pt x="1322" y="849"/>
                    </a:lnTo>
                    <a:lnTo>
                      <a:pt x="1334" y="892"/>
                    </a:lnTo>
                    <a:lnTo>
                      <a:pt x="1344" y="935"/>
                    </a:lnTo>
                    <a:lnTo>
                      <a:pt x="1354" y="979"/>
                    </a:lnTo>
                    <a:lnTo>
                      <a:pt x="1362" y="1022"/>
                    </a:lnTo>
                    <a:lnTo>
                      <a:pt x="1371" y="1066"/>
                    </a:lnTo>
                    <a:lnTo>
                      <a:pt x="1378" y="1108"/>
                    </a:lnTo>
                    <a:lnTo>
                      <a:pt x="1385" y="1152"/>
                    </a:lnTo>
                    <a:lnTo>
                      <a:pt x="1390" y="1194"/>
                    </a:lnTo>
                    <a:lnTo>
                      <a:pt x="1396" y="1235"/>
                    </a:lnTo>
                    <a:lnTo>
                      <a:pt x="1400" y="1277"/>
                    </a:lnTo>
                    <a:lnTo>
                      <a:pt x="1403" y="1316"/>
                    </a:lnTo>
                    <a:lnTo>
                      <a:pt x="1405" y="1355"/>
                    </a:lnTo>
                    <a:lnTo>
                      <a:pt x="1406" y="1394"/>
                    </a:lnTo>
                    <a:lnTo>
                      <a:pt x="1406" y="1431"/>
                    </a:lnTo>
                    <a:lnTo>
                      <a:pt x="1405" y="1467"/>
                    </a:lnTo>
                    <a:lnTo>
                      <a:pt x="1403" y="1501"/>
                    </a:lnTo>
                    <a:lnTo>
                      <a:pt x="1400" y="1534"/>
                    </a:lnTo>
                    <a:lnTo>
                      <a:pt x="518" y="1736"/>
                    </a:lnTo>
                    <a:lnTo>
                      <a:pt x="525" y="1704"/>
                    </a:lnTo>
                    <a:lnTo>
                      <a:pt x="533" y="1671"/>
                    </a:lnTo>
                    <a:lnTo>
                      <a:pt x="538" y="1636"/>
                    </a:lnTo>
                    <a:lnTo>
                      <a:pt x="543" y="1600"/>
                    </a:lnTo>
                    <a:lnTo>
                      <a:pt x="546" y="1563"/>
                    </a:lnTo>
                    <a:lnTo>
                      <a:pt x="550" y="1526"/>
                    </a:lnTo>
                    <a:lnTo>
                      <a:pt x="552" y="1487"/>
                    </a:lnTo>
                    <a:lnTo>
                      <a:pt x="553" y="1447"/>
                    </a:lnTo>
                    <a:lnTo>
                      <a:pt x="554" y="1407"/>
                    </a:lnTo>
                    <a:lnTo>
                      <a:pt x="554" y="1367"/>
                    </a:lnTo>
                    <a:lnTo>
                      <a:pt x="553" y="1326"/>
                    </a:lnTo>
                    <a:lnTo>
                      <a:pt x="552" y="1285"/>
                    </a:lnTo>
                    <a:lnTo>
                      <a:pt x="549" y="1244"/>
                    </a:lnTo>
                    <a:lnTo>
                      <a:pt x="546" y="1201"/>
                    </a:lnTo>
                    <a:lnTo>
                      <a:pt x="542" y="1160"/>
                    </a:lnTo>
                    <a:lnTo>
                      <a:pt x="538" y="1117"/>
                    </a:lnTo>
                    <a:lnTo>
                      <a:pt x="532" y="1076"/>
                    </a:lnTo>
                    <a:lnTo>
                      <a:pt x="525" y="1035"/>
                    </a:lnTo>
                    <a:lnTo>
                      <a:pt x="519" y="993"/>
                    </a:lnTo>
                    <a:lnTo>
                      <a:pt x="511" y="953"/>
                    </a:lnTo>
                    <a:lnTo>
                      <a:pt x="503" y="913"/>
                    </a:lnTo>
                    <a:lnTo>
                      <a:pt x="493" y="872"/>
                    </a:lnTo>
                    <a:lnTo>
                      <a:pt x="483" y="834"/>
                    </a:lnTo>
                    <a:lnTo>
                      <a:pt x="473" y="795"/>
                    </a:lnTo>
                    <a:lnTo>
                      <a:pt x="461" y="758"/>
                    </a:lnTo>
                    <a:lnTo>
                      <a:pt x="449" y="721"/>
                    </a:lnTo>
                    <a:lnTo>
                      <a:pt x="437" y="686"/>
                    </a:lnTo>
                    <a:lnTo>
                      <a:pt x="423" y="652"/>
                    </a:lnTo>
                    <a:lnTo>
                      <a:pt x="409" y="619"/>
                    </a:lnTo>
                    <a:lnTo>
                      <a:pt x="393" y="587"/>
                    </a:lnTo>
                    <a:lnTo>
                      <a:pt x="378" y="557"/>
                    </a:lnTo>
                    <a:lnTo>
                      <a:pt x="362" y="528"/>
                    </a:lnTo>
                    <a:lnTo>
                      <a:pt x="335" y="486"/>
                    </a:lnTo>
                    <a:lnTo>
                      <a:pt x="307" y="442"/>
                    </a:lnTo>
                    <a:lnTo>
                      <a:pt x="278" y="399"/>
                    </a:lnTo>
                    <a:lnTo>
                      <a:pt x="246" y="354"/>
                    </a:lnTo>
                    <a:lnTo>
                      <a:pt x="214" y="310"/>
                    </a:lnTo>
                    <a:lnTo>
                      <a:pt x="180" y="264"/>
                    </a:lnTo>
                    <a:lnTo>
                      <a:pt x="145" y="218"/>
                    </a:lnTo>
                    <a:lnTo>
                      <a:pt x="110" y="172"/>
                    </a:lnTo>
                    <a:lnTo>
                      <a:pt x="0" y="194"/>
                    </a:lnTo>
                    <a:lnTo>
                      <a:pt x="24" y="227"/>
                    </a:lnTo>
                    <a:lnTo>
                      <a:pt x="49" y="261"/>
                    </a:lnTo>
                    <a:lnTo>
                      <a:pt x="73" y="294"/>
                    </a:lnTo>
                    <a:lnTo>
                      <a:pt x="96" y="330"/>
                    </a:lnTo>
                    <a:lnTo>
                      <a:pt x="119" y="364"/>
                    </a:lnTo>
                    <a:lnTo>
                      <a:pt x="142" y="400"/>
                    </a:lnTo>
                    <a:lnTo>
                      <a:pt x="165" y="435"/>
                    </a:lnTo>
                    <a:lnTo>
                      <a:pt x="186" y="472"/>
                    </a:lnTo>
                    <a:lnTo>
                      <a:pt x="206" y="505"/>
                    </a:lnTo>
                    <a:lnTo>
                      <a:pt x="224" y="540"/>
                    </a:lnTo>
                    <a:lnTo>
                      <a:pt x="241" y="577"/>
                    </a:lnTo>
                    <a:lnTo>
                      <a:pt x="258" y="615"/>
                    </a:lnTo>
                    <a:lnTo>
                      <a:pt x="273" y="654"/>
                    </a:lnTo>
                    <a:lnTo>
                      <a:pt x="289" y="695"/>
                    </a:lnTo>
                    <a:lnTo>
                      <a:pt x="302" y="736"/>
                    </a:lnTo>
                    <a:lnTo>
                      <a:pt x="316" y="779"/>
                    </a:lnTo>
                    <a:lnTo>
                      <a:pt x="328" y="823"/>
                    </a:lnTo>
                    <a:lnTo>
                      <a:pt x="339" y="867"/>
                    </a:lnTo>
                    <a:lnTo>
                      <a:pt x="351" y="913"/>
                    </a:lnTo>
                    <a:lnTo>
                      <a:pt x="360" y="958"/>
                    </a:lnTo>
                    <a:lnTo>
                      <a:pt x="369" y="1005"/>
                    </a:lnTo>
                    <a:lnTo>
                      <a:pt x="378" y="1051"/>
                    </a:lnTo>
                    <a:lnTo>
                      <a:pt x="385" y="1099"/>
                    </a:lnTo>
                    <a:lnTo>
                      <a:pt x="391" y="1145"/>
                    </a:lnTo>
                    <a:lnTo>
                      <a:pt x="396" y="1193"/>
                    </a:lnTo>
                    <a:lnTo>
                      <a:pt x="401" y="1241"/>
                    </a:lnTo>
                    <a:lnTo>
                      <a:pt x="405" y="1288"/>
                    </a:lnTo>
                    <a:lnTo>
                      <a:pt x="408" y="1336"/>
                    </a:lnTo>
                    <a:lnTo>
                      <a:pt x="410" y="1382"/>
                    </a:lnTo>
                    <a:lnTo>
                      <a:pt x="411" y="1429"/>
                    </a:lnTo>
                    <a:lnTo>
                      <a:pt x="411" y="1475"/>
                    </a:lnTo>
                    <a:lnTo>
                      <a:pt x="410" y="1521"/>
                    </a:lnTo>
                    <a:lnTo>
                      <a:pt x="408" y="1565"/>
                    </a:lnTo>
                    <a:lnTo>
                      <a:pt x="406" y="1610"/>
                    </a:lnTo>
                    <a:lnTo>
                      <a:pt x="401" y="1653"/>
                    </a:lnTo>
                    <a:lnTo>
                      <a:pt x="397" y="1696"/>
                    </a:lnTo>
                    <a:lnTo>
                      <a:pt x="391" y="1737"/>
                    </a:lnTo>
                    <a:lnTo>
                      <a:pt x="385" y="1776"/>
                    </a:lnTo>
                    <a:lnTo>
                      <a:pt x="378" y="1815"/>
                    </a:lnTo>
                    <a:lnTo>
                      <a:pt x="369" y="1853"/>
                    </a:lnTo>
                    <a:lnTo>
                      <a:pt x="1517" y="1603"/>
                    </a:lnTo>
                    <a:lnTo>
                      <a:pt x="1521" y="1565"/>
                    </a:lnTo>
                    <a:lnTo>
                      <a:pt x="1523" y="1525"/>
                    </a:lnTo>
                    <a:lnTo>
                      <a:pt x="1524" y="1485"/>
                    </a:lnTo>
                    <a:lnTo>
                      <a:pt x="1524" y="1442"/>
                    </a:lnTo>
                    <a:lnTo>
                      <a:pt x="1523" y="1399"/>
                    </a:lnTo>
                    <a:lnTo>
                      <a:pt x="1520" y="1354"/>
                    </a:lnTo>
                    <a:lnTo>
                      <a:pt x="1516" y="1309"/>
                    </a:lnTo>
                    <a:lnTo>
                      <a:pt x="1512" y="1262"/>
                    </a:lnTo>
                    <a:lnTo>
                      <a:pt x="1506" y="1216"/>
                    </a:lnTo>
                    <a:lnTo>
                      <a:pt x="1500" y="1168"/>
                    </a:lnTo>
                    <a:lnTo>
                      <a:pt x="1493" y="1120"/>
                    </a:lnTo>
                    <a:lnTo>
                      <a:pt x="1483" y="1072"/>
                    </a:lnTo>
                    <a:lnTo>
                      <a:pt x="1474" y="1023"/>
                    </a:lnTo>
                    <a:lnTo>
                      <a:pt x="1464" y="975"/>
                    </a:lnTo>
                    <a:lnTo>
                      <a:pt x="1452" y="926"/>
                    </a:lnTo>
                    <a:lnTo>
                      <a:pt x="1440" y="878"/>
                    </a:lnTo>
                    <a:lnTo>
                      <a:pt x="1428" y="830"/>
                    </a:lnTo>
                    <a:lnTo>
                      <a:pt x="1413" y="782"/>
                    </a:lnTo>
                    <a:lnTo>
                      <a:pt x="1399" y="735"/>
                    </a:lnTo>
                    <a:lnTo>
                      <a:pt x="1383" y="688"/>
                    </a:lnTo>
                    <a:lnTo>
                      <a:pt x="1367" y="642"/>
                    </a:lnTo>
                    <a:lnTo>
                      <a:pt x="1350" y="597"/>
                    </a:lnTo>
                    <a:lnTo>
                      <a:pt x="1332" y="553"/>
                    </a:lnTo>
                    <a:lnTo>
                      <a:pt x="1314" y="509"/>
                    </a:lnTo>
                    <a:lnTo>
                      <a:pt x="1294" y="467"/>
                    </a:lnTo>
                    <a:lnTo>
                      <a:pt x="1275" y="427"/>
                    </a:lnTo>
                    <a:lnTo>
                      <a:pt x="1255" y="387"/>
                    </a:lnTo>
                    <a:lnTo>
                      <a:pt x="1233" y="349"/>
                    </a:lnTo>
                    <a:lnTo>
                      <a:pt x="1212" y="313"/>
                    </a:lnTo>
                    <a:lnTo>
                      <a:pt x="1190" y="279"/>
                    </a:lnTo>
                    <a:lnTo>
                      <a:pt x="1167" y="247"/>
                    </a:lnTo>
                    <a:lnTo>
                      <a:pt x="1143" y="216"/>
                    </a:lnTo>
                    <a:lnTo>
                      <a:pt x="1121" y="187"/>
                    </a:lnTo>
                    <a:lnTo>
                      <a:pt x="1098" y="159"/>
                    </a:lnTo>
                    <a:lnTo>
                      <a:pt x="1074" y="131"/>
                    </a:lnTo>
                    <a:lnTo>
                      <a:pt x="1050" y="104"/>
                    </a:lnTo>
                    <a:lnTo>
                      <a:pt x="1027" y="78"/>
                    </a:lnTo>
                    <a:lnTo>
                      <a:pt x="1003" y="51"/>
                    </a:lnTo>
                    <a:lnTo>
                      <a:pt x="979" y="26"/>
                    </a:lnTo>
                    <a:lnTo>
                      <a:pt x="955" y="0"/>
                    </a:lnTo>
                    <a:close/>
                  </a:path>
                </a:pathLst>
              </a:custGeom>
              <a:solidFill>
                <a:srgbClr val="25A9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50" name="Freeform 65"/>
              <p:cNvSpPr>
                <a:spLocks/>
              </p:cNvSpPr>
              <p:nvPr/>
            </p:nvSpPr>
            <p:spPr bwMode="auto">
              <a:xfrm>
                <a:off x="3588" y="1492"/>
                <a:ext cx="185" cy="245"/>
              </a:xfrm>
              <a:custGeom>
                <a:avLst/>
                <a:gdLst>
                  <a:gd name="T0" fmla="*/ 0 w 1296"/>
                  <a:gd name="T1" fmla="*/ 0 h 1711"/>
                  <a:gd name="T2" fmla="*/ 0 w 1296"/>
                  <a:gd name="T3" fmla="*/ 0 h 1711"/>
                  <a:gd name="T4" fmla="*/ 0 w 1296"/>
                  <a:gd name="T5" fmla="*/ 0 h 1711"/>
                  <a:gd name="T6" fmla="*/ 0 w 1296"/>
                  <a:gd name="T7" fmla="*/ 0 h 1711"/>
                  <a:gd name="T8" fmla="*/ 0 w 1296"/>
                  <a:gd name="T9" fmla="*/ 0 h 1711"/>
                  <a:gd name="T10" fmla="*/ 0 w 1296"/>
                  <a:gd name="T11" fmla="*/ 0 h 1711"/>
                  <a:gd name="T12" fmla="*/ 0 w 1296"/>
                  <a:gd name="T13" fmla="*/ 0 h 1711"/>
                  <a:gd name="T14" fmla="*/ 0 w 1296"/>
                  <a:gd name="T15" fmla="*/ 0 h 1711"/>
                  <a:gd name="T16" fmla="*/ 0 w 1296"/>
                  <a:gd name="T17" fmla="*/ 0 h 1711"/>
                  <a:gd name="T18" fmla="*/ 0 w 1296"/>
                  <a:gd name="T19" fmla="*/ 0 h 1711"/>
                  <a:gd name="T20" fmla="*/ 0 w 1296"/>
                  <a:gd name="T21" fmla="*/ 0 h 1711"/>
                  <a:gd name="T22" fmla="*/ 0 w 1296"/>
                  <a:gd name="T23" fmla="*/ 0 h 1711"/>
                  <a:gd name="T24" fmla="*/ 0 w 1296"/>
                  <a:gd name="T25" fmla="*/ 0 h 1711"/>
                  <a:gd name="T26" fmla="*/ 0 w 1296"/>
                  <a:gd name="T27" fmla="*/ 0 h 1711"/>
                  <a:gd name="T28" fmla="*/ 0 w 1296"/>
                  <a:gd name="T29" fmla="*/ 0 h 1711"/>
                  <a:gd name="T30" fmla="*/ 0 w 1296"/>
                  <a:gd name="T31" fmla="*/ 0 h 1711"/>
                  <a:gd name="T32" fmla="*/ 0 w 1296"/>
                  <a:gd name="T33" fmla="*/ 0 h 1711"/>
                  <a:gd name="T34" fmla="*/ 0 w 1296"/>
                  <a:gd name="T35" fmla="*/ 0 h 1711"/>
                  <a:gd name="T36" fmla="*/ 0 w 1296"/>
                  <a:gd name="T37" fmla="*/ 0 h 1711"/>
                  <a:gd name="T38" fmla="*/ 0 w 1296"/>
                  <a:gd name="T39" fmla="*/ 0 h 1711"/>
                  <a:gd name="T40" fmla="*/ 0 w 1296"/>
                  <a:gd name="T41" fmla="*/ 0 h 1711"/>
                  <a:gd name="T42" fmla="*/ 0 w 1296"/>
                  <a:gd name="T43" fmla="*/ 0 h 1711"/>
                  <a:gd name="T44" fmla="*/ 0 w 1296"/>
                  <a:gd name="T45" fmla="*/ 0 h 1711"/>
                  <a:gd name="T46" fmla="*/ 0 w 1296"/>
                  <a:gd name="T47" fmla="*/ 0 h 1711"/>
                  <a:gd name="T48" fmla="*/ 0 w 1296"/>
                  <a:gd name="T49" fmla="*/ 0 h 1711"/>
                  <a:gd name="T50" fmla="*/ 0 w 1296"/>
                  <a:gd name="T51" fmla="*/ 0 h 1711"/>
                  <a:gd name="T52" fmla="*/ 0 w 1296"/>
                  <a:gd name="T53" fmla="*/ 0 h 1711"/>
                  <a:gd name="T54" fmla="*/ 0 w 1296"/>
                  <a:gd name="T55" fmla="*/ 0 h 1711"/>
                  <a:gd name="T56" fmla="*/ 0 w 1296"/>
                  <a:gd name="T57" fmla="*/ 0 h 1711"/>
                  <a:gd name="T58" fmla="*/ 0 w 1296"/>
                  <a:gd name="T59" fmla="*/ 0 h 1711"/>
                  <a:gd name="T60" fmla="*/ 0 w 1296"/>
                  <a:gd name="T61" fmla="*/ 0 h 1711"/>
                  <a:gd name="T62" fmla="*/ 0 w 1296"/>
                  <a:gd name="T63" fmla="*/ 0 h 1711"/>
                  <a:gd name="T64" fmla="*/ 0 w 1296"/>
                  <a:gd name="T65" fmla="*/ 0 h 1711"/>
                  <a:gd name="T66" fmla="*/ 0 w 1296"/>
                  <a:gd name="T67" fmla="*/ 0 h 1711"/>
                  <a:gd name="T68" fmla="*/ 0 w 1296"/>
                  <a:gd name="T69" fmla="*/ 0 h 1711"/>
                  <a:gd name="T70" fmla="*/ 0 w 1296"/>
                  <a:gd name="T71" fmla="*/ 0 h 1711"/>
                  <a:gd name="T72" fmla="*/ 0 w 1296"/>
                  <a:gd name="T73" fmla="*/ 0 h 1711"/>
                  <a:gd name="T74" fmla="*/ 0 w 1296"/>
                  <a:gd name="T75" fmla="*/ 0 h 1711"/>
                  <a:gd name="T76" fmla="*/ 0 w 1296"/>
                  <a:gd name="T77" fmla="*/ 0 h 1711"/>
                  <a:gd name="T78" fmla="*/ 0 w 1296"/>
                  <a:gd name="T79" fmla="*/ 0 h 1711"/>
                  <a:gd name="T80" fmla="*/ 0 w 1296"/>
                  <a:gd name="T81" fmla="*/ 0 h 1711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1296"/>
                  <a:gd name="T124" fmla="*/ 0 h 1711"/>
                  <a:gd name="T125" fmla="*/ 1296 w 1296"/>
                  <a:gd name="T126" fmla="*/ 1711 h 1711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1296" h="1711">
                    <a:moveTo>
                      <a:pt x="252" y="503"/>
                    </a:moveTo>
                    <a:lnTo>
                      <a:pt x="268" y="532"/>
                    </a:lnTo>
                    <a:lnTo>
                      <a:pt x="283" y="562"/>
                    </a:lnTo>
                    <a:lnTo>
                      <a:pt x="299" y="594"/>
                    </a:lnTo>
                    <a:lnTo>
                      <a:pt x="313" y="627"/>
                    </a:lnTo>
                    <a:lnTo>
                      <a:pt x="327" y="661"/>
                    </a:lnTo>
                    <a:lnTo>
                      <a:pt x="339" y="696"/>
                    </a:lnTo>
                    <a:lnTo>
                      <a:pt x="351" y="733"/>
                    </a:lnTo>
                    <a:lnTo>
                      <a:pt x="363" y="770"/>
                    </a:lnTo>
                    <a:lnTo>
                      <a:pt x="373" y="809"/>
                    </a:lnTo>
                    <a:lnTo>
                      <a:pt x="383" y="847"/>
                    </a:lnTo>
                    <a:lnTo>
                      <a:pt x="393" y="888"/>
                    </a:lnTo>
                    <a:lnTo>
                      <a:pt x="401" y="928"/>
                    </a:lnTo>
                    <a:lnTo>
                      <a:pt x="409" y="968"/>
                    </a:lnTo>
                    <a:lnTo>
                      <a:pt x="415" y="1010"/>
                    </a:lnTo>
                    <a:lnTo>
                      <a:pt x="422" y="1051"/>
                    </a:lnTo>
                    <a:lnTo>
                      <a:pt x="428" y="1092"/>
                    </a:lnTo>
                    <a:lnTo>
                      <a:pt x="432" y="1135"/>
                    </a:lnTo>
                    <a:lnTo>
                      <a:pt x="436" y="1176"/>
                    </a:lnTo>
                    <a:lnTo>
                      <a:pt x="439" y="1219"/>
                    </a:lnTo>
                    <a:lnTo>
                      <a:pt x="442" y="1260"/>
                    </a:lnTo>
                    <a:lnTo>
                      <a:pt x="443" y="1301"/>
                    </a:lnTo>
                    <a:lnTo>
                      <a:pt x="444" y="1342"/>
                    </a:lnTo>
                    <a:lnTo>
                      <a:pt x="444" y="1382"/>
                    </a:lnTo>
                    <a:lnTo>
                      <a:pt x="443" y="1422"/>
                    </a:lnTo>
                    <a:lnTo>
                      <a:pt x="442" y="1462"/>
                    </a:lnTo>
                    <a:lnTo>
                      <a:pt x="440" y="1501"/>
                    </a:lnTo>
                    <a:lnTo>
                      <a:pt x="436" y="1538"/>
                    </a:lnTo>
                    <a:lnTo>
                      <a:pt x="433" y="1575"/>
                    </a:lnTo>
                    <a:lnTo>
                      <a:pt x="428" y="1611"/>
                    </a:lnTo>
                    <a:lnTo>
                      <a:pt x="423" y="1646"/>
                    </a:lnTo>
                    <a:lnTo>
                      <a:pt x="415" y="1679"/>
                    </a:lnTo>
                    <a:lnTo>
                      <a:pt x="408" y="1711"/>
                    </a:lnTo>
                    <a:lnTo>
                      <a:pt x="1290" y="1509"/>
                    </a:lnTo>
                    <a:lnTo>
                      <a:pt x="1293" y="1476"/>
                    </a:lnTo>
                    <a:lnTo>
                      <a:pt x="1295" y="1442"/>
                    </a:lnTo>
                    <a:lnTo>
                      <a:pt x="1296" y="1406"/>
                    </a:lnTo>
                    <a:lnTo>
                      <a:pt x="1296" y="1369"/>
                    </a:lnTo>
                    <a:lnTo>
                      <a:pt x="1295" y="1330"/>
                    </a:lnTo>
                    <a:lnTo>
                      <a:pt x="1293" y="1291"/>
                    </a:lnTo>
                    <a:lnTo>
                      <a:pt x="1290" y="1252"/>
                    </a:lnTo>
                    <a:lnTo>
                      <a:pt x="1286" y="1210"/>
                    </a:lnTo>
                    <a:lnTo>
                      <a:pt x="1280" y="1169"/>
                    </a:lnTo>
                    <a:lnTo>
                      <a:pt x="1275" y="1127"/>
                    </a:lnTo>
                    <a:lnTo>
                      <a:pt x="1268" y="1083"/>
                    </a:lnTo>
                    <a:lnTo>
                      <a:pt x="1261" y="1041"/>
                    </a:lnTo>
                    <a:lnTo>
                      <a:pt x="1252" y="997"/>
                    </a:lnTo>
                    <a:lnTo>
                      <a:pt x="1244" y="954"/>
                    </a:lnTo>
                    <a:lnTo>
                      <a:pt x="1234" y="910"/>
                    </a:lnTo>
                    <a:lnTo>
                      <a:pt x="1224" y="867"/>
                    </a:lnTo>
                    <a:lnTo>
                      <a:pt x="1212" y="824"/>
                    </a:lnTo>
                    <a:lnTo>
                      <a:pt x="1200" y="781"/>
                    </a:lnTo>
                    <a:lnTo>
                      <a:pt x="1187" y="739"/>
                    </a:lnTo>
                    <a:lnTo>
                      <a:pt x="1174" y="697"/>
                    </a:lnTo>
                    <a:lnTo>
                      <a:pt x="1160" y="656"/>
                    </a:lnTo>
                    <a:lnTo>
                      <a:pt x="1145" y="616"/>
                    </a:lnTo>
                    <a:lnTo>
                      <a:pt x="1131" y="576"/>
                    </a:lnTo>
                    <a:lnTo>
                      <a:pt x="1114" y="538"/>
                    </a:lnTo>
                    <a:lnTo>
                      <a:pt x="1097" y="500"/>
                    </a:lnTo>
                    <a:lnTo>
                      <a:pt x="1081" y="465"/>
                    </a:lnTo>
                    <a:lnTo>
                      <a:pt x="1063" y="430"/>
                    </a:lnTo>
                    <a:lnTo>
                      <a:pt x="1045" y="397"/>
                    </a:lnTo>
                    <a:lnTo>
                      <a:pt x="1026" y="365"/>
                    </a:lnTo>
                    <a:lnTo>
                      <a:pt x="1008" y="335"/>
                    </a:lnTo>
                    <a:lnTo>
                      <a:pt x="988" y="306"/>
                    </a:lnTo>
                    <a:lnTo>
                      <a:pt x="968" y="280"/>
                    </a:lnTo>
                    <a:lnTo>
                      <a:pt x="940" y="246"/>
                    </a:lnTo>
                    <a:lnTo>
                      <a:pt x="912" y="211"/>
                    </a:lnTo>
                    <a:lnTo>
                      <a:pt x="883" y="176"/>
                    </a:lnTo>
                    <a:lnTo>
                      <a:pt x="853" y="142"/>
                    </a:lnTo>
                    <a:lnTo>
                      <a:pt x="822" y="107"/>
                    </a:lnTo>
                    <a:lnTo>
                      <a:pt x="791" y="71"/>
                    </a:lnTo>
                    <a:lnTo>
                      <a:pt x="758" y="36"/>
                    </a:lnTo>
                    <a:lnTo>
                      <a:pt x="725" y="0"/>
                    </a:lnTo>
                    <a:lnTo>
                      <a:pt x="0" y="147"/>
                    </a:lnTo>
                    <a:lnTo>
                      <a:pt x="35" y="193"/>
                    </a:lnTo>
                    <a:lnTo>
                      <a:pt x="70" y="239"/>
                    </a:lnTo>
                    <a:lnTo>
                      <a:pt x="104" y="285"/>
                    </a:lnTo>
                    <a:lnTo>
                      <a:pt x="136" y="329"/>
                    </a:lnTo>
                    <a:lnTo>
                      <a:pt x="168" y="374"/>
                    </a:lnTo>
                    <a:lnTo>
                      <a:pt x="197" y="417"/>
                    </a:lnTo>
                    <a:lnTo>
                      <a:pt x="225" y="461"/>
                    </a:lnTo>
                    <a:lnTo>
                      <a:pt x="252" y="503"/>
                    </a:lnTo>
                    <a:close/>
                  </a:path>
                </a:pathLst>
              </a:custGeom>
              <a:solidFill>
                <a:srgbClr val="25A9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51" name="Freeform 66"/>
              <p:cNvSpPr>
                <a:spLocks noEditPoints="1"/>
              </p:cNvSpPr>
              <p:nvPr/>
            </p:nvSpPr>
            <p:spPr bwMode="auto">
              <a:xfrm>
                <a:off x="3582" y="1489"/>
                <a:ext cx="194" cy="252"/>
              </a:xfrm>
              <a:custGeom>
                <a:avLst/>
                <a:gdLst>
                  <a:gd name="T0" fmla="*/ 0 w 1359"/>
                  <a:gd name="T1" fmla="*/ 0 h 1766"/>
                  <a:gd name="T2" fmla="*/ 0 w 1359"/>
                  <a:gd name="T3" fmla="*/ 0 h 1766"/>
                  <a:gd name="T4" fmla="*/ 0 w 1359"/>
                  <a:gd name="T5" fmla="*/ 0 h 1766"/>
                  <a:gd name="T6" fmla="*/ 0 w 1359"/>
                  <a:gd name="T7" fmla="*/ 0 h 1766"/>
                  <a:gd name="T8" fmla="*/ 0 w 1359"/>
                  <a:gd name="T9" fmla="*/ 0 h 1766"/>
                  <a:gd name="T10" fmla="*/ 0 w 1359"/>
                  <a:gd name="T11" fmla="*/ 0 h 1766"/>
                  <a:gd name="T12" fmla="*/ 0 w 1359"/>
                  <a:gd name="T13" fmla="*/ 0 h 1766"/>
                  <a:gd name="T14" fmla="*/ 0 w 1359"/>
                  <a:gd name="T15" fmla="*/ 0 h 1766"/>
                  <a:gd name="T16" fmla="*/ 0 w 1359"/>
                  <a:gd name="T17" fmla="*/ 0 h 1766"/>
                  <a:gd name="T18" fmla="*/ 0 w 1359"/>
                  <a:gd name="T19" fmla="*/ 0 h 1766"/>
                  <a:gd name="T20" fmla="*/ 0 w 1359"/>
                  <a:gd name="T21" fmla="*/ 0 h 1766"/>
                  <a:gd name="T22" fmla="*/ 0 w 1359"/>
                  <a:gd name="T23" fmla="*/ 0 h 1766"/>
                  <a:gd name="T24" fmla="*/ 0 w 1359"/>
                  <a:gd name="T25" fmla="*/ 0 h 1766"/>
                  <a:gd name="T26" fmla="*/ 0 w 1359"/>
                  <a:gd name="T27" fmla="*/ 0 h 1766"/>
                  <a:gd name="T28" fmla="*/ 0 w 1359"/>
                  <a:gd name="T29" fmla="*/ 0 h 1766"/>
                  <a:gd name="T30" fmla="*/ 0 w 1359"/>
                  <a:gd name="T31" fmla="*/ 0 h 1766"/>
                  <a:gd name="T32" fmla="*/ 0 w 1359"/>
                  <a:gd name="T33" fmla="*/ 0 h 1766"/>
                  <a:gd name="T34" fmla="*/ 0 w 1359"/>
                  <a:gd name="T35" fmla="*/ 0 h 1766"/>
                  <a:gd name="T36" fmla="*/ 0 w 1359"/>
                  <a:gd name="T37" fmla="*/ 0 h 1766"/>
                  <a:gd name="T38" fmla="*/ 0 w 1359"/>
                  <a:gd name="T39" fmla="*/ 0 h 1766"/>
                  <a:gd name="T40" fmla="*/ 0 w 1359"/>
                  <a:gd name="T41" fmla="*/ 0 h 1766"/>
                  <a:gd name="T42" fmla="*/ 0 w 1359"/>
                  <a:gd name="T43" fmla="*/ 0 h 1766"/>
                  <a:gd name="T44" fmla="*/ 0 w 1359"/>
                  <a:gd name="T45" fmla="*/ 0 h 1766"/>
                  <a:gd name="T46" fmla="*/ 0 w 1359"/>
                  <a:gd name="T47" fmla="*/ 0 h 1766"/>
                  <a:gd name="T48" fmla="*/ 0 w 1359"/>
                  <a:gd name="T49" fmla="*/ 0 h 1766"/>
                  <a:gd name="T50" fmla="*/ 0 w 1359"/>
                  <a:gd name="T51" fmla="*/ 0 h 1766"/>
                  <a:gd name="T52" fmla="*/ 0 w 1359"/>
                  <a:gd name="T53" fmla="*/ 0 h 1766"/>
                  <a:gd name="T54" fmla="*/ 0 w 1359"/>
                  <a:gd name="T55" fmla="*/ 0 h 1766"/>
                  <a:gd name="T56" fmla="*/ 0 w 1359"/>
                  <a:gd name="T57" fmla="*/ 0 h 1766"/>
                  <a:gd name="T58" fmla="*/ 0 w 1359"/>
                  <a:gd name="T59" fmla="*/ 0 h 1766"/>
                  <a:gd name="T60" fmla="*/ 0 w 1359"/>
                  <a:gd name="T61" fmla="*/ 0 h 1766"/>
                  <a:gd name="T62" fmla="*/ 0 w 1359"/>
                  <a:gd name="T63" fmla="*/ 0 h 1766"/>
                  <a:gd name="T64" fmla="*/ 0 w 1359"/>
                  <a:gd name="T65" fmla="*/ 0 h 1766"/>
                  <a:gd name="T66" fmla="*/ 0 w 1359"/>
                  <a:gd name="T67" fmla="*/ 0 h 1766"/>
                  <a:gd name="T68" fmla="*/ 0 w 1359"/>
                  <a:gd name="T69" fmla="*/ 0 h 1766"/>
                  <a:gd name="T70" fmla="*/ 0 w 1359"/>
                  <a:gd name="T71" fmla="*/ 0 h 1766"/>
                  <a:gd name="T72" fmla="*/ 0 w 1359"/>
                  <a:gd name="T73" fmla="*/ 0 h 1766"/>
                  <a:gd name="T74" fmla="*/ 0 w 1359"/>
                  <a:gd name="T75" fmla="*/ 0 h 1766"/>
                  <a:gd name="T76" fmla="*/ 0 w 1359"/>
                  <a:gd name="T77" fmla="*/ 0 h 1766"/>
                  <a:gd name="T78" fmla="*/ 0 w 1359"/>
                  <a:gd name="T79" fmla="*/ 0 h 1766"/>
                  <a:gd name="T80" fmla="*/ 0 w 1359"/>
                  <a:gd name="T81" fmla="*/ 0 h 1766"/>
                  <a:gd name="T82" fmla="*/ 0 w 1359"/>
                  <a:gd name="T83" fmla="*/ 0 h 1766"/>
                  <a:gd name="T84" fmla="*/ 0 w 1359"/>
                  <a:gd name="T85" fmla="*/ 0 h 1766"/>
                  <a:gd name="T86" fmla="*/ 0 w 1359"/>
                  <a:gd name="T87" fmla="*/ 0 h 1766"/>
                  <a:gd name="T88" fmla="*/ 0 w 1359"/>
                  <a:gd name="T89" fmla="*/ 0 h 1766"/>
                  <a:gd name="T90" fmla="*/ 0 w 1359"/>
                  <a:gd name="T91" fmla="*/ 0 h 1766"/>
                  <a:gd name="T92" fmla="*/ 0 w 1359"/>
                  <a:gd name="T93" fmla="*/ 0 h 1766"/>
                  <a:gd name="T94" fmla="*/ 0 w 1359"/>
                  <a:gd name="T95" fmla="*/ 0 h 1766"/>
                  <a:gd name="T96" fmla="*/ 0 w 1359"/>
                  <a:gd name="T97" fmla="*/ 0 h 1766"/>
                  <a:gd name="T98" fmla="*/ 0 w 1359"/>
                  <a:gd name="T99" fmla="*/ 0 h 1766"/>
                  <a:gd name="T100" fmla="*/ 0 w 1359"/>
                  <a:gd name="T101" fmla="*/ 0 h 1766"/>
                  <a:gd name="T102" fmla="*/ 0 w 1359"/>
                  <a:gd name="T103" fmla="*/ 0 h 1766"/>
                  <a:gd name="T104" fmla="*/ 0 w 1359"/>
                  <a:gd name="T105" fmla="*/ 0 h 1766"/>
                  <a:gd name="T106" fmla="*/ 0 w 1359"/>
                  <a:gd name="T107" fmla="*/ 0 h 1766"/>
                  <a:gd name="T108" fmla="*/ 0 w 1359"/>
                  <a:gd name="T109" fmla="*/ 0 h 1766"/>
                  <a:gd name="T110" fmla="*/ 0 w 1359"/>
                  <a:gd name="T111" fmla="*/ 0 h 1766"/>
                  <a:gd name="T112" fmla="*/ 0 w 1359"/>
                  <a:gd name="T113" fmla="*/ 0 h 1766"/>
                  <a:gd name="T114" fmla="*/ 0 w 1359"/>
                  <a:gd name="T115" fmla="*/ 0 h 1766"/>
                  <a:gd name="T116" fmla="*/ 0 w 1359"/>
                  <a:gd name="T117" fmla="*/ 0 h 1766"/>
                  <a:gd name="T118" fmla="*/ 0 w 1359"/>
                  <a:gd name="T119" fmla="*/ 0 h 1766"/>
                  <a:gd name="T120" fmla="*/ 0 w 1359"/>
                  <a:gd name="T121" fmla="*/ 0 h 1766"/>
                  <a:gd name="T122" fmla="*/ 0 w 1359"/>
                  <a:gd name="T123" fmla="*/ 0 h 176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359"/>
                  <a:gd name="T187" fmla="*/ 0 h 1766"/>
                  <a:gd name="T188" fmla="*/ 1359 w 1359"/>
                  <a:gd name="T189" fmla="*/ 1766 h 176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359" h="1766">
                    <a:moveTo>
                      <a:pt x="761" y="3"/>
                    </a:moveTo>
                    <a:lnTo>
                      <a:pt x="0" y="157"/>
                    </a:lnTo>
                    <a:lnTo>
                      <a:pt x="22" y="186"/>
                    </a:lnTo>
                    <a:lnTo>
                      <a:pt x="54" y="227"/>
                    </a:lnTo>
                    <a:lnTo>
                      <a:pt x="87" y="270"/>
                    </a:lnTo>
                    <a:lnTo>
                      <a:pt x="120" y="314"/>
                    </a:lnTo>
                    <a:lnTo>
                      <a:pt x="152" y="359"/>
                    </a:lnTo>
                    <a:lnTo>
                      <a:pt x="184" y="403"/>
                    </a:lnTo>
                    <a:lnTo>
                      <a:pt x="215" y="448"/>
                    </a:lnTo>
                    <a:lnTo>
                      <a:pt x="245" y="494"/>
                    </a:lnTo>
                    <a:lnTo>
                      <a:pt x="273" y="539"/>
                    </a:lnTo>
                    <a:lnTo>
                      <a:pt x="288" y="566"/>
                    </a:lnTo>
                    <a:lnTo>
                      <a:pt x="302" y="594"/>
                    </a:lnTo>
                    <a:lnTo>
                      <a:pt x="316" y="625"/>
                    </a:lnTo>
                    <a:lnTo>
                      <a:pt x="330" y="656"/>
                    </a:lnTo>
                    <a:lnTo>
                      <a:pt x="343" y="689"/>
                    </a:lnTo>
                    <a:lnTo>
                      <a:pt x="355" y="722"/>
                    </a:lnTo>
                    <a:lnTo>
                      <a:pt x="367" y="758"/>
                    </a:lnTo>
                    <a:lnTo>
                      <a:pt x="378" y="794"/>
                    </a:lnTo>
                    <a:lnTo>
                      <a:pt x="388" y="831"/>
                    </a:lnTo>
                    <a:lnTo>
                      <a:pt x="399" y="869"/>
                    </a:lnTo>
                    <a:lnTo>
                      <a:pt x="408" y="908"/>
                    </a:lnTo>
                    <a:lnTo>
                      <a:pt x="416" y="947"/>
                    </a:lnTo>
                    <a:lnTo>
                      <a:pt x="424" y="987"/>
                    </a:lnTo>
                    <a:lnTo>
                      <a:pt x="432" y="1028"/>
                    </a:lnTo>
                    <a:lnTo>
                      <a:pt x="438" y="1069"/>
                    </a:lnTo>
                    <a:lnTo>
                      <a:pt x="443" y="1109"/>
                    </a:lnTo>
                    <a:lnTo>
                      <a:pt x="448" y="1151"/>
                    </a:lnTo>
                    <a:lnTo>
                      <a:pt x="452" y="1193"/>
                    </a:lnTo>
                    <a:lnTo>
                      <a:pt x="455" y="1234"/>
                    </a:lnTo>
                    <a:lnTo>
                      <a:pt x="459" y="1276"/>
                    </a:lnTo>
                    <a:lnTo>
                      <a:pt x="461" y="1316"/>
                    </a:lnTo>
                    <a:lnTo>
                      <a:pt x="462" y="1357"/>
                    </a:lnTo>
                    <a:lnTo>
                      <a:pt x="462" y="1398"/>
                    </a:lnTo>
                    <a:lnTo>
                      <a:pt x="462" y="1438"/>
                    </a:lnTo>
                    <a:lnTo>
                      <a:pt x="461" y="1477"/>
                    </a:lnTo>
                    <a:lnTo>
                      <a:pt x="457" y="1517"/>
                    </a:lnTo>
                    <a:lnTo>
                      <a:pt x="455" y="1555"/>
                    </a:lnTo>
                    <a:lnTo>
                      <a:pt x="451" y="1592"/>
                    </a:lnTo>
                    <a:lnTo>
                      <a:pt x="446" y="1628"/>
                    </a:lnTo>
                    <a:lnTo>
                      <a:pt x="441" y="1663"/>
                    </a:lnTo>
                    <a:lnTo>
                      <a:pt x="434" y="1698"/>
                    </a:lnTo>
                    <a:lnTo>
                      <a:pt x="426" y="1731"/>
                    </a:lnTo>
                    <a:lnTo>
                      <a:pt x="418" y="1766"/>
                    </a:lnTo>
                    <a:lnTo>
                      <a:pt x="1350" y="1553"/>
                    </a:lnTo>
                    <a:lnTo>
                      <a:pt x="1352" y="1537"/>
                    </a:lnTo>
                    <a:lnTo>
                      <a:pt x="1355" y="1504"/>
                    </a:lnTo>
                    <a:lnTo>
                      <a:pt x="1358" y="1470"/>
                    </a:lnTo>
                    <a:lnTo>
                      <a:pt x="1359" y="1435"/>
                    </a:lnTo>
                    <a:lnTo>
                      <a:pt x="1359" y="1398"/>
                    </a:lnTo>
                    <a:lnTo>
                      <a:pt x="1358" y="1359"/>
                    </a:lnTo>
                    <a:lnTo>
                      <a:pt x="1355" y="1320"/>
                    </a:lnTo>
                    <a:lnTo>
                      <a:pt x="1352" y="1280"/>
                    </a:lnTo>
                    <a:lnTo>
                      <a:pt x="1348" y="1239"/>
                    </a:lnTo>
                    <a:lnTo>
                      <a:pt x="1344" y="1197"/>
                    </a:lnTo>
                    <a:lnTo>
                      <a:pt x="1339" y="1155"/>
                    </a:lnTo>
                    <a:lnTo>
                      <a:pt x="1332" y="1112"/>
                    </a:lnTo>
                    <a:lnTo>
                      <a:pt x="1326" y="1069"/>
                    </a:lnTo>
                    <a:lnTo>
                      <a:pt x="1317" y="1025"/>
                    </a:lnTo>
                    <a:lnTo>
                      <a:pt x="1308" y="982"/>
                    </a:lnTo>
                    <a:lnTo>
                      <a:pt x="1299" y="938"/>
                    </a:lnTo>
                    <a:lnTo>
                      <a:pt x="1288" y="894"/>
                    </a:lnTo>
                    <a:lnTo>
                      <a:pt x="1277" y="851"/>
                    </a:lnTo>
                    <a:lnTo>
                      <a:pt x="1265" y="807"/>
                    </a:lnTo>
                    <a:lnTo>
                      <a:pt x="1252" y="764"/>
                    </a:lnTo>
                    <a:lnTo>
                      <a:pt x="1239" y="721"/>
                    </a:lnTo>
                    <a:lnTo>
                      <a:pt x="1224" y="680"/>
                    </a:lnTo>
                    <a:lnTo>
                      <a:pt x="1210" y="639"/>
                    </a:lnTo>
                    <a:lnTo>
                      <a:pt x="1194" y="598"/>
                    </a:lnTo>
                    <a:lnTo>
                      <a:pt x="1178" y="559"/>
                    </a:lnTo>
                    <a:lnTo>
                      <a:pt x="1161" y="521"/>
                    </a:lnTo>
                    <a:lnTo>
                      <a:pt x="1144" y="484"/>
                    </a:lnTo>
                    <a:lnTo>
                      <a:pt x="1125" y="447"/>
                    </a:lnTo>
                    <a:lnTo>
                      <a:pt x="1106" y="412"/>
                    </a:lnTo>
                    <a:lnTo>
                      <a:pt x="1087" y="379"/>
                    </a:lnTo>
                    <a:lnTo>
                      <a:pt x="1067" y="348"/>
                    </a:lnTo>
                    <a:lnTo>
                      <a:pt x="1047" y="318"/>
                    </a:lnTo>
                    <a:lnTo>
                      <a:pt x="1025" y="290"/>
                    </a:lnTo>
                    <a:lnTo>
                      <a:pt x="996" y="254"/>
                    </a:lnTo>
                    <a:lnTo>
                      <a:pt x="966" y="217"/>
                    </a:lnTo>
                    <a:lnTo>
                      <a:pt x="935" y="181"/>
                    </a:lnTo>
                    <a:lnTo>
                      <a:pt x="904" y="145"/>
                    </a:lnTo>
                    <a:lnTo>
                      <a:pt x="873" y="109"/>
                    </a:lnTo>
                    <a:lnTo>
                      <a:pt x="842" y="75"/>
                    </a:lnTo>
                    <a:lnTo>
                      <a:pt x="812" y="42"/>
                    </a:lnTo>
                    <a:lnTo>
                      <a:pt x="782" y="9"/>
                    </a:lnTo>
                    <a:lnTo>
                      <a:pt x="774" y="0"/>
                    </a:lnTo>
                    <a:lnTo>
                      <a:pt x="761" y="3"/>
                    </a:lnTo>
                    <a:close/>
                    <a:moveTo>
                      <a:pt x="757" y="49"/>
                    </a:moveTo>
                    <a:lnTo>
                      <a:pt x="786" y="80"/>
                    </a:lnTo>
                    <a:lnTo>
                      <a:pt x="815" y="112"/>
                    </a:lnTo>
                    <a:lnTo>
                      <a:pt x="844" y="145"/>
                    </a:lnTo>
                    <a:lnTo>
                      <a:pt x="874" y="180"/>
                    </a:lnTo>
                    <a:lnTo>
                      <a:pt x="904" y="214"/>
                    </a:lnTo>
                    <a:lnTo>
                      <a:pt x="933" y="249"/>
                    </a:lnTo>
                    <a:lnTo>
                      <a:pt x="962" y="283"/>
                    </a:lnTo>
                    <a:lnTo>
                      <a:pt x="990" y="318"/>
                    </a:lnTo>
                    <a:lnTo>
                      <a:pt x="1013" y="349"/>
                    </a:lnTo>
                    <a:lnTo>
                      <a:pt x="1036" y="383"/>
                    </a:lnTo>
                    <a:lnTo>
                      <a:pt x="1058" y="418"/>
                    </a:lnTo>
                    <a:lnTo>
                      <a:pt x="1080" y="457"/>
                    </a:lnTo>
                    <a:lnTo>
                      <a:pt x="1099" y="497"/>
                    </a:lnTo>
                    <a:lnTo>
                      <a:pt x="1119" y="538"/>
                    </a:lnTo>
                    <a:lnTo>
                      <a:pt x="1137" y="582"/>
                    </a:lnTo>
                    <a:lnTo>
                      <a:pt x="1156" y="626"/>
                    </a:lnTo>
                    <a:lnTo>
                      <a:pt x="1174" y="672"/>
                    </a:lnTo>
                    <a:lnTo>
                      <a:pt x="1189" y="718"/>
                    </a:lnTo>
                    <a:lnTo>
                      <a:pt x="1205" y="766"/>
                    </a:lnTo>
                    <a:lnTo>
                      <a:pt x="1219" y="815"/>
                    </a:lnTo>
                    <a:lnTo>
                      <a:pt x="1233" y="864"/>
                    </a:lnTo>
                    <a:lnTo>
                      <a:pt x="1246" y="913"/>
                    </a:lnTo>
                    <a:lnTo>
                      <a:pt x="1257" y="962"/>
                    </a:lnTo>
                    <a:lnTo>
                      <a:pt x="1268" y="1012"/>
                    </a:lnTo>
                    <a:lnTo>
                      <a:pt x="1281" y="1082"/>
                    </a:lnTo>
                    <a:lnTo>
                      <a:pt x="1291" y="1151"/>
                    </a:lnTo>
                    <a:lnTo>
                      <a:pt x="1301" y="1218"/>
                    </a:lnTo>
                    <a:lnTo>
                      <a:pt x="1307" y="1283"/>
                    </a:lnTo>
                    <a:lnTo>
                      <a:pt x="1309" y="1315"/>
                    </a:lnTo>
                    <a:lnTo>
                      <a:pt x="1311" y="1346"/>
                    </a:lnTo>
                    <a:lnTo>
                      <a:pt x="1312" y="1377"/>
                    </a:lnTo>
                    <a:lnTo>
                      <a:pt x="1312" y="1407"/>
                    </a:lnTo>
                    <a:lnTo>
                      <a:pt x="1312" y="1435"/>
                    </a:lnTo>
                    <a:lnTo>
                      <a:pt x="1312" y="1464"/>
                    </a:lnTo>
                    <a:lnTo>
                      <a:pt x="1310" y="1491"/>
                    </a:lnTo>
                    <a:lnTo>
                      <a:pt x="1309" y="1517"/>
                    </a:lnTo>
                    <a:lnTo>
                      <a:pt x="1295" y="1520"/>
                    </a:lnTo>
                    <a:lnTo>
                      <a:pt x="1267" y="1526"/>
                    </a:lnTo>
                    <a:lnTo>
                      <a:pt x="1225" y="1535"/>
                    </a:lnTo>
                    <a:lnTo>
                      <a:pt x="1174" y="1548"/>
                    </a:lnTo>
                    <a:lnTo>
                      <a:pt x="1114" y="1561"/>
                    </a:lnTo>
                    <a:lnTo>
                      <a:pt x="1048" y="1577"/>
                    </a:lnTo>
                    <a:lnTo>
                      <a:pt x="976" y="1592"/>
                    </a:lnTo>
                    <a:lnTo>
                      <a:pt x="903" y="1610"/>
                    </a:lnTo>
                    <a:lnTo>
                      <a:pt x="829" y="1626"/>
                    </a:lnTo>
                    <a:lnTo>
                      <a:pt x="757" y="1643"/>
                    </a:lnTo>
                    <a:lnTo>
                      <a:pt x="689" y="1658"/>
                    </a:lnTo>
                    <a:lnTo>
                      <a:pt x="627" y="1673"/>
                    </a:lnTo>
                    <a:lnTo>
                      <a:pt x="572" y="1685"/>
                    </a:lnTo>
                    <a:lnTo>
                      <a:pt x="528" y="1696"/>
                    </a:lnTo>
                    <a:lnTo>
                      <a:pt x="495" y="1703"/>
                    </a:lnTo>
                    <a:lnTo>
                      <a:pt x="476" y="1707"/>
                    </a:lnTo>
                    <a:lnTo>
                      <a:pt x="484" y="1666"/>
                    </a:lnTo>
                    <a:lnTo>
                      <a:pt x="491" y="1622"/>
                    </a:lnTo>
                    <a:lnTo>
                      <a:pt x="497" y="1578"/>
                    </a:lnTo>
                    <a:lnTo>
                      <a:pt x="501" y="1531"/>
                    </a:lnTo>
                    <a:lnTo>
                      <a:pt x="504" y="1485"/>
                    </a:lnTo>
                    <a:lnTo>
                      <a:pt x="506" y="1437"/>
                    </a:lnTo>
                    <a:lnTo>
                      <a:pt x="506" y="1388"/>
                    </a:lnTo>
                    <a:lnTo>
                      <a:pt x="506" y="1340"/>
                    </a:lnTo>
                    <a:lnTo>
                      <a:pt x="505" y="1291"/>
                    </a:lnTo>
                    <a:lnTo>
                      <a:pt x="502" y="1242"/>
                    </a:lnTo>
                    <a:lnTo>
                      <a:pt x="498" y="1192"/>
                    </a:lnTo>
                    <a:lnTo>
                      <a:pt x="494" y="1142"/>
                    </a:lnTo>
                    <a:lnTo>
                      <a:pt x="487" y="1093"/>
                    </a:lnTo>
                    <a:lnTo>
                      <a:pt x="480" y="1043"/>
                    </a:lnTo>
                    <a:lnTo>
                      <a:pt x="472" y="994"/>
                    </a:lnTo>
                    <a:lnTo>
                      <a:pt x="463" y="947"/>
                    </a:lnTo>
                    <a:lnTo>
                      <a:pt x="449" y="885"/>
                    </a:lnTo>
                    <a:lnTo>
                      <a:pt x="434" y="825"/>
                    </a:lnTo>
                    <a:lnTo>
                      <a:pt x="425" y="796"/>
                    </a:lnTo>
                    <a:lnTo>
                      <a:pt x="417" y="767"/>
                    </a:lnTo>
                    <a:lnTo>
                      <a:pt x="409" y="739"/>
                    </a:lnTo>
                    <a:lnTo>
                      <a:pt x="400" y="711"/>
                    </a:lnTo>
                    <a:lnTo>
                      <a:pt x="389" y="684"/>
                    </a:lnTo>
                    <a:lnTo>
                      <a:pt x="379" y="657"/>
                    </a:lnTo>
                    <a:lnTo>
                      <a:pt x="369" y="633"/>
                    </a:lnTo>
                    <a:lnTo>
                      <a:pt x="358" y="608"/>
                    </a:lnTo>
                    <a:lnTo>
                      <a:pt x="347" y="583"/>
                    </a:lnTo>
                    <a:lnTo>
                      <a:pt x="336" y="560"/>
                    </a:lnTo>
                    <a:lnTo>
                      <a:pt x="323" y="537"/>
                    </a:lnTo>
                    <a:lnTo>
                      <a:pt x="311" y="517"/>
                    </a:lnTo>
                    <a:lnTo>
                      <a:pt x="285" y="474"/>
                    </a:lnTo>
                    <a:lnTo>
                      <a:pt x="258" y="432"/>
                    </a:lnTo>
                    <a:lnTo>
                      <a:pt x="229" y="391"/>
                    </a:lnTo>
                    <a:lnTo>
                      <a:pt x="200" y="348"/>
                    </a:lnTo>
                    <a:lnTo>
                      <a:pt x="170" y="307"/>
                    </a:lnTo>
                    <a:lnTo>
                      <a:pt x="139" y="266"/>
                    </a:lnTo>
                    <a:lnTo>
                      <a:pt x="109" y="226"/>
                    </a:lnTo>
                    <a:lnTo>
                      <a:pt x="79" y="187"/>
                    </a:lnTo>
                    <a:lnTo>
                      <a:pt x="125" y="178"/>
                    </a:lnTo>
                    <a:lnTo>
                      <a:pt x="208" y="161"/>
                    </a:lnTo>
                    <a:lnTo>
                      <a:pt x="315" y="139"/>
                    </a:lnTo>
                    <a:lnTo>
                      <a:pt x="433" y="116"/>
                    </a:lnTo>
                    <a:lnTo>
                      <a:pt x="549" y="92"/>
                    </a:lnTo>
                    <a:lnTo>
                      <a:pt x="651" y="71"/>
                    </a:lnTo>
                    <a:lnTo>
                      <a:pt x="724" y="56"/>
                    </a:lnTo>
                    <a:lnTo>
                      <a:pt x="757" y="4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52" name="Freeform 67"/>
              <p:cNvSpPr>
                <a:spLocks/>
              </p:cNvSpPr>
              <p:nvPr/>
            </p:nvSpPr>
            <p:spPr bwMode="auto">
              <a:xfrm>
                <a:off x="3679" y="1645"/>
                <a:ext cx="41" cy="65"/>
              </a:xfrm>
              <a:custGeom>
                <a:avLst/>
                <a:gdLst>
                  <a:gd name="T0" fmla="*/ 0 w 283"/>
                  <a:gd name="T1" fmla="*/ 0 h 459"/>
                  <a:gd name="T2" fmla="*/ 0 w 283"/>
                  <a:gd name="T3" fmla="*/ 0 h 459"/>
                  <a:gd name="T4" fmla="*/ 0 w 283"/>
                  <a:gd name="T5" fmla="*/ 0 h 459"/>
                  <a:gd name="T6" fmla="*/ 0 w 283"/>
                  <a:gd name="T7" fmla="*/ 0 h 459"/>
                  <a:gd name="T8" fmla="*/ 0 w 283"/>
                  <a:gd name="T9" fmla="*/ 0 h 459"/>
                  <a:gd name="T10" fmla="*/ 0 w 283"/>
                  <a:gd name="T11" fmla="*/ 0 h 459"/>
                  <a:gd name="T12" fmla="*/ 0 w 283"/>
                  <a:gd name="T13" fmla="*/ 0 h 459"/>
                  <a:gd name="T14" fmla="*/ 0 w 283"/>
                  <a:gd name="T15" fmla="*/ 0 h 459"/>
                  <a:gd name="T16" fmla="*/ 0 w 283"/>
                  <a:gd name="T17" fmla="*/ 0 h 459"/>
                  <a:gd name="T18" fmla="*/ 0 w 283"/>
                  <a:gd name="T19" fmla="*/ 0 h 459"/>
                  <a:gd name="T20" fmla="*/ 0 w 283"/>
                  <a:gd name="T21" fmla="*/ 0 h 459"/>
                  <a:gd name="T22" fmla="*/ 0 w 283"/>
                  <a:gd name="T23" fmla="*/ 0 h 459"/>
                  <a:gd name="T24" fmla="*/ 0 w 283"/>
                  <a:gd name="T25" fmla="*/ 0 h 459"/>
                  <a:gd name="T26" fmla="*/ 0 w 283"/>
                  <a:gd name="T27" fmla="*/ 0 h 459"/>
                  <a:gd name="T28" fmla="*/ 0 w 283"/>
                  <a:gd name="T29" fmla="*/ 0 h 459"/>
                  <a:gd name="T30" fmla="*/ 0 w 283"/>
                  <a:gd name="T31" fmla="*/ 0 h 459"/>
                  <a:gd name="T32" fmla="*/ 0 w 283"/>
                  <a:gd name="T33" fmla="*/ 0 h 459"/>
                  <a:gd name="T34" fmla="*/ 0 w 283"/>
                  <a:gd name="T35" fmla="*/ 0 h 459"/>
                  <a:gd name="T36" fmla="*/ 0 w 283"/>
                  <a:gd name="T37" fmla="*/ 0 h 459"/>
                  <a:gd name="T38" fmla="*/ 0 w 283"/>
                  <a:gd name="T39" fmla="*/ 0 h 459"/>
                  <a:gd name="T40" fmla="*/ 0 w 283"/>
                  <a:gd name="T41" fmla="*/ 0 h 459"/>
                  <a:gd name="T42" fmla="*/ 0 w 283"/>
                  <a:gd name="T43" fmla="*/ 0 h 459"/>
                  <a:gd name="T44" fmla="*/ 0 w 283"/>
                  <a:gd name="T45" fmla="*/ 0 h 459"/>
                  <a:gd name="T46" fmla="*/ 0 w 283"/>
                  <a:gd name="T47" fmla="*/ 0 h 459"/>
                  <a:gd name="T48" fmla="*/ 0 w 283"/>
                  <a:gd name="T49" fmla="*/ 0 h 459"/>
                  <a:gd name="T50" fmla="*/ 0 w 283"/>
                  <a:gd name="T51" fmla="*/ 0 h 459"/>
                  <a:gd name="T52" fmla="*/ 0 w 283"/>
                  <a:gd name="T53" fmla="*/ 0 h 459"/>
                  <a:gd name="T54" fmla="*/ 0 w 283"/>
                  <a:gd name="T55" fmla="*/ 0 h 459"/>
                  <a:gd name="T56" fmla="*/ 0 w 283"/>
                  <a:gd name="T57" fmla="*/ 0 h 459"/>
                  <a:gd name="T58" fmla="*/ 0 w 283"/>
                  <a:gd name="T59" fmla="*/ 0 h 459"/>
                  <a:gd name="T60" fmla="*/ 0 w 283"/>
                  <a:gd name="T61" fmla="*/ 0 h 459"/>
                  <a:gd name="T62" fmla="*/ 0 w 283"/>
                  <a:gd name="T63" fmla="*/ 0 h 459"/>
                  <a:gd name="T64" fmla="*/ 0 w 283"/>
                  <a:gd name="T65" fmla="*/ 0 h 459"/>
                  <a:gd name="T66" fmla="*/ 0 w 283"/>
                  <a:gd name="T67" fmla="*/ 0 h 459"/>
                  <a:gd name="T68" fmla="*/ 0 w 283"/>
                  <a:gd name="T69" fmla="*/ 0 h 459"/>
                  <a:gd name="T70" fmla="*/ 0 w 283"/>
                  <a:gd name="T71" fmla="*/ 0 h 459"/>
                  <a:gd name="T72" fmla="*/ 0 w 283"/>
                  <a:gd name="T73" fmla="*/ 0 h 459"/>
                  <a:gd name="T74" fmla="*/ 0 w 283"/>
                  <a:gd name="T75" fmla="*/ 0 h 459"/>
                  <a:gd name="T76" fmla="*/ 0 w 283"/>
                  <a:gd name="T77" fmla="*/ 0 h 459"/>
                  <a:gd name="T78" fmla="*/ 0 w 283"/>
                  <a:gd name="T79" fmla="*/ 0 h 459"/>
                  <a:gd name="T80" fmla="*/ 0 w 283"/>
                  <a:gd name="T81" fmla="*/ 0 h 459"/>
                  <a:gd name="T82" fmla="*/ 0 w 283"/>
                  <a:gd name="T83" fmla="*/ 0 h 459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283"/>
                  <a:gd name="T127" fmla="*/ 0 h 459"/>
                  <a:gd name="T128" fmla="*/ 283 w 283"/>
                  <a:gd name="T129" fmla="*/ 459 h 459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283" h="459">
                    <a:moveTo>
                      <a:pt x="80" y="330"/>
                    </a:moveTo>
                    <a:lnTo>
                      <a:pt x="77" y="318"/>
                    </a:lnTo>
                    <a:lnTo>
                      <a:pt x="75" y="305"/>
                    </a:lnTo>
                    <a:lnTo>
                      <a:pt x="74" y="293"/>
                    </a:lnTo>
                    <a:lnTo>
                      <a:pt x="74" y="281"/>
                    </a:lnTo>
                    <a:lnTo>
                      <a:pt x="74" y="271"/>
                    </a:lnTo>
                    <a:lnTo>
                      <a:pt x="75" y="259"/>
                    </a:lnTo>
                    <a:lnTo>
                      <a:pt x="77" y="249"/>
                    </a:lnTo>
                    <a:lnTo>
                      <a:pt x="79" y="239"/>
                    </a:lnTo>
                    <a:lnTo>
                      <a:pt x="92" y="202"/>
                    </a:lnTo>
                    <a:lnTo>
                      <a:pt x="104" y="168"/>
                    </a:lnTo>
                    <a:lnTo>
                      <a:pt x="109" y="151"/>
                    </a:lnTo>
                    <a:lnTo>
                      <a:pt x="112" y="133"/>
                    </a:lnTo>
                    <a:lnTo>
                      <a:pt x="112" y="125"/>
                    </a:lnTo>
                    <a:lnTo>
                      <a:pt x="112" y="115"/>
                    </a:lnTo>
                    <a:lnTo>
                      <a:pt x="111" y="105"/>
                    </a:lnTo>
                    <a:lnTo>
                      <a:pt x="109" y="96"/>
                    </a:lnTo>
                    <a:lnTo>
                      <a:pt x="106" y="85"/>
                    </a:lnTo>
                    <a:lnTo>
                      <a:pt x="102" y="75"/>
                    </a:lnTo>
                    <a:lnTo>
                      <a:pt x="96" y="64"/>
                    </a:lnTo>
                    <a:lnTo>
                      <a:pt x="90" y="51"/>
                    </a:lnTo>
                    <a:lnTo>
                      <a:pt x="81" y="40"/>
                    </a:lnTo>
                    <a:lnTo>
                      <a:pt x="72" y="26"/>
                    </a:lnTo>
                    <a:lnTo>
                      <a:pt x="61" y="13"/>
                    </a:lnTo>
                    <a:lnTo>
                      <a:pt x="48" y="0"/>
                    </a:lnTo>
                    <a:lnTo>
                      <a:pt x="45" y="9"/>
                    </a:lnTo>
                    <a:lnTo>
                      <a:pt x="41" y="23"/>
                    </a:lnTo>
                    <a:lnTo>
                      <a:pt x="37" y="43"/>
                    </a:lnTo>
                    <a:lnTo>
                      <a:pt x="33" y="65"/>
                    </a:lnTo>
                    <a:lnTo>
                      <a:pt x="23" y="119"/>
                    </a:lnTo>
                    <a:lnTo>
                      <a:pt x="14" y="176"/>
                    </a:lnTo>
                    <a:lnTo>
                      <a:pt x="7" y="235"/>
                    </a:lnTo>
                    <a:lnTo>
                      <a:pt x="2" y="288"/>
                    </a:lnTo>
                    <a:lnTo>
                      <a:pt x="0" y="311"/>
                    </a:lnTo>
                    <a:lnTo>
                      <a:pt x="0" y="330"/>
                    </a:lnTo>
                    <a:lnTo>
                      <a:pt x="1" y="345"/>
                    </a:lnTo>
                    <a:lnTo>
                      <a:pt x="3" y="355"/>
                    </a:lnTo>
                    <a:lnTo>
                      <a:pt x="6" y="366"/>
                    </a:lnTo>
                    <a:lnTo>
                      <a:pt x="11" y="375"/>
                    </a:lnTo>
                    <a:lnTo>
                      <a:pt x="16" y="383"/>
                    </a:lnTo>
                    <a:lnTo>
                      <a:pt x="23" y="393"/>
                    </a:lnTo>
                    <a:lnTo>
                      <a:pt x="31" y="400"/>
                    </a:lnTo>
                    <a:lnTo>
                      <a:pt x="38" y="407"/>
                    </a:lnTo>
                    <a:lnTo>
                      <a:pt x="46" y="414"/>
                    </a:lnTo>
                    <a:lnTo>
                      <a:pt x="56" y="420"/>
                    </a:lnTo>
                    <a:lnTo>
                      <a:pt x="65" y="427"/>
                    </a:lnTo>
                    <a:lnTo>
                      <a:pt x="75" y="432"/>
                    </a:lnTo>
                    <a:lnTo>
                      <a:pt x="84" y="437"/>
                    </a:lnTo>
                    <a:lnTo>
                      <a:pt x="96" y="441"/>
                    </a:lnTo>
                    <a:lnTo>
                      <a:pt x="106" y="445"/>
                    </a:lnTo>
                    <a:lnTo>
                      <a:pt x="118" y="448"/>
                    </a:lnTo>
                    <a:lnTo>
                      <a:pt x="129" y="451"/>
                    </a:lnTo>
                    <a:lnTo>
                      <a:pt x="139" y="454"/>
                    </a:lnTo>
                    <a:lnTo>
                      <a:pt x="162" y="457"/>
                    </a:lnTo>
                    <a:lnTo>
                      <a:pt x="184" y="459"/>
                    </a:lnTo>
                    <a:lnTo>
                      <a:pt x="205" y="458"/>
                    </a:lnTo>
                    <a:lnTo>
                      <a:pt x="225" y="456"/>
                    </a:lnTo>
                    <a:lnTo>
                      <a:pt x="234" y="454"/>
                    </a:lnTo>
                    <a:lnTo>
                      <a:pt x="244" y="451"/>
                    </a:lnTo>
                    <a:lnTo>
                      <a:pt x="252" y="448"/>
                    </a:lnTo>
                    <a:lnTo>
                      <a:pt x="259" y="445"/>
                    </a:lnTo>
                    <a:lnTo>
                      <a:pt x="266" y="441"/>
                    </a:lnTo>
                    <a:lnTo>
                      <a:pt x="273" y="437"/>
                    </a:lnTo>
                    <a:lnTo>
                      <a:pt x="279" y="433"/>
                    </a:lnTo>
                    <a:lnTo>
                      <a:pt x="283" y="428"/>
                    </a:lnTo>
                    <a:lnTo>
                      <a:pt x="266" y="429"/>
                    </a:lnTo>
                    <a:lnTo>
                      <a:pt x="251" y="430"/>
                    </a:lnTo>
                    <a:lnTo>
                      <a:pt x="234" y="431"/>
                    </a:lnTo>
                    <a:lnTo>
                      <a:pt x="218" y="430"/>
                    </a:lnTo>
                    <a:lnTo>
                      <a:pt x="202" y="429"/>
                    </a:lnTo>
                    <a:lnTo>
                      <a:pt x="187" y="426"/>
                    </a:lnTo>
                    <a:lnTo>
                      <a:pt x="172" y="423"/>
                    </a:lnTo>
                    <a:lnTo>
                      <a:pt x="158" y="417"/>
                    </a:lnTo>
                    <a:lnTo>
                      <a:pt x="144" y="412"/>
                    </a:lnTo>
                    <a:lnTo>
                      <a:pt x="132" y="405"/>
                    </a:lnTo>
                    <a:lnTo>
                      <a:pt x="120" y="397"/>
                    </a:lnTo>
                    <a:lnTo>
                      <a:pt x="109" y="386"/>
                    </a:lnTo>
                    <a:lnTo>
                      <a:pt x="105" y="381"/>
                    </a:lnTo>
                    <a:lnTo>
                      <a:pt x="100" y="375"/>
                    </a:lnTo>
                    <a:lnTo>
                      <a:pt x="96" y="369"/>
                    </a:lnTo>
                    <a:lnTo>
                      <a:pt x="92" y="363"/>
                    </a:lnTo>
                    <a:lnTo>
                      <a:pt x="89" y="355"/>
                    </a:lnTo>
                    <a:lnTo>
                      <a:pt x="85" y="347"/>
                    </a:lnTo>
                    <a:lnTo>
                      <a:pt x="82" y="340"/>
                    </a:lnTo>
                    <a:lnTo>
                      <a:pt x="80" y="33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53" name="Freeform 68"/>
              <p:cNvSpPr>
                <a:spLocks/>
              </p:cNvSpPr>
              <p:nvPr/>
            </p:nvSpPr>
            <p:spPr bwMode="auto">
              <a:xfrm>
                <a:off x="3653" y="1520"/>
                <a:ext cx="89" cy="166"/>
              </a:xfrm>
              <a:custGeom>
                <a:avLst/>
                <a:gdLst>
                  <a:gd name="T0" fmla="*/ 0 w 626"/>
                  <a:gd name="T1" fmla="*/ 0 h 1161"/>
                  <a:gd name="T2" fmla="*/ 0 w 626"/>
                  <a:gd name="T3" fmla="*/ 0 h 1161"/>
                  <a:gd name="T4" fmla="*/ 0 w 626"/>
                  <a:gd name="T5" fmla="*/ 0 h 1161"/>
                  <a:gd name="T6" fmla="*/ 0 w 626"/>
                  <a:gd name="T7" fmla="*/ 0 h 1161"/>
                  <a:gd name="T8" fmla="*/ 0 w 626"/>
                  <a:gd name="T9" fmla="*/ 0 h 1161"/>
                  <a:gd name="T10" fmla="*/ 0 w 626"/>
                  <a:gd name="T11" fmla="*/ 0 h 1161"/>
                  <a:gd name="T12" fmla="*/ 0 w 626"/>
                  <a:gd name="T13" fmla="*/ 0 h 1161"/>
                  <a:gd name="T14" fmla="*/ 0 w 626"/>
                  <a:gd name="T15" fmla="*/ 0 h 1161"/>
                  <a:gd name="T16" fmla="*/ 0 w 626"/>
                  <a:gd name="T17" fmla="*/ 0 h 1161"/>
                  <a:gd name="T18" fmla="*/ 0 w 626"/>
                  <a:gd name="T19" fmla="*/ 0 h 1161"/>
                  <a:gd name="T20" fmla="*/ 0 w 626"/>
                  <a:gd name="T21" fmla="*/ 0 h 1161"/>
                  <a:gd name="T22" fmla="*/ 0 w 626"/>
                  <a:gd name="T23" fmla="*/ 0 h 1161"/>
                  <a:gd name="T24" fmla="*/ 0 w 626"/>
                  <a:gd name="T25" fmla="*/ 0 h 1161"/>
                  <a:gd name="T26" fmla="*/ 0 w 626"/>
                  <a:gd name="T27" fmla="*/ 0 h 1161"/>
                  <a:gd name="T28" fmla="*/ 0 w 626"/>
                  <a:gd name="T29" fmla="*/ 0 h 1161"/>
                  <a:gd name="T30" fmla="*/ 0 w 626"/>
                  <a:gd name="T31" fmla="*/ 0 h 1161"/>
                  <a:gd name="T32" fmla="*/ 0 w 626"/>
                  <a:gd name="T33" fmla="*/ 0 h 1161"/>
                  <a:gd name="T34" fmla="*/ 0 w 626"/>
                  <a:gd name="T35" fmla="*/ 0 h 1161"/>
                  <a:gd name="T36" fmla="*/ 0 w 626"/>
                  <a:gd name="T37" fmla="*/ 0 h 1161"/>
                  <a:gd name="T38" fmla="*/ 0 w 626"/>
                  <a:gd name="T39" fmla="*/ 0 h 1161"/>
                  <a:gd name="T40" fmla="*/ 0 w 626"/>
                  <a:gd name="T41" fmla="*/ 0 h 1161"/>
                  <a:gd name="T42" fmla="*/ 0 w 626"/>
                  <a:gd name="T43" fmla="*/ 0 h 1161"/>
                  <a:gd name="T44" fmla="*/ 0 w 626"/>
                  <a:gd name="T45" fmla="*/ 0 h 1161"/>
                  <a:gd name="T46" fmla="*/ 0 w 626"/>
                  <a:gd name="T47" fmla="*/ 0 h 1161"/>
                  <a:gd name="T48" fmla="*/ 0 w 626"/>
                  <a:gd name="T49" fmla="*/ 0 h 1161"/>
                  <a:gd name="T50" fmla="*/ 0 w 626"/>
                  <a:gd name="T51" fmla="*/ 0 h 1161"/>
                  <a:gd name="T52" fmla="*/ 0 w 626"/>
                  <a:gd name="T53" fmla="*/ 0 h 1161"/>
                  <a:gd name="T54" fmla="*/ 0 w 626"/>
                  <a:gd name="T55" fmla="*/ 0 h 1161"/>
                  <a:gd name="T56" fmla="*/ 0 w 626"/>
                  <a:gd name="T57" fmla="*/ 0 h 1161"/>
                  <a:gd name="T58" fmla="*/ 0 w 626"/>
                  <a:gd name="T59" fmla="*/ 0 h 1161"/>
                  <a:gd name="T60" fmla="*/ 0 w 626"/>
                  <a:gd name="T61" fmla="*/ 0 h 1161"/>
                  <a:gd name="T62" fmla="*/ 0 w 626"/>
                  <a:gd name="T63" fmla="*/ 0 h 1161"/>
                  <a:gd name="T64" fmla="*/ 0 w 626"/>
                  <a:gd name="T65" fmla="*/ 0 h 1161"/>
                  <a:gd name="T66" fmla="*/ 0 w 626"/>
                  <a:gd name="T67" fmla="*/ 0 h 1161"/>
                  <a:gd name="T68" fmla="*/ 0 w 626"/>
                  <a:gd name="T69" fmla="*/ 0 h 1161"/>
                  <a:gd name="T70" fmla="*/ 0 w 626"/>
                  <a:gd name="T71" fmla="*/ 0 h 1161"/>
                  <a:gd name="T72" fmla="*/ 0 w 626"/>
                  <a:gd name="T73" fmla="*/ 0 h 1161"/>
                  <a:gd name="T74" fmla="*/ 0 w 626"/>
                  <a:gd name="T75" fmla="*/ 0 h 1161"/>
                  <a:gd name="T76" fmla="*/ 0 w 626"/>
                  <a:gd name="T77" fmla="*/ 0 h 1161"/>
                  <a:gd name="T78" fmla="*/ 0 w 626"/>
                  <a:gd name="T79" fmla="*/ 0 h 1161"/>
                  <a:gd name="T80" fmla="*/ 0 w 626"/>
                  <a:gd name="T81" fmla="*/ 0 h 1161"/>
                  <a:gd name="T82" fmla="*/ 0 w 626"/>
                  <a:gd name="T83" fmla="*/ 0 h 1161"/>
                  <a:gd name="T84" fmla="*/ 0 w 626"/>
                  <a:gd name="T85" fmla="*/ 0 h 1161"/>
                  <a:gd name="T86" fmla="*/ 0 w 626"/>
                  <a:gd name="T87" fmla="*/ 0 h 1161"/>
                  <a:gd name="T88" fmla="*/ 0 w 626"/>
                  <a:gd name="T89" fmla="*/ 0 h 1161"/>
                  <a:gd name="T90" fmla="*/ 0 w 626"/>
                  <a:gd name="T91" fmla="*/ 0 h 1161"/>
                  <a:gd name="T92" fmla="*/ 0 w 626"/>
                  <a:gd name="T93" fmla="*/ 0 h 1161"/>
                  <a:gd name="T94" fmla="*/ 0 w 626"/>
                  <a:gd name="T95" fmla="*/ 0 h 1161"/>
                  <a:gd name="T96" fmla="*/ 0 w 626"/>
                  <a:gd name="T97" fmla="*/ 0 h 1161"/>
                  <a:gd name="T98" fmla="*/ 0 w 626"/>
                  <a:gd name="T99" fmla="*/ 0 h 1161"/>
                  <a:gd name="T100" fmla="*/ 0 w 626"/>
                  <a:gd name="T101" fmla="*/ 0 h 1161"/>
                  <a:gd name="T102" fmla="*/ 0 w 626"/>
                  <a:gd name="T103" fmla="*/ 0 h 1161"/>
                  <a:gd name="T104" fmla="*/ 0 w 626"/>
                  <a:gd name="T105" fmla="*/ 0 h 1161"/>
                  <a:gd name="T106" fmla="*/ 0 w 626"/>
                  <a:gd name="T107" fmla="*/ 0 h 1161"/>
                  <a:gd name="T108" fmla="*/ 0 w 626"/>
                  <a:gd name="T109" fmla="*/ 0 h 1161"/>
                  <a:gd name="T110" fmla="*/ 0 w 626"/>
                  <a:gd name="T111" fmla="*/ 0 h 1161"/>
                  <a:gd name="T112" fmla="*/ 0 w 626"/>
                  <a:gd name="T113" fmla="*/ 0 h 1161"/>
                  <a:gd name="T114" fmla="*/ 0 w 626"/>
                  <a:gd name="T115" fmla="*/ 0 h 1161"/>
                  <a:gd name="T116" fmla="*/ 0 w 626"/>
                  <a:gd name="T117" fmla="*/ 0 h 1161"/>
                  <a:gd name="T118" fmla="*/ 0 w 626"/>
                  <a:gd name="T119" fmla="*/ 0 h 1161"/>
                  <a:gd name="T120" fmla="*/ 0 w 626"/>
                  <a:gd name="T121" fmla="*/ 0 h 1161"/>
                  <a:gd name="T122" fmla="*/ 0 w 626"/>
                  <a:gd name="T123" fmla="*/ 0 h 1161"/>
                  <a:gd name="T124" fmla="*/ 0 w 626"/>
                  <a:gd name="T125" fmla="*/ 0 h 1161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626"/>
                  <a:gd name="T190" fmla="*/ 0 h 1161"/>
                  <a:gd name="T191" fmla="*/ 626 w 626"/>
                  <a:gd name="T192" fmla="*/ 1161 h 1161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626" h="1161">
                    <a:moveTo>
                      <a:pt x="403" y="727"/>
                    </a:moveTo>
                    <a:lnTo>
                      <a:pt x="401" y="716"/>
                    </a:lnTo>
                    <a:lnTo>
                      <a:pt x="399" y="707"/>
                    </a:lnTo>
                    <a:lnTo>
                      <a:pt x="398" y="698"/>
                    </a:lnTo>
                    <a:lnTo>
                      <a:pt x="398" y="690"/>
                    </a:lnTo>
                    <a:lnTo>
                      <a:pt x="398" y="681"/>
                    </a:lnTo>
                    <a:lnTo>
                      <a:pt x="398" y="673"/>
                    </a:lnTo>
                    <a:lnTo>
                      <a:pt x="399" y="665"/>
                    </a:lnTo>
                    <a:lnTo>
                      <a:pt x="401" y="658"/>
                    </a:lnTo>
                    <a:lnTo>
                      <a:pt x="405" y="643"/>
                    </a:lnTo>
                    <a:lnTo>
                      <a:pt x="410" y="629"/>
                    </a:lnTo>
                    <a:lnTo>
                      <a:pt x="416" y="615"/>
                    </a:lnTo>
                    <a:lnTo>
                      <a:pt x="423" y="603"/>
                    </a:lnTo>
                    <a:lnTo>
                      <a:pt x="431" y="589"/>
                    </a:lnTo>
                    <a:lnTo>
                      <a:pt x="438" y="577"/>
                    </a:lnTo>
                    <a:lnTo>
                      <a:pt x="444" y="563"/>
                    </a:lnTo>
                    <a:lnTo>
                      <a:pt x="450" y="550"/>
                    </a:lnTo>
                    <a:lnTo>
                      <a:pt x="454" y="536"/>
                    </a:lnTo>
                    <a:lnTo>
                      <a:pt x="458" y="521"/>
                    </a:lnTo>
                    <a:lnTo>
                      <a:pt x="459" y="513"/>
                    </a:lnTo>
                    <a:lnTo>
                      <a:pt x="459" y="505"/>
                    </a:lnTo>
                    <a:lnTo>
                      <a:pt x="459" y="496"/>
                    </a:lnTo>
                    <a:lnTo>
                      <a:pt x="458" y="488"/>
                    </a:lnTo>
                    <a:lnTo>
                      <a:pt x="455" y="479"/>
                    </a:lnTo>
                    <a:lnTo>
                      <a:pt x="452" y="469"/>
                    </a:lnTo>
                    <a:lnTo>
                      <a:pt x="449" y="460"/>
                    </a:lnTo>
                    <a:lnTo>
                      <a:pt x="446" y="452"/>
                    </a:lnTo>
                    <a:lnTo>
                      <a:pt x="442" y="445"/>
                    </a:lnTo>
                    <a:lnTo>
                      <a:pt x="437" y="436"/>
                    </a:lnTo>
                    <a:lnTo>
                      <a:pt x="432" y="430"/>
                    </a:lnTo>
                    <a:lnTo>
                      <a:pt x="425" y="423"/>
                    </a:lnTo>
                    <a:lnTo>
                      <a:pt x="413" y="410"/>
                    </a:lnTo>
                    <a:lnTo>
                      <a:pt x="400" y="398"/>
                    </a:lnTo>
                    <a:lnTo>
                      <a:pt x="384" y="387"/>
                    </a:lnTo>
                    <a:lnTo>
                      <a:pt x="369" y="376"/>
                    </a:lnTo>
                    <a:lnTo>
                      <a:pt x="336" y="357"/>
                    </a:lnTo>
                    <a:lnTo>
                      <a:pt x="304" y="335"/>
                    </a:lnTo>
                    <a:lnTo>
                      <a:pt x="289" y="324"/>
                    </a:lnTo>
                    <a:lnTo>
                      <a:pt x="275" y="312"/>
                    </a:lnTo>
                    <a:lnTo>
                      <a:pt x="268" y="305"/>
                    </a:lnTo>
                    <a:lnTo>
                      <a:pt x="262" y="299"/>
                    </a:lnTo>
                    <a:lnTo>
                      <a:pt x="256" y="292"/>
                    </a:lnTo>
                    <a:lnTo>
                      <a:pt x="251" y="284"/>
                    </a:lnTo>
                    <a:lnTo>
                      <a:pt x="257" y="277"/>
                    </a:lnTo>
                    <a:lnTo>
                      <a:pt x="263" y="270"/>
                    </a:lnTo>
                    <a:lnTo>
                      <a:pt x="269" y="262"/>
                    </a:lnTo>
                    <a:lnTo>
                      <a:pt x="275" y="253"/>
                    </a:lnTo>
                    <a:lnTo>
                      <a:pt x="284" y="236"/>
                    </a:lnTo>
                    <a:lnTo>
                      <a:pt x="293" y="216"/>
                    </a:lnTo>
                    <a:lnTo>
                      <a:pt x="301" y="197"/>
                    </a:lnTo>
                    <a:lnTo>
                      <a:pt x="310" y="180"/>
                    </a:lnTo>
                    <a:lnTo>
                      <a:pt x="319" y="162"/>
                    </a:lnTo>
                    <a:lnTo>
                      <a:pt x="329" y="147"/>
                    </a:lnTo>
                    <a:lnTo>
                      <a:pt x="316" y="135"/>
                    </a:lnTo>
                    <a:lnTo>
                      <a:pt x="302" y="125"/>
                    </a:lnTo>
                    <a:lnTo>
                      <a:pt x="288" y="114"/>
                    </a:lnTo>
                    <a:lnTo>
                      <a:pt x="274" y="103"/>
                    </a:lnTo>
                    <a:lnTo>
                      <a:pt x="242" y="84"/>
                    </a:lnTo>
                    <a:lnTo>
                      <a:pt x="209" y="65"/>
                    </a:lnTo>
                    <a:lnTo>
                      <a:pt x="175" y="47"/>
                    </a:lnTo>
                    <a:lnTo>
                      <a:pt x="141" y="31"/>
                    </a:lnTo>
                    <a:lnTo>
                      <a:pt x="107" y="15"/>
                    </a:lnTo>
                    <a:lnTo>
                      <a:pt x="75" y="0"/>
                    </a:lnTo>
                    <a:lnTo>
                      <a:pt x="81" y="8"/>
                    </a:lnTo>
                    <a:lnTo>
                      <a:pt x="89" y="15"/>
                    </a:lnTo>
                    <a:lnTo>
                      <a:pt x="95" y="24"/>
                    </a:lnTo>
                    <a:lnTo>
                      <a:pt x="101" y="32"/>
                    </a:lnTo>
                    <a:lnTo>
                      <a:pt x="90" y="41"/>
                    </a:lnTo>
                    <a:lnTo>
                      <a:pt x="78" y="53"/>
                    </a:lnTo>
                    <a:lnTo>
                      <a:pt x="66" y="65"/>
                    </a:lnTo>
                    <a:lnTo>
                      <a:pt x="54" y="78"/>
                    </a:lnTo>
                    <a:lnTo>
                      <a:pt x="42" y="92"/>
                    </a:lnTo>
                    <a:lnTo>
                      <a:pt x="29" y="104"/>
                    </a:lnTo>
                    <a:lnTo>
                      <a:pt x="21" y="110"/>
                    </a:lnTo>
                    <a:lnTo>
                      <a:pt x="15" y="115"/>
                    </a:lnTo>
                    <a:lnTo>
                      <a:pt x="8" y="119"/>
                    </a:lnTo>
                    <a:lnTo>
                      <a:pt x="0" y="123"/>
                    </a:lnTo>
                    <a:lnTo>
                      <a:pt x="33" y="138"/>
                    </a:lnTo>
                    <a:lnTo>
                      <a:pt x="60" y="151"/>
                    </a:lnTo>
                    <a:lnTo>
                      <a:pt x="80" y="162"/>
                    </a:lnTo>
                    <a:lnTo>
                      <a:pt x="97" y="173"/>
                    </a:lnTo>
                    <a:lnTo>
                      <a:pt x="108" y="181"/>
                    </a:lnTo>
                    <a:lnTo>
                      <a:pt x="116" y="189"/>
                    </a:lnTo>
                    <a:lnTo>
                      <a:pt x="122" y="197"/>
                    </a:lnTo>
                    <a:lnTo>
                      <a:pt x="125" y="207"/>
                    </a:lnTo>
                    <a:lnTo>
                      <a:pt x="128" y="226"/>
                    </a:lnTo>
                    <a:lnTo>
                      <a:pt x="131" y="253"/>
                    </a:lnTo>
                    <a:lnTo>
                      <a:pt x="134" y="270"/>
                    </a:lnTo>
                    <a:lnTo>
                      <a:pt x="139" y="289"/>
                    </a:lnTo>
                    <a:lnTo>
                      <a:pt x="149" y="313"/>
                    </a:lnTo>
                    <a:lnTo>
                      <a:pt x="161" y="340"/>
                    </a:lnTo>
                    <a:lnTo>
                      <a:pt x="165" y="347"/>
                    </a:lnTo>
                    <a:lnTo>
                      <a:pt x="170" y="355"/>
                    </a:lnTo>
                    <a:lnTo>
                      <a:pt x="177" y="360"/>
                    </a:lnTo>
                    <a:lnTo>
                      <a:pt x="185" y="366"/>
                    </a:lnTo>
                    <a:lnTo>
                      <a:pt x="202" y="376"/>
                    </a:lnTo>
                    <a:lnTo>
                      <a:pt x="221" y="387"/>
                    </a:lnTo>
                    <a:lnTo>
                      <a:pt x="239" y="398"/>
                    </a:lnTo>
                    <a:lnTo>
                      <a:pt x="258" y="410"/>
                    </a:lnTo>
                    <a:lnTo>
                      <a:pt x="265" y="418"/>
                    </a:lnTo>
                    <a:lnTo>
                      <a:pt x="274" y="425"/>
                    </a:lnTo>
                    <a:lnTo>
                      <a:pt x="280" y="434"/>
                    </a:lnTo>
                    <a:lnTo>
                      <a:pt x="285" y="444"/>
                    </a:lnTo>
                    <a:lnTo>
                      <a:pt x="291" y="458"/>
                    </a:lnTo>
                    <a:lnTo>
                      <a:pt x="294" y="472"/>
                    </a:lnTo>
                    <a:lnTo>
                      <a:pt x="296" y="485"/>
                    </a:lnTo>
                    <a:lnTo>
                      <a:pt x="297" y="497"/>
                    </a:lnTo>
                    <a:lnTo>
                      <a:pt x="296" y="509"/>
                    </a:lnTo>
                    <a:lnTo>
                      <a:pt x="293" y="519"/>
                    </a:lnTo>
                    <a:lnTo>
                      <a:pt x="290" y="529"/>
                    </a:lnTo>
                    <a:lnTo>
                      <a:pt x="287" y="540"/>
                    </a:lnTo>
                    <a:lnTo>
                      <a:pt x="279" y="560"/>
                    </a:lnTo>
                    <a:lnTo>
                      <a:pt x="273" y="581"/>
                    </a:lnTo>
                    <a:lnTo>
                      <a:pt x="269" y="592"/>
                    </a:lnTo>
                    <a:lnTo>
                      <a:pt x="268" y="604"/>
                    </a:lnTo>
                    <a:lnTo>
                      <a:pt x="268" y="616"/>
                    </a:lnTo>
                    <a:lnTo>
                      <a:pt x="270" y="630"/>
                    </a:lnTo>
                    <a:lnTo>
                      <a:pt x="273" y="640"/>
                    </a:lnTo>
                    <a:lnTo>
                      <a:pt x="275" y="650"/>
                    </a:lnTo>
                    <a:lnTo>
                      <a:pt x="278" y="660"/>
                    </a:lnTo>
                    <a:lnTo>
                      <a:pt x="282" y="668"/>
                    </a:lnTo>
                    <a:lnTo>
                      <a:pt x="289" y="684"/>
                    </a:lnTo>
                    <a:lnTo>
                      <a:pt x="297" y="698"/>
                    </a:lnTo>
                    <a:lnTo>
                      <a:pt x="307" y="712"/>
                    </a:lnTo>
                    <a:lnTo>
                      <a:pt x="315" y="726"/>
                    </a:lnTo>
                    <a:lnTo>
                      <a:pt x="323" y="741"/>
                    </a:lnTo>
                    <a:lnTo>
                      <a:pt x="331" y="759"/>
                    </a:lnTo>
                    <a:lnTo>
                      <a:pt x="344" y="791"/>
                    </a:lnTo>
                    <a:lnTo>
                      <a:pt x="360" y="830"/>
                    </a:lnTo>
                    <a:lnTo>
                      <a:pt x="377" y="871"/>
                    </a:lnTo>
                    <a:lnTo>
                      <a:pt x="390" y="904"/>
                    </a:lnTo>
                    <a:lnTo>
                      <a:pt x="394" y="918"/>
                    </a:lnTo>
                    <a:lnTo>
                      <a:pt x="398" y="931"/>
                    </a:lnTo>
                    <a:lnTo>
                      <a:pt x="400" y="941"/>
                    </a:lnTo>
                    <a:lnTo>
                      <a:pt x="400" y="950"/>
                    </a:lnTo>
                    <a:lnTo>
                      <a:pt x="399" y="967"/>
                    </a:lnTo>
                    <a:lnTo>
                      <a:pt x="398" y="981"/>
                    </a:lnTo>
                    <a:lnTo>
                      <a:pt x="398" y="988"/>
                    </a:lnTo>
                    <a:lnTo>
                      <a:pt x="399" y="996"/>
                    </a:lnTo>
                    <a:lnTo>
                      <a:pt x="401" y="1004"/>
                    </a:lnTo>
                    <a:lnTo>
                      <a:pt x="404" y="1012"/>
                    </a:lnTo>
                    <a:lnTo>
                      <a:pt x="409" y="1022"/>
                    </a:lnTo>
                    <a:lnTo>
                      <a:pt x="416" y="1033"/>
                    </a:lnTo>
                    <a:lnTo>
                      <a:pt x="424" y="1045"/>
                    </a:lnTo>
                    <a:lnTo>
                      <a:pt x="437" y="1060"/>
                    </a:lnTo>
                    <a:lnTo>
                      <a:pt x="444" y="1067"/>
                    </a:lnTo>
                    <a:lnTo>
                      <a:pt x="451" y="1074"/>
                    </a:lnTo>
                    <a:lnTo>
                      <a:pt x="461" y="1080"/>
                    </a:lnTo>
                    <a:lnTo>
                      <a:pt x="470" y="1088"/>
                    </a:lnTo>
                    <a:lnTo>
                      <a:pt x="491" y="1100"/>
                    </a:lnTo>
                    <a:lnTo>
                      <a:pt x="513" y="1113"/>
                    </a:lnTo>
                    <a:lnTo>
                      <a:pt x="536" y="1124"/>
                    </a:lnTo>
                    <a:lnTo>
                      <a:pt x="558" y="1136"/>
                    </a:lnTo>
                    <a:lnTo>
                      <a:pt x="578" y="1149"/>
                    </a:lnTo>
                    <a:lnTo>
                      <a:pt x="597" y="1161"/>
                    </a:lnTo>
                    <a:lnTo>
                      <a:pt x="600" y="1156"/>
                    </a:lnTo>
                    <a:lnTo>
                      <a:pt x="603" y="1151"/>
                    </a:lnTo>
                    <a:lnTo>
                      <a:pt x="605" y="1146"/>
                    </a:lnTo>
                    <a:lnTo>
                      <a:pt x="606" y="1141"/>
                    </a:lnTo>
                    <a:lnTo>
                      <a:pt x="607" y="1132"/>
                    </a:lnTo>
                    <a:lnTo>
                      <a:pt x="606" y="1124"/>
                    </a:lnTo>
                    <a:lnTo>
                      <a:pt x="600" y="1108"/>
                    </a:lnTo>
                    <a:lnTo>
                      <a:pt x="594" y="1091"/>
                    </a:lnTo>
                    <a:lnTo>
                      <a:pt x="534" y="1120"/>
                    </a:lnTo>
                    <a:lnTo>
                      <a:pt x="556" y="1099"/>
                    </a:lnTo>
                    <a:lnTo>
                      <a:pt x="574" y="1080"/>
                    </a:lnTo>
                    <a:lnTo>
                      <a:pt x="589" y="1063"/>
                    </a:lnTo>
                    <a:lnTo>
                      <a:pt x="602" y="1046"/>
                    </a:lnTo>
                    <a:lnTo>
                      <a:pt x="611" y="1031"/>
                    </a:lnTo>
                    <a:lnTo>
                      <a:pt x="619" y="1015"/>
                    </a:lnTo>
                    <a:lnTo>
                      <a:pt x="623" y="1002"/>
                    </a:lnTo>
                    <a:lnTo>
                      <a:pt x="626" y="988"/>
                    </a:lnTo>
                    <a:lnTo>
                      <a:pt x="626" y="976"/>
                    </a:lnTo>
                    <a:lnTo>
                      <a:pt x="624" y="964"/>
                    </a:lnTo>
                    <a:lnTo>
                      <a:pt x="620" y="952"/>
                    </a:lnTo>
                    <a:lnTo>
                      <a:pt x="615" y="942"/>
                    </a:lnTo>
                    <a:lnTo>
                      <a:pt x="608" y="932"/>
                    </a:lnTo>
                    <a:lnTo>
                      <a:pt x="600" y="921"/>
                    </a:lnTo>
                    <a:lnTo>
                      <a:pt x="591" y="912"/>
                    </a:lnTo>
                    <a:lnTo>
                      <a:pt x="580" y="903"/>
                    </a:lnTo>
                    <a:lnTo>
                      <a:pt x="532" y="865"/>
                    </a:lnTo>
                    <a:lnTo>
                      <a:pt x="479" y="827"/>
                    </a:lnTo>
                    <a:lnTo>
                      <a:pt x="467" y="817"/>
                    </a:lnTo>
                    <a:lnTo>
                      <a:pt x="454" y="805"/>
                    </a:lnTo>
                    <a:lnTo>
                      <a:pt x="443" y="794"/>
                    </a:lnTo>
                    <a:lnTo>
                      <a:pt x="433" y="782"/>
                    </a:lnTo>
                    <a:lnTo>
                      <a:pt x="423" y="769"/>
                    </a:lnTo>
                    <a:lnTo>
                      <a:pt x="415" y="756"/>
                    </a:lnTo>
                    <a:lnTo>
                      <a:pt x="409" y="741"/>
                    </a:lnTo>
                    <a:lnTo>
                      <a:pt x="403" y="72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54" name="Freeform 69"/>
              <p:cNvSpPr>
                <a:spLocks/>
              </p:cNvSpPr>
              <p:nvPr/>
            </p:nvSpPr>
            <p:spPr bwMode="auto">
              <a:xfrm>
                <a:off x="3353" y="1489"/>
                <a:ext cx="216" cy="264"/>
              </a:xfrm>
              <a:custGeom>
                <a:avLst/>
                <a:gdLst>
                  <a:gd name="T0" fmla="*/ 0 w 1514"/>
                  <a:gd name="T1" fmla="*/ 0 h 1848"/>
                  <a:gd name="T2" fmla="*/ 0 w 1514"/>
                  <a:gd name="T3" fmla="*/ 0 h 1848"/>
                  <a:gd name="T4" fmla="*/ 0 w 1514"/>
                  <a:gd name="T5" fmla="*/ 0 h 1848"/>
                  <a:gd name="T6" fmla="*/ 0 w 1514"/>
                  <a:gd name="T7" fmla="*/ 0 h 1848"/>
                  <a:gd name="T8" fmla="*/ 0 w 1514"/>
                  <a:gd name="T9" fmla="*/ 0 h 1848"/>
                  <a:gd name="T10" fmla="*/ 0 w 1514"/>
                  <a:gd name="T11" fmla="*/ 0 h 1848"/>
                  <a:gd name="T12" fmla="*/ 0 w 1514"/>
                  <a:gd name="T13" fmla="*/ 0 h 1848"/>
                  <a:gd name="T14" fmla="*/ 0 w 1514"/>
                  <a:gd name="T15" fmla="*/ 0 h 1848"/>
                  <a:gd name="T16" fmla="*/ 0 w 1514"/>
                  <a:gd name="T17" fmla="*/ 0 h 1848"/>
                  <a:gd name="T18" fmla="*/ 0 w 1514"/>
                  <a:gd name="T19" fmla="*/ 0 h 1848"/>
                  <a:gd name="T20" fmla="*/ 0 w 1514"/>
                  <a:gd name="T21" fmla="*/ 0 h 1848"/>
                  <a:gd name="T22" fmla="*/ 0 w 1514"/>
                  <a:gd name="T23" fmla="*/ 0 h 1848"/>
                  <a:gd name="T24" fmla="*/ 0 w 1514"/>
                  <a:gd name="T25" fmla="*/ 0 h 1848"/>
                  <a:gd name="T26" fmla="*/ 0 w 1514"/>
                  <a:gd name="T27" fmla="*/ 0 h 1848"/>
                  <a:gd name="T28" fmla="*/ 0 w 1514"/>
                  <a:gd name="T29" fmla="*/ 0 h 1848"/>
                  <a:gd name="T30" fmla="*/ 0 w 1514"/>
                  <a:gd name="T31" fmla="*/ 0 h 1848"/>
                  <a:gd name="T32" fmla="*/ 0 w 1514"/>
                  <a:gd name="T33" fmla="*/ 0 h 1848"/>
                  <a:gd name="T34" fmla="*/ 0 w 1514"/>
                  <a:gd name="T35" fmla="*/ 0 h 1848"/>
                  <a:gd name="T36" fmla="*/ 0 w 1514"/>
                  <a:gd name="T37" fmla="*/ 0 h 1848"/>
                  <a:gd name="T38" fmla="*/ 0 w 1514"/>
                  <a:gd name="T39" fmla="*/ 0 h 1848"/>
                  <a:gd name="T40" fmla="*/ 0 w 1514"/>
                  <a:gd name="T41" fmla="*/ 0 h 1848"/>
                  <a:gd name="T42" fmla="*/ 0 w 1514"/>
                  <a:gd name="T43" fmla="*/ 0 h 1848"/>
                  <a:gd name="T44" fmla="*/ 0 w 1514"/>
                  <a:gd name="T45" fmla="*/ 0 h 1848"/>
                  <a:gd name="T46" fmla="*/ 0 w 1514"/>
                  <a:gd name="T47" fmla="*/ 0 h 1848"/>
                  <a:gd name="T48" fmla="*/ 0 w 1514"/>
                  <a:gd name="T49" fmla="*/ 0 h 1848"/>
                  <a:gd name="T50" fmla="*/ 0 w 1514"/>
                  <a:gd name="T51" fmla="*/ 0 h 1848"/>
                  <a:gd name="T52" fmla="*/ 0 w 1514"/>
                  <a:gd name="T53" fmla="*/ 0 h 1848"/>
                  <a:gd name="T54" fmla="*/ 0 w 1514"/>
                  <a:gd name="T55" fmla="*/ 0 h 1848"/>
                  <a:gd name="T56" fmla="*/ 0 w 1514"/>
                  <a:gd name="T57" fmla="*/ 0 h 1848"/>
                  <a:gd name="T58" fmla="*/ 0 w 1514"/>
                  <a:gd name="T59" fmla="*/ 0 h 1848"/>
                  <a:gd name="T60" fmla="*/ 0 w 1514"/>
                  <a:gd name="T61" fmla="*/ 0 h 1848"/>
                  <a:gd name="T62" fmla="*/ 0 w 1514"/>
                  <a:gd name="T63" fmla="*/ 0 h 1848"/>
                  <a:gd name="T64" fmla="*/ 0 w 1514"/>
                  <a:gd name="T65" fmla="*/ 0 h 1848"/>
                  <a:gd name="T66" fmla="*/ 0 w 1514"/>
                  <a:gd name="T67" fmla="*/ 0 h 1848"/>
                  <a:gd name="T68" fmla="*/ 0 w 1514"/>
                  <a:gd name="T69" fmla="*/ 0 h 1848"/>
                  <a:gd name="T70" fmla="*/ 0 w 1514"/>
                  <a:gd name="T71" fmla="*/ 0 h 1848"/>
                  <a:gd name="T72" fmla="*/ 0 w 1514"/>
                  <a:gd name="T73" fmla="*/ 0 h 1848"/>
                  <a:gd name="T74" fmla="*/ 0 w 1514"/>
                  <a:gd name="T75" fmla="*/ 0 h 1848"/>
                  <a:gd name="T76" fmla="*/ 0 w 1514"/>
                  <a:gd name="T77" fmla="*/ 0 h 1848"/>
                  <a:gd name="T78" fmla="*/ 0 w 1514"/>
                  <a:gd name="T79" fmla="*/ 0 h 1848"/>
                  <a:gd name="T80" fmla="*/ 0 w 1514"/>
                  <a:gd name="T81" fmla="*/ 0 h 1848"/>
                  <a:gd name="T82" fmla="*/ 0 w 1514"/>
                  <a:gd name="T83" fmla="*/ 0 h 1848"/>
                  <a:gd name="T84" fmla="*/ 0 w 1514"/>
                  <a:gd name="T85" fmla="*/ 0 h 1848"/>
                  <a:gd name="T86" fmla="*/ 0 w 1514"/>
                  <a:gd name="T87" fmla="*/ 0 h 1848"/>
                  <a:gd name="T88" fmla="*/ 0 w 1514"/>
                  <a:gd name="T89" fmla="*/ 0 h 1848"/>
                  <a:gd name="T90" fmla="*/ 0 w 1514"/>
                  <a:gd name="T91" fmla="*/ 0 h 1848"/>
                  <a:gd name="T92" fmla="*/ 0 w 1514"/>
                  <a:gd name="T93" fmla="*/ 0 h 1848"/>
                  <a:gd name="T94" fmla="*/ 0 w 1514"/>
                  <a:gd name="T95" fmla="*/ 0 h 1848"/>
                  <a:gd name="T96" fmla="*/ 0 w 1514"/>
                  <a:gd name="T97" fmla="*/ 0 h 1848"/>
                  <a:gd name="T98" fmla="*/ 0 w 1514"/>
                  <a:gd name="T99" fmla="*/ 0 h 1848"/>
                  <a:gd name="T100" fmla="*/ 0 w 1514"/>
                  <a:gd name="T101" fmla="*/ 0 h 1848"/>
                  <a:gd name="T102" fmla="*/ 0 w 1514"/>
                  <a:gd name="T103" fmla="*/ 0 h 1848"/>
                  <a:gd name="T104" fmla="*/ 0 w 1514"/>
                  <a:gd name="T105" fmla="*/ 0 h 1848"/>
                  <a:gd name="T106" fmla="*/ 0 w 1514"/>
                  <a:gd name="T107" fmla="*/ 0 h 1848"/>
                  <a:gd name="T108" fmla="*/ 0 w 1514"/>
                  <a:gd name="T109" fmla="*/ 0 h 1848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514"/>
                  <a:gd name="T166" fmla="*/ 0 h 1848"/>
                  <a:gd name="T167" fmla="*/ 1514 w 1514"/>
                  <a:gd name="T168" fmla="*/ 1848 h 1848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514" h="1848">
                    <a:moveTo>
                      <a:pt x="558" y="0"/>
                    </a:moveTo>
                    <a:lnTo>
                      <a:pt x="677" y="22"/>
                    </a:lnTo>
                    <a:lnTo>
                      <a:pt x="645" y="60"/>
                    </a:lnTo>
                    <a:lnTo>
                      <a:pt x="613" y="95"/>
                    </a:lnTo>
                    <a:lnTo>
                      <a:pt x="582" y="131"/>
                    </a:lnTo>
                    <a:lnTo>
                      <a:pt x="551" y="166"/>
                    </a:lnTo>
                    <a:lnTo>
                      <a:pt x="521" y="201"/>
                    </a:lnTo>
                    <a:lnTo>
                      <a:pt x="492" y="236"/>
                    </a:lnTo>
                    <a:lnTo>
                      <a:pt x="464" y="271"/>
                    </a:lnTo>
                    <a:lnTo>
                      <a:pt x="437" y="305"/>
                    </a:lnTo>
                    <a:lnTo>
                      <a:pt x="417" y="332"/>
                    </a:lnTo>
                    <a:lnTo>
                      <a:pt x="398" y="360"/>
                    </a:lnTo>
                    <a:lnTo>
                      <a:pt x="379" y="391"/>
                    </a:lnTo>
                    <a:lnTo>
                      <a:pt x="361" y="422"/>
                    </a:lnTo>
                    <a:lnTo>
                      <a:pt x="343" y="456"/>
                    </a:lnTo>
                    <a:lnTo>
                      <a:pt x="325" y="491"/>
                    </a:lnTo>
                    <a:lnTo>
                      <a:pt x="309" y="527"/>
                    </a:lnTo>
                    <a:lnTo>
                      <a:pt x="292" y="564"/>
                    </a:lnTo>
                    <a:lnTo>
                      <a:pt x="277" y="603"/>
                    </a:lnTo>
                    <a:lnTo>
                      <a:pt x="261" y="643"/>
                    </a:lnTo>
                    <a:lnTo>
                      <a:pt x="247" y="683"/>
                    </a:lnTo>
                    <a:lnTo>
                      <a:pt x="234" y="725"/>
                    </a:lnTo>
                    <a:lnTo>
                      <a:pt x="220" y="766"/>
                    </a:lnTo>
                    <a:lnTo>
                      <a:pt x="208" y="808"/>
                    </a:lnTo>
                    <a:lnTo>
                      <a:pt x="196" y="851"/>
                    </a:lnTo>
                    <a:lnTo>
                      <a:pt x="185" y="894"/>
                    </a:lnTo>
                    <a:lnTo>
                      <a:pt x="176" y="938"/>
                    </a:lnTo>
                    <a:lnTo>
                      <a:pt x="165" y="981"/>
                    </a:lnTo>
                    <a:lnTo>
                      <a:pt x="157" y="1024"/>
                    </a:lnTo>
                    <a:lnTo>
                      <a:pt x="149" y="1068"/>
                    </a:lnTo>
                    <a:lnTo>
                      <a:pt x="142" y="1111"/>
                    </a:lnTo>
                    <a:lnTo>
                      <a:pt x="135" y="1154"/>
                    </a:lnTo>
                    <a:lnTo>
                      <a:pt x="130" y="1196"/>
                    </a:lnTo>
                    <a:lnTo>
                      <a:pt x="126" y="1237"/>
                    </a:lnTo>
                    <a:lnTo>
                      <a:pt x="122" y="1279"/>
                    </a:lnTo>
                    <a:lnTo>
                      <a:pt x="120" y="1319"/>
                    </a:lnTo>
                    <a:lnTo>
                      <a:pt x="118" y="1358"/>
                    </a:lnTo>
                    <a:lnTo>
                      <a:pt x="117" y="1397"/>
                    </a:lnTo>
                    <a:lnTo>
                      <a:pt x="117" y="1434"/>
                    </a:lnTo>
                    <a:lnTo>
                      <a:pt x="118" y="1470"/>
                    </a:lnTo>
                    <a:lnTo>
                      <a:pt x="121" y="1504"/>
                    </a:lnTo>
                    <a:lnTo>
                      <a:pt x="124" y="1537"/>
                    </a:lnTo>
                    <a:lnTo>
                      <a:pt x="1006" y="1733"/>
                    </a:lnTo>
                    <a:lnTo>
                      <a:pt x="999" y="1701"/>
                    </a:lnTo>
                    <a:lnTo>
                      <a:pt x="992" y="1667"/>
                    </a:lnTo>
                    <a:lnTo>
                      <a:pt x="987" y="1632"/>
                    </a:lnTo>
                    <a:lnTo>
                      <a:pt x="982" y="1596"/>
                    </a:lnTo>
                    <a:lnTo>
                      <a:pt x="978" y="1560"/>
                    </a:lnTo>
                    <a:lnTo>
                      <a:pt x="973" y="1522"/>
                    </a:lnTo>
                    <a:lnTo>
                      <a:pt x="971" y="1484"/>
                    </a:lnTo>
                    <a:lnTo>
                      <a:pt x="969" y="1444"/>
                    </a:lnTo>
                    <a:lnTo>
                      <a:pt x="968" y="1404"/>
                    </a:lnTo>
                    <a:lnTo>
                      <a:pt x="968" y="1364"/>
                    </a:lnTo>
                    <a:lnTo>
                      <a:pt x="968" y="1322"/>
                    </a:lnTo>
                    <a:lnTo>
                      <a:pt x="970" y="1281"/>
                    </a:lnTo>
                    <a:lnTo>
                      <a:pt x="972" y="1239"/>
                    </a:lnTo>
                    <a:lnTo>
                      <a:pt x="974" y="1198"/>
                    </a:lnTo>
                    <a:lnTo>
                      <a:pt x="979" y="1156"/>
                    </a:lnTo>
                    <a:lnTo>
                      <a:pt x="983" y="1114"/>
                    </a:lnTo>
                    <a:lnTo>
                      <a:pt x="988" y="1072"/>
                    </a:lnTo>
                    <a:lnTo>
                      <a:pt x="994" y="1031"/>
                    </a:lnTo>
                    <a:lnTo>
                      <a:pt x="1001" y="989"/>
                    </a:lnTo>
                    <a:lnTo>
                      <a:pt x="1009" y="949"/>
                    </a:lnTo>
                    <a:lnTo>
                      <a:pt x="1017" y="909"/>
                    </a:lnTo>
                    <a:lnTo>
                      <a:pt x="1025" y="868"/>
                    </a:lnTo>
                    <a:lnTo>
                      <a:pt x="1035" y="830"/>
                    </a:lnTo>
                    <a:lnTo>
                      <a:pt x="1046" y="791"/>
                    </a:lnTo>
                    <a:lnTo>
                      <a:pt x="1057" y="754"/>
                    </a:lnTo>
                    <a:lnTo>
                      <a:pt x="1068" y="717"/>
                    </a:lnTo>
                    <a:lnTo>
                      <a:pt x="1081" y="682"/>
                    </a:lnTo>
                    <a:lnTo>
                      <a:pt x="1094" y="647"/>
                    </a:lnTo>
                    <a:lnTo>
                      <a:pt x="1109" y="614"/>
                    </a:lnTo>
                    <a:lnTo>
                      <a:pt x="1123" y="582"/>
                    </a:lnTo>
                    <a:lnTo>
                      <a:pt x="1139" y="552"/>
                    </a:lnTo>
                    <a:lnTo>
                      <a:pt x="1154" y="523"/>
                    </a:lnTo>
                    <a:lnTo>
                      <a:pt x="1180" y="481"/>
                    </a:lnTo>
                    <a:lnTo>
                      <a:pt x="1208" y="437"/>
                    </a:lnTo>
                    <a:lnTo>
                      <a:pt x="1237" y="394"/>
                    </a:lnTo>
                    <a:lnTo>
                      <a:pt x="1268" y="349"/>
                    </a:lnTo>
                    <a:lnTo>
                      <a:pt x="1301" y="304"/>
                    </a:lnTo>
                    <a:lnTo>
                      <a:pt x="1334" y="258"/>
                    </a:lnTo>
                    <a:lnTo>
                      <a:pt x="1368" y="212"/>
                    </a:lnTo>
                    <a:lnTo>
                      <a:pt x="1404" y="165"/>
                    </a:lnTo>
                    <a:lnTo>
                      <a:pt x="1514" y="187"/>
                    </a:lnTo>
                    <a:lnTo>
                      <a:pt x="1490" y="220"/>
                    </a:lnTo>
                    <a:lnTo>
                      <a:pt x="1466" y="254"/>
                    </a:lnTo>
                    <a:lnTo>
                      <a:pt x="1443" y="288"/>
                    </a:lnTo>
                    <a:lnTo>
                      <a:pt x="1419" y="322"/>
                    </a:lnTo>
                    <a:lnTo>
                      <a:pt x="1396" y="357"/>
                    </a:lnTo>
                    <a:lnTo>
                      <a:pt x="1373" y="394"/>
                    </a:lnTo>
                    <a:lnTo>
                      <a:pt x="1352" y="430"/>
                    </a:lnTo>
                    <a:lnTo>
                      <a:pt x="1329" y="466"/>
                    </a:lnTo>
                    <a:lnTo>
                      <a:pt x="1310" y="500"/>
                    </a:lnTo>
                    <a:lnTo>
                      <a:pt x="1293" y="534"/>
                    </a:lnTo>
                    <a:lnTo>
                      <a:pt x="1275" y="572"/>
                    </a:lnTo>
                    <a:lnTo>
                      <a:pt x="1260" y="610"/>
                    </a:lnTo>
                    <a:lnTo>
                      <a:pt x="1244" y="649"/>
                    </a:lnTo>
                    <a:lnTo>
                      <a:pt x="1230" y="689"/>
                    </a:lnTo>
                    <a:lnTo>
                      <a:pt x="1215" y="731"/>
                    </a:lnTo>
                    <a:lnTo>
                      <a:pt x="1203" y="774"/>
                    </a:lnTo>
                    <a:lnTo>
                      <a:pt x="1190" y="818"/>
                    </a:lnTo>
                    <a:lnTo>
                      <a:pt x="1179" y="862"/>
                    </a:lnTo>
                    <a:lnTo>
                      <a:pt x="1169" y="908"/>
                    </a:lnTo>
                    <a:lnTo>
                      <a:pt x="1159" y="953"/>
                    </a:lnTo>
                    <a:lnTo>
                      <a:pt x="1150" y="1000"/>
                    </a:lnTo>
                    <a:lnTo>
                      <a:pt x="1143" y="1046"/>
                    </a:lnTo>
                    <a:lnTo>
                      <a:pt x="1136" y="1094"/>
                    </a:lnTo>
                    <a:lnTo>
                      <a:pt x="1129" y="1141"/>
                    </a:lnTo>
                    <a:lnTo>
                      <a:pt x="1124" y="1189"/>
                    </a:lnTo>
                    <a:lnTo>
                      <a:pt x="1120" y="1236"/>
                    </a:lnTo>
                    <a:lnTo>
                      <a:pt x="1117" y="1284"/>
                    </a:lnTo>
                    <a:lnTo>
                      <a:pt x="1115" y="1330"/>
                    </a:lnTo>
                    <a:lnTo>
                      <a:pt x="1113" y="1378"/>
                    </a:lnTo>
                    <a:lnTo>
                      <a:pt x="1112" y="1425"/>
                    </a:lnTo>
                    <a:lnTo>
                      <a:pt x="1113" y="1471"/>
                    </a:lnTo>
                    <a:lnTo>
                      <a:pt x="1114" y="1517"/>
                    </a:lnTo>
                    <a:lnTo>
                      <a:pt x="1116" y="1561"/>
                    </a:lnTo>
                    <a:lnTo>
                      <a:pt x="1119" y="1606"/>
                    </a:lnTo>
                    <a:lnTo>
                      <a:pt x="1123" y="1648"/>
                    </a:lnTo>
                    <a:lnTo>
                      <a:pt x="1127" y="1690"/>
                    </a:lnTo>
                    <a:lnTo>
                      <a:pt x="1134" y="1732"/>
                    </a:lnTo>
                    <a:lnTo>
                      <a:pt x="1141" y="1772"/>
                    </a:lnTo>
                    <a:lnTo>
                      <a:pt x="1148" y="1810"/>
                    </a:lnTo>
                    <a:lnTo>
                      <a:pt x="1157" y="1848"/>
                    </a:lnTo>
                    <a:lnTo>
                      <a:pt x="7" y="1607"/>
                    </a:lnTo>
                    <a:lnTo>
                      <a:pt x="3" y="1568"/>
                    </a:lnTo>
                    <a:lnTo>
                      <a:pt x="1" y="1529"/>
                    </a:lnTo>
                    <a:lnTo>
                      <a:pt x="0" y="1488"/>
                    </a:lnTo>
                    <a:lnTo>
                      <a:pt x="0" y="1445"/>
                    </a:lnTo>
                    <a:lnTo>
                      <a:pt x="0" y="1402"/>
                    </a:lnTo>
                    <a:lnTo>
                      <a:pt x="2" y="1357"/>
                    </a:lnTo>
                    <a:lnTo>
                      <a:pt x="5" y="1312"/>
                    </a:lnTo>
                    <a:lnTo>
                      <a:pt x="9" y="1265"/>
                    </a:lnTo>
                    <a:lnTo>
                      <a:pt x="14" y="1219"/>
                    </a:lnTo>
                    <a:lnTo>
                      <a:pt x="21" y="1171"/>
                    </a:lnTo>
                    <a:lnTo>
                      <a:pt x="28" y="1123"/>
                    </a:lnTo>
                    <a:lnTo>
                      <a:pt x="36" y="1075"/>
                    </a:lnTo>
                    <a:lnTo>
                      <a:pt x="45" y="1026"/>
                    </a:lnTo>
                    <a:lnTo>
                      <a:pt x="56" y="978"/>
                    </a:lnTo>
                    <a:lnTo>
                      <a:pt x="67" y="929"/>
                    </a:lnTo>
                    <a:lnTo>
                      <a:pt x="79" y="881"/>
                    </a:lnTo>
                    <a:lnTo>
                      <a:pt x="91" y="832"/>
                    </a:lnTo>
                    <a:lnTo>
                      <a:pt x="104" y="785"/>
                    </a:lnTo>
                    <a:lnTo>
                      <a:pt x="119" y="737"/>
                    </a:lnTo>
                    <a:lnTo>
                      <a:pt x="134" y="690"/>
                    </a:lnTo>
                    <a:lnTo>
                      <a:pt x="150" y="644"/>
                    </a:lnTo>
                    <a:lnTo>
                      <a:pt x="167" y="599"/>
                    </a:lnTo>
                    <a:lnTo>
                      <a:pt x="184" y="555"/>
                    </a:lnTo>
                    <a:lnTo>
                      <a:pt x="203" y="512"/>
                    </a:lnTo>
                    <a:lnTo>
                      <a:pt x="221" y="469"/>
                    </a:lnTo>
                    <a:lnTo>
                      <a:pt x="241" y="429"/>
                    </a:lnTo>
                    <a:lnTo>
                      <a:pt x="260" y="388"/>
                    </a:lnTo>
                    <a:lnTo>
                      <a:pt x="282" y="351"/>
                    </a:lnTo>
                    <a:lnTo>
                      <a:pt x="303" y="315"/>
                    </a:lnTo>
                    <a:lnTo>
                      <a:pt x="324" y="280"/>
                    </a:lnTo>
                    <a:lnTo>
                      <a:pt x="347" y="247"/>
                    </a:lnTo>
                    <a:lnTo>
                      <a:pt x="370" y="216"/>
                    </a:lnTo>
                    <a:lnTo>
                      <a:pt x="393" y="188"/>
                    </a:lnTo>
                    <a:lnTo>
                      <a:pt x="416" y="159"/>
                    </a:lnTo>
                    <a:lnTo>
                      <a:pt x="439" y="132"/>
                    </a:lnTo>
                    <a:lnTo>
                      <a:pt x="463" y="104"/>
                    </a:lnTo>
                    <a:lnTo>
                      <a:pt x="487" y="77"/>
                    </a:lnTo>
                    <a:lnTo>
                      <a:pt x="510" y="51"/>
                    </a:lnTo>
                    <a:lnTo>
                      <a:pt x="534" y="26"/>
                    </a:lnTo>
                    <a:lnTo>
                      <a:pt x="558" y="0"/>
                    </a:lnTo>
                    <a:close/>
                  </a:path>
                </a:pathLst>
              </a:custGeom>
              <a:solidFill>
                <a:srgbClr val="25A9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55" name="Freeform 70"/>
              <p:cNvSpPr>
                <a:spLocks/>
              </p:cNvSpPr>
              <p:nvPr/>
            </p:nvSpPr>
            <p:spPr bwMode="auto">
              <a:xfrm>
                <a:off x="3370" y="1492"/>
                <a:ext cx="184" cy="244"/>
              </a:xfrm>
              <a:custGeom>
                <a:avLst/>
                <a:gdLst>
                  <a:gd name="T0" fmla="*/ 0 w 1287"/>
                  <a:gd name="T1" fmla="*/ 0 h 1711"/>
                  <a:gd name="T2" fmla="*/ 0 w 1287"/>
                  <a:gd name="T3" fmla="*/ 0 h 1711"/>
                  <a:gd name="T4" fmla="*/ 0 w 1287"/>
                  <a:gd name="T5" fmla="*/ 0 h 1711"/>
                  <a:gd name="T6" fmla="*/ 0 w 1287"/>
                  <a:gd name="T7" fmla="*/ 0 h 1711"/>
                  <a:gd name="T8" fmla="*/ 0 w 1287"/>
                  <a:gd name="T9" fmla="*/ 0 h 1711"/>
                  <a:gd name="T10" fmla="*/ 0 w 1287"/>
                  <a:gd name="T11" fmla="*/ 0 h 1711"/>
                  <a:gd name="T12" fmla="*/ 0 w 1287"/>
                  <a:gd name="T13" fmla="*/ 0 h 1711"/>
                  <a:gd name="T14" fmla="*/ 0 w 1287"/>
                  <a:gd name="T15" fmla="*/ 0 h 1711"/>
                  <a:gd name="T16" fmla="*/ 0 w 1287"/>
                  <a:gd name="T17" fmla="*/ 0 h 1711"/>
                  <a:gd name="T18" fmla="*/ 0 w 1287"/>
                  <a:gd name="T19" fmla="*/ 0 h 1711"/>
                  <a:gd name="T20" fmla="*/ 0 w 1287"/>
                  <a:gd name="T21" fmla="*/ 0 h 1711"/>
                  <a:gd name="T22" fmla="*/ 0 w 1287"/>
                  <a:gd name="T23" fmla="*/ 0 h 1711"/>
                  <a:gd name="T24" fmla="*/ 0 w 1287"/>
                  <a:gd name="T25" fmla="*/ 0 h 1711"/>
                  <a:gd name="T26" fmla="*/ 0 w 1287"/>
                  <a:gd name="T27" fmla="*/ 0 h 1711"/>
                  <a:gd name="T28" fmla="*/ 0 w 1287"/>
                  <a:gd name="T29" fmla="*/ 0 h 1711"/>
                  <a:gd name="T30" fmla="*/ 0 w 1287"/>
                  <a:gd name="T31" fmla="*/ 0 h 1711"/>
                  <a:gd name="T32" fmla="*/ 0 w 1287"/>
                  <a:gd name="T33" fmla="*/ 0 h 1711"/>
                  <a:gd name="T34" fmla="*/ 0 w 1287"/>
                  <a:gd name="T35" fmla="*/ 0 h 1711"/>
                  <a:gd name="T36" fmla="*/ 0 w 1287"/>
                  <a:gd name="T37" fmla="*/ 0 h 1711"/>
                  <a:gd name="T38" fmla="*/ 0 w 1287"/>
                  <a:gd name="T39" fmla="*/ 0 h 1711"/>
                  <a:gd name="T40" fmla="*/ 0 w 1287"/>
                  <a:gd name="T41" fmla="*/ 0 h 1711"/>
                  <a:gd name="T42" fmla="*/ 0 w 1287"/>
                  <a:gd name="T43" fmla="*/ 0 h 1711"/>
                  <a:gd name="T44" fmla="*/ 0 w 1287"/>
                  <a:gd name="T45" fmla="*/ 0 h 1711"/>
                  <a:gd name="T46" fmla="*/ 0 w 1287"/>
                  <a:gd name="T47" fmla="*/ 0 h 1711"/>
                  <a:gd name="T48" fmla="*/ 0 w 1287"/>
                  <a:gd name="T49" fmla="*/ 0 h 1711"/>
                  <a:gd name="T50" fmla="*/ 0 w 1287"/>
                  <a:gd name="T51" fmla="*/ 0 h 1711"/>
                  <a:gd name="T52" fmla="*/ 0 w 1287"/>
                  <a:gd name="T53" fmla="*/ 0 h 1711"/>
                  <a:gd name="T54" fmla="*/ 0 w 1287"/>
                  <a:gd name="T55" fmla="*/ 0 h 1711"/>
                  <a:gd name="T56" fmla="*/ 0 w 1287"/>
                  <a:gd name="T57" fmla="*/ 0 h 1711"/>
                  <a:gd name="T58" fmla="*/ 0 w 1287"/>
                  <a:gd name="T59" fmla="*/ 0 h 1711"/>
                  <a:gd name="T60" fmla="*/ 0 w 1287"/>
                  <a:gd name="T61" fmla="*/ 0 h 1711"/>
                  <a:gd name="T62" fmla="*/ 0 w 1287"/>
                  <a:gd name="T63" fmla="*/ 0 h 1711"/>
                  <a:gd name="T64" fmla="*/ 0 w 1287"/>
                  <a:gd name="T65" fmla="*/ 0 h 1711"/>
                  <a:gd name="T66" fmla="*/ 0 w 1287"/>
                  <a:gd name="T67" fmla="*/ 0 h 1711"/>
                  <a:gd name="T68" fmla="*/ 0 w 1287"/>
                  <a:gd name="T69" fmla="*/ 0 h 1711"/>
                  <a:gd name="T70" fmla="*/ 0 w 1287"/>
                  <a:gd name="T71" fmla="*/ 0 h 1711"/>
                  <a:gd name="T72" fmla="*/ 0 w 1287"/>
                  <a:gd name="T73" fmla="*/ 0 h 1711"/>
                  <a:gd name="T74" fmla="*/ 0 w 1287"/>
                  <a:gd name="T75" fmla="*/ 0 h 1711"/>
                  <a:gd name="T76" fmla="*/ 0 w 1287"/>
                  <a:gd name="T77" fmla="*/ 0 h 1711"/>
                  <a:gd name="T78" fmla="*/ 0 w 1287"/>
                  <a:gd name="T79" fmla="*/ 0 h 1711"/>
                  <a:gd name="T80" fmla="*/ 0 w 1287"/>
                  <a:gd name="T81" fmla="*/ 0 h 1711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1287"/>
                  <a:gd name="T124" fmla="*/ 0 h 1711"/>
                  <a:gd name="T125" fmla="*/ 1287 w 1287"/>
                  <a:gd name="T126" fmla="*/ 1711 h 1711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1287" h="1711">
                    <a:moveTo>
                      <a:pt x="1037" y="501"/>
                    </a:moveTo>
                    <a:lnTo>
                      <a:pt x="1022" y="530"/>
                    </a:lnTo>
                    <a:lnTo>
                      <a:pt x="1006" y="560"/>
                    </a:lnTo>
                    <a:lnTo>
                      <a:pt x="992" y="592"/>
                    </a:lnTo>
                    <a:lnTo>
                      <a:pt x="977" y="625"/>
                    </a:lnTo>
                    <a:lnTo>
                      <a:pt x="964" y="660"/>
                    </a:lnTo>
                    <a:lnTo>
                      <a:pt x="951" y="695"/>
                    </a:lnTo>
                    <a:lnTo>
                      <a:pt x="940" y="732"/>
                    </a:lnTo>
                    <a:lnTo>
                      <a:pt x="929" y="769"/>
                    </a:lnTo>
                    <a:lnTo>
                      <a:pt x="918" y="808"/>
                    </a:lnTo>
                    <a:lnTo>
                      <a:pt x="908" y="846"/>
                    </a:lnTo>
                    <a:lnTo>
                      <a:pt x="900" y="887"/>
                    </a:lnTo>
                    <a:lnTo>
                      <a:pt x="892" y="927"/>
                    </a:lnTo>
                    <a:lnTo>
                      <a:pt x="884" y="967"/>
                    </a:lnTo>
                    <a:lnTo>
                      <a:pt x="877" y="1009"/>
                    </a:lnTo>
                    <a:lnTo>
                      <a:pt x="871" y="1050"/>
                    </a:lnTo>
                    <a:lnTo>
                      <a:pt x="866" y="1092"/>
                    </a:lnTo>
                    <a:lnTo>
                      <a:pt x="862" y="1134"/>
                    </a:lnTo>
                    <a:lnTo>
                      <a:pt x="857" y="1176"/>
                    </a:lnTo>
                    <a:lnTo>
                      <a:pt x="855" y="1217"/>
                    </a:lnTo>
                    <a:lnTo>
                      <a:pt x="853" y="1259"/>
                    </a:lnTo>
                    <a:lnTo>
                      <a:pt x="851" y="1300"/>
                    </a:lnTo>
                    <a:lnTo>
                      <a:pt x="851" y="1342"/>
                    </a:lnTo>
                    <a:lnTo>
                      <a:pt x="851" y="1382"/>
                    </a:lnTo>
                    <a:lnTo>
                      <a:pt x="852" y="1422"/>
                    </a:lnTo>
                    <a:lnTo>
                      <a:pt x="854" y="1462"/>
                    </a:lnTo>
                    <a:lnTo>
                      <a:pt x="856" y="1500"/>
                    </a:lnTo>
                    <a:lnTo>
                      <a:pt x="861" y="1538"/>
                    </a:lnTo>
                    <a:lnTo>
                      <a:pt x="865" y="1574"/>
                    </a:lnTo>
                    <a:lnTo>
                      <a:pt x="870" y="1610"/>
                    </a:lnTo>
                    <a:lnTo>
                      <a:pt x="875" y="1645"/>
                    </a:lnTo>
                    <a:lnTo>
                      <a:pt x="882" y="1679"/>
                    </a:lnTo>
                    <a:lnTo>
                      <a:pt x="889" y="1711"/>
                    </a:lnTo>
                    <a:lnTo>
                      <a:pt x="7" y="1515"/>
                    </a:lnTo>
                    <a:lnTo>
                      <a:pt x="4" y="1482"/>
                    </a:lnTo>
                    <a:lnTo>
                      <a:pt x="1" y="1448"/>
                    </a:lnTo>
                    <a:lnTo>
                      <a:pt x="0" y="1412"/>
                    </a:lnTo>
                    <a:lnTo>
                      <a:pt x="0" y="1375"/>
                    </a:lnTo>
                    <a:lnTo>
                      <a:pt x="1" y="1336"/>
                    </a:lnTo>
                    <a:lnTo>
                      <a:pt x="3" y="1297"/>
                    </a:lnTo>
                    <a:lnTo>
                      <a:pt x="5" y="1257"/>
                    </a:lnTo>
                    <a:lnTo>
                      <a:pt x="9" y="1215"/>
                    </a:lnTo>
                    <a:lnTo>
                      <a:pt x="13" y="1174"/>
                    </a:lnTo>
                    <a:lnTo>
                      <a:pt x="18" y="1132"/>
                    </a:lnTo>
                    <a:lnTo>
                      <a:pt x="25" y="1089"/>
                    </a:lnTo>
                    <a:lnTo>
                      <a:pt x="32" y="1046"/>
                    </a:lnTo>
                    <a:lnTo>
                      <a:pt x="40" y="1002"/>
                    </a:lnTo>
                    <a:lnTo>
                      <a:pt x="48" y="959"/>
                    </a:lnTo>
                    <a:lnTo>
                      <a:pt x="59" y="916"/>
                    </a:lnTo>
                    <a:lnTo>
                      <a:pt x="68" y="872"/>
                    </a:lnTo>
                    <a:lnTo>
                      <a:pt x="79" y="829"/>
                    </a:lnTo>
                    <a:lnTo>
                      <a:pt x="91" y="786"/>
                    </a:lnTo>
                    <a:lnTo>
                      <a:pt x="103" y="744"/>
                    </a:lnTo>
                    <a:lnTo>
                      <a:pt x="117" y="703"/>
                    </a:lnTo>
                    <a:lnTo>
                      <a:pt x="130" y="661"/>
                    </a:lnTo>
                    <a:lnTo>
                      <a:pt x="144" y="621"/>
                    </a:lnTo>
                    <a:lnTo>
                      <a:pt x="160" y="581"/>
                    </a:lnTo>
                    <a:lnTo>
                      <a:pt x="175" y="542"/>
                    </a:lnTo>
                    <a:lnTo>
                      <a:pt x="192" y="505"/>
                    </a:lnTo>
                    <a:lnTo>
                      <a:pt x="208" y="469"/>
                    </a:lnTo>
                    <a:lnTo>
                      <a:pt x="226" y="434"/>
                    </a:lnTo>
                    <a:lnTo>
                      <a:pt x="244" y="400"/>
                    </a:lnTo>
                    <a:lnTo>
                      <a:pt x="262" y="369"/>
                    </a:lnTo>
                    <a:lnTo>
                      <a:pt x="281" y="338"/>
                    </a:lnTo>
                    <a:lnTo>
                      <a:pt x="300" y="310"/>
                    </a:lnTo>
                    <a:lnTo>
                      <a:pt x="320" y="283"/>
                    </a:lnTo>
                    <a:lnTo>
                      <a:pt x="347" y="249"/>
                    </a:lnTo>
                    <a:lnTo>
                      <a:pt x="375" y="214"/>
                    </a:lnTo>
                    <a:lnTo>
                      <a:pt x="404" y="179"/>
                    </a:lnTo>
                    <a:lnTo>
                      <a:pt x="434" y="144"/>
                    </a:lnTo>
                    <a:lnTo>
                      <a:pt x="465" y="109"/>
                    </a:lnTo>
                    <a:lnTo>
                      <a:pt x="496" y="73"/>
                    </a:lnTo>
                    <a:lnTo>
                      <a:pt x="528" y="38"/>
                    </a:lnTo>
                    <a:lnTo>
                      <a:pt x="560" y="0"/>
                    </a:lnTo>
                    <a:lnTo>
                      <a:pt x="1287" y="143"/>
                    </a:lnTo>
                    <a:lnTo>
                      <a:pt x="1251" y="190"/>
                    </a:lnTo>
                    <a:lnTo>
                      <a:pt x="1217" y="236"/>
                    </a:lnTo>
                    <a:lnTo>
                      <a:pt x="1184" y="282"/>
                    </a:lnTo>
                    <a:lnTo>
                      <a:pt x="1151" y="327"/>
                    </a:lnTo>
                    <a:lnTo>
                      <a:pt x="1120" y="372"/>
                    </a:lnTo>
                    <a:lnTo>
                      <a:pt x="1091" y="415"/>
                    </a:lnTo>
                    <a:lnTo>
                      <a:pt x="1063" y="459"/>
                    </a:lnTo>
                    <a:lnTo>
                      <a:pt x="1037" y="501"/>
                    </a:lnTo>
                    <a:close/>
                  </a:path>
                </a:pathLst>
              </a:custGeom>
              <a:solidFill>
                <a:srgbClr val="25A9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56" name="Freeform 71"/>
              <p:cNvSpPr>
                <a:spLocks noEditPoints="1"/>
              </p:cNvSpPr>
              <p:nvPr/>
            </p:nvSpPr>
            <p:spPr bwMode="auto">
              <a:xfrm>
                <a:off x="3367" y="1489"/>
                <a:ext cx="192" cy="252"/>
              </a:xfrm>
              <a:custGeom>
                <a:avLst/>
                <a:gdLst>
                  <a:gd name="T0" fmla="*/ 0 w 1349"/>
                  <a:gd name="T1" fmla="*/ 0 h 1764"/>
                  <a:gd name="T2" fmla="*/ 0 w 1349"/>
                  <a:gd name="T3" fmla="*/ 0 h 1764"/>
                  <a:gd name="T4" fmla="*/ 0 w 1349"/>
                  <a:gd name="T5" fmla="*/ 0 h 1764"/>
                  <a:gd name="T6" fmla="*/ 0 w 1349"/>
                  <a:gd name="T7" fmla="*/ 0 h 1764"/>
                  <a:gd name="T8" fmla="*/ 0 w 1349"/>
                  <a:gd name="T9" fmla="*/ 0 h 1764"/>
                  <a:gd name="T10" fmla="*/ 0 w 1349"/>
                  <a:gd name="T11" fmla="*/ 0 h 1764"/>
                  <a:gd name="T12" fmla="*/ 0 w 1349"/>
                  <a:gd name="T13" fmla="*/ 0 h 1764"/>
                  <a:gd name="T14" fmla="*/ 0 w 1349"/>
                  <a:gd name="T15" fmla="*/ 0 h 1764"/>
                  <a:gd name="T16" fmla="*/ 0 w 1349"/>
                  <a:gd name="T17" fmla="*/ 0 h 1764"/>
                  <a:gd name="T18" fmla="*/ 0 w 1349"/>
                  <a:gd name="T19" fmla="*/ 0 h 1764"/>
                  <a:gd name="T20" fmla="*/ 0 w 1349"/>
                  <a:gd name="T21" fmla="*/ 0 h 1764"/>
                  <a:gd name="T22" fmla="*/ 0 w 1349"/>
                  <a:gd name="T23" fmla="*/ 0 h 1764"/>
                  <a:gd name="T24" fmla="*/ 0 w 1349"/>
                  <a:gd name="T25" fmla="*/ 0 h 1764"/>
                  <a:gd name="T26" fmla="*/ 0 w 1349"/>
                  <a:gd name="T27" fmla="*/ 0 h 1764"/>
                  <a:gd name="T28" fmla="*/ 0 w 1349"/>
                  <a:gd name="T29" fmla="*/ 0 h 1764"/>
                  <a:gd name="T30" fmla="*/ 0 w 1349"/>
                  <a:gd name="T31" fmla="*/ 0 h 1764"/>
                  <a:gd name="T32" fmla="*/ 0 w 1349"/>
                  <a:gd name="T33" fmla="*/ 0 h 1764"/>
                  <a:gd name="T34" fmla="*/ 0 w 1349"/>
                  <a:gd name="T35" fmla="*/ 0 h 1764"/>
                  <a:gd name="T36" fmla="*/ 0 w 1349"/>
                  <a:gd name="T37" fmla="*/ 0 h 1764"/>
                  <a:gd name="T38" fmla="*/ 0 w 1349"/>
                  <a:gd name="T39" fmla="*/ 0 h 1764"/>
                  <a:gd name="T40" fmla="*/ 0 w 1349"/>
                  <a:gd name="T41" fmla="*/ 0 h 1764"/>
                  <a:gd name="T42" fmla="*/ 0 w 1349"/>
                  <a:gd name="T43" fmla="*/ 0 h 1764"/>
                  <a:gd name="T44" fmla="*/ 0 w 1349"/>
                  <a:gd name="T45" fmla="*/ 0 h 1764"/>
                  <a:gd name="T46" fmla="*/ 0 w 1349"/>
                  <a:gd name="T47" fmla="*/ 0 h 1764"/>
                  <a:gd name="T48" fmla="*/ 0 w 1349"/>
                  <a:gd name="T49" fmla="*/ 0 h 1764"/>
                  <a:gd name="T50" fmla="*/ 0 w 1349"/>
                  <a:gd name="T51" fmla="*/ 0 h 1764"/>
                  <a:gd name="T52" fmla="*/ 0 w 1349"/>
                  <a:gd name="T53" fmla="*/ 0 h 1764"/>
                  <a:gd name="T54" fmla="*/ 0 w 1349"/>
                  <a:gd name="T55" fmla="*/ 0 h 1764"/>
                  <a:gd name="T56" fmla="*/ 0 w 1349"/>
                  <a:gd name="T57" fmla="*/ 0 h 1764"/>
                  <a:gd name="T58" fmla="*/ 0 w 1349"/>
                  <a:gd name="T59" fmla="*/ 0 h 1764"/>
                  <a:gd name="T60" fmla="*/ 0 w 1349"/>
                  <a:gd name="T61" fmla="*/ 0 h 1764"/>
                  <a:gd name="T62" fmla="*/ 0 w 1349"/>
                  <a:gd name="T63" fmla="*/ 0 h 1764"/>
                  <a:gd name="T64" fmla="*/ 0 w 1349"/>
                  <a:gd name="T65" fmla="*/ 0 h 1764"/>
                  <a:gd name="T66" fmla="*/ 0 w 1349"/>
                  <a:gd name="T67" fmla="*/ 0 h 1764"/>
                  <a:gd name="T68" fmla="*/ 0 w 1349"/>
                  <a:gd name="T69" fmla="*/ 0 h 1764"/>
                  <a:gd name="T70" fmla="*/ 0 w 1349"/>
                  <a:gd name="T71" fmla="*/ 0 h 1764"/>
                  <a:gd name="T72" fmla="*/ 0 w 1349"/>
                  <a:gd name="T73" fmla="*/ 0 h 1764"/>
                  <a:gd name="T74" fmla="*/ 0 w 1349"/>
                  <a:gd name="T75" fmla="*/ 0 h 1764"/>
                  <a:gd name="T76" fmla="*/ 0 w 1349"/>
                  <a:gd name="T77" fmla="*/ 0 h 1764"/>
                  <a:gd name="T78" fmla="*/ 0 w 1349"/>
                  <a:gd name="T79" fmla="*/ 0 h 1764"/>
                  <a:gd name="T80" fmla="*/ 0 w 1349"/>
                  <a:gd name="T81" fmla="*/ 0 h 1764"/>
                  <a:gd name="T82" fmla="*/ 0 w 1349"/>
                  <a:gd name="T83" fmla="*/ 0 h 1764"/>
                  <a:gd name="T84" fmla="*/ 0 w 1349"/>
                  <a:gd name="T85" fmla="*/ 0 h 1764"/>
                  <a:gd name="T86" fmla="*/ 0 w 1349"/>
                  <a:gd name="T87" fmla="*/ 0 h 1764"/>
                  <a:gd name="T88" fmla="*/ 0 w 1349"/>
                  <a:gd name="T89" fmla="*/ 0 h 1764"/>
                  <a:gd name="T90" fmla="*/ 0 w 1349"/>
                  <a:gd name="T91" fmla="*/ 0 h 1764"/>
                  <a:gd name="T92" fmla="*/ 0 w 1349"/>
                  <a:gd name="T93" fmla="*/ 0 h 1764"/>
                  <a:gd name="T94" fmla="*/ 0 w 1349"/>
                  <a:gd name="T95" fmla="*/ 0 h 1764"/>
                  <a:gd name="T96" fmla="*/ 0 w 1349"/>
                  <a:gd name="T97" fmla="*/ 0 h 1764"/>
                  <a:gd name="T98" fmla="*/ 0 w 1349"/>
                  <a:gd name="T99" fmla="*/ 0 h 1764"/>
                  <a:gd name="T100" fmla="*/ 0 w 1349"/>
                  <a:gd name="T101" fmla="*/ 0 h 1764"/>
                  <a:gd name="T102" fmla="*/ 0 w 1349"/>
                  <a:gd name="T103" fmla="*/ 0 h 1764"/>
                  <a:gd name="T104" fmla="*/ 0 w 1349"/>
                  <a:gd name="T105" fmla="*/ 0 h 1764"/>
                  <a:gd name="T106" fmla="*/ 0 w 1349"/>
                  <a:gd name="T107" fmla="*/ 0 h 1764"/>
                  <a:gd name="T108" fmla="*/ 0 w 1349"/>
                  <a:gd name="T109" fmla="*/ 0 h 1764"/>
                  <a:gd name="T110" fmla="*/ 0 w 1349"/>
                  <a:gd name="T111" fmla="*/ 0 h 1764"/>
                  <a:gd name="T112" fmla="*/ 0 w 1349"/>
                  <a:gd name="T113" fmla="*/ 0 h 1764"/>
                  <a:gd name="T114" fmla="*/ 0 w 1349"/>
                  <a:gd name="T115" fmla="*/ 0 h 1764"/>
                  <a:gd name="T116" fmla="*/ 0 w 1349"/>
                  <a:gd name="T117" fmla="*/ 0 h 1764"/>
                  <a:gd name="T118" fmla="*/ 0 w 1349"/>
                  <a:gd name="T119" fmla="*/ 0 h 1764"/>
                  <a:gd name="T120" fmla="*/ 0 w 1349"/>
                  <a:gd name="T121" fmla="*/ 0 h 1764"/>
                  <a:gd name="T122" fmla="*/ 0 w 1349"/>
                  <a:gd name="T123" fmla="*/ 0 h 1764"/>
                  <a:gd name="T124" fmla="*/ 0 w 1349"/>
                  <a:gd name="T125" fmla="*/ 0 h 176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349"/>
                  <a:gd name="T190" fmla="*/ 0 h 1764"/>
                  <a:gd name="T191" fmla="*/ 1349 w 1349"/>
                  <a:gd name="T192" fmla="*/ 1764 h 1764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349" h="1764">
                    <a:moveTo>
                      <a:pt x="574" y="0"/>
                    </a:moveTo>
                    <a:lnTo>
                      <a:pt x="565" y="9"/>
                    </a:lnTo>
                    <a:lnTo>
                      <a:pt x="536" y="42"/>
                    </a:lnTo>
                    <a:lnTo>
                      <a:pt x="506" y="75"/>
                    </a:lnTo>
                    <a:lnTo>
                      <a:pt x="475" y="110"/>
                    </a:lnTo>
                    <a:lnTo>
                      <a:pt x="445" y="145"/>
                    </a:lnTo>
                    <a:lnTo>
                      <a:pt x="414" y="182"/>
                    </a:lnTo>
                    <a:lnTo>
                      <a:pt x="383" y="218"/>
                    </a:lnTo>
                    <a:lnTo>
                      <a:pt x="353" y="255"/>
                    </a:lnTo>
                    <a:lnTo>
                      <a:pt x="325" y="291"/>
                    </a:lnTo>
                    <a:lnTo>
                      <a:pt x="304" y="320"/>
                    </a:lnTo>
                    <a:lnTo>
                      <a:pt x="283" y="350"/>
                    </a:lnTo>
                    <a:lnTo>
                      <a:pt x="264" y="381"/>
                    </a:lnTo>
                    <a:lnTo>
                      <a:pt x="244" y="414"/>
                    </a:lnTo>
                    <a:lnTo>
                      <a:pt x="225" y="449"/>
                    </a:lnTo>
                    <a:lnTo>
                      <a:pt x="208" y="486"/>
                    </a:lnTo>
                    <a:lnTo>
                      <a:pt x="190" y="523"/>
                    </a:lnTo>
                    <a:lnTo>
                      <a:pt x="174" y="561"/>
                    </a:lnTo>
                    <a:lnTo>
                      <a:pt x="158" y="600"/>
                    </a:lnTo>
                    <a:lnTo>
                      <a:pt x="143" y="642"/>
                    </a:lnTo>
                    <a:lnTo>
                      <a:pt x="128" y="683"/>
                    </a:lnTo>
                    <a:lnTo>
                      <a:pt x="114" y="725"/>
                    </a:lnTo>
                    <a:lnTo>
                      <a:pt x="101" y="767"/>
                    </a:lnTo>
                    <a:lnTo>
                      <a:pt x="89" y="810"/>
                    </a:lnTo>
                    <a:lnTo>
                      <a:pt x="77" y="854"/>
                    </a:lnTo>
                    <a:lnTo>
                      <a:pt x="66" y="897"/>
                    </a:lnTo>
                    <a:lnTo>
                      <a:pt x="56" y="942"/>
                    </a:lnTo>
                    <a:lnTo>
                      <a:pt x="47" y="985"/>
                    </a:lnTo>
                    <a:lnTo>
                      <a:pt x="38" y="1029"/>
                    </a:lnTo>
                    <a:lnTo>
                      <a:pt x="30" y="1073"/>
                    </a:lnTo>
                    <a:lnTo>
                      <a:pt x="24" y="1116"/>
                    </a:lnTo>
                    <a:lnTo>
                      <a:pt x="18" y="1159"/>
                    </a:lnTo>
                    <a:lnTo>
                      <a:pt x="12" y="1201"/>
                    </a:lnTo>
                    <a:lnTo>
                      <a:pt x="8" y="1243"/>
                    </a:lnTo>
                    <a:lnTo>
                      <a:pt x="4" y="1284"/>
                    </a:lnTo>
                    <a:lnTo>
                      <a:pt x="2" y="1324"/>
                    </a:lnTo>
                    <a:lnTo>
                      <a:pt x="0" y="1364"/>
                    </a:lnTo>
                    <a:lnTo>
                      <a:pt x="0" y="1402"/>
                    </a:lnTo>
                    <a:lnTo>
                      <a:pt x="0" y="1438"/>
                    </a:lnTo>
                    <a:lnTo>
                      <a:pt x="1" y="1474"/>
                    </a:lnTo>
                    <a:lnTo>
                      <a:pt x="3" y="1508"/>
                    </a:lnTo>
                    <a:lnTo>
                      <a:pt x="6" y="1540"/>
                    </a:lnTo>
                    <a:lnTo>
                      <a:pt x="8" y="1557"/>
                    </a:lnTo>
                    <a:lnTo>
                      <a:pt x="942" y="1764"/>
                    </a:lnTo>
                    <a:lnTo>
                      <a:pt x="933" y="1728"/>
                    </a:lnTo>
                    <a:lnTo>
                      <a:pt x="926" y="1695"/>
                    </a:lnTo>
                    <a:lnTo>
                      <a:pt x="919" y="1661"/>
                    </a:lnTo>
                    <a:lnTo>
                      <a:pt x="913" y="1625"/>
                    </a:lnTo>
                    <a:lnTo>
                      <a:pt x="908" y="1589"/>
                    </a:lnTo>
                    <a:lnTo>
                      <a:pt x="903" y="1552"/>
                    </a:lnTo>
                    <a:lnTo>
                      <a:pt x="900" y="1513"/>
                    </a:lnTo>
                    <a:lnTo>
                      <a:pt x="898" y="1475"/>
                    </a:lnTo>
                    <a:lnTo>
                      <a:pt x="896" y="1435"/>
                    </a:lnTo>
                    <a:lnTo>
                      <a:pt x="896" y="1396"/>
                    </a:lnTo>
                    <a:lnTo>
                      <a:pt x="896" y="1354"/>
                    </a:lnTo>
                    <a:lnTo>
                      <a:pt x="896" y="1314"/>
                    </a:lnTo>
                    <a:lnTo>
                      <a:pt x="898" y="1273"/>
                    </a:lnTo>
                    <a:lnTo>
                      <a:pt x="900" y="1231"/>
                    </a:lnTo>
                    <a:lnTo>
                      <a:pt x="903" y="1190"/>
                    </a:lnTo>
                    <a:lnTo>
                      <a:pt x="907" y="1148"/>
                    </a:lnTo>
                    <a:lnTo>
                      <a:pt x="913" y="1107"/>
                    </a:lnTo>
                    <a:lnTo>
                      <a:pt x="918" y="1066"/>
                    </a:lnTo>
                    <a:lnTo>
                      <a:pt x="924" y="1025"/>
                    </a:lnTo>
                    <a:lnTo>
                      <a:pt x="931" y="984"/>
                    </a:lnTo>
                    <a:lnTo>
                      <a:pt x="938" y="945"/>
                    </a:lnTo>
                    <a:lnTo>
                      <a:pt x="947" y="904"/>
                    </a:lnTo>
                    <a:lnTo>
                      <a:pt x="955" y="866"/>
                    </a:lnTo>
                    <a:lnTo>
                      <a:pt x="965" y="828"/>
                    </a:lnTo>
                    <a:lnTo>
                      <a:pt x="976" y="791"/>
                    </a:lnTo>
                    <a:lnTo>
                      <a:pt x="986" y="755"/>
                    </a:lnTo>
                    <a:lnTo>
                      <a:pt x="997" y="719"/>
                    </a:lnTo>
                    <a:lnTo>
                      <a:pt x="1010" y="685"/>
                    </a:lnTo>
                    <a:lnTo>
                      <a:pt x="1022" y="652"/>
                    </a:lnTo>
                    <a:lnTo>
                      <a:pt x="1035" y="621"/>
                    </a:lnTo>
                    <a:lnTo>
                      <a:pt x="1050" y="591"/>
                    </a:lnTo>
                    <a:lnTo>
                      <a:pt x="1064" y="562"/>
                    </a:lnTo>
                    <a:lnTo>
                      <a:pt x="1079" y="535"/>
                    </a:lnTo>
                    <a:lnTo>
                      <a:pt x="1107" y="490"/>
                    </a:lnTo>
                    <a:lnTo>
                      <a:pt x="1136" y="444"/>
                    </a:lnTo>
                    <a:lnTo>
                      <a:pt x="1167" y="399"/>
                    </a:lnTo>
                    <a:lnTo>
                      <a:pt x="1198" y="353"/>
                    </a:lnTo>
                    <a:lnTo>
                      <a:pt x="1231" y="309"/>
                    </a:lnTo>
                    <a:lnTo>
                      <a:pt x="1263" y="264"/>
                    </a:lnTo>
                    <a:lnTo>
                      <a:pt x="1295" y="222"/>
                    </a:lnTo>
                    <a:lnTo>
                      <a:pt x="1327" y="180"/>
                    </a:lnTo>
                    <a:lnTo>
                      <a:pt x="1349" y="152"/>
                    </a:lnTo>
                    <a:lnTo>
                      <a:pt x="587" y="2"/>
                    </a:lnTo>
                    <a:lnTo>
                      <a:pt x="574" y="0"/>
                    </a:lnTo>
                    <a:close/>
                    <a:moveTo>
                      <a:pt x="1270" y="182"/>
                    </a:moveTo>
                    <a:lnTo>
                      <a:pt x="1240" y="221"/>
                    </a:lnTo>
                    <a:lnTo>
                      <a:pt x="1210" y="261"/>
                    </a:lnTo>
                    <a:lnTo>
                      <a:pt x="1180" y="303"/>
                    </a:lnTo>
                    <a:lnTo>
                      <a:pt x="1150" y="344"/>
                    </a:lnTo>
                    <a:lnTo>
                      <a:pt x="1121" y="386"/>
                    </a:lnTo>
                    <a:lnTo>
                      <a:pt x="1093" y="428"/>
                    </a:lnTo>
                    <a:lnTo>
                      <a:pt x="1065" y="470"/>
                    </a:lnTo>
                    <a:lnTo>
                      <a:pt x="1041" y="513"/>
                    </a:lnTo>
                    <a:lnTo>
                      <a:pt x="1028" y="534"/>
                    </a:lnTo>
                    <a:lnTo>
                      <a:pt x="1017" y="557"/>
                    </a:lnTo>
                    <a:lnTo>
                      <a:pt x="1006" y="580"/>
                    </a:lnTo>
                    <a:lnTo>
                      <a:pt x="994" y="604"/>
                    </a:lnTo>
                    <a:lnTo>
                      <a:pt x="984" y="628"/>
                    </a:lnTo>
                    <a:lnTo>
                      <a:pt x="973" y="654"/>
                    </a:lnTo>
                    <a:lnTo>
                      <a:pt x="963" y="681"/>
                    </a:lnTo>
                    <a:lnTo>
                      <a:pt x="954" y="708"/>
                    </a:lnTo>
                    <a:lnTo>
                      <a:pt x="945" y="736"/>
                    </a:lnTo>
                    <a:lnTo>
                      <a:pt x="935" y="764"/>
                    </a:lnTo>
                    <a:lnTo>
                      <a:pt x="927" y="793"/>
                    </a:lnTo>
                    <a:lnTo>
                      <a:pt x="920" y="822"/>
                    </a:lnTo>
                    <a:lnTo>
                      <a:pt x="904" y="882"/>
                    </a:lnTo>
                    <a:lnTo>
                      <a:pt x="892" y="944"/>
                    </a:lnTo>
                    <a:lnTo>
                      <a:pt x="883" y="992"/>
                    </a:lnTo>
                    <a:lnTo>
                      <a:pt x="875" y="1041"/>
                    </a:lnTo>
                    <a:lnTo>
                      <a:pt x="868" y="1091"/>
                    </a:lnTo>
                    <a:lnTo>
                      <a:pt x="863" y="1140"/>
                    </a:lnTo>
                    <a:lnTo>
                      <a:pt x="858" y="1190"/>
                    </a:lnTo>
                    <a:lnTo>
                      <a:pt x="855" y="1239"/>
                    </a:lnTo>
                    <a:lnTo>
                      <a:pt x="853" y="1288"/>
                    </a:lnTo>
                    <a:lnTo>
                      <a:pt x="851" y="1338"/>
                    </a:lnTo>
                    <a:lnTo>
                      <a:pt x="851" y="1386"/>
                    </a:lnTo>
                    <a:lnTo>
                      <a:pt x="852" y="1435"/>
                    </a:lnTo>
                    <a:lnTo>
                      <a:pt x="855" y="1482"/>
                    </a:lnTo>
                    <a:lnTo>
                      <a:pt x="858" y="1529"/>
                    </a:lnTo>
                    <a:lnTo>
                      <a:pt x="863" y="1574"/>
                    </a:lnTo>
                    <a:lnTo>
                      <a:pt x="868" y="1619"/>
                    </a:lnTo>
                    <a:lnTo>
                      <a:pt x="875" y="1662"/>
                    </a:lnTo>
                    <a:lnTo>
                      <a:pt x="884" y="1705"/>
                    </a:lnTo>
                    <a:lnTo>
                      <a:pt x="865" y="1701"/>
                    </a:lnTo>
                    <a:lnTo>
                      <a:pt x="832" y="1693"/>
                    </a:lnTo>
                    <a:lnTo>
                      <a:pt x="787" y="1683"/>
                    </a:lnTo>
                    <a:lnTo>
                      <a:pt x="733" y="1671"/>
                    </a:lnTo>
                    <a:lnTo>
                      <a:pt x="671" y="1657"/>
                    </a:lnTo>
                    <a:lnTo>
                      <a:pt x="602" y="1642"/>
                    </a:lnTo>
                    <a:lnTo>
                      <a:pt x="530" y="1626"/>
                    </a:lnTo>
                    <a:lnTo>
                      <a:pt x="457" y="1610"/>
                    </a:lnTo>
                    <a:lnTo>
                      <a:pt x="382" y="1594"/>
                    </a:lnTo>
                    <a:lnTo>
                      <a:pt x="312" y="1578"/>
                    </a:lnTo>
                    <a:lnTo>
                      <a:pt x="245" y="1563"/>
                    </a:lnTo>
                    <a:lnTo>
                      <a:pt x="185" y="1550"/>
                    </a:lnTo>
                    <a:lnTo>
                      <a:pt x="133" y="1538"/>
                    </a:lnTo>
                    <a:lnTo>
                      <a:pt x="92" y="1529"/>
                    </a:lnTo>
                    <a:lnTo>
                      <a:pt x="64" y="1523"/>
                    </a:lnTo>
                    <a:lnTo>
                      <a:pt x="50" y="1520"/>
                    </a:lnTo>
                    <a:lnTo>
                      <a:pt x="48" y="1494"/>
                    </a:lnTo>
                    <a:lnTo>
                      <a:pt x="47" y="1467"/>
                    </a:lnTo>
                    <a:lnTo>
                      <a:pt x="46" y="1439"/>
                    </a:lnTo>
                    <a:lnTo>
                      <a:pt x="46" y="1410"/>
                    </a:lnTo>
                    <a:lnTo>
                      <a:pt x="46" y="1380"/>
                    </a:lnTo>
                    <a:lnTo>
                      <a:pt x="47" y="1350"/>
                    </a:lnTo>
                    <a:lnTo>
                      <a:pt x="48" y="1319"/>
                    </a:lnTo>
                    <a:lnTo>
                      <a:pt x="50" y="1287"/>
                    </a:lnTo>
                    <a:lnTo>
                      <a:pt x="53" y="1254"/>
                    </a:lnTo>
                    <a:lnTo>
                      <a:pt x="56" y="1221"/>
                    </a:lnTo>
                    <a:lnTo>
                      <a:pt x="60" y="1188"/>
                    </a:lnTo>
                    <a:lnTo>
                      <a:pt x="64" y="1154"/>
                    </a:lnTo>
                    <a:lnTo>
                      <a:pt x="69" y="1120"/>
                    </a:lnTo>
                    <a:lnTo>
                      <a:pt x="74" y="1085"/>
                    </a:lnTo>
                    <a:lnTo>
                      <a:pt x="81" y="1050"/>
                    </a:lnTo>
                    <a:lnTo>
                      <a:pt x="87" y="1015"/>
                    </a:lnTo>
                    <a:lnTo>
                      <a:pt x="97" y="965"/>
                    </a:lnTo>
                    <a:lnTo>
                      <a:pt x="109" y="916"/>
                    </a:lnTo>
                    <a:lnTo>
                      <a:pt x="121" y="867"/>
                    </a:lnTo>
                    <a:lnTo>
                      <a:pt x="134" y="818"/>
                    </a:lnTo>
                    <a:lnTo>
                      <a:pt x="148" y="769"/>
                    </a:lnTo>
                    <a:lnTo>
                      <a:pt x="163" y="721"/>
                    </a:lnTo>
                    <a:lnTo>
                      <a:pt x="179" y="674"/>
                    </a:lnTo>
                    <a:lnTo>
                      <a:pt x="196" y="628"/>
                    </a:lnTo>
                    <a:lnTo>
                      <a:pt x="214" y="584"/>
                    </a:lnTo>
                    <a:lnTo>
                      <a:pt x="233" y="540"/>
                    </a:lnTo>
                    <a:lnTo>
                      <a:pt x="251" y="498"/>
                    </a:lnTo>
                    <a:lnTo>
                      <a:pt x="272" y="459"/>
                    </a:lnTo>
                    <a:lnTo>
                      <a:pt x="292" y="421"/>
                    </a:lnTo>
                    <a:lnTo>
                      <a:pt x="314" y="384"/>
                    </a:lnTo>
                    <a:lnTo>
                      <a:pt x="337" y="350"/>
                    </a:lnTo>
                    <a:lnTo>
                      <a:pt x="360" y="319"/>
                    </a:lnTo>
                    <a:lnTo>
                      <a:pt x="388" y="284"/>
                    </a:lnTo>
                    <a:lnTo>
                      <a:pt x="416" y="249"/>
                    </a:lnTo>
                    <a:lnTo>
                      <a:pt x="445" y="215"/>
                    </a:lnTo>
                    <a:lnTo>
                      <a:pt x="474" y="180"/>
                    </a:lnTo>
                    <a:lnTo>
                      <a:pt x="504" y="145"/>
                    </a:lnTo>
                    <a:lnTo>
                      <a:pt x="533" y="112"/>
                    </a:lnTo>
                    <a:lnTo>
                      <a:pt x="562" y="80"/>
                    </a:lnTo>
                    <a:lnTo>
                      <a:pt x="590" y="48"/>
                    </a:lnTo>
                    <a:lnTo>
                      <a:pt x="624" y="54"/>
                    </a:lnTo>
                    <a:lnTo>
                      <a:pt x="698" y="70"/>
                    </a:lnTo>
                    <a:lnTo>
                      <a:pt x="799" y="90"/>
                    </a:lnTo>
                    <a:lnTo>
                      <a:pt x="916" y="112"/>
                    </a:lnTo>
                    <a:lnTo>
                      <a:pt x="1033" y="135"/>
                    </a:lnTo>
                    <a:lnTo>
                      <a:pt x="1141" y="157"/>
                    </a:lnTo>
                    <a:lnTo>
                      <a:pt x="1224" y="172"/>
                    </a:lnTo>
                    <a:lnTo>
                      <a:pt x="1270" y="18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57" name="Freeform 72"/>
              <p:cNvSpPr>
                <a:spLocks/>
              </p:cNvSpPr>
              <p:nvPr/>
            </p:nvSpPr>
            <p:spPr bwMode="auto">
              <a:xfrm>
                <a:off x="3423" y="1644"/>
                <a:ext cx="40" cy="66"/>
              </a:xfrm>
              <a:custGeom>
                <a:avLst/>
                <a:gdLst>
                  <a:gd name="T0" fmla="*/ 0 w 282"/>
                  <a:gd name="T1" fmla="*/ 0 h 460"/>
                  <a:gd name="T2" fmla="*/ 0 w 282"/>
                  <a:gd name="T3" fmla="*/ 0 h 460"/>
                  <a:gd name="T4" fmla="*/ 0 w 282"/>
                  <a:gd name="T5" fmla="*/ 0 h 460"/>
                  <a:gd name="T6" fmla="*/ 0 w 282"/>
                  <a:gd name="T7" fmla="*/ 0 h 460"/>
                  <a:gd name="T8" fmla="*/ 0 w 282"/>
                  <a:gd name="T9" fmla="*/ 0 h 460"/>
                  <a:gd name="T10" fmla="*/ 0 w 282"/>
                  <a:gd name="T11" fmla="*/ 0 h 460"/>
                  <a:gd name="T12" fmla="*/ 0 w 282"/>
                  <a:gd name="T13" fmla="*/ 0 h 460"/>
                  <a:gd name="T14" fmla="*/ 0 w 282"/>
                  <a:gd name="T15" fmla="*/ 0 h 460"/>
                  <a:gd name="T16" fmla="*/ 0 w 282"/>
                  <a:gd name="T17" fmla="*/ 0 h 460"/>
                  <a:gd name="T18" fmla="*/ 0 w 282"/>
                  <a:gd name="T19" fmla="*/ 0 h 460"/>
                  <a:gd name="T20" fmla="*/ 0 w 282"/>
                  <a:gd name="T21" fmla="*/ 0 h 460"/>
                  <a:gd name="T22" fmla="*/ 0 w 282"/>
                  <a:gd name="T23" fmla="*/ 0 h 460"/>
                  <a:gd name="T24" fmla="*/ 0 w 282"/>
                  <a:gd name="T25" fmla="*/ 0 h 460"/>
                  <a:gd name="T26" fmla="*/ 0 w 282"/>
                  <a:gd name="T27" fmla="*/ 0 h 460"/>
                  <a:gd name="T28" fmla="*/ 0 w 282"/>
                  <a:gd name="T29" fmla="*/ 0 h 460"/>
                  <a:gd name="T30" fmla="*/ 0 w 282"/>
                  <a:gd name="T31" fmla="*/ 0 h 460"/>
                  <a:gd name="T32" fmla="*/ 0 w 282"/>
                  <a:gd name="T33" fmla="*/ 0 h 460"/>
                  <a:gd name="T34" fmla="*/ 0 w 282"/>
                  <a:gd name="T35" fmla="*/ 0 h 460"/>
                  <a:gd name="T36" fmla="*/ 0 w 282"/>
                  <a:gd name="T37" fmla="*/ 0 h 460"/>
                  <a:gd name="T38" fmla="*/ 0 w 282"/>
                  <a:gd name="T39" fmla="*/ 0 h 460"/>
                  <a:gd name="T40" fmla="*/ 0 w 282"/>
                  <a:gd name="T41" fmla="*/ 0 h 460"/>
                  <a:gd name="T42" fmla="*/ 0 w 282"/>
                  <a:gd name="T43" fmla="*/ 0 h 460"/>
                  <a:gd name="T44" fmla="*/ 0 w 282"/>
                  <a:gd name="T45" fmla="*/ 0 h 460"/>
                  <a:gd name="T46" fmla="*/ 0 w 282"/>
                  <a:gd name="T47" fmla="*/ 0 h 460"/>
                  <a:gd name="T48" fmla="*/ 0 w 282"/>
                  <a:gd name="T49" fmla="*/ 0 h 460"/>
                  <a:gd name="T50" fmla="*/ 0 w 282"/>
                  <a:gd name="T51" fmla="*/ 0 h 460"/>
                  <a:gd name="T52" fmla="*/ 0 w 282"/>
                  <a:gd name="T53" fmla="*/ 0 h 460"/>
                  <a:gd name="T54" fmla="*/ 0 w 282"/>
                  <a:gd name="T55" fmla="*/ 0 h 460"/>
                  <a:gd name="T56" fmla="*/ 0 w 282"/>
                  <a:gd name="T57" fmla="*/ 0 h 460"/>
                  <a:gd name="T58" fmla="*/ 0 w 282"/>
                  <a:gd name="T59" fmla="*/ 0 h 460"/>
                  <a:gd name="T60" fmla="*/ 0 w 282"/>
                  <a:gd name="T61" fmla="*/ 0 h 460"/>
                  <a:gd name="T62" fmla="*/ 0 w 282"/>
                  <a:gd name="T63" fmla="*/ 0 h 460"/>
                  <a:gd name="T64" fmla="*/ 0 w 282"/>
                  <a:gd name="T65" fmla="*/ 0 h 460"/>
                  <a:gd name="T66" fmla="*/ 0 w 282"/>
                  <a:gd name="T67" fmla="*/ 0 h 460"/>
                  <a:gd name="T68" fmla="*/ 0 w 282"/>
                  <a:gd name="T69" fmla="*/ 0 h 460"/>
                  <a:gd name="T70" fmla="*/ 0 w 282"/>
                  <a:gd name="T71" fmla="*/ 0 h 460"/>
                  <a:gd name="T72" fmla="*/ 0 w 282"/>
                  <a:gd name="T73" fmla="*/ 0 h 460"/>
                  <a:gd name="T74" fmla="*/ 0 w 282"/>
                  <a:gd name="T75" fmla="*/ 0 h 460"/>
                  <a:gd name="T76" fmla="*/ 0 w 282"/>
                  <a:gd name="T77" fmla="*/ 0 h 460"/>
                  <a:gd name="T78" fmla="*/ 0 w 282"/>
                  <a:gd name="T79" fmla="*/ 0 h 460"/>
                  <a:gd name="T80" fmla="*/ 0 w 282"/>
                  <a:gd name="T81" fmla="*/ 0 h 460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282"/>
                  <a:gd name="T124" fmla="*/ 0 h 460"/>
                  <a:gd name="T125" fmla="*/ 282 w 282"/>
                  <a:gd name="T126" fmla="*/ 460 h 460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282" h="460">
                    <a:moveTo>
                      <a:pt x="202" y="331"/>
                    </a:moveTo>
                    <a:lnTo>
                      <a:pt x="204" y="318"/>
                    </a:lnTo>
                    <a:lnTo>
                      <a:pt x="206" y="306"/>
                    </a:lnTo>
                    <a:lnTo>
                      <a:pt x="207" y="293"/>
                    </a:lnTo>
                    <a:lnTo>
                      <a:pt x="207" y="282"/>
                    </a:lnTo>
                    <a:lnTo>
                      <a:pt x="207" y="270"/>
                    </a:lnTo>
                    <a:lnTo>
                      <a:pt x="205" y="260"/>
                    </a:lnTo>
                    <a:lnTo>
                      <a:pt x="203" y="250"/>
                    </a:lnTo>
                    <a:lnTo>
                      <a:pt x="201" y="239"/>
                    </a:lnTo>
                    <a:lnTo>
                      <a:pt x="189" y="203"/>
                    </a:lnTo>
                    <a:lnTo>
                      <a:pt x="176" y="169"/>
                    </a:lnTo>
                    <a:lnTo>
                      <a:pt x="173" y="160"/>
                    </a:lnTo>
                    <a:lnTo>
                      <a:pt x="171" y="152"/>
                    </a:lnTo>
                    <a:lnTo>
                      <a:pt x="169" y="143"/>
                    </a:lnTo>
                    <a:lnTo>
                      <a:pt x="168" y="134"/>
                    </a:lnTo>
                    <a:lnTo>
                      <a:pt x="168" y="125"/>
                    </a:lnTo>
                    <a:lnTo>
                      <a:pt x="168" y="115"/>
                    </a:lnTo>
                    <a:lnTo>
                      <a:pt x="169" y="106"/>
                    </a:lnTo>
                    <a:lnTo>
                      <a:pt x="171" y="97"/>
                    </a:lnTo>
                    <a:lnTo>
                      <a:pt x="174" y="86"/>
                    </a:lnTo>
                    <a:lnTo>
                      <a:pt x="179" y="75"/>
                    </a:lnTo>
                    <a:lnTo>
                      <a:pt x="184" y="64"/>
                    </a:lnTo>
                    <a:lnTo>
                      <a:pt x="190" y="52"/>
                    </a:lnTo>
                    <a:lnTo>
                      <a:pt x="198" y="40"/>
                    </a:lnTo>
                    <a:lnTo>
                      <a:pt x="207" y="27"/>
                    </a:lnTo>
                    <a:lnTo>
                      <a:pt x="219" y="14"/>
                    </a:lnTo>
                    <a:lnTo>
                      <a:pt x="231" y="0"/>
                    </a:lnTo>
                    <a:lnTo>
                      <a:pt x="234" y="10"/>
                    </a:lnTo>
                    <a:lnTo>
                      <a:pt x="238" y="24"/>
                    </a:lnTo>
                    <a:lnTo>
                      <a:pt x="243" y="43"/>
                    </a:lnTo>
                    <a:lnTo>
                      <a:pt x="248" y="66"/>
                    </a:lnTo>
                    <a:lnTo>
                      <a:pt x="257" y="118"/>
                    </a:lnTo>
                    <a:lnTo>
                      <a:pt x="266" y="176"/>
                    </a:lnTo>
                    <a:lnTo>
                      <a:pt x="275" y="235"/>
                    </a:lnTo>
                    <a:lnTo>
                      <a:pt x="280" y="288"/>
                    </a:lnTo>
                    <a:lnTo>
                      <a:pt x="282" y="311"/>
                    </a:lnTo>
                    <a:lnTo>
                      <a:pt x="282" y="330"/>
                    </a:lnTo>
                    <a:lnTo>
                      <a:pt x="282" y="345"/>
                    </a:lnTo>
                    <a:lnTo>
                      <a:pt x="280" y="355"/>
                    </a:lnTo>
                    <a:lnTo>
                      <a:pt x="276" y="366"/>
                    </a:lnTo>
                    <a:lnTo>
                      <a:pt x="270" y="375"/>
                    </a:lnTo>
                    <a:lnTo>
                      <a:pt x="265" y="384"/>
                    </a:lnTo>
                    <a:lnTo>
                      <a:pt x="259" y="392"/>
                    </a:lnTo>
                    <a:lnTo>
                      <a:pt x="252" y="400"/>
                    </a:lnTo>
                    <a:lnTo>
                      <a:pt x="244" y="408"/>
                    </a:lnTo>
                    <a:lnTo>
                      <a:pt x="235" y="414"/>
                    </a:lnTo>
                    <a:lnTo>
                      <a:pt x="227" y="421"/>
                    </a:lnTo>
                    <a:lnTo>
                      <a:pt x="218" y="427"/>
                    </a:lnTo>
                    <a:lnTo>
                      <a:pt x="207" y="433"/>
                    </a:lnTo>
                    <a:lnTo>
                      <a:pt x="197" y="437"/>
                    </a:lnTo>
                    <a:lnTo>
                      <a:pt x="187" y="442"/>
                    </a:lnTo>
                    <a:lnTo>
                      <a:pt x="176" y="446"/>
                    </a:lnTo>
                    <a:lnTo>
                      <a:pt x="165" y="449"/>
                    </a:lnTo>
                    <a:lnTo>
                      <a:pt x="155" y="452"/>
                    </a:lnTo>
                    <a:lnTo>
                      <a:pt x="143" y="454"/>
                    </a:lnTo>
                    <a:lnTo>
                      <a:pt x="121" y="459"/>
                    </a:lnTo>
                    <a:lnTo>
                      <a:pt x="99" y="460"/>
                    </a:lnTo>
                    <a:lnTo>
                      <a:pt x="77" y="460"/>
                    </a:lnTo>
                    <a:lnTo>
                      <a:pt x="58" y="458"/>
                    </a:lnTo>
                    <a:lnTo>
                      <a:pt x="48" y="456"/>
                    </a:lnTo>
                    <a:lnTo>
                      <a:pt x="39" y="453"/>
                    </a:lnTo>
                    <a:lnTo>
                      <a:pt x="31" y="450"/>
                    </a:lnTo>
                    <a:lnTo>
                      <a:pt x="24" y="447"/>
                    </a:lnTo>
                    <a:lnTo>
                      <a:pt x="16" y="443"/>
                    </a:lnTo>
                    <a:lnTo>
                      <a:pt x="10" y="439"/>
                    </a:lnTo>
                    <a:lnTo>
                      <a:pt x="4" y="435"/>
                    </a:lnTo>
                    <a:lnTo>
                      <a:pt x="0" y="430"/>
                    </a:lnTo>
                    <a:lnTo>
                      <a:pt x="15" y="431"/>
                    </a:lnTo>
                    <a:lnTo>
                      <a:pt x="32" y="432"/>
                    </a:lnTo>
                    <a:lnTo>
                      <a:pt x="48" y="432"/>
                    </a:lnTo>
                    <a:lnTo>
                      <a:pt x="65" y="432"/>
                    </a:lnTo>
                    <a:lnTo>
                      <a:pt x="80" y="430"/>
                    </a:lnTo>
                    <a:lnTo>
                      <a:pt x="96" y="428"/>
                    </a:lnTo>
                    <a:lnTo>
                      <a:pt x="110" y="423"/>
                    </a:lnTo>
                    <a:lnTo>
                      <a:pt x="125" y="418"/>
                    </a:lnTo>
                    <a:lnTo>
                      <a:pt x="138" y="413"/>
                    </a:lnTo>
                    <a:lnTo>
                      <a:pt x="151" y="406"/>
                    </a:lnTo>
                    <a:lnTo>
                      <a:pt x="162" y="398"/>
                    </a:lnTo>
                    <a:lnTo>
                      <a:pt x="172" y="387"/>
                    </a:lnTo>
                    <a:lnTo>
                      <a:pt x="182" y="376"/>
                    </a:lnTo>
                    <a:lnTo>
                      <a:pt x="190" y="362"/>
                    </a:lnTo>
                    <a:lnTo>
                      <a:pt x="197" y="348"/>
                    </a:lnTo>
                    <a:lnTo>
                      <a:pt x="202" y="33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58" name="Freeform 73"/>
              <p:cNvSpPr>
                <a:spLocks/>
              </p:cNvSpPr>
              <p:nvPr/>
            </p:nvSpPr>
            <p:spPr bwMode="auto">
              <a:xfrm>
                <a:off x="3400" y="1520"/>
                <a:ext cx="89" cy="166"/>
              </a:xfrm>
              <a:custGeom>
                <a:avLst/>
                <a:gdLst>
                  <a:gd name="T0" fmla="*/ 0 w 619"/>
                  <a:gd name="T1" fmla="*/ 0 h 1164"/>
                  <a:gd name="T2" fmla="*/ 0 w 619"/>
                  <a:gd name="T3" fmla="*/ 0 h 1164"/>
                  <a:gd name="T4" fmla="*/ 0 w 619"/>
                  <a:gd name="T5" fmla="*/ 0 h 1164"/>
                  <a:gd name="T6" fmla="*/ 0 w 619"/>
                  <a:gd name="T7" fmla="*/ 0 h 1164"/>
                  <a:gd name="T8" fmla="*/ 0 w 619"/>
                  <a:gd name="T9" fmla="*/ 0 h 1164"/>
                  <a:gd name="T10" fmla="*/ 0 w 619"/>
                  <a:gd name="T11" fmla="*/ 0 h 1164"/>
                  <a:gd name="T12" fmla="*/ 0 w 619"/>
                  <a:gd name="T13" fmla="*/ 0 h 1164"/>
                  <a:gd name="T14" fmla="*/ 0 w 619"/>
                  <a:gd name="T15" fmla="*/ 0 h 1164"/>
                  <a:gd name="T16" fmla="*/ 0 w 619"/>
                  <a:gd name="T17" fmla="*/ 0 h 1164"/>
                  <a:gd name="T18" fmla="*/ 0 w 619"/>
                  <a:gd name="T19" fmla="*/ 0 h 1164"/>
                  <a:gd name="T20" fmla="*/ 0 w 619"/>
                  <a:gd name="T21" fmla="*/ 0 h 1164"/>
                  <a:gd name="T22" fmla="*/ 0 w 619"/>
                  <a:gd name="T23" fmla="*/ 0 h 1164"/>
                  <a:gd name="T24" fmla="*/ 0 w 619"/>
                  <a:gd name="T25" fmla="*/ 0 h 1164"/>
                  <a:gd name="T26" fmla="*/ 0 w 619"/>
                  <a:gd name="T27" fmla="*/ 0 h 1164"/>
                  <a:gd name="T28" fmla="*/ 0 w 619"/>
                  <a:gd name="T29" fmla="*/ 0 h 1164"/>
                  <a:gd name="T30" fmla="*/ 0 w 619"/>
                  <a:gd name="T31" fmla="*/ 0 h 1164"/>
                  <a:gd name="T32" fmla="*/ 0 w 619"/>
                  <a:gd name="T33" fmla="*/ 0 h 1164"/>
                  <a:gd name="T34" fmla="*/ 0 w 619"/>
                  <a:gd name="T35" fmla="*/ 0 h 1164"/>
                  <a:gd name="T36" fmla="*/ 0 w 619"/>
                  <a:gd name="T37" fmla="*/ 0 h 1164"/>
                  <a:gd name="T38" fmla="*/ 0 w 619"/>
                  <a:gd name="T39" fmla="*/ 0 h 1164"/>
                  <a:gd name="T40" fmla="*/ 0 w 619"/>
                  <a:gd name="T41" fmla="*/ 0 h 1164"/>
                  <a:gd name="T42" fmla="*/ 0 w 619"/>
                  <a:gd name="T43" fmla="*/ 0 h 1164"/>
                  <a:gd name="T44" fmla="*/ 0 w 619"/>
                  <a:gd name="T45" fmla="*/ 0 h 1164"/>
                  <a:gd name="T46" fmla="*/ 0 w 619"/>
                  <a:gd name="T47" fmla="*/ 0 h 1164"/>
                  <a:gd name="T48" fmla="*/ 0 w 619"/>
                  <a:gd name="T49" fmla="*/ 0 h 1164"/>
                  <a:gd name="T50" fmla="*/ 0 w 619"/>
                  <a:gd name="T51" fmla="*/ 0 h 1164"/>
                  <a:gd name="T52" fmla="*/ 0 w 619"/>
                  <a:gd name="T53" fmla="*/ 0 h 1164"/>
                  <a:gd name="T54" fmla="*/ 0 w 619"/>
                  <a:gd name="T55" fmla="*/ 0 h 1164"/>
                  <a:gd name="T56" fmla="*/ 0 w 619"/>
                  <a:gd name="T57" fmla="*/ 0 h 1164"/>
                  <a:gd name="T58" fmla="*/ 0 w 619"/>
                  <a:gd name="T59" fmla="*/ 0 h 1164"/>
                  <a:gd name="T60" fmla="*/ 0 w 619"/>
                  <a:gd name="T61" fmla="*/ 0 h 1164"/>
                  <a:gd name="T62" fmla="*/ 0 w 619"/>
                  <a:gd name="T63" fmla="*/ 0 h 1164"/>
                  <a:gd name="T64" fmla="*/ 0 w 619"/>
                  <a:gd name="T65" fmla="*/ 0 h 1164"/>
                  <a:gd name="T66" fmla="*/ 0 w 619"/>
                  <a:gd name="T67" fmla="*/ 0 h 1164"/>
                  <a:gd name="T68" fmla="*/ 0 w 619"/>
                  <a:gd name="T69" fmla="*/ 0 h 1164"/>
                  <a:gd name="T70" fmla="*/ 0 w 619"/>
                  <a:gd name="T71" fmla="*/ 0 h 1164"/>
                  <a:gd name="T72" fmla="*/ 0 w 619"/>
                  <a:gd name="T73" fmla="*/ 0 h 1164"/>
                  <a:gd name="T74" fmla="*/ 0 w 619"/>
                  <a:gd name="T75" fmla="*/ 0 h 1164"/>
                  <a:gd name="T76" fmla="*/ 0 w 619"/>
                  <a:gd name="T77" fmla="*/ 0 h 1164"/>
                  <a:gd name="T78" fmla="*/ 0 w 619"/>
                  <a:gd name="T79" fmla="*/ 0 h 1164"/>
                  <a:gd name="T80" fmla="*/ 0 w 619"/>
                  <a:gd name="T81" fmla="*/ 0 h 1164"/>
                  <a:gd name="T82" fmla="*/ 0 w 619"/>
                  <a:gd name="T83" fmla="*/ 0 h 1164"/>
                  <a:gd name="T84" fmla="*/ 0 w 619"/>
                  <a:gd name="T85" fmla="*/ 0 h 1164"/>
                  <a:gd name="T86" fmla="*/ 0 w 619"/>
                  <a:gd name="T87" fmla="*/ 0 h 1164"/>
                  <a:gd name="T88" fmla="*/ 0 w 619"/>
                  <a:gd name="T89" fmla="*/ 0 h 1164"/>
                  <a:gd name="T90" fmla="*/ 0 w 619"/>
                  <a:gd name="T91" fmla="*/ 0 h 1164"/>
                  <a:gd name="T92" fmla="*/ 0 w 619"/>
                  <a:gd name="T93" fmla="*/ 0 h 1164"/>
                  <a:gd name="T94" fmla="*/ 0 w 619"/>
                  <a:gd name="T95" fmla="*/ 0 h 1164"/>
                  <a:gd name="T96" fmla="*/ 0 w 619"/>
                  <a:gd name="T97" fmla="*/ 0 h 1164"/>
                  <a:gd name="T98" fmla="*/ 0 w 619"/>
                  <a:gd name="T99" fmla="*/ 0 h 1164"/>
                  <a:gd name="T100" fmla="*/ 0 w 619"/>
                  <a:gd name="T101" fmla="*/ 0 h 1164"/>
                  <a:gd name="T102" fmla="*/ 0 w 619"/>
                  <a:gd name="T103" fmla="*/ 0 h 1164"/>
                  <a:gd name="T104" fmla="*/ 0 w 619"/>
                  <a:gd name="T105" fmla="*/ 0 h 1164"/>
                  <a:gd name="T106" fmla="*/ 0 w 619"/>
                  <a:gd name="T107" fmla="*/ 0 h 1164"/>
                  <a:gd name="T108" fmla="*/ 0 w 619"/>
                  <a:gd name="T109" fmla="*/ 0 h 1164"/>
                  <a:gd name="T110" fmla="*/ 0 w 619"/>
                  <a:gd name="T111" fmla="*/ 0 h 1164"/>
                  <a:gd name="T112" fmla="*/ 0 w 619"/>
                  <a:gd name="T113" fmla="*/ 0 h 1164"/>
                  <a:gd name="T114" fmla="*/ 0 w 619"/>
                  <a:gd name="T115" fmla="*/ 0 h 1164"/>
                  <a:gd name="T116" fmla="*/ 0 w 619"/>
                  <a:gd name="T117" fmla="*/ 0 h 1164"/>
                  <a:gd name="T118" fmla="*/ 0 w 619"/>
                  <a:gd name="T119" fmla="*/ 0 h 1164"/>
                  <a:gd name="T120" fmla="*/ 0 w 619"/>
                  <a:gd name="T121" fmla="*/ 0 h 1164"/>
                  <a:gd name="T122" fmla="*/ 0 w 619"/>
                  <a:gd name="T123" fmla="*/ 0 h 1164"/>
                  <a:gd name="T124" fmla="*/ 0 w 619"/>
                  <a:gd name="T125" fmla="*/ 0 h 116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619"/>
                  <a:gd name="T190" fmla="*/ 0 h 1164"/>
                  <a:gd name="T191" fmla="*/ 619 w 619"/>
                  <a:gd name="T192" fmla="*/ 1164 h 1164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619" h="1164">
                    <a:moveTo>
                      <a:pt x="221" y="728"/>
                    </a:moveTo>
                    <a:lnTo>
                      <a:pt x="223" y="718"/>
                    </a:lnTo>
                    <a:lnTo>
                      <a:pt x="225" y="709"/>
                    </a:lnTo>
                    <a:lnTo>
                      <a:pt x="226" y="700"/>
                    </a:lnTo>
                    <a:lnTo>
                      <a:pt x="226" y="691"/>
                    </a:lnTo>
                    <a:lnTo>
                      <a:pt x="225" y="674"/>
                    </a:lnTo>
                    <a:lnTo>
                      <a:pt x="223" y="659"/>
                    </a:lnTo>
                    <a:lnTo>
                      <a:pt x="218" y="644"/>
                    </a:lnTo>
                    <a:lnTo>
                      <a:pt x="212" y="631"/>
                    </a:lnTo>
                    <a:lnTo>
                      <a:pt x="206" y="617"/>
                    </a:lnTo>
                    <a:lnTo>
                      <a:pt x="199" y="604"/>
                    </a:lnTo>
                    <a:lnTo>
                      <a:pt x="192" y="591"/>
                    </a:lnTo>
                    <a:lnTo>
                      <a:pt x="185" y="578"/>
                    </a:lnTo>
                    <a:lnTo>
                      <a:pt x="177" y="565"/>
                    </a:lnTo>
                    <a:lnTo>
                      <a:pt x="172" y="552"/>
                    </a:lnTo>
                    <a:lnTo>
                      <a:pt x="167" y="538"/>
                    </a:lnTo>
                    <a:lnTo>
                      <a:pt x="164" y="523"/>
                    </a:lnTo>
                    <a:lnTo>
                      <a:pt x="164" y="515"/>
                    </a:lnTo>
                    <a:lnTo>
                      <a:pt x="163" y="507"/>
                    </a:lnTo>
                    <a:lnTo>
                      <a:pt x="164" y="498"/>
                    </a:lnTo>
                    <a:lnTo>
                      <a:pt x="165" y="490"/>
                    </a:lnTo>
                    <a:lnTo>
                      <a:pt x="166" y="480"/>
                    </a:lnTo>
                    <a:lnTo>
                      <a:pt x="169" y="471"/>
                    </a:lnTo>
                    <a:lnTo>
                      <a:pt x="172" y="462"/>
                    </a:lnTo>
                    <a:lnTo>
                      <a:pt x="175" y="454"/>
                    </a:lnTo>
                    <a:lnTo>
                      <a:pt x="179" y="446"/>
                    </a:lnTo>
                    <a:lnTo>
                      <a:pt x="185" y="438"/>
                    </a:lnTo>
                    <a:lnTo>
                      <a:pt x="190" y="431"/>
                    </a:lnTo>
                    <a:lnTo>
                      <a:pt x="195" y="425"/>
                    </a:lnTo>
                    <a:lnTo>
                      <a:pt x="208" y="411"/>
                    </a:lnTo>
                    <a:lnTo>
                      <a:pt x="222" y="400"/>
                    </a:lnTo>
                    <a:lnTo>
                      <a:pt x="236" y="389"/>
                    </a:lnTo>
                    <a:lnTo>
                      <a:pt x="253" y="378"/>
                    </a:lnTo>
                    <a:lnTo>
                      <a:pt x="285" y="358"/>
                    </a:lnTo>
                    <a:lnTo>
                      <a:pt x="317" y="336"/>
                    </a:lnTo>
                    <a:lnTo>
                      <a:pt x="331" y="325"/>
                    </a:lnTo>
                    <a:lnTo>
                      <a:pt x="346" y="312"/>
                    </a:lnTo>
                    <a:lnTo>
                      <a:pt x="352" y="306"/>
                    </a:lnTo>
                    <a:lnTo>
                      <a:pt x="358" y="299"/>
                    </a:lnTo>
                    <a:lnTo>
                      <a:pt x="364" y="292"/>
                    </a:lnTo>
                    <a:lnTo>
                      <a:pt x="370" y="284"/>
                    </a:lnTo>
                    <a:lnTo>
                      <a:pt x="362" y="278"/>
                    </a:lnTo>
                    <a:lnTo>
                      <a:pt x="357" y="270"/>
                    </a:lnTo>
                    <a:lnTo>
                      <a:pt x="351" y="262"/>
                    </a:lnTo>
                    <a:lnTo>
                      <a:pt x="346" y="254"/>
                    </a:lnTo>
                    <a:lnTo>
                      <a:pt x="335" y="236"/>
                    </a:lnTo>
                    <a:lnTo>
                      <a:pt x="327" y="217"/>
                    </a:lnTo>
                    <a:lnTo>
                      <a:pt x="319" y="198"/>
                    </a:lnTo>
                    <a:lnTo>
                      <a:pt x="310" y="180"/>
                    </a:lnTo>
                    <a:lnTo>
                      <a:pt x="300" y="163"/>
                    </a:lnTo>
                    <a:lnTo>
                      <a:pt x="290" y="148"/>
                    </a:lnTo>
                    <a:lnTo>
                      <a:pt x="303" y="136"/>
                    </a:lnTo>
                    <a:lnTo>
                      <a:pt x="317" y="126"/>
                    </a:lnTo>
                    <a:lnTo>
                      <a:pt x="331" y="115"/>
                    </a:lnTo>
                    <a:lnTo>
                      <a:pt x="346" y="104"/>
                    </a:lnTo>
                    <a:lnTo>
                      <a:pt x="377" y="84"/>
                    </a:lnTo>
                    <a:lnTo>
                      <a:pt x="410" y="65"/>
                    </a:lnTo>
                    <a:lnTo>
                      <a:pt x="443" y="47"/>
                    </a:lnTo>
                    <a:lnTo>
                      <a:pt x="477" y="30"/>
                    </a:lnTo>
                    <a:lnTo>
                      <a:pt x="511" y="14"/>
                    </a:lnTo>
                    <a:lnTo>
                      <a:pt x="543" y="0"/>
                    </a:lnTo>
                    <a:lnTo>
                      <a:pt x="537" y="7"/>
                    </a:lnTo>
                    <a:lnTo>
                      <a:pt x="530" y="15"/>
                    </a:lnTo>
                    <a:lnTo>
                      <a:pt x="524" y="23"/>
                    </a:lnTo>
                    <a:lnTo>
                      <a:pt x="517" y="31"/>
                    </a:lnTo>
                    <a:lnTo>
                      <a:pt x="529" y="40"/>
                    </a:lnTo>
                    <a:lnTo>
                      <a:pt x="540" y="52"/>
                    </a:lnTo>
                    <a:lnTo>
                      <a:pt x="552" y="64"/>
                    </a:lnTo>
                    <a:lnTo>
                      <a:pt x="565" y="77"/>
                    </a:lnTo>
                    <a:lnTo>
                      <a:pt x="577" y="91"/>
                    </a:lnTo>
                    <a:lnTo>
                      <a:pt x="591" y="103"/>
                    </a:lnTo>
                    <a:lnTo>
                      <a:pt x="597" y="108"/>
                    </a:lnTo>
                    <a:lnTo>
                      <a:pt x="604" y="114"/>
                    </a:lnTo>
                    <a:lnTo>
                      <a:pt x="611" y="118"/>
                    </a:lnTo>
                    <a:lnTo>
                      <a:pt x="619" y="121"/>
                    </a:lnTo>
                    <a:lnTo>
                      <a:pt x="587" y="136"/>
                    </a:lnTo>
                    <a:lnTo>
                      <a:pt x="560" y="150"/>
                    </a:lnTo>
                    <a:lnTo>
                      <a:pt x="539" y="161"/>
                    </a:lnTo>
                    <a:lnTo>
                      <a:pt x="523" y="171"/>
                    </a:lnTo>
                    <a:lnTo>
                      <a:pt x="511" y="181"/>
                    </a:lnTo>
                    <a:lnTo>
                      <a:pt x="503" y="189"/>
                    </a:lnTo>
                    <a:lnTo>
                      <a:pt x="501" y="193"/>
                    </a:lnTo>
                    <a:lnTo>
                      <a:pt x="498" y="197"/>
                    </a:lnTo>
                    <a:lnTo>
                      <a:pt x="497" y="201"/>
                    </a:lnTo>
                    <a:lnTo>
                      <a:pt x="495" y="206"/>
                    </a:lnTo>
                    <a:lnTo>
                      <a:pt x="493" y="226"/>
                    </a:lnTo>
                    <a:lnTo>
                      <a:pt x="489" y="253"/>
                    </a:lnTo>
                    <a:lnTo>
                      <a:pt x="486" y="270"/>
                    </a:lnTo>
                    <a:lnTo>
                      <a:pt x="480" y="289"/>
                    </a:lnTo>
                    <a:lnTo>
                      <a:pt x="472" y="313"/>
                    </a:lnTo>
                    <a:lnTo>
                      <a:pt x="460" y="340"/>
                    </a:lnTo>
                    <a:lnTo>
                      <a:pt x="455" y="347"/>
                    </a:lnTo>
                    <a:lnTo>
                      <a:pt x="450" y="353"/>
                    </a:lnTo>
                    <a:lnTo>
                      <a:pt x="444" y="360"/>
                    </a:lnTo>
                    <a:lnTo>
                      <a:pt x="436" y="366"/>
                    </a:lnTo>
                    <a:lnTo>
                      <a:pt x="419" y="376"/>
                    </a:lnTo>
                    <a:lnTo>
                      <a:pt x="401" y="388"/>
                    </a:lnTo>
                    <a:lnTo>
                      <a:pt x="381" y="398"/>
                    </a:lnTo>
                    <a:lnTo>
                      <a:pt x="363" y="411"/>
                    </a:lnTo>
                    <a:lnTo>
                      <a:pt x="355" y="419"/>
                    </a:lnTo>
                    <a:lnTo>
                      <a:pt x="348" y="426"/>
                    </a:lnTo>
                    <a:lnTo>
                      <a:pt x="342" y="434"/>
                    </a:lnTo>
                    <a:lnTo>
                      <a:pt x="336" y="444"/>
                    </a:lnTo>
                    <a:lnTo>
                      <a:pt x="330" y="459"/>
                    </a:lnTo>
                    <a:lnTo>
                      <a:pt x="327" y="472"/>
                    </a:lnTo>
                    <a:lnTo>
                      <a:pt x="325" y="486"/>
                    </a:lnTo>
                    <a:lnTo>
                      <a:pt x="325" y="497"/>
                    </a:lnTo>
                    <a:lnTo>
                      <a:pt x="326" y="510"/>
                    </a:lnTo>
                    <a:lnTo>
                      <a:pt x="328" y="520"/>
                    </a:lnTo>
                    <a:lnTo>
                      <a:pt x="331" y="530"/>
                    </a:lnTo>
                    <a:lnTo>
                      <a:pt x="335" y="541"/>
                    </a:lnTo>
                    <a:lnTo>
                      <a:pt x="343" y="561"/>
                    </a:lnTo>
                    <a:lnTo>
                      <a:pt x="350" y="582"/>
                    </a:lnTo>
                    <a:lnTo>
                      <a:pt x="353" y="593"/>
                    </a:lnTo>
                    <a:lnTo>
                      <a:pt x="354" y="605"/>
                    </a:lnTo>
                    <a:lnTo>
                      <a:pt x="354" y="617"/>
                    </a:lnTo>
                    <a:lnTo>
                      <a:pt x="353" y="630"/>
                    </a:lnTo>
                    <a:lnTo>
                      <a:pt x="351" y="641"/>
                    </a:lnTo>
                    <a:lnTo>
                      <a:pt x="348" y="651"/>
                    </a:lnTo>
                    <a:lnTo>
                      <a:pt x="345" y="661"/>
                    </a:lnTo>
                    <a:lnTo>
                      <a:pt x="342" y="669"/>
                    </a:lnTo>
                    <a:lnTo>
                      <a:pt x="334" y="684"/>
                    </a:lnTo>
                    <a:lnTo>
                      <a:pt x="326" y="699"/>
                    </a:lnTo>
                    <a:lnTo>
                      <a:pt x="317" y="713"/>
                    </a:lnTo>
                    <a:lnTo>
                      <a:pt x="309" y="727"/>
                    </a:lnTo>
                    <a:lnTo>
                      <a:pt x="300" y="742"/>
                    </a:lnTo>
                    <a:lnTo>
                      <a:pt x="292" y="760"/>
                    </a:lnTo>
                    <a:lnTo>
                      <a:pt x="280" y="792"/>
                    </a:lnTo>
                    <a:lnTo>
                      <a:pt x="263" y="831"/>
                    </a:lnTo>
                    <a:lnTo>
                      <a:pt x="247" y="872"/>
                    </a:lnTo>
                    <a:lnTo>
                      <a:pt x="234" y="905"/>
                    </a:lnTo>
                    <a:lnTo>
                      <a:pt x="230" y="919"/>
                    </a:lnTo>
                    <a:lnTo>
                      <a:pt x="227" y="931"/>
                    </a:lnTo>
                    <a:lnTo>
                      <a:pt x="226" y="943"/>
                    </a:lnTo>
                    <a:lnTo>
                      <a:pt x="225" y="952"/>
                    </a:lnTo>
                    <a:lnTo>
                      <a:pt x="226" y="969"/>
                    </a:lnTo>
                    <a:lnTo>
                      <a:pt x="227" y="983"/>
                    </a:lnTo>
                    <a:lnTo>
                      <a:pt x="227" y="989"/>
                    </a:lnTo>
                    <a:lnTo>
                      <a:pt x="227" y="997"/>
                    </a:lnTo>
                    <a:lnTo>
                      <a:pt x="225" y="1005"/>
                    </a:lnTo>
                    <a:lnTo>
                      <a:pt x="222" y="1013"/>
                    </a:lnTo>
                    <a:lnTo>
                      <a:pt x="217" y="1024"/>
                    </a:lnTo>
                    <a:lnTo>
                      <a:pt x="209" y="1034"/>
                    </a:lnTo>
                    <a:lnTo>
                      <a:pt x="201" y="1047"/>
                    </a:lnTo>
                    <a:lnTo>
                      <a:pt x="189" y="1062"/>
                    </a:lnTo>
                    <a:lnTo>
                      <a:pt x="183" y="1069"/>
                    </a:lnTo>
                    <a:lnTo>
                      <a:pt x="174" y="1076"/>
                    </a:lnTo>
                    <a:lnTo>
                      <a:pt x="166" y="1082"/>
                    </a:lnTo>
                    <a:lnTo>
                      <a:pt x="156" y="1090"/>
                    </a:lnTo>
                    <a:lnTo>
                      <a:pt x="135" y="1102"/>
                    </a:lnTo>
                    <a:lnTo>
                      <a:pt x="113" y="1115"/>
                    </a:lnTo>
                    <a:lnTo>
                      <a:pt x="91" y="1127"/>
                    </a:lnTo>
                    <a:lnTo>
                      <a:pt x="68" y="1138"/>
                    </a:lnTo>
                    <a:lnTo>
                      <a:pt x="48" y="1151"/>
                    </a:lnTo>
                    <a:lnTo>
                      <a:pt x="31" y="1164"/>
                    </a:lnTo>
                    <a:lnTo>
                      <a:pt x="26" y="1159"/>
                    </a:lnTo>
                    <a:lnTo>
                      <a:pt x="23" y="1154"/>
                    </a:lnTo>
                    <a:lnTo>
                      <a:pt x="21" y="1149"/>
                    </a:lnTo>
                    <a:lnTo>
                      <a:pt x="20" y="1143"/>
                    </a:lnTo>
                    <a:lnTo>
                      <a:pt x="19" y="1135"/>
                    </a:lnTo>
                    <a:lnTo>
                      <a:pt x="20" y="1127"/>
                    </a:lnTo>
                    <a:lnTo>
                      <a:pt x="25" y="1111"/>
                    </a:lnTo>
                    <a:lnTo>
                      <a:pt x="33" y="1094"/>
                    </a:lnTo>
                    <a:lnTo>
                      <a:pt x="93" y="1122"/>
                    </a:lnTo>
                    <a:lnTo>
                      <a:pt x="71" y="1102"/>
                    </a:lnTo>
                    <a:lnTo>
                      <a:pt x="52" y="1084"/>
                    </a:lnTo>
                    <a:lnTo>
                      <a:pt x="37" y="1066"/>
                    </a:lnTo>
                    <a:lnTo>
                      <a:pt x="24" y="1049"/>
                    </a:lnTo>
                    <a:lnTo>
                      <a:pt x="14" y="1034"/>
                    </a:lnTo>
                    <a:lnTo>
                      <a:pt x="7" y="1018"/>
                    </a:lnTo>
                    <a:lnTo>
                      <a:pt x="2" y="1005"/>
                    </a:lnTo>
                    <a:lnTo>
                      <a:pt x="0" y="991"/>
                    </a:lnTo>
                    <a:lnTo>
                      <a:pt x="0" y="979"/>
                    </a:lnTo>
                    <a:lnTo>
                      <a:pt x="1" y="967"/>
                    </a:lnTo>
                    <a:lnTo>
                      <a:pt x="5" y="955"/>
                    </a:lnTo>
                    <a:lnTo>
                      <a:pt x="10" y="945"/>
                    </a:lnTo>
                    <a:lnTo>
                      <a:pt x="16" y="935"/>
                    </a:lnTo>
                    <a:lnTo>
                      <a:pt x="24" y="924"/>
                    </a:lnTo>
                    <a:lnTo>
                      <a:pt x="34" y="915"/>
                    </a:lnTo>
                    <a:lnTo>
                      <a:pt x="44" y="905"/>
                    </a:lnTo>
                    <a:lnTo>
                      <a:pt x="93" y="867"/>
                    </a:lnTo>
                    <a:lnTo>
                      <a:pt x="145" y="829"/>
                    </a:lnTo>
                    <a:lnTo>
                      <a:pt x="158" y="818"/>
                    </a:lnTo>
                    <a:lnTo>
                      <a:pt x="169" y="807"/>
                    </a:lnTo>
                    <a:lnTo>
                      <a:pt x="180" y="796"/>
                    </a:lnTo>
                    <a:lnTo>
                      <a:pt x="191" y="784"/>
                    </a:lnTo>
                    <a:lnTo>
                      <a:pt x="200" y="771"/>
                    </a:lnTo>
                    <a:lnTo>
                      <a:pt x="208" y="758"/>
                    </a:lnTo>
                    <a:lnTo>
                      <a:pt x="215" y="743"/>
                    </a:lnTo>
                    <a:lnTo>
                      <a:pt x="221" y="72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59" name="Freeform 74"/>
              <p:cNvSpPr>
                <a:spLocks/>
              </p:cNvSpPr>
              <p:nvPr/>
            </p:nvSpPr>
            <p:spPr bwMode="auto">
              <a:xfrm>
                <a:off x="3550" y="1265"/>
                <a:ext cx="371" cy="386"/>
              </a:xfrm>
              <a:custGeom>
                <a:avLst/>
                <a:gdLst>
                  <a:gd name="T0" fmla="*/ 0 w 2595"/>
                  <a:gd name="T1" fmla="*/ 0 h 2700"/>
                  <a:gd name="T2" fmla="*/ 0 w 2595"/>
                  <a:gd name="T3" fmla="*/ 0 h 2700"/>
                  <a:gd name="T4" fmla="*/ 0 w 2595"/>
                  <a:gd name="T5" fmla="*/ 0 h 2700"/>
                  <a:gd name="T6" fmla="*/ 0 w 2595"/>
                  <a:gd name="T7" fmla="*/ 0 h 2700"/>
                  <a:gd name="T8" fmla="*/ 0 w 2595"/>
                  <a:gd name="T9" fmla="*/ 0 h 2700"/>
                  <a:gd name="T10" fmla="*/ 0 w 2595"/>
                  <a:gd name="T11" fmla="*/ 0 h 2700"/>
                  <a:gd name="T12" fmla="*/ 0 w 2595"/>
                  <a:gd name="T13" fmla="*/ 0 h 2700"/>
                  <a:gd name="T14" fmla="*/ 0 w 2595"/>
                  <a:gd name="T15" fmla="*/ 0 h 2700"/>
                  <a:gd name="T16" fmla="*/ 0 w 2595"/>
                  <a:gd name="T17" fmla="*/ 0 h 2700"/>
                  <a:gd name="T18" fmla="*/ 0 w 2595"/>
                  <a:gd name="T19" fmla="*/ 0 h 2700"/>
                  <a:gd name="T20" fmla="*/ 0 w 2595"/>
                  <a:gd name="T21" fmla="*/ 0 h 2700"/>
                  <a:gd name="T22" fmla="*/ 0 w 2595"/>
                  <a:gd name="T23" fmla="*/ 0 h 2700"/>
                  <a:gd name="T24" fmla="*/ 0 w 2595"/>
                  <a:gd name="T25" fmla="*/ 0 h 2700"/>
                  <a:gd name="T26" fmla="*/ 0 w 2595"/>
                  <a:gd name="T27" fmla="*/ 0 h 2700"/>
                  <a:gd name="T28" fmla="*/ 0 w 2595"/>
                  <a:gd name="T29" fmla="*/ 0 h 2700"/>
                  <a:gd name="T30" fmla="*/ 0 w 2595"/>
                  <a:gd name="T31" fmla="*/ 0 h 2700"/>
                  <a:gd name="T32" fmla="*/ 0 w 2595"/>
                  <a:gd name="T33" fmla="*/ 0 h 2700"/>
                  <a:gd name="T34" fmla="*/ 0 w 2595"/>
                  <a:gd name="T35" fmla="*/ 0 h 2700"/>
                  <a:gd name="T36" fmla="*/ 0 w 2595"/>
                  <a:gd name="T37" fmla="*/ 0 h 2700"/>
                  <a:gd name="T38" fmla="*/ 0 w 2595"/>
                  <a:gd name="T39" fmla="*/ 0 h 2700"/>
                  <a:gd name="T40" fmla="*/ 0 w 2595"/>
                  <a:gd name="T41" fmla="*/ 0 h 2700"/>
                  <a:gd name="T42" fmla="*/ 0 w 2595"/>
                  <a:gd name="T43" fmla="*/ 0 h 2700"/>
                  <a:gd name="T44" fmla="*/ 0 w 2595"/>
                  <a:gd name="T45" fmla="*/ 0 h 2700"/>
                  <a:gd name="T46" fmla="*/ 0 w 2595"/>
                  <a:gd name="T47" fmla="*/ 0 h 2700"/>
                  <a:gd name="T48" fmla="*/ 0 w 2595"/>
                  <a:gd name="T49" fmla="*/ 0 h 2700"/>
                  <a:gd name="T50" fmla="*/ 0 w 2595"/>
                  <a:gd name="T51" fmla="*/ 0 h 2700"/>
                  <a:gd name="T52" fmla="*/ 0 w 2595"/>
                  <a:gd name="T53" fmla="*/ 0 h 2700"/>
                  <a:gd name="T54" fmla="*/ 0 w 2595"/>
                  <a:gd name="T55" fmla="*/ 0 h 2700"/>
                  <a:gd name="T56" fmla="*/ 0 w 2595"/>
                  <a:gd name="T57" fmla="*/ 0 h 2700"/>
                  <a:gd name="T58" fmla="*/ 0 w 2595"/>
                  <a:gd name="T59" fmla="*/ 0 h 2700"/>
                  <a:gd name="T60" fmla="*/ 0 w 2595"/>
                  <a:gd name="T61" fmla="*/ 0 h 2700"/>
                  <a:gd name="T62" fmla="*/ 0 w 2595"/>
                  <a:gd name="T63" fmla="*/ 0 h 2700"/>
                  <a:gd name="T64" fmla="*/ 0 w 2595"/>
                  <a:gd name="T65" fmla="*/ 0 h 2700"/>
                  <a:gd name="T66" fmla="*/ 0 w 2595"/>
                  <a:gd name="T67" fmla="*/ 0 h 2700"/>
                  <a:gd name="T68" fmla="*/ 0 w 2595"/>
                  <a:gd name="T69" fmla="*/ 0 h 2700"/>
                  <a:gd name="T70" fmla="*/ 0 w 2595"/>
                  <a:gd name="T71" fmla="*/ 0 h 2700"/>
                  <a:gd name="T72" fmla="*/ 0 w 2595"/>
                  <a:gd name="T73" fmla="*/ 0 h 2700"/>
                  <a:gd name="T74" fmla="*/ 0 w 2595"/>
                  <a:gd name="T75" fmla="*/ 0 h 2700"/>
                  <a:gd name="T76" fmla="*/ 0 w 2595"/>
                  <a:gd name="T77" fmla="*/ 0 h 2700"/>
                  <a:gd name="T78" fmla="*/ 0 w 2595"/>
                  <a:gd name="T79" fmla="*/ 0 h 2700"/>
                  <a:gd name="T80" fmla="*/ 0 w 2595"/>
                  <a:gd name="T81" fmla="*/ 0 h 2700"/>
                  <a:gd name="T82" fmla="*/ 0 w 2595"/>
                  <a:gd name="T83" fmla="*/ 0 h 2700"/>
                  <a:gd name="T84" fmla="*/ 0 w 2595"/>
                  <a:gd name="T85" fmla="*/ 0 h 2700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595"/>
                  <a:gd name="T130" fmla="*/ 0 h 2700"/>
                  <a:gd name="T131" fmla="*/ 2595 w 2595"/>
                  <a:gd name="T132" fmla="*/ 2700 h 2700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595" h="2700">
                    <a:moveTo>
                      <a:pt x="2593" y="1223"/>
                    </a:moveTo>
                    <a:lnTo>
                      <a:pt x="2595" y="1276"/>
                    </a:lnTo>
                    <a:lnTo>
                      <a:pt x="2594" y="1330"/>
                    </a:lnTo>
                    <a:lnTo>
                      <a:pt x="2590" y="1384"/>
                    </a:lnTo>
                    <a:lnTo>
                      <a:pt x="2583" y="1439"/>
                    </a:lnTo>
                    <a:lnTo>
                      <a:pt x="2573" y="1494"/>
                    </a:lnTo>
                    <a:lnTo>
                      <a:pt x="2559" y="1550"/>
                    </a:lnTo>
                    <a:lnTo>
                      <a:pt x="2543" y="1606"/>
                    </a:lnTo>
                    <a:lnTo>
                      <a:pt x="2523" y="1663"/>
                    </a:lnTo>
                    <a:lnTo>
                      <a:pt x="2500" y="1719"/>
                    </a:lnTo>
                    <a:lnTo>
                      <a:pt x="2476" y="1775"/>
                    </a:lnTo>
                    <a:lnTo>
                      <a:pt x="2447" y="1832"/>
                    </a:lnTo>
                    <a:lnTo>
                      <a:pt x="2415" y="1886"/>
                    </a:lnTo>
                    <a:lnTo>
                      <a:pt x="2380" y="1941"/>
                    </a:lnTo>
                    <a:lnTo>
                      <a:pt x="2342" y="1996"/>
                    </a:lnTo>
                    <a:lnTo>
                      <a:pt x="2302" y="2049"/>
                    </a:lnTo>
                    <a:lnTo>
                      <a:pt x="2259" y="2101"/>
                    </a:lnTo>
                    <a:lnTo>
                      <a:pt x="2212" y="2152"/>
                    </a:lnTo>
                    <a:lnTo>
                      <a:pt x="2162" y="2202"/>
                    </a:lnTo>
                    <a:lnTo>
                      <a:pt x="2110" y="2250"/>
                    </a:lnTo>
                    <a:lnTo>
                      <a:pt x="2055" y="2297"/>
                    </a:lnTo>
                    <a:lnTo>
                      <a:pt x="1996" y="2342"/>
                    </a:lnTo>
                    <a:lnTo>
                      <a:pt x="1935" y="2385"/>
                    </a:lnTo>
                    <a:lnTo>
                      <a:pt x="1872" y="2426"/>
                    </a:lnTo>
                    <a:lnTo>
                      <a:pt x="1805" y="2465"/>
                    </a:lnTo>
                    <a:lnTo>
                      <a:pt x="1736" y="2502"/>
                    </a:lnTo>
                    <a:lnTo>
                      <a:pt x="1663" y="2536"/>
                    </a:lnTo>
                    <a:lnTo>
                      <a:pt x="1588" y="2567"/>
                    </a:lnTo>
                    <a:lnTo>
                      <a:pt x="1510" y="2596"/>
                    </a:lnTo>
                    <a:lnTo>
                      <a:pt x="1430" y="2622"/>
                    </a:lnTo>
                    <a:lnTo>
                      <a:pt x="1346" y="2644"/>
                    </a:lnTo>
                    <a:lnTo>
                      <a:pt x="1260" y="2664"/>
                    </a:lnTo>
                    <a:lnTo>
                      <a:pt x="1171" y="2680"/>
                    </a:lnTo>
                    <a:lnTo>
                      <a:pt x="1106" y="2690"/>
                    </a:lnTo>
                    <a:lnTo>
                      <a:pt x="1044" y="2696"/>
                    </a:lnTo>
                    <a:lnTo>
                      <a:pt x="984" y="2699"/>
                    </a:lnTo>
                    <a:lnTo>
                      <a:pt x="926" y="2700"/>
                    </a:lnTo>
                    <a:lnTo>
                      <a:pt x="872" y="2698"/>
                    </a:lnTo>
                    <a:lnTo>
                      <a:pt x="819" y="2694"/>
                    </a:lnTo>
                    <a:lnTo>
                      <a:pt x="767" y="2686"/>
                    </a:lnTo>
                    <a:lnTo>
                      <a:pt x="719" y="2675"/>
                    </a:lnTo>
                    <a:lnTo>
                      <a:pt x="672" y="2663"/>
                    </a:lnTo>
                    <a:lnTo>
                      <a:pt x="628" y="2647"/>
                    </a:lnTo>
                    <a:lnTo>
                      <a:pt x="585" y="2629"/>
                    </a:lnTo>
                    <a:lnTo>
                      <a:pt x="545" y="2607"/>
                    </a:lnTo>
                    <a:lnTo>
                      <a:pt x="506" y="2583"/>
                    </a:lnTo>
                    <a:lnTo>
                      <a:pt x="470" y="2556"/>
                    </a:lnTo>
                    <a:lnTo>
                      <a:pt x="435" y="2527"/>
                    </a:lnTo>
                    <a:lnTo>
                      <a:pt x="402" y="2495"/>
                    </a:lnTo>
                    <a:lnTo>
                      <a:pt x="370" y="2460"/>
                    </a:lnTo>
                    <a:lnTo>
                      <a:pt x="340" y="2423"/>
                    </a:lnTo>
                    <a:lnTo>
                      <a:pt x="311" y="2383"/>
                    </a:lnTo>
                    <a:lnTo>
                      <a:pt x="284" y="2339"/>
                    </a:lnTo>
                    <a:lnTo>
                      <a:pt x="258" y="2294"/>
                    </a:lnTo>
                    <a:lnTo>
                      <a:pt x="234" y="2246"/>
                    </a:lnTo>
                    <a:lnTo>
                      <a:pt x="211" y="2194"/>
                    </a:lnTo>
                    <a:lnTo>
                      <a:pt x="190" y="2141"/>
                    </a:lnTo>
                    <a:lnTo>
                      <a:pt x="169" y="2085"/>
                    </a:lnTo>
                    <a:lnTo>
                      <a:pt x="150" y="2026"/>
                    </a:lnTo>
                    <a:lnTo>
                      <a:pt x="132" y="1964"/>
                    </a:lnTo>
                    <a:lnTo>
                      <a:pt x="115" y="1900"/>
                    </a:lnTo>
                    <a:lnTo>
                      <a:pt x="100" y="1833"/>
                    </a:lnTo>
                    <a:lnTo>
                      <a:pt x="84" y="1763"/>
                    </a:lnTo>
                    <a:lnTo>
                      <a:pt x="71" y="1691"/>
                    </a:lnTo>
                    <a:lnTo>
                      <a:pt x="57" y="1616"/>
                    </a:lnTo>
                    <a:lnTo>
                      <a:pt x="47" y="1550"/>
                    </a:lnTo>
                    <a:lnTo>
                      <a:pt x="37" y="1483"/>
                    </a:lnTo>
                    <a:lnTo>
                      <a:pt x="27" y="1416"/>
                    </a:lnTo>
                    <a:lnTo>
                      <a:pt x="19" y="1349"/>
                    </a:lnTo>
                    <a:lnTo>
                      <a:pt x="12" y="1281"/>
                    </a:lnTo>
                    <a:lnTo>
                      <a:pt x="6" y="1213"/>
                    </a:lnTo>
                    <a:lnTo>
                      <a:pt x="3" y="1146"/>
                    </a:lnTo>
                    <a:lnTo>
                      <a:pt x="1" y="1079"/>
                    </a:lnTo>
                    <a:lnTo>
                      <a:pt x="0" y="1012"/>
                    </a:lnTo>
                    <a:lnTo>
                      <a:pt x="2" y="946"/>
                    </a:lnTo>
                    <a:lnTo>
                      <a:pt x="7" y="881"/>
                    </a:lnTo>
                    <a:lnTo>
                      <a:pt x="14" y="817"/>
                    </a:lnTo>
                    <a:lnTo>
                      <a:pt x="24" y="754"/>
                    </a:lnTo>
                    <a:lnTo>
                      <a:pt x="38" y="692"/>
                    </a:lnTo>
                    <a:lnTo>
                      <a:pt x="54" y="632"/>
                    </a:lnTo>
                    <a:lnTo>
                      <a:pt x="74" y="574"/>
                    </a:lnTo>
                    <a:lnTo>
                      <a:pt x="98" y="517"/>
                    </a:lnTo>
                    <a:lnTo>
                      <a:pt x="126" y="462"/>
                    </a:lnTo>
                    <a:lnTo>
                      <a:pt x="158" y="411"/>
                    </a:lnTo>
                    <a:lnTo>
                      <a:pt x="194" y="361"/>
                    </a:lnTo>
                    <a:lnTo>
                      <a:pt x="235" y="314"/>
                    </a:lnTo>
                    <a:lnTo>
                      <a:pt x="281" y="268"/>
                    </a:lnTo>
                    <a:lnTo>
                      <a:pt x="331" y="227"/>
                    </a:lnTo>
                    <a:lnTo>
                      <a:pt x="387" y="187"/>
                    </a:lnTo>
                    <a:lnTo>
                      <a:pt x="448" y="151"/>
                    </a:lnTo>
                    <a:lnTo>
                      <a:pt x="515" y="119"/>
                    </a:lnTo>
                    <a:lnTo>
                      <a:pt x="588" y="90"/>
                    </a:lnTo>
                    <a:lnTo>
                      <a:pt x="666" y="64"/>
                    </a:lnTo>
                    <a:lnTo>
                      <a:pt x="751" y="44"/>
                    </a:lnTo>
                    <a:lnTo>
                      <a:pt x="843" y="26"/>
                    </a:lnTo>
                    <a:lnTo>
                      <a:pt x="940" y="13"/>
                    </a:lnTo>
                    <a:lnTo>
                      <a:pt x="1045" y="3"/>
                    </a:lnTo>
                    <a:lnTo>
                      <a:pt x="1129" y="0"/>
                    </a:lnTo>
                    <a:lnTo>
                      <a:pt x="1211" y="0"/>
                    </a:lnTo>
                    <a:lnTo>
                      <a:pt x="1290" y="4"/>
                    </a:lnTo>
                    <a:lnTo>
                      <a:pt x="1368" y="12"/>
                    </a:lnTo>
                    <a:lnTo>
                      <a:pt x="1444" y="22"/>
                    </a:lnTo>
                    <a:lnTo>
                      <a:pt x="1518" y="35"/>
                    </a:lnTo>
                    <a:lnTo>
                      <a:pt x="1590" y="52"/>
                    </a:lnTo>
                    <a:lnTo>
                      <a:pt x="1659" y="73"/>
                    </a:lnTo>
                    <a:lnTo>
                      <a:pt x="1727" y="95"/>
                    </a:lnTo>
                    <a:lnTo>
                      <a:pt x="1792" y="121"/>
                    </a:lnTo>
                    <a:lnTo>
                      <a:pt x="1855" y="149"/>
                    </a:lnTo>
                    <a:lnTo>
                      <a:pt x="1916" y="181"/>
                    </a:lnTo>
                    <a:lnTo>
                      <a:pt x="1975" y="214"/>
                    </a:lnTo>
                    <a:lnTo>
                      <a:pt x="2031" y="250"/>
                    </a:lnTo>
                    <a:lnTo>
                      <a:pt x="2086" y="290"/>
                    </a:lnTo>
                    <a:lnTo>
                      <a:pt x="2137" y="331"/>
                    </a:lnTo>
                    <a:lnTo>
                      <a:pt x="2186" y="374"/>
                    </a:lnTo>
                    <a:lnTo>
                      <a:pt x="2233" y="419"/>
                    </a:lnTo>
                    <a:lnTo>
                      <a:pt x="2276" y="467"/>
                    </a:lnTo>
                    <a:lnTo>
                      <a:pt x="2317" y="516"/>
                    </a:lnTo>
                    <a:lnTo>
                      <a:pt x="2356" y="567"/>
                    </a:lnTo>
                    <a:lnTo>
                      <a:pt x="2392" y="620"/>
                    </a:lnTo>
                    <a:lnTo>
                      <a:pt x="2425" y="674"/>
                    </a:lnTo>
                    <a:lnTo>
                      <a:pt x="2456" y="730"/>
                    </a:lnTo>
                    <a:lnTo>
                      <a:pt x="2483" y="788"/>
                    </a:lnTo>
                    <a:lnTo>
                      <a:pt x="2508" y="847"/>
                    </a:lnTo>
                    <a:lnTo>
                      <a:pt x="2529" y="907"/>
                    </a:lnTo>
                    <a:lnTo>
                      <a:pt x="2548" y="969"/>
                    </a:lnTo>
                    <a:lnTo>
                      <a:pt x="2564" y="1031"/>
                    </a:lnTo>
                    <a:lnTo>
                      <a:pt x="2577" y="1094"/>
                    </a:lnTo>
                    <a:lnTo>
                      <a:pt x="2586" y="1159"/>
                    </a:lnTo>
                    <a:lnTo>
                      <a:pt x="2593" y="1223"/>
                    </a:lnTo>
                    <a:close/>
                  </a:path>
                </a:pathLst>
              </a:custGeom>
              <a:solidFill>
                <a:srgbClr val="2DAA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60" name="Freeform 75"/>
              <p:cNvSpPr>
                <a:spLocks/>
              </p:cNvSpPr>
              <p:nvPr/>
            </p:nvSpPr>
            <p:spPr bwMode="auto">
              <a:xfrm>
                <a:off x="3658" y="1266"/>
                <a:ext cx="79" cy="387"/>
              </a:xfrm>
              <a:custGeom>
                <a:avLst/>
                <a:gdLst>
                  <a:gd name="T0" fmla="*/ 0 w 556"/>
                  <a:gd name="T1" fmla="*/ 0 h 2710"/>
                  <a:gd name="T2" fmla="*/ 0 w 556"/>
                  <a:gd name="T3" fmla="*/ 0 h 2710"/>
                  <a:gd name="T4" fmla="*/ 0 w 556"/>
                  <a:gd name="T5" fmla="*/ 0 h 2710"/>
                  <a:gd name="T6" fmla="*/ 0 w 556"/>
                  <a:gd name="T7" fmla="*/ 0 h 2710"/>
                  <a:gd name="T8" fmla="*/ 0 w 556"/>
                  <a:gd name="T9" fmla="*/ 0 h 2710"/>
                  <a:gd name="T10" fmla="*/ 0 w 556"/>
                  <a:gd name="T11" fmla="*/ 0 h 2710"/>
                  <a:gd name="T12" fmla="*/ 0 w 556"/>
                  <a:gd name="T13" fmla="*/ 0 h 2710"/>
                  <a:gd name="T14" fmla="*/ 0 w 556"/>
                  <a:gd name="T15" fmla="*/ 0 h 2710"/>
                  <a:gd name="T16" fmla="*/ 0 w 556"/>
                  <a:gd name="T17" fmla="*/ 0 h 2710"/>
                  <a:gd name="T18" fmla="*/ 0 w 556"/>
                  <a:gd name="T19" fmla="*/ 0 h 2710"/>
                  <a:gd name="T20" fmla="*/ 0 w 556"/>
                  <a:gd name="T21" fmla="*/ 0 h 2710"/>
                  <a:gd name="T22" fmla="*/ 0 w 556"/>
                  <a:gd name="T23" fmla="*/ 0 h 2710"/>
                  <a:gd name="T24" fmla="*/ 0 w 556"/>
                  <a:gd name="T25" fmla="*/ 0 h 2710"/>
                  <a:gd name="T26" fmla="*/ 0 w 556"/>
                  <a:gd name="T27" fmla="*/ 0 h 2710"/>
                  <a:gd name="T28" fmla="*/ 0 w 556"/>
                  <a:gd name="T29" fmla="*/ 0 h 2710"/>
                  <a:gd name="T30" fmla="*/ 0 w 556"/>
                  <a:gd name="T31" fmla="*/ 0 h 2710"/>
                  <a:gd name="T32" fmla="*/ 0 w 556"/>
                  <a:gd name="T33" fmla="*/ 0 h 2710"/>
                  <a:gd name="T34" fmla="*/ 0 w 556"/>
                  <a:gd name="T35" fmla="*/ 0 h 2710"/>
                  <a:gd name="T36" fmla="*/ 0 w 556"/>
                  <a:gd name="T37" fmla="*/ 0 h 2710"/>
                  <a:gd name="T38" fmla="*/ 0 w 556"/>
                  <a:gd name="T39" fmla="*/ 0 h 2710"/>
                  <a:gd name="T40" fmla="*/ 0 w 556"/>
                  <a:gd name="T41" fmla="*/ 0 h 2710"/>
                  <a:gd name="T42" fmla="*/ 0 w 556"/>
                  <a:gd name="T43" fmla="*/ 0 h 2710"/>
                  <a:gd name="T44" fmla="*/ 0 w 556"/>
                  <a:gd name="T45" fmla="*/ 0 h 2710"/>
                  <a:gd name="T46" fmla="*/ 0 w 556"/>
                  <a:gd name="T47" fmla="*/ 0 h 2710"/>
                  <a:gd name="T48" fmla="*/ 0 w 556"/>
                  <a:gd name="T49" fmla="*/ 0 h 2710"/>
                  <a:gd name="T50" fmla="*/ 0 w 556"/>
                  <a:gd name="T51" fmla="*/ 0 h 2710"/>
                  <a:gd name="T52" fmla="*/ 0 w 556"/>
                  <a:gd name="T53" fmla="*/ 0 h 2710"/>
                  <a:gd name="T54" fmla="*/ 0 w 556"/>
                  <a:gd name="T55" fmla="*/ 0 h 2710"/>
                  <a:gd name="T56" fmla="*/ 0 w 556"/>
                  <a:gd name="T57" fmla="*/ 0 h 2710"/>
                  <a:gd name="T58" fmla="*/ 0 w 556"/>
                  <a:gd name="T59" fmla="*/ 0 h 2710"/>
                  <a:gd name="T60" fmla="*/ 0 w 556"/>
                  <a:gd name="T61" fmla="*/ 0 h 2710"/>
                  <a:gd name="T62" fmla="*/ 0 w 556"/>
                  <a:gd name="T63" fmla="*/ 0 h 2710"/>
                  <a:gd name="T64" fmla="*/ 0 w 556"/>
                  <a:gd name="T65" fmla="*/ 0 h 2710"/>
                  <a:gd name="T66" fmla="*/ 0 w 556"/>
                  <a:gd name="T67" fmla="*/ 0 h 2710"/>
                  <a:gd name="T68" fmla="*/ 0 w 556"/>
                  <a:gd name="T69" fmla="*/ 0 h 2710"/>
                  <a:gd name="T70" fmla="*/ 0 w 556"/>
                  <a:gd name="T71" fmla="*/ 0 h 2710"/>
                  <a:gd name="T72" fmla="*/ 0 w 556"/>
                  <a:gd name="T73" fmla="*/ 0 h 2710"/>
                  <a:gd name="T74" fmla="*/ 0 w 556"/>
                  <a:gd name="T75" fmla="*/ 0 h 2710"/>
                  <a:gd name="T76" fmla="*/ 0 w 556"/>
                  <a:gd name="T77" fmla="*/ 0 h 2710"/>
                  <a:gd name="T78" fmla="*/ 0 w 556"/>
                  <a:gd name="T79" fmla="*/ 0 h 2710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556"/>
                  <a:gd name="T121" fmla="*/ 0 h 2710"/>
                  <a:gd name="T122" fmla="*/ 556 w 556"/>
                  <a:gd name="T123" fmla="*/ 2710 h 2710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556" h="2710">
                    <a:moveTo>
                      <a:pt x="278" y="0"/>
                    </a:moveTo>
                    <a:lnTo>
                      <a:pt x="253" y="2"/>
                    </a:lnTo>
                    <a:lnTo>
                      <a:pt x="228" y="5"/>
                    </a:lnTo>
                    <a:lnTo>
                      <a:pt x="203" y="8"/>
                    </a:lnTo>
                    <a:lnTo>
                      <a:pt x="180" y="10"/>
                    </a:lnTo>
                    <a:lnTo>
                      <a:pt x="156" y="13"/>
                    </a:lnTo>
                    <a:lnTo>
                      <a:pt x="133" y="16"/>
                    </a:lnTo>
                    <a:lnTo>
                      <a:pt x="109" y="19"/>
                    </a:lnTo>
                    <a:lnTo>
                      <a:pt x="88" y="22"/>
                    </a:lnTo>
                    <a:lnTo>
                      <a:pt x="72" y="120"/>
                    </a:lnTo>
                    <a:lnTo>
                      <a:pt x="59" y="218"/>
                    </a:lnTo>
                    <a:lnTo>
                      <a:pt x="47" y="314"/>
                    </a:lnTo>
                    <a:lnTo>
                      <a:pt x="36" y="410"/>
                    </a:lnTo>
                    <a:lnTo>
                      <a:pt x="28" y="505"/>
                    </a:lnTo>
                    <a:lnTo>
                      <a:pt x="19" y="599"/>
                    </a:lnTo>
                    <a:lnTo>
                      <a:pt x="13" y="692"/>
                    </a:lnTo>
                    <a:lnTo>
                      <a:pt x="8" y="784"/>
                    </a:lnTo>
                    <a:lnTo>
                      <a:pt x="4" y="876"/>
                    </a:lnTo>
                    <a:lnTo>
                      <a:pt x="2" y="966"/>
                    </a:lnTo>
                    <a:lnTo>
                      <a:pt x="0" y="1056"/>
                    </a:lnTo>
                    <a:lnTo>
                      <a:pt x="0" y="1145"/>
                    </a:lnTo>
                    <a:lnTo>
                      <a:pt x="0" y="1233"/>
                    </a:lnTo>
                    <a:lnTo>
                      <a:pt x="2" y="1320"/>
                    </a:lnTo>
                    <a:lnTo>
                      <a:pt x="5" y="1407"/>
                    </a:lnTo>
                    <a:lnTo>
                      <a:pt x="8" y="1491"/>
                    </a:lnTo>
                    <a:lnTo>
                      <a:pt x="13" y="1575"/>
                    </a:lnTo>
                    <a:lnTo>
                      <a:pt x="18" y="1659"/>
                    </a:lnTo>
                    <a:lnTo>
                      <a:pt x="25" y="1741"/>
                    </a:lnTo>
                    <a:lnTo>
                      <a:pt x="32" y="1822"/>
                    </a:lnTo>
                    <a:lnTo>
                      <a:pt x="39" y="1902"/>
                    </a:lnTo>
                    <a:lnTo>
                      <a:pt x="47" y="1981"/>
                    </a:lnTo>
                    <a:lnTo>
                      <a:pt x="57" y="2059"/>
                    </a:lnTo>
                    <a:lnTo>
                      <a:pt x="66" y="2136"/>
                    </a:lnTo>
                    <a:lnTo>
                      <a:pt x="76" y="2211"/>
                    </a:lnTo>
                    <a:lnTo>
                      <a:pt x="87" y="2287"/>
                    </a:lnTo>
                    <a:lnTo>
                      <a:pt x="98" y="2360"/>
                    </a:lnTo>
                    <a:lnTo>
                      <a:pt x="109" y="2432"/>
                    </a:lnTo>
                    <a:lnTo>
                      <a:pt x="133" y="2573"/>
                    </a:lnTo>
                    <a:lnTo>
                      <a:pt x="159" y="2710"/>
                    </a:lnTo>
                    <a:lnTo>
                      <a:pt x="189" y="2707"/>
                    </a:lnTo>
                    <a:lnTo>
                      <a:pt x="219" y="2705"/>
                    </a:lnTo>
                    <a:lnTo>
                      <a:pt x="250" y="2702"/>
                    </a:lnTo>
                    <a:lnTo>
                      <a:pt x="282" y="2698"/>
                    </a:lnTo>
                    <a:lnTo>
                      <a:pt x="315" y="2694"/>
                    </a:lnTo>
                    <a:lnTo>
                      <a:pt x="349" y="2689"/>
                    </a:lnTo>
                    <a:lnTo>
                      <a:pt x="383" y="2683"/>
                    </a:lnTo>
                    <a:lnTo>
                      <a:pt x="419" y="2676"/>
                    </a:lnTo>
                    <a:lnTo>
                      <a:pt x="454" y="2669"/>
                    </a:lnTo>
                    <a:lnTo>
                      <a:pt x="488" y="2662"/>
                    </a:lnTo>
                    <a:lnTo>
                      <a:pt x="522" y="2654"/>
                    </a:lnTo>
                    <a:lnTo>
                      <a:pt x="556" y="2645"/>
                    </a:lnTo>
                    <a:lnTo>
                      <a:pt x="522" y="2511"/>
                    </a:lnTo>
                    <a:lnTo>
                      <a:pt x="490" y="2370"/>
                    </a:lnTo>
                    <a:lnTo>
                      <a:pt x="473" y="2298"/>
                    </a:lnTo>
                    <a:lnTo>
                      <a:pt x="458" y="2226"/>
                    </a:lnTo>
                    <a:lnTo>
                      <a:pt x="442" y="2151"/>
                    </a:lnTo>
                    <a:lnTo>
                      <a:pt x="428" y="2076"/>
                    </a:lnTo>
                    <a:lnTo>
                      <a:pt x="413" y="1999"/>
                    </a:lnTo>
                    <a:lnTo>
                      <a:pt x="399" y="1921"/>
                    </a:lnTo>
                    <a:lnTo>
                      <a:pt x="385" y="1842"/>
                    </a:lnTo>
                    <a:lnTo>
                      <a:pt x="372" y="1762"/>
                    </a:lnTo>
                    <a:lnTo>
                      <a:pt x="359" y="1682"/>
                    </a:lnTo>
                    <a:lnTo>
                      <a:pt x="348" y="1600"/>
                    </a:lnTo>
                    <a:lnTo>
                      <a:pt x="337" y="1517"/>
                    </a:lnTo>
                    <a:lnTo>
                      <a:pt x="325" y="1434"/>
                    </a:lnTo>
                    <a:lnTo>
                      <a:pt x="316" y="1350"/>
                    </a:lnTo>
                    <a:lnTo>
                      <a:pt x="307" y="1265"/>
                    </a:lnTo>
                    <a:lnTo>
                      <a:pt x="298" y="1178"/>
                    </a:lnTo>
                    <a:lnTo>
                      <a:pt x="290" y="1091"/>
                    </a:lnTo>
                    <a:lnTo>
                      <a:pt x="284" y="1004"/>
                    </a:lnTo>
                    <a:lnTo>
                      <a:pt x="278" y="915"/>
                    </a:lnTo>
                    <a:lnTo>
                      <a:pt x="273" y="827"/>
                    </a:lnTo>
                    <a:lnTo>
                      <a:pt x="270" y="738"/>
                    </a:lnTo>
                    <a:lnTo>
                      <a:pt x="266" y="648"/>
                    </a:lnTo>
                    <a:lnTo>
                      <a:pt x="264" y="557"/>
                    </a:lnTo>
                    <a:lnTo>
                      <a:pt x="263" y="465"/>
                    </a:lnTo>
                    <a:lnTo>
                      <a:pt x="264" y="374"/>
                    </a:lnTo>
                    <a:lnTo>
                      <a:pt x="265" y="281"/>
                    </a:lnTo>
                    <a:lnTo>
                      <a:pt x="269" y="188"/>
                    </a:lnTo>
                    <a:lnTo>
                      <a:pt x="273" y="94"/>
                    </a:lnTo>
                    <a:lnTo>
                      <a:pt x="278" y="0"/>
                    </a:lnTo>
                    <a:close/>
                  </a:path>
                </a:pathLst>
              </a:custGeom>
              <a:solidFill>
                <a:srgbClr val="D5353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61" name="Freeform 76"/>
              <p:cNvSpPr>
                <a:spLocks/>
              </p:cNvSpPr>
              <p:nvPr/>
            </p:nvSpPr>
            <p:spPr bwMode="auto">
              <a:xfrm>
                <a:off x="3537" y="1269"/>
                <a:ext cx="144" cy="399"/>
              </a:xfrm>
              <a:custGeom>
                <a:avLst/>
                <a:gdLst>
                  <a:gd name="T0" fmla="*/ 0 w 1008"/>
                  <a:gd name="T1" fmla="*/ 0 h 2791"/>
                  <a:gd name="T2" fmla="*/ 0 w 1008"/>
                  <a:gd name="T3" fmla="*/ 0 h 2791"/>
                  <a:gd name="T4" fmla="*/ 0 w 1008"/>
                  <a:gd name="T5" fmla="*/ 0 h 2791"/>
                  <a:gd name="T6" fmla="*/ 0 w 1008"/>
                  <a:gd name="T7" fmla="*/ 0 h 2791"/>
                  <a:gd name="T8" fmla="*/ 0 w 1008"/>
                  <a:gd name="T9" fmla="*/ 0 h 2791"/>
                  <a:gd name="T10" fmla="*/ 0 w 1008"/>
                  <a:gd name="T11" fmla="*/ 0 h 2791"/>
                  <a:gd name="T12" fmla="*/ 0 w 1008"/>
                  <a:gd name="T13" fmla="*/ 0 h 2791"/>
                  <a:gd name="T14" fmla="*/ 0 w 1008"/>
                  <a:gd name="T15" fmla="*/ 0 h 2791"/>
                  <a:gd name="T16" fmla="*/ 0 w 1008"/>
                  <a:gd name="T17" fmla="*/ 0 h 2791"/>
                  <a:gd name="T18" fmla="*/ 0 w 1008"/>
                  <a:gd name="T19" fmla="*/ 0 h 2791"/>
                  <a:gd name="T20" fmla="*/ 0 w 1008"/>
                  <a:gd name="T21" fmla="*/ 0 h 2791"/>
                  <a:gd name="T22" fmla="*/ 0 w 1008"/>
                  <a:gd name="T23" fmla="*/ 0 h 2791"/>
                  <a:gd name="T24" fmla="*/ 0 w 1008"/>
                  <a:gd name="T25" fmla="*/ 0 h 2791"/>
                  <a:gd name="T26" fmla="*/ 0 w 1008"/>
                  <a:gd name="T27" fmla="*/ 0 h 2791"/>
                  <a:gd name="T28" fmla="*/ 0 w 1008"/>
                  <a:gd name="T29" fmla="*/ 0 h 2791"/>
                  <a:gd name="T30" fmla="*/ 0 w 1008"/>
                  <a:gd name="T31" fmla="*/ 0 h 2791"/>
                  <a:gd name="T32" fmla="*/ 0 w 1008"/>
                  <a:gd name="T33" fmla="*/ 0 h 2791"/>
                  <a:gd name="T34" fmla="*/ 0 w 1008"/>
                  <a:gd name="T35" fmla="*/ 0 h 2791"/>
                  <a:gd name="T36" fmla="*/ 0 w 1008"/>
                  <a:gd name="T37" fmla="*/ 0 h 2791"/>
                  <a:gd name="T38" fmla="*/ 0 w 1008"/>
                  <a:gd name="T39" fmla="*/ 0 h 2791"/>
                  <a:gd name="T40" fmla="*/ 0 w 1008"/>
                  <a:gd name="T41" fmla="*/ 0 h 2791"/>
                  <a:gd name="T42" fmla="*/ 0 w 1008"/>
                  <a:gd name="T43" fmla="*/ 0 h 2791"/>
                  <a:gd name="T44" fmla="*/ 0 w 1008"/>
                  <a:gd name="T45" fmla="*/ 0 h 2791"/>
                  <a:gd name="T46" fmla="*/ 0 w 1008"/>
                  <a:gd name="T47" fmla="*/ 0 h 2791"/>
                  <a:gd name="T48" fmla="*/ 0 w 1008"/>
                  <a:gd name="T49" fmla="*/ 0 h 2791"/>
                  <a:gd name="T50" fmla="*/ 0 w 1008"/>
                  <a:gd name="T51" fmla="*/ 0 h 2791"/>
                  <a:gd name="T52" fmla="*/ 0 w 1008"/>
                  <a:gd name="T53" fmla="*/ 0 h 2791"/>
                  <a:gd name="T54" fmla="*/ 0 w 1008"/>
                  <a:gd name="T55" fmla="*/ 0 h 2791"/>
                  <a:gd name="T56" fmla="*/ 0 w 1008"/>
                  <a:gd name="T57" fmla="*/ 0 h 2791"/>
                  <a:gd name="T58" fmla="*/ 0 w 1008"/>
                  <a:gd name="T59" fmla="*/ 0 h 2791"/>
                  <a:gd name="T60" fmla="*/ 0 w 1008"/>
                  <a:gd name="T61" fmla="*/ 0 h 2791"/>
                  <a:gd name="T62" fmla="*/ 0 w 1008"/>
                  <a:gd name="T63" fmla="*/ 0 h 2791"/>
                  <a:gd name="T64" fmla="*/ 0 w 1008"/>
                  <a:gd name="T65" fmla="*/ 0 h 2791"/>
                  <a:gd name="T66" fmla="*/ 0 w 1008"/>
                  <a:gd name="T67" fmla="*/ 0 h 2791"/>
                  <a:gd name="T68" fmla="*/ 0 w 1008"/>
                  <a:gd name="T69" fmla="*/ 0 h 2791"/>
                  <a:gd name="T70" fmla="*/ 0 w 1008"/>
                  <a:gd name="T71" fmla="*/ 0 h 2791"/>
                  <a:gd name="T72" fmla="*/ 0 w 1008"/>
                  <a:gd name="T73" fmla="*/ 0 h 2791"/>
                  <a:gd name="T74" fmla="*/ 0 w 1008"/>
                  <a:gd name="T75" fmla="*/ 0 h 2791"/>
                  <a:gd name="T76" fmla="*/ 0 w 1008"/>
                  <a:gd name="T77" fmla="*/ 0 h 2791"/>
                  <a:gd name="T78" fmla="*/ 0 w 1008"/>
                  <a:gd name="T79" fmla="*/ 0 h 2791"/>
                  <a:gd name="T80" fmla="*/ 0 w 1008"/>
                  <a:gd name="T81" fmla="*/ 0 h 2791"/>
                  <a:gd name="T82" fmla="*/ 0 w 1008"/>
                  <a:gd name="T83" fmla="*/ 0 h 2791"/>
                  <a:gd name="T84" fmla="*/ 0 w 1008"/>
                  <a:gd name="T85" fmla="*/ 0 h 2791"/>
                  <a:gd name="T86" fmla="*/ 0 w 1008"/>
                  <a:gd name="T87" fmla="*/ 0 h 2791"/>
                  <a:gd name="T88" fmla="*/ 0 w 1008"/>
                  <a:gd name="T89" fmla="*/ 0 h 2791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008"/>
                  <a:gd name="T136" fmla="*/ 0 h 2791"/>
                  <a:gd name="T137" fmla="*/ 1008 w 1008"/>
                  <a:gd name="T138" fmla="*/ 2791 h 2791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008" h="2791">
                    <a:moveTo>
                      <a:pt x="937" y="0"/>
                    </a:moveTo>
                    <a:lnTo>
                      <a:pt x="831" y="2"/>
                    </a:lnTo>
                    <a:lnTo>
                      <a:pt x="735" y="6"/>
                    </a:lnTo>
                    <a:lnTo>
                      <a:pt x="646" y="15"/>
                    </a:lnTo>
                    <a:lnTo>
                      <a:pt x="565" y="26"/>
                    </a:lnTo>
                    <a:lnTo>
                      <a:pt x="490" y="40"/>
                    </a:lnTo>
                    <a:lnTo>
                      <a:pt x="422" y="58"/>
                    </a:lnTo>
                    <a:lnTo>
                      <a:pt x="361" y="79"/>
                    </a:lnTo>
                    <a:lnTo>
                      <a:pt x="305" y="102"/>
                    </a:lnTo>
                    <a:lnTo>
                      <a:pt x="256" y="129"/>
                    </a:lnTo>
                    <a:lnTo>
                      <a:pt x="212" y="159"/>
                    </a:lnTo>
                    <a:lnTo>
                      <a:pt x="173" y="191"/>
                    </a:lnTo>
                    <a:lnTo>
                      <a:pt x="140" y="228"/>
                    </a:lnTo>
                    <a:lnTo>
                      <a:pt x="110" y="266"/>
                    </a:lnTo>
                    <a:lnTo>
                      <a:pt x="85" y="306"/>
                    </a:lnTo>
                    <a:lnTo>
                      <a:pt x="65" y="351"/>
                    </a:lnTo>
                    <a:lnTo>
                      <a:pt x="47" y="397"/>
                    </a:lnTo>
                    <a:lnTo>
                      <a:pt x="32" y="447"/>
                    </a:lnTo>
                    <a:lnTo>
                      <a:pt x="21" y="498"/>
                    </a:lnTo>
                    <a:lnTo>
                      <a:pt x="13" y="553"/>
                    </a:lnTo>
                    <a:lnTo>
                      <a:pt x="7" y="610"/>
                    </a:lnTo>
                    <a:lnTo>
                      <a:pt x="3" y="670"/>
                    </a:lnTo>
                    <a:lnTo>
                      <a:pt x="0" y="732"/>
                    </a:lnTo>
                    <a:lnTo>
                      <a:pt x="0" y="797"/>
                    </a:lnTo>
                    <a:lnTo>
                      <a:pt x="0" y="865"/>
                    </a:lnTo>
                    <a:lnTo>
                      <a:pt x="4" y="1006"/>
                    </a:lnTo>
                    <a:lnTo>
                      <a:pt x="8" y="1157"/>
                    </a:lnTo>
                    <a:lnTo>
                      <a:pt x="9" y="1236"/>
                    </a:lnTo>
                    <a:lnTo>
                      <a:pt x="10" y="1316"/>
                    </a:lnTo>
                    <a:lnTo>
                      <a:pt x="10" y="1399"/>
                    </a:lnTo>
                    <a:lnTo>
                      <a:pt x="8" y="1485"/>
                    </a:lnTo>
                    <a:lnTo>
                      <a:pt x="5" y="1586"/>
                    </a:lnTo>
                    <a:lnTo>
                      <a:pt x="1" y="1700"/>
                    </a:lnTo>
                    <a:lnTo>
                      <a:pt x="0" y="1761"/>
                    </a:lnTo>
                    <a:lnTo>
                      <a:pt x="0" y="1823"/>
                    </a:lnTo>
                    <a:lnTo>
                      <a:pt x="1" y="1886"/>
                    </a:lnTo>
                    <a:lnTo>
                      <a:pt x="4" y="1950"/>
                    </a:lnTo>
                    <a:lnTo>
                      <a:pt x="7" y="2014"/>
                    </a:lnTo>
                    <a:lnTo>
                      <a:pt x="12" y="2080"/>
                    </a:lnTo>
                    <a:lnTo>
                      <a:pt x="19" y="2144"/>
                    </a:lnTo>
                    <a:lnTo>
                      <a:pt x="28" y="2207"/>
                    </a:lnTo>
                    <a:lnTo>
                      <a:pt x="40" y="2270"/>
                    </a:lnTo>
                    <a:lnTo>
                      <a:pt x="53" y="2330"/>
                    </a:lnTo>
                    <a:lnTo>
                      <a:pt x="70" y="2389"/>
                    </a:lnTo>
                    <a:lnTo>
                      <a:pt x="90" y="2446"/>
                    </a:lnTo>
                    <a:lnTo>
                      <a:pt x="113" y="2499"/>
                    </a:lnTo>
                    <a:lnTo>
                      <a:pt x="140" y="2550"/>
                    </a:lnTo>
                    <a:lnTo>
                      <a:pt x="170" y="2597"/>
                    </a:lnTo>
                    <a:lnTo>
                      <a:pt x="204" y="2639"/>
                    </a:lnTo>
                    <a:lnTo>
                      <a:pt x="242" y="2677"/>
                    </a:lnTo>
                    <a:lnTo>
                      <a:pt x="286" y="2711"/>
                    </a:lnTo>
                    <a:lnTo>
                      <a:pt x="333" y="2739"/>
                    </a:lnTo>
                    <a:lnTo>
                      <a:pt x="386" y="2761"/>
                    </a:lnTo>
                    <a:lnTo>
                      <a:pt x="443" y="2777"/>
                    </a:lnTo>
                    <a:lnTo>
                      <a:pt x="506" y="2788"/>
                    </a:lnTo>
                    <a:lnTo>
                      <a:pt x="574" y="2791"/>
                    </a:lnTo>
                    <a:lnTo>
                      <a:pt x="648" y="2787"/>
                    </a:lnTo>
                    <a:lnTo>
                      <a:pt x="729" y="2774"/>
                    </a:lnTo>
                    <a:lnTo>
                      <a:pt x="815" y="2755"/>
                    </a:lnTo>
                    <a:lnTo>
                      <a:pt x="908" y="2726"/>
                    </a:lnTo>
                    <a:lnTo>
                      <a:pt x="1008" y="2688"/>
                    </a:lnTo>
                    <a:lnTo>
                      <a:pt x="982" y="2551"/>
                    </a:lnTo>
                    <a:lnTo>
                      <a:pt x="958" y="2410"/>
                    </a:lnTo>
                    <a:lnTo>
                      <a:pt x="947" y="2338"/>
                    </a:lnTo>
                    <a:lnTo>
                      <a:pt x="936" y="2265"/>
                    </a:lnTo>
                    <a:lnTo>
                      <a:pt x="925" y="2189"/>
                    </a:lnTo>
                    <a:lnTo>
                      <a:pt x="915" y="2114"/>
                    </a:lnTo>
                    <a:lnTo>
                      <a:pt x="906" y="2037"/>
                    </a:lnTo>
                    <a:lnTo>
                      <a:pt x="896" y="1959"/>
                    </a:lnTo>
                    <a:lnTo>
                      <a:pt x="888" y="1880"/>
                    </a:lnTo>
                    <a:lnTo>
                      <a:pt x="881" y="1800"/>
                    </a:lnTo>
                    <a:lnTo>
                      <a:pt x="874" y="1719"/>
                    </a:lnTo>
                    <a:lnTo>
                      <a:pt x="867" y="1637"/>
                    </a:lnTo>
                    <a:lnTo>
                      <a:pt x="862" y="1553"/>
                    </a:lnTo>
                    <a:lnTo>
                      <a:pt x="857" y="1469"/>
                    </a:lnTo>
                    <a:lnTo>
                      <a:pt x="854" y="1385"/>
                    </a:lnTo>
                    <a:lnTo>
                      <a:pt x="851" y="1298"/>
                    </a:lnTo>
                    <a:lnTo>
                      <a:pt x="849" y="1211"/>
                    </a:lnTo>
                    <a:lnTo>
                      <a:pt x="849" y="1123"/>
                    </a:lnTo>
                    <a:lnTo>
                      <a:pt x="849" y="1034"/>
                    </a:lnTo>
                    <a:lnTo>
                      <a:pt x="851" y="944"/>
                    </a:lnTo>
                    <a:lnTo>
                      <a:pt x="853" y="854"/>
                    </a:lnTo>
                    <a:lnTo>
                      <a:pt x="857" y="762"/>
                    </a:lnTo>
                    <a:lnTo>
                      <a:pt x="862" y="670"/>
                    </a:lnTo>
                    <a:lnTo>
                      <a:pt x="868" y="577"/>
                    </a:lnTo>
                    <a:lnTo>
                      <a:pt x="877" y="483"/>
                    </a:lnTo>
                    <a:lnTo>
                      <a:pt x="885" y="388"/>
                    </a:lnTo>
                    <a:lnTo>
                      <a:pt x="896" y="292"/>
                    </a:lnTo>
                    <a:lnTo>
                      <a:pt x="908" y="196"/>
                    </a:lnTo>
                    <a:lnTo>
                      <a:pt x="921" y="98"/>
                    </a:lnTo>
                    <a:lnTo>
                      <a:pt x="937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62" name="Freeform 77"/>
              <p:cNvSpPr>
                <a:spLocks/>
              </p:cNvSpPr>
              <p:nvPr/>
            </p:nvSpPr>
            <p:spPr bwMode="auto">
              <a:xfrm>
                <a:off x="3695" y="1265"/>
                <a:ext cx="94" cy="379"/>
              </a:xfrm>
              <a:custGeom>
                <a:avLst/>
                <a:gdLst>
                  <a:gd name="T0" fmla="*/ 0 w 656"/>
                  <a:gd name="T1" fmla="*/ 0 h 2649"/>
                  <a:gd name="T2" fmla="*/ 0 w 656"/>
                  <a:gd name="T3" fmla="*/ 0 h 2649"/>
                  <a:gd name="T4" fmla="*/ 0 w 656"/>
                  <a:gd name="T5" fmla="*/ 0 h 2649"/>
                  <a:gd name="T6" fmla="*/ 0 w 656"/>
                  <a:gd name="T7" fmla="*/ 0 h 2649"/>
                  <a:gd name="T8" fmla="*/ 0 w 656"/>
                  <a:gd name="T9" fmla="*/ 0 h 2649"/>
                  <a:gd name="T10" fmla="*/ 0 w 656"/>
                  <a:gd name="T11" fmla="*/ 0 h 2649"/>
                  <a:gd name="T12" fmla="*/ 0 w 656"/>
                  <a:gd name="T13" fmla="*/ 0 h 2649"/>
                  <a:gd name="T14" fmla="*/ 0 w 656"/>
                  <a:gd name="T15" fmla="*/ 0 h 2649"/>
                  <a:gd name="T16" fmla="*/ 0 w 656"/>
                  <a:gd name="T17" fmla="*/ 0 h 2649"/>
                  <a:gd name="T18" fmla="*/ 0 w 656"/>
                  <a:gd name="T19" fmla="*/ 0 h 2649"/>
                  <a:gd name="T20" fmla="*/ 0 w 656"/>
                  <a:gd name="T21" fmla="*/ 0 h 2649"/>
                  <a:gd name="T22" fmla="*/ 0 w 656"/>
                  <a:gd name="T23" fmla="*/ 0 h 2649"/>
                  <a:gd name="T24" fmla="*/ 0 w 656"/>
                  <a:gd name="T25" fmla="*/ 0 h 2649"/>
                  <a:gd name="T26" fmla="*/ 0 w 656"/>
                  <a:gd name="T27" fmla="*/ 0 h 2649"/>
                  <a:gd name="T28" fmla="*/ 0 w 656"/>
                  <a:gd name="T29" fmla="*/ 0 h 2649"/>
                  <a:gd name="T30" fmla="*/ 0 w 656"/>
                  <a:gd name="T31" fmla="*/ 0 h 2649"/>
                  <a:gd name="T32" fmla="*/ 0 w 656"/>
                  <a:gd name="T33" fmla="*/ 0 h 2649"/>
                  <a:gd name="T34" fmla="*/ 0 w 656"/>
                  <a:gd name="T35" fmla="*/ 0 h 2649"/>
                  <a:gd name="T36" fmla="*/ 0 w 656"/>
                  <a:gd name="T37" fmla="*/ 0 h 2649"/>
                  <a:gd name="T38" fmla="*/ 0 w 656"/>
                  <a:gd name="T39" fmla="*/ 0 h 2649"/>
                  <a:gd name="T40" fmla="*/ 0 w 656"/>
                  <a:gd name="T41" fmla="*/ 0 h 2649"/>
                  <a:gd name="T42" fmla="*/ 0 w 656"/>
                  <a:gd name="T43" fmla="*/ 0 h 2649"/>
                  <a:gd name="T44" fmla="*/ 0 w 656"/>
                  <a:gd name="T45" fmla="*/ 0 h 2649"/>
                  <a:gd name="T46" fmla="*/ 0 w 656"/>
                  <a:gd name="T47" fmla="*/ 0 h 2649"/>
                  <a:gd name="T48" fmla="*/ 0 w 656"/>
                  <a:gd name="T49" fmla="*/ 0 h 2649"/>
                  <a:gd name="T50" fmla="*/ 0 w 656"/>
                  <a:gd name="T51" fmla="*/ 0 h 2649"/>
                  <a:gd name="T52" fmla="*/ 0 w 656"/>
                  <a:gd name="T53" fmla="*/ 0 h 2649"/>
                  <a:gd name="T54" fmla="*/ 0 w 656"/>
                  <a:gd name="T55" fmla="*/ 0 h 2649"/>
                  <a:gd name="T56" fmla="*/ 0 w 656"/>
                  <a:gd name="T57" fmla="*/ 0 h 2649"/>
                  <a:gd name="T58" fmla="*/ 0 w 656"/>
                  <a:gd name="T59" fmla="*/ 0 h 2649"/>
                  <a:gd name="T60" fmla="*/ 0 w 656"/>
                  <a:gd name="T61" fmla="*/ 0 h 2649"/>
                  <a:gd name="T62" fmla="*/ 0 w 656"/>
                  <a:gd name="T63" fmla="*/ 0 h 2649"/>
                  <a:gd name="T64" fmla="*/ 0 w 656"/>
                  <a:gd name="T65" fmla="*/ 0 h 2649"/>
                  <a:gd name="T66" fmla="*/ 0 w 656"/>
                  <a:gd name="T67" fmla="*/ 0 h 2649"/>
                  <a:gd name="T68" fmla="*/ 0 w 656"/>
                  <a:gd name="T69" fmla="*/ 0 h 2649"/>
                  <a:gd name="T70" fmla="*/ 0 w 656"/>
                  <a:gd name="T71" fmla="*/ 0 h 2649"/>
                  <a:gd name="T72" fmla="*/ 0 w 656"/>
                  <a:gd name="T73" fmla="*/ 0 h 2649"/>
                  <a:gd name="T74" fmla="*/ 0 w 656"/>
                  <a:gd name="T75" fmla="*/ 0 h 2649"/>
                  <a:gd name="T76" fmla="*/ 0 w 656"/>
                  <a:gd name="T77" fmla="*/ 0 h 2649"/>
                  <a:gd name="T78" fmla="*/ 0 w 656"/>
                  <a:gd name="T79" fmla="*/ 0 h 2649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656"/>
                  <a:gd name="T121" fmla="*/ 0 h 2649"/>
                  <a:gd name="T122" fmla="*/ 656 w 656"/>
                  <a:gd name="T123" fmla="*/ 2649 h 2649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656" h="2649">
                    <a:moveTo>
                      <a:pt x="243" y="2"/>
                    </a:moveTo>
                    <a:lnTo>
                      <a:pt x="217" y="1"/>
                    </a:lnTo>
                    <a:lnTo>
                      <a:pt x="191" y="0"/>
                    </a:lnTo>
                    <a:lnTo>
                      <a:pt x="164" y="0"/>
                    </a:lnTo>
                    <a:lnTo>
                      <a:pt x="138" y="0"/>
                    </a:lnTo>
                    <a:lnTo>
                      <a:pt x="111" y="0"/>
                    </a:lnTo>
                    <a:lnTo>
                      <a:pt x="84" y="1"/>
                    </a:lnTo>
                    <a:lnTo>
                      <a:pt x="57" y="2"/>
                    </a:lnTo>
                    <a:lnTo>
                      <a:pt x="30" y="3"/>
                    </a:lnTo>
                    <a:lnTo>
                      <a:pt x="22" y="4"/>
                    </a:lnTo>
                    <a:lnTo>
                      <a:pt x="15" y="4"/>
                    </a:lnTo>
                    <a:lnTo>
                      <a:pt x="10" y="98"/>
                    </a:lnTo>
                    <a:lnTo>
                      <a:pt x="6" y="192"/>
                    </a:lnTo>
                    <a:lnTo>
                      <a:pt x="2" y="285"/>
                    </a:lnTo>
                    <a:lnTo>
                      <a:pt x="1" y="378"/>
                    </a:lnTo>
                    <a:lnTo>
                      <a:pt x="0" y="469"/>
                    </a:lnTo>
                    <a:lnTo>
                      <a:pt x="1" y="561"/>
                    </a:lnTo>
                    <a:lnTo>
                      <a:pt x="3" y="652"/>
                    </a:lnTo>
                    <a:lnTo>
                      <a:pt x="7" y="742"/>
                    </a:lnTo>
                    <a:lnTo>
                      <a:pt x="10" y="831"/>
                    </a:lnTo>
                    <a:lnTo>
                      <a:pt x="15" y="919"/>
                    </a:lnTo>
                    <a:lnTo>
                      <a:pt x="21" y="1008"/>
                    </a:lnTo>
                    <a:lnTo>
                      <a:pt x="27" y="1095"/>
                    </a:lnTo>
                    <a:lnTo>
                      <a:pt x="35" y="1182"/>
                    </a:lnTo>
                    <a:lnTo>
                      <a:pt x="44" y="1269"/>
                    </a:lnTo>
                    <a:lnTo>
                      <a:pt x="53" y="1354"/>
                    </a:lnTo>
                    <a:lnTo>
                      <a:pt x="62" y="1438"/>
                    </a:lnTo>
                    <a:lnTo>
                      <a:pt x="74" y="1521"/>
                    </a:lnTo>
                    <a:lnTo>
                      <a:pt x="85" y="1604"/>
                    </a:lnTo>
                    <a:lnTo>
                      <a:pt x="96" y="1686"/>
                    </a:lnTo>
                    <a:lnTo>
                      <a:pt x="109" y="1766"/>
                    </a:lnTo>
                    <a:lnTo>
                      <a:pt x="122" y="1846"/>
                    </a:lnTo>
                    <a:lnTo>
                      <a:pt x="136" y="1925"/>
                    </a:lnTo>
                    <a:lnTo>
                      <a:pt x="150" y="2003"/>
                    </a:lnTo>
                    <a:lnTo>
                      <a:pt x="165" y="2080"/>
                    </a:lnTo>
                    <a:lnTo>
                      <a:pt x="179" y="2155"/>
                    </a:lnTo>
                    <a:lnTo>
                      <a:pt x="195" y="2230"/>
                    </a:lnTo>
                    <a:lnTo>
                      <a:pt x="210" y="2302"/>
                    </a:lnTo>
                    <a:lnTo>
                      <a:pt x="227" y="2374"/>
                    </a:lnTo>
                    <a:lnTo>
                      <a:pt x="259" y="2515"/>
                    </a:lnTo>
                    <a:lnTo>
                      <a:pt x="293" y="2649"/>
                    </a:lnTo>
                    <a:lnTo>
                      <a:pt x="339" y="2637"/>
                    </a:lnTo>
                    <a:lnTo>
                      <a:pt x="387" y="2625"/>
                    </a:lnTo>
                    <a:lnTo>
                      <a:pt x="432" y="2611"/>
                    </a:lnTo>
                    <a:lnTo>
                      <a:pt x="478" y="2596"/>
                    </a:lnTo>
                    <a:lnTo>
                      <a:pt x="523" y="2581"/>
                    </a:lnTo>
                    <a:lnTo>
                      <a:pt x="568" y="2565"/>
                    </a:lnTo>
                    <a:lnTo>
                      <a:pt x="612" y="2548"/>
                    </a:lnTo>
                    <a:lnTo>
                      <a:pt x="656" y="2531"/>
                    </a:lnTo>
                    <a:lnTo>
                      <a:pt x="635" y="2464"/>
                    </a:lnTo>
                    <a:lnTo>
                      <a:pt x="613" y="2397"/>
                    </a:lnTo>
                    <a:lnTo>
                      <a:pt x="592" y="2329"/>
                    </a:lnTo>
                    <a:lnTo>
                      <a:pt x="572" y="2260"/>
                    </a:lnTo>
                    <a:lnTo>
                      <a:pt x="551" y="2189"/>
                    </a:lnTo>
                    <a:lnTo>
                      <a:pt x="532" y="2118"/>
                    </a:lnTo>
                    <a:lnTo>
                      <a:pt x="512" y="2046"/>
                    </a:lnTo>
                    <a:lnTo>
                      <a:pt x="493" y="1972"/>
                    </a:lnTo>
                    <a:lnTo>
                      <a:pt x="475" y="1898"/>
                    </a:lnTo>
                    <a:lnTo>
                      <a:pt x="456" y="1822"/>
                    </a:lnTo>
                    <a:lnTo>
                      <a:pt x="439" y="1746"/>
                    </a:lnTo>
                    <a:lnTo>
                      <a:pt x="421" y="1668"/>
                    </a:lnTo>
                    <a:lnTo>
                      <a:pt x="404" y="1591"/>
                    </a:lnTo>
                    <a:lnTo>
                      <a:pt x="389" y="1512"/>
                    </a:lnTo>
                    <a:lnTo>
                      <a:pt x="373" y="1432"/>
                    </a:lnTo>
                    <a:lnTo>
                      <a:pt x="359" y="1352"/>
                    </a:lnTo>
                    <a:lnTo>
                      <a:pt x="346" y="1271"/>
                    </a:lnTo>
                    <a:lnTo>
                      <a:pt x="332" y="1190"/>
                    </a:lnTo>
                    <a:lnTo>
                      <a:pt x="320" y="1108"/>
                    </a:lnTo>
                    <a:lnTo>
                      <a:pt x="308" y="1025"/>
                    </a:lnTo>
                    <a:lnTo>
                      <a:pt x="297" y="942"/>
                    </a:lnTo>
                    <a:lnTo>
                      <a:pt x="288" y="858"/>
                    </a:lnTo>
                    <a:lnTo>
                      <a:pt x="278" y="775"/>
                    </a:lnTo>
                    <a:lnTo>
                      <a:pt x="270" y="690"/>
                    </a:lnTo>
                    <a:lnTo>
                      <a:pt x="263" y="605"/>
                    </a:lnTo>
                    <a:lnTo>
                      <a:pt x="258" y="519"/>
                    </a:lnTo>
                    <a:lnTo>
                      <a:pt x="253" y="433"/>
                    </a:lnTo>
                    <a:lnTo>
                      <a:pt x="248" y="348"/>
                    </a:lnTo>
                    <a:lnTo>
                      <a:pt x="245" y="262"/>
                    </a:lnTo>
                    <a:lnTo>
                      <a:pt x="243" y="176"/>
                    </a:lnTo>
                    <a:lnTo>
                      <a:pt x="242" y="89"/>
                    </a:lnTo>
                    <a:lnTo>
                      <a:pt x="243" y="2"/>
                    </a:lnTo>
                    <a:close/>
                  </a:path>
                </a:pathLst>
              </a:custGeom>
              <a:solidFill>
                <a:srgbClr val="23509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63" name="Freeform 78"/>
              <p:cNvSpPr>
                <a:spLocks/>
              </p:cNvSpPr>
              <p:nvPr/>
            </p:nvSpPr>
            <p:spPr bwMode="auto">
              <a:xfrm>
                <a:off x="3730" y="1266"/>
                <a:ext cx="107" cy="361"/>
              </a:xfrm>
              <a:custGeom>
                <a:avLst/>
                <a:gdLst>
                  <a:gd name="T0" fmla="*/ 0 w 747"/>
                  <a:gd name="T1" fmla="*/ 0 h 2529"/>
                  <a:gd name="T2" fmla="*/ 0 w 747"/>
                  <a:gd name="T3" fmla="*/ 0 h 2529"/>
                  <a:gd name="T4" fmla="*/ 0 w 747"/>
                  <a:gd name="T5" fmla="*/ 0 h 2529"/>
                  <a:gd name="T6" fmla="*/ 0 w 747"/>
                  <a:gd name="T7" fmla="*/ 0 h 2529"/>
                  <a:gd name="T8" fmla="*/ 0 w 747"/>
                  <a:gd name="T9" fmla="*/ 0 h 2529"/>
                  <a:gd name="T10" fmla="*/ 0 w 747"/>
                  <a:gd name="T11" fmla="*/ 0 h 2529"/>
                  <a:gd name="T12" fmla="*/ 0 w 747"/>
                  <a:gd name="T13" fmla="*/ 0 h 2529"/>
                  <a:gd name="T14" fmla="*/ 0 w 747"/>
                  <a:gd name="T15" fmla="*/ 0 h 2529"/>
                  <a:gd name="T16" fmla="*/ 0 w 747"/>
                  <a:gd name="T17" fmla="*/ 0 h 2529"/>
                  <a:gd name="T18" fmla="*/ 0 w 747"/>
                  <a:gd name="T19" fmla="*/ 0 h 2529"/>
                  <a:gd name="T20" fmla="*/ 0 w 747"/>
                  <a:gd name="T21" fmla="*/ 0 h 2529"/>
                  <a:gd name="T22" fmla="*/ 0 w 747"/>
                  <a:gd name="T23" fmla="*/ 0 h 2529"/>
                  <a:gd name="T24" fmla="*/ 0 w 747"/>
                  <a:gd name="T25" fmla="*/ 0 h 2529"/>
                  <a:gd name="T26" fmla="*/ 0 w 747"/>
                  <a:gd name="T27" fmla="*/ 0 h 2529"/>
                  <a:gd name="T28" fmla="*/ 0 w 747"/>
                  <a:gd name="T29" fmla="*/ 0 h 2529"/>
                  <a:gd name="T30" fmla="*/ 0 w 747"/>
                  <a:gd name="T31" fmla="*/ 0 h 2529"/>
                  <a:gd name="T32" fmla="*/ 0 w 747"/>
                  <a:gd name="T33" fmla="*/ 0 h 2529"/>
                  <a:gd name="T34" fmla="*/ 0 w 747"/>
                  <a:gd name="T35" fmla="*/ 0 h 2529"/>
                  <a:gd name="T36" fmla="*/ 0 w 747"/>
                  <a:gd name="T37" fmla="*/ 0 h 2529"/>
                  <a:gd name="T38" fmla="*/ 0 w 747"/>
                  <a:gd name="T39" fmla="*/ 0 h 2529"/>
                  <a:gd name="T40" fmla="*/ 0 w 747"/>
                  <a:gd name="T41" fmla="*/ 0 h 2529"/>
                  <a:gd name="T42" fmla="*/ 0 w 747"/>
                  <a:gd name="T43" fmla="*/ 0 h 2529"/>
                  <a:gd name="T44" fmla="*/ 0 w 747"/>
                  <a:gd name="T45" fmla="*/ 0 h 2529"/>
                  <a:gd name="T46" fmla="*/ 0 w 747"/>
                  <a:gd name="T47" fmla="*/ 0 h 2529"/>
                  <a:gd name="T48" fmla="*/ 0 w 747"/>
                  <a:gd name="T49" fmla="*/ 0 h 2529"/>
                  <a:gd name="T50" fmla="*/ 0 w 747"/>
                  <a:gd name="T51" fmla="*/ 0 h 2529"/>
                  <a:gd name="T52" fmla="*/ 0 w 747"/>
                  <a:gd name="T53" fmla="*/ 0 h 2529"/>
                  <a:gd name="T54" fmla="*/ 0 w 747"/>
                  <a:gd name="T55" fmla="*/ 0 h 2529"/>
                  <a:gd name="T56" fmla="*/ 0 w 747"/>
                  <a:gd name="T57" fmla="*/ 0 h 2529"/>
                  <a:gd name="T58" fmla="*/ 0 w 747"/>
                  <a:gd name="T59" fmla="*/ 0 h 2529"/>
                  <a:gd name="T60" fmla="*/ 0 w 747"/>
                  <a:gd name="T61" fmla="*/ 0 h 2529"/>
                  <a:gd name="T62" fmla="*/ 0 w 747"/>
                  <a:gd name="T63" fmla="*/ 0 h 2529"/>
                  <a:gd name="T64" fmla="*/ 0 w 747"/>
                  <a:gd name="T65" fmla="*/ 0 h 2529"/>
                  <a:gd name="T66" fmla="*/ 0 w 747"/>
                  <a:gd name="T67" fmla="*/ 0 h 2529"/>
                  <a:gd name="T68" fmla="*/ 0 w 747"/>
                  <a:gd name="T69" fmla="*/ 0 h 2529"/>
                  <a:gd name="T70" fmla="*/ 0 w 747"/>
                  <a:gd name="T71" fmla="*/ 0 h 2529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747"/>
                  <a:gd name="T109" fmla="*/ 0 h 2529"/>
                  <a:gd name="T110" fmla="*/ 747 w 747"/>
                  <a:gd name="T111" fmla="*/ 2529 h 2529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747" h="2529">
                    <a:moveTo>
                      <a:pt x="1" y="0"/>
                    </a:moveTo>
                    <a:lnTo>
                      <a:pt x="0" y="87"/>
                    </a:lnTo>
                    <a:lnTo>
                      <a:pt x="1" y="174"/>
                    </a:lnTo>
                    <a:lnTo>
                      <a:pt x="3" y="260"/>
                    </a:lnTo>
                    <a:lnTo>
                      <a:pt x="6" y="346"/>
                    </a:lnTo>
                    <a:lnTo>
                      <a:pt x="11" y="431"/>
                    </a:lnTo>
                    <a:lnTo>
                      <a:pt x="16" y="517"/>
                    </a:lnTo>
                    <a:lnTo>
                      <a:pt x="21" y="603"/>
                    </a:lnTo>
                    <a:lnTo>
                      <a:pt x="28" y="688"/>
                    </a:lnTo>
                    <a:lnTo>
                      <a:pt x="36" y="773"/>
                    </a:lnTo>
                    <a:lnTo>
                      <a:pt x="46" y="856"/>
                    </a:lnTo>
                    <a:lnTo>
                      <a:pt x="55" y="940"/>
                    </a:lnTo>
                    <a:lnTo>
                      <a:pt x="66" y="1023"/>
                    </a:lnTo>
                    <a:lnTo>
                      <a:pt x="78" y="1106"/>
                    </a:lnTo>
                    <a:lnTo>
                      <a:pt x="90" y="1188"/>
                    </a:lnTo>
                    <a:lnTo>
                      <a:pt x="104" y="1269"/>
                    </a:lnTo>
                    <a:lnTo>
                      <a:pt x="117" y="1350"/>
                    </a:lnTo>
                    <a:lnTo>
                      <a:pt x="131" y="1430"/>
                    </a:lnTo>
                    <a:lnTo>
                      <a:pt x="147" y="1510"/>
                    </a:lnTo>
                    <a:lnTo>
                      <a:pt x="162" y="1589"/>
                    </a:lnTo>
                    <a:lnTo>
                      <a:pt x="179" y="1666"/>
                    </a:lnTo>
                    <a:lnTo>
                      <a:pt x="197" y="1744"/>
                    </a:lnTo>
                    <a:lnTo>
                      <a:pt x="214" y="1820"/>
                    </a:lnTo>
                    <a:lnTo>
                      <a:pt x="233" y="1896"/>
                    </a:lnTo>
                    <a:lnTo>
                      <a:pt x="251" y="1970"/>
                    </a:lnTo>
                    <a:lnTo>
                      <a:pt x="270" y="2044"/>
                    </a:lnTo>
                    <a:lnTo>
                      <a:pt x="290" y="2116"/>
                    </a:lnTo>
                    <a:lnTo>
                      <a:pt x="309" y="2187"/>
                    </a:lnTo>
                    <a:lnTo>
                      <a:pt x="330" y="2258"/>
                    </a:lnTo>
                    <a:lnTo>
                      <a:pt x="350" y="2327"/>
                    </a:lnTo>
                    <a:lnTo>
                      <a:pt x="371" y="2395"/>
                    </a:lnTo>
                    <a:lnTo>
                      <a:pt x="393" y="2462"/>
                    </a:lnTo>
                    <a:lnTo>
                      <a:pt x="414" y="2529"/>
                    </a:lnTo>
                    <a:lnTo>
                      <a:pt x="458" y="2510"/>
                    </a:lnTo>
                    <a:lnTo>
                      <a:pt x="501" y="2490"/>
                    </a:lnTo>
                    <a:lnTo>
                      <a:pt x="544" y="2470"/>
                    </a:lnTo>
                    <a:lnTo>
                      <a:pt x="586" y="2449"/>
                    </a:lnTo>
                    <a:lnTo>
                      <a:pt x="627" y="2427"/>
                    </a:lnTo>
                    <a:lnTo>
                      <a:pt x="669" y="2405"/>
                    </a:lnTo>
                    <a:lnTo>
                      <a:pt x="708" y="2383"/>
                    </a:lnTo>
                    <a:lnTo>
                      <a:pt x="747" y="2360"/>
                    </a:lnTo>
                    <a:lnTo>
                      <a:pt x="723" y="2303"/>
                    </a:lnTo>
                    <a:lnTo>
                      <a:pt x="699" y="2245"/>
                    </a:lnTo>
                    <a:lnTo>
                      <a:pt x="675" y="2185"/>
                    </a:lnTo>
                    <a:lnTo>
                      <a:pt x="652" y="2122"/>
                    </a:lnTo>
                    <a:lnTo>
                      <a:pt x="631" y="2058"/>
                    </a:lnTo>
                    <a:lnTo>
                      <a:pt x="609" y="1992"/>
                    </a:lnTo>
                    <a:lnTo>
                      <a:pt x="588" y="1925"/>
                    </a:lnTo>
                    <a:lnTo>
                      <a:pt x="567" y="1855"/>
                    </a:lnTo>
                    <a:lnTo>
                      <a:pt x="547" y="1784"/>
                    </a:lnTo>
                    <a:lnTo>
                      <a:pt x="528" y="1713"/>
                    </a:lnTo>
                    <a:lnTo>
                      <a:pt x="509" y="1639"/>
                    </a:lnTo>
                    <a:lnTo>
                      <a:pt x="490" y="1565"/>
                    </a:lnTo>
                    <a:lnTo>
                      <a:pt x="472" y="1489"/>
                    </a:lnTo>
                    <a:lnTo>
                      <a:pt x="454" y="1413"/>
                    </a:lnTo>
                    <a:lnTo>
                      <a:pt x="436" y="1335"/>
                    </a:lnTo>
                    <a:lnTo>
                      <a:pt x="420" y="1258"/>
                    </a:lnTo>
                    <a:lnTo>
                      <a:pt x="386" y="1101"/>
                    </a:lnTo>
                    <a:lnTo>
                      <a:pt x="354" y="942"/>
                    </a:lnTo>
                    <a:lnTo>
                      <a:pt x="322" y="784"/>
                    </a:lnTo>
                    <a:lnTo>
                      <a:pt x="291" y="626"/>
                    </a:lnTo>
                    <a:lnTo>
                      <a:pt x="260" y="469"/>
                    </a:lnTo>
                    <a:lnTo>
                      <a:pt x="229" y="315"/>
                    </a:lnTo>
                    <a:lnTo>
                      <a:pt x="198" y="164"/>
                    </a:lnTo>
                    <a:lnTo>
                      <a:pt x="166" y="16"/>
                    </a:lnTo>
                    <a:lnTo>
                      <a:pt x="146" y="14"/>
                    </a:lnTo>
                    <a:lnTo>
                      <a:pt x="125" y="11"/>
                    </a:lnTo>
                    <a:lnTo>
                      <a:pt x="105" y="9"/>
                    </a:lnTo>
                    <a:lnTo>
                      <a:pt x="84" y="7"/>
                    </a:lnTo>
                    <a:lnTo>
                      <a:pt x="63" y="4"/>
                    </a:lnTo>
                    <a:lnTo>
                      <a:pt x="43" y="3"/>
                    </a:lnTo>
                    <a:lnTo>
                      <a:pt x="22" y="1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64" name="Freeform 79"/>
              <p:cNvSpPr>
                <a:spLocks/>
              </p:cNvSpPr>
              <p:nvPr/>
            </p:nvSpPr>
            <p:spPr bwMode="auto">
              <a:xfrm>
                <a:off x="3694" y="1369"/>
                <a:ext cx="227" cy="276"/>
              </a:xfrm>
              <a:custGeom>
                <a:avLst/>
                <a:gdLst>
                  <a:gd name="T0" fmla="*/ 0 w 1592"/>
                  <a:gd name="T1" fmla="*/ 0 h 1931"/>
                  <a:gd name="T2" fmla="*/ 0 w 1592"/>
                  <a:gd name="T3" fmla="*/ 0 h 1931"/>
                  <a:gd name="T4" fmla="*/ 0 w 1592"/>
                  <a:gd name="T5" fmla="*/ 0 h 1931"/>
                  <a:gd name="T6" fmla="*/ 0 w 1592"/>
                  <a:gd name="T7" fmla="*/ 0 h 1931"/>
                  <a:gd name="T8" fmla="*/ 0 w 1592"/>
                  <a:gd name="T9" fmla="*/ 0 h 1931"/>
                  <a:gd name="T10" fmla="*/ 0 w 1592"/>
                  <a:gd name="T11" fmla="*/ 0 h 1931"/>
                  <a:gd name="T12" fmla="*/ 0 w 1592"/>
                  <a:gd name="T13" fmla="*/ 0 h 1931"/>
                  <a:gd name="T14" fmla="*/ 0 w 1592"/>
                  <a:gd name="T15" fmla="*/ 0 h 1931"/>
                  <a:gd name="T16" fmla="*/ 0 w 1592"/>
                  <a:gd name="T17" fmla="*/ 0 h 1931"/>
                  <a:gd name="T18" fmla="*/ 0 w 1592"/>
                  <a:gd name="T19" fmla="*/ 0 h 1931"/>
                  <a:gd name="T20" fmla="*/ 0 w 1592"/>
                  <a:gd name="T21" fmla="*/ 0 h 1931"/>
                  <a:gd name="T22" fmla="*/ 0 w 1592"/>
                  <a:gd name="T23" fmla="*/ 0 h 1931"/>
                  <a:gd name="T24" fmla="*/ 0 w 1592"/>
                  <a:gd name="T25" fmla="*/ 0 h 1931"/>
                  <a:gd name="T26" fmla="*/ 0 w 1592"/>
                  <a:gd name="T27" fmla="*/ 0 h 1931"/>
                  <a:gd name="T28" fmla="*/ 0 w 1592"/>
                  <a:gd name="T29" fmla="*/ 0 h 1931"/>
                  <a:gd name="T30" fmla="*/ 0 w 1592"/>
                  <a:gd name="T31" fmla="*/ 0 h 1931"/>
                  <a:gd name="T32" fmla="*/ 0 w 1592"/>
                  <a:gd name="T33" fmla="*/ 0 h 1931"/>
                  <a:gd name="T34" fmla="*/ 0 w 1592"/>
                  <a:gd name="T35" fmla="*/ 0 h 1931"/>
                  <a:gd name="T36" fmla="*/ 0 w 1592"/>
                  <a:gd name="T37" fmla="*/ 0 h 1931"/>
                  <a:gd name="T38" fmla="*/ 0 w 1592"/>
                  <a:gd name="T39" fmla="*/ 0 h 1931"/>
                  <a:gd name="T40" fmla="*/ 0 w 1592"/>
                  <a:gd name="T41" fmla="*/ 0 h 1931"/>
                  <a:gd name="T42" fmla="*/ 0 w 1592"/>
                  <a:gd name="T43" fmla="*/ 0 h 1931"/>
                  <a:gd name="T44" fmla="*/ 0 w 1592"/>
                  <a:gd name="T45" fmla="*/ 0 h 1931"/>
                  <a:gd name="T46" fmla="*/ 0 w 1592"/>
                  <a:gd name="T47" fmla="*/ 0 h 1931"/>
                  <a:gd name="T48" fmla="*/ 0 w 1592"/>
                  <a:gd name="T49" fmla="*/ 0 h 1931"/>
                  <a:gd name="T50" fmla="*/ 0 w 1592"/>
                  <a:gd name="T51" fmla="*/ 0 h 1931"/>
                  <a:gd name="T52" fmla="*/ 0 w 1592"/>
                  <a:gd name="T53" fmla="*/ 0 h 1931"/>
                  <a:gd name="T54" fmla="*/ 0 w 1592"/>
                  <a:gd name="T55" fmla="*/ 0 h 1931"/>
                  <a:gd name="T56" fmla="*/ 0 w 1592"/>
                  <a:gd name="T57" fmla="*/ 0 h 1931"/>
                  <a:gd name="T58" fmla="*/ 0 w 1592"/>
                  <a:gd name="T59" fmla="*/ 0 h 1931"/>
                  <a:gd name="T60" fmla="*/ 0 w 1592"/>
                  <a:gd name="T61" fmla="*/ 0 h 1931"/>
                  <a:gd name="T62" fmla="*/ 0 w 1592"/>
                  <a:gd name="T63" fmla="*/ 0 h 1931"/>
                  <a:gd name="T64" fmla="*/ 0 w 1592"/>
                  <a:gd name="T65" fmla="*/ 0 h 1931"/>
                  <a:gd name="T66" fmla="*/ 0 w 1592"/>
                  <a:gd name="T67" fmla="*/ 0 h 1931"/>
                  <a:gd name="T68" fmla="*/ 0 w 1592"/>
                  <a:gd name="T69" fmla="*/ 0 h 1931"/>
                  <a:gd name="T70" fmla="*/ 0 w 1592"/>
                  <a:gd name="T71" fmla="*/ 0 h 1931"/>
                  <a:gd name="T72" fmla="*/ 0 w 1592"/>
                  <a:gd name="T73" fmla="*/ 0 h 1931"/>
                  <a:gd name="T74" fmla="*/ 0 w 1592"/>
                  <a:gd name="T75" fmla="*/ 0 h 1931"/>
                  <a:gd name="T76" fmla="*/ 0 w 1592"/>
                  <a:gd name="T77" fmla="*/ 0 h 1931"/>
                  <a:gd name="T78" fmla="*/ 0 w 1592"/>
                  <a:gd name="T79" fmla="*/ 0 h 1931"/>
                  <a:gd name="T80" fmla="*/ 0 w 1592"/>
                  <a:gd name="T81" fmla="*/ 0 h 1931"/>
                  <a:gd name="T82" fmla="*/ 0 w 1592"/>
                  <a:gd name="T83" fmla="*/ 0 h 1931"/>
                  <a:gd name="T84" fmla="*/ 0 w 1592"/>
                  <a:gd name="T85" fmla="*/ 0 h 1931"/>
                  <a:gd name="T86" fmla="*/ 0 w 1592"/>
                  <a:gd name="T87" fmla="*/ 0 h 1931"/>
                  <a:gd name="T88" fmla="*/ 0 w 1592"/>
                  <a:gd name="T89" fmla="*/ 0 h 1931"/>
                  <a:gd name="T90" fmla="*/ 0 w 1592"/>
                  <a:gd name="T91" fmla="*/ 0 h 1931"/>
                  <a:gd name="T92" fmla="*/ 0 w 1592"/>
                  <a:gd name="T93" fmla="*/ 0 h 1931"/>
                  <a:gd name="T94" fmla="*/ 0 w 1592"/>
                  <a:gd name="T95" fmla="*/ 0 h 1931"/>
                  <a:gd name="T96" fmla="*/ 0 w 1592"/>
                  <a:gd name="T97" fmla="*/ 0 h 1931"/>
                  <a:gd name="T98" fmla="*/ 0 w 1592"/>
                  <a:gd name="T99" fmla="*/ 0 h 1931"/>
                  <a:gd name="T100" fmla="*/ 0 w 1592"/>
                  <a:gd name="T101" fmla="*/ 0 h 1931"/>
                  <a:gd name="T102" fmla="*/ 0 w 1592"/>
                  <a:gd name="T103" fmla="*/ 0 h 1931"/>
                  <a:gd name="T104" fmla="*/ 0 w 1592"/>
                  <a:gd name="T105" fmla="*/ 0 h 1931"/>
                  <a:gd name="T106" fmla="*/ 0 w 1592"/>
                  <a:gd name="T107" fmla="*/ 0 h 1931"/>
                  <a:gd name="T108" fmla="*/ 0 w 1592"/>
                  <a:gd name="T109" fmla="*/ 0 h 1931"/>
                  <a:gd name="T110" fmla="*/ 0 w 1592"/>
                  <a:gd name="T111" fmla="*/ 0 h 1931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592"/>
                  <a:gd name="T169" fmla="*/ 0 h 1931"/>
                  <a:gd name="T170" fmla="*/ 1592 w 1592"/>
                  <a:gd name="T171" fmla="*/ 1931 h 1931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592" h="1931">
                    <a:moveTo>
                      <a:pt x="1592" y="497"/>
                    </a:moveTo>
                    <a:lnTo>
                      <a:pt x="1592" y="465"/>
                    </a:lnTo>
                    <a:lnTo>
                      <a:pt x="1591" y="432"/>
                    </a:lnTo>
                    <a:lnTo>
                      <a:pt x="1588" y="399"/>
                    </a:lnTo>
                    <a:lnTo>
                      <a:pt x="1583" y="367"/>
                    </a:lnTo>
                    <a:lnTo>
                      <a:pt x="1578" y="335"/>
                    </a:lnTo>
                    <a:lnTo>
                      <a:pt x="1571" y="303"/>
                    </a:lnTo>
                    <a:lnTo>
                      <a:pt x="1562" y="271"/>
                    </a:lnTo>
                    <a:lnTo>
                      <a:pt x="1554" y="240"/>
                    </a:lnTo>
                    <a:lnTo>
                      <a:pt x="1544" y="209"/>
                    </a:lnTo>
                    <a:lnTo>
                      <a:pt x="1532" y="178"/>
                    </a:lnTo>
                    <a:lnTo>
                      <a:pt x="1521" y="148"/>
                    </a:lnTo>
                    <a:lnTo>
                      <a:pt x="1509" y="118"/>
                    </a:lnTo>
                    <a:lnTo>
                      <a:pt x="1495" y="88"/>
                    </a:lnTo>
                    <a:lnTo>
                      <a:pt x="1482" y="58"/>
                    </a:lnTo>
                    <a:lnTo>
                      <a:pt x="1467" y="29"/>
                    </a:lnTo>
                    <a:lnTo>
                      <a:pt x="1453" y="0"/>
                    </a:lnTo>
                    <a:lnTo>
                      <a:pt x="1448" y="36"/>
                    </a:lnTo>
                    <a:lnTo>
                      <a:pt x="1440" y="73"/>
                    </a:lnTo>
                    <a:lnTo>
                      <a:pt x="1432" y="110"/>
                    </a:lnTo>
                    <a:lnTo>
                      <a:pt x="1422" y="146"/>
                    </a:lnTo>
                    <a:lnTo>
                      <a:pt x="1410" y="182"/>
                    </a:lnTo>
                    <a:lnTo>
                      <a:pt x="1397" y="217"/>
                    </a:lnTo>
                    <a:lnTo>
                      <a:pt x="1383" y="253"/>
                    </a:lnTo>
                    <a:lnTo>
                      <a:pt x="1367" y="289"/>
                    </a:lnTo>
                    <a:lnTo>
                      <a:pt x="1351" y="324"/>
                    </a:lnTo>
                    <a:lnTo>
                      <a:pt x="1332" y="358"/>
                    </a:lnTo>
                    <a:lnTo>
                      <a:pt x="1313" y="392"/>
                    </a:lnTo>
                    <a:lnTo>
                      <a:pt x="1294" y="426"/>
                    </a:lnTo>
                    <a:lnTo>
                      <a:pt x="1273" y="459"/>
                    </a:lnTo>
                    <a:lnTo>
                      <a:pt x="1251" y="492"/>
                    </a:lnTo>
                    <a:lnTo>
                      <a:pt x="1229" y="524"/>
                    </a:lnTo>
                    <a:lnTo>
                      <a:pt x="1206" y="556"/>
                    </a:lnTo>
                    <a:lnTo>
                      <a:pt x="1182" y="587"/>
                    </a:lnTo>
                    <a:lnTo>
                      <a:pt x="1157" y="618"/>
                    </a:lnTo>
                    <a:lnTo>
                      <a:pt x="1133" y="648"/>
                    </a:lnTo>
                    <a:lnTo>
                      <a:pt x="1108" y="677"/>
                    </a:lnTo>
                    <a:lnTo>
                      <a:pt x="1083" y="705"/>
                    </a:lnTo>
                    <a:lnTo>
                      <a:pt x="1057" y="733"/>
                    </a:lnTo>
                    <a:lnTo>
                      <a:pt x="1031" y="760"/>
                    </a:lnTo>
                    <a:lnTo>
                      <a:pt x="1005" y="786"/>
                    </a:lnTo>
                    <a:lnTo>
                      <a:pt x="980" y="811"/>
                    </a:lnTo>
                    <a:lnTo>
                      <a:pt x="954" y="836"/>
                    </a:lnTo>
                    <a:lnTo>
                      <a:pt x="928" y="858"/>
                    </a:lnTo>
                    <a:lnTo>
                      <a:pt x="902" y="881"/>
                    </a:lnTo>
                    <a:lnTo>
                      <a:pt x="877" y="902"/>
                    </a:lnTo>
                    <a:lnTo>
                      <a:pt x="852" y="922"/>
                    </a:lnTo>
                    <a:lnTo>
                      <a:pt x="828" y="941"/>
                    </a:lnTo>
                    <a:lnTo>
                      <a:pt x="804" y="959"/>
                    </a:lnTo>
                    <a:lnTo>
                      <a:pt x="771" y="983"/>
                    </a:lnTo>
                    <a:lnTo>
                      <a:pt x="736" y="1011"/>
                    </a:lnTo>
                    <a:lnTo>
                      <a:pt x="697" y="1041"/>
                    </a:lnTo>
                    <a:lnTo>
                      <a:pt x="658" y="1073"/>
                    </a:lnTo>
                    <a:lnTo>
                      <a:pt x="618" y="1109"/>
                    </a:lnTo>
                    <a:lnTo>
                      <a:pt x="576" y="1145"/>
                    </a:lnTo>
                    <a:lnTo>
                      <a:pt x="532" y="1183"/>
                    </a:lnTo>
                    <a:lnTo>
                      <a:pt x="489" y="1223"/>
                    </a:lnTo>
                    <a:lnTo>
                      <a:pt x="445" y="1264"/>
                    </a:lnTo>
                    <a:lnTo>
                      <a:pt x="402" y="1306"/>
                    </a:lnTo>
                    <a:lnTo>
                      <a:pt x="359" y="1348"/>
                    </a:lnTo>
                    <a:lnTo>
                      <a:pt x="316" y="1391"/>
                    </a:lnTo>
                    <a:lnTo>
                      <a:pt x="275" y="1434"/>
                    </a:lnTo>
                    <a:lnTo>
                      <a:pt x="236" y="1477"/>
                    </a:lnTo>
                    <a:lnTo>
                      <a:pt x="198" y="1519"/>
                    </a:lnTo>
                    <a:lnTo>
                      <a:pt x="163" y="1560"/>
                    </a:lnTo>
                    <a:lnTo>
                      <a:pt x="130" y="1602"/>
                    </a:lnTo>
                    <a:lnTo>
                      <a:pt x="100" y="1641"/>
                    </a:lnTo>
                    <a:lnTo>
                      <a:pt x="73" y="1679"/>
                    </a:lnTo>
                    <a:lnTo>
                      <a:pt x="51" y="1715"/>
                    </a:lnTo>
                    <a:lnTo>
                      <a:pt x="31" y="1751"/>
                    </a:lnTo>
                    <a:lnTo>
                      <a:pt x="15" y="1783"/>
                    </a:lnTo>
                    <a:lnTo>
                      <a:pt x="5" y="1813"/>
                    </a:lnTo>
                    <a:lnTo>
                      <a:pt x="0" y="1840"/>
                    </a:lnTo>
                    <a:lnTo>
                      <a:pt x="0" y="1863"/>
                    </a:lnTo>
                    <a:lnTo>
                      <a:pt x="5" y="1885"/>
                    </a:lnTo>
                    <a:lnTo>
                      <a:pt x="17" y="1902"/>
                    </a:lnTo>
                    <a:lnTo>
                      <a:pt x="35" y="1915"/>
                    </a:lnTo>
                    <a:lnTo>
                      <a:pt x="59" y="1925"/>
                    </a:lnTo>
                    <a:lnTo>
                      <a:pt x="91" y="1931"/>
                    </a:lnTo>
                    <a:lnTo>
                      <a:pt x="130" y="1931"/>
                    </a:lnTo>
                    <a:lnTo>
                      <a:pt x="177" y="1926"/>
                    </a:lnTo>
                    <a:lnTo>
                      <a:pt x="267" y="1913"/>
                    </a:lnTo>
                    <a:lnTo>
                      <a:pt x="354" y="1897"/>
                    </a:lnTo>
                    <a:lnTo>
                      <a:pt x="439" y="1878"/>
                    </a:lnTo>
                    <a:lnTo>
                      <a:pt x="520" y="1857"/>
                    </a:lnTo>
                    <a:lnTo>
                      <a:pt x="597" y="1832"/>
                    </a:lnTo>
                    <a:lnTo>
                      <a:pt x="672" y="1806"/>
                    </a:lnTo>
                    <a:lnTo>
                      <a:pt x="743" y="1778"/>
                    </a:lnTo>
                    <a:lnTo>
                      <a:pt x="811" y="1747"/>
                    </a:lnTo>
                    <a:lnTo>
                      <a:pt x="876" y="1713"/>
                    </a:lnTo>
                    <a:lnTo>
                      <a:pt x="938" y="1677"/>
                    </a:lnTo>
                    <a:lnTo>
                      <a:pt x="997" y="1640"/>
                    </a:lnTo>
                    <a:lnTo>
                      <a:pt x="1053" y="1601"/>
                    </a:lnTo>
                    <a:lnTo>
                      <a:pt x="1106" y="1559"/>
                    </a:lnTo>
                    <a:lnTo>
                      <a:pt x="1156" y="1516"/>
                    </a:lnTo>
                    <a:lnTo>
                      <a:pt x="1203" y="1470"/>
                    </a:lnTo>
                    <a:lnTo>
                      <a:pt x="1247" y="1424"/>
                    </a:lnTo>
                    <a:lnTo>
                      <a:pt x="1289" y="1375"/>
                    </a:lnTo>
                    <a:lnTo>
                      <a:pt x="1328" y="1325"/>
                    </a:lnTo>
                    <a:lnTo>
                      <a:pt x="1363" y="1273"/>
                    </a:lnTo>
                    <a:lnTo>
                      <a:pt x="1396" y="1220"/>
                    </a:lnTo>
                    <a:lnTo>
                      <a:pt x="1427" y="1165"/>
                    </a:lnTo>
                    <a:lnTo>
                      <a:pt x="1455" y="1111"/>
                    </a:lnTo>
                    <a:lnTo>
                      <a:pt x="1480" y="1054"/>
                    </a:lnTo>
                    <a:lnTo>
                      <a:pt x="1502" y="995"/>
                    </a:lnTo>
                    <a:lnTo>
                      <a:pt x="1522" y="936"/>
                    </a:lnTo>
                    <a:lnTo>
                      <a:pt x="1540" y="876"/>
                    </a:lnTo>
                    <a:lnTo>
                      <a:pt x="1554" y="815"/>
                    </a:lnTo>
                    <a:lnTo>
                      <a:pt x="1567" y="753"/>
                    </a:lnTo>
                    <a:lnTo>
                      <a:pt x="1577" y="690"/>
                    </a:lnTo>
                    <a:lnTo>
                      <a:pt x="1584" y="627"/>
                    </a:lnTo>
                    <a:lnTo>
                      <a:pt x="1589" y="563"/>
                    </a:lnTo>
                    <a:lnTo>
                      <a:pt x="1592" y="497"/>
                    </a:lnTo>
                    <a:close/>
                  </a:path>
                </a:pathLst>
              </a:custGeom>
              <a:solidFill>
                <a:srgbClr val="0D9F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65" name="Freeform 80"/>
              <p:cNvSpPr>
                <a:spLocks/>
              </p:cNvSpPr>
              <p:nvPr/>
            </p:nvSpPr>
            <p:spPr bwMode="auto">
              <a:xfrm>
                <a:off x="3666" y="1545"/>
                <a:ext cx="71" cy="108"/>
              </a:xfrm>
              <a:custGeom>
                <a:avLst/>
                <a:gdLst>
                  <a:gd name="T0" fmla="*/ 0 w 502"/>
                  <a:gd name="T1" fmla="*/ 0 h 756"/>
                  <a:gd name="T2" fmla="*/ 0 w 502"/>
                  <a:gd name="T3" fmla="*/ 0 h 756"/>
                  <a:gd name="T4" fmla="*/ 0 w 502"/>
                  <a:gd name="T5" fmla="*/ 0 h 756"/>
                  <a:gd name="T6" fmla="*/ 0 w 502"/>
                  <a:gd name="T7" fmla="*/ 0 h 756"/>
                  <a:gd name="T8" fmla="*/ 0 w 502"/>
                  <a:gd name="T9" fmla="*/ 0 h 756"/>
                  <a:gd name="T10" fmla="*/ 0 w 502"/>
                  <a:gd name="T11" fmla="*/ 0 h 756"/>
                  <a:gd name="T12" fmla="*/ 0 w 502"/>
                  <a:gd name="T13" fmla="*/ 0 h 756"/>
                  <a:gd name="T14" fmla="*/ 0 w 502"/>
                  <a:gd name="T15" fmla="*/ 0 h 756"/>
                  <a:gd name="T16" fmla="*/ 0 w 502"/>
                  <a:gd name="T17" fmla="*/ 0 h 756"/>
                  <a:gd name="T18" fmla="*/ 0 w 502"/>
                  <a:gd name="T19" fmla="*/ 0 h 756"/>
                  <a:gd name="T20" fmla="*/ 0 w 502"/>
                  <a:gd name="T21" fmla="*/ 0 h 756"/>
                  <a:gd name="T22" fmla="*/ 0 w 502"/>
                  <a:gd name="T23" fmla="*/ 0 h 756"/>
                  <a:gd name="T24" fmla="*/ 0 w 502"/>
                  <a:gd name="T25" fmla="*/ 0 h 756"/>
                  <a:gd name="T26" fmla="*/ 0 w 502"/>
                  <a:gd name="T27" fmla="*/ 0 h 756"/>
                  <a:gd name="T28" fmla="*/ 0 w 502"/>
                  <a:gd name="T29" fmla="*/ 0 h 756"/>
                  <a:gd name="T30" fmla="*/ 0 w 502"/>
                  <a:gd name="T31" fmla="*/ 0 h 756"/>
                  <a:gd name="T32" fmla="*/ 0 w 502"/>
                  <a:gd name="T33" fmla="*/ 0 h 756"/>
                  <a:gd name="T34" fmla="*/ 0 w 502"/>
                  <a:gd name="T35" fmla="*/ 0 h 756"/>
                  <a:gd name="T36" fmla="*/ 0 w 502"/>
                  <a:gd name="T37" fmla="*/ 0 h 756"/>
                  <a:gd name="T38" fmla="*/ 0 w 502"/>
                  <a:gd name="T39" fmla="*/ 0 h 756"/>
                  <a:gd name="T40" fmla="*/ 0 w 502"/>
                  <a:gd name="T41" fmla="*/ 0 h 756"/>
                  <a:gd name="T42" fmla="*/ 0 w 502"/>
                  <a:gd name="T43" fmla="*/ 0 h 756"/>
                  <a:gd name="T44" fmla="*/ 0 w 502"/>
                  <a:gd name="T45" fmla="*/ 0 h 756"/>
                  <a:gd name="T46" fmla="*/ 0 w 502"/>
                  <a:gd name="T47" fmla="*/ 0 h 756"/>
                  <a:gd name="T48" fmla="*/ 0 w 502"/>
                  <a:gd name="T49" fmla="*/ 0 h 756"/>
                  <a:gd name="T50" fmla="*/ 0 w 502"/>
                  <a:gd name="T51" fmla="*/ 0 h 756"/>
                  <a:gd name="T52" fmla="*/ 0 w 502"/>
                  <a:gd name="T53" fmla="*/ 0 h 756"/>
                  <a:gd name="T54" fmla="*/ 0 w 502"/>
                  <a:gd name="T55" fmla="*/ 0 h 756"/>
                  <a:gd name="T56" fmla="*/ 0 w 502"/>
                  <a:gd name="T57" fmla="*/ 0 h 756"/>
                  <a:gd name="T58" fmla="*/ 0 w 502"/>
                  <a:gd name="T59" fmla="*/ 0 h 756"/>
                  <a:gd name="T60" fmla="*/ 0 w 502"/>
                  <a:gd name="T61" fmla="*/ 0 h 756"/>
                  <a:gd name="T62" fmla="*/ 0 w 502"/>
                  <a:gd name="T63" fmla="*/ 0 h 756"/>
                  <a:gd name="T64" fmla="*/ 0 w 502"/>
                  <a:gd name="T65" fmla="*/ 0 h 756"/>
                  <a:gd name="T66" fmla="*/ 0 w 502"/>
                  <a:gd name="T67" fmla="*/ 0 h 756"/>
                  <a:gd name="T68" fmla="*/ 0 w 502"/>
                  <a:gd name="T69" fmla="*/ 0 h 756"/>
                  <a:gd name="T70" fmla="*/ 0 w 502"/>
                  <a:gd name="T71" fmla="*/ 0 h 756"/>
                  <a:gd name="T72" fmla="*/ 0 w 502"/>
                  <a:gd name="T73" fmla="*/ 0 h 75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502"/>
                  <a:gd name="T112" fmla="*/ 0 h 756"/>
                  <a:gd name="T113" fmla="*/ 502 w 502"/>
                  <a:gd name="T114" fmla="*/ 756 h 75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502" h="756">
                    <a:moveTo>
                      <a:pt x="0" y="77"/>
                    </a:moveTo>
                    <a:lnTo>
                      <a:pt x="11" y="168"/>
                    </a:lnTo>
                    <a:lnTo>
                      <a:pt x="22" y="257"/>
                    </a:lnTo>
                    <a:lnTo>
                      <a:pt x="35" y="344"/>
                    </a:lnTo>
                    <a:lnTo>
                      <a:pt x="48" y="430"/>
                    </a:lnTo>
                    <a:lnTo>
                      <a:pt x="62" y="513"/>
                    </a:lnTo>
                    <a:lnTo>
                      <a:pt x="76" y="596"/>
                    </a:lnTo>
                    <a:lnTo>
                      <a:pt x="91" y="678"/>
                    </a:lnTo>
                    <a:lnTo>
                      <a:pt x="105" y="756"/>
                    </a:lnTo>
                    <a:lnTo>
                      <a:pt x="135" y="755"/>
                    </a:lnTo>
                    <a:lnTo>
                      <a:pt x="166" y="752"/>
                    </a:lnTo>
                    <a:lnTo>
                      <a:pt x="197" y="749"/>
                    </a:lnTo>
                    <a:lnTo>
                      <a:pt x="229" y="745"/>
                    </a:lnTo>
                    <a:lnTo>
                      <a:pt x="262" y="741"/>
                    </a:lnTo>
                    <a:lnTo>
                      <a:pt x="295" y="736"/>
                    </a:lnTo>
                    <a:lnTo>
                      <a:pt x="330" y="730"/>
                    </a:lnTo>
                    <a:lnTo>
                      <a:pt x="365" y="723"/>
                    </a:lnTo>
                    <a:lnTo>
                      <a:pt x="400" y="716"/>
                    </a:lnTo>
                    <a:lnTo>
                      <a:pt x="435" y="709"/>
                    </a:lnTo>
                    <a:lnTo>
                      <a:pt x="468" y="701"/>
                    </a:lnTo>
                    <a:lnTo>
                      <a:pt x="502" y="692"/>
                    </a:lnTo>
                    <a:lnTo>
                      <a:pt x="482" y="613"/>
                    </a:lnTo>
                    <a:lnTo>
                      <a:pt x="463" y="530"/>
                    </a:lnTo>
                    <a:lnTo>
                      <a:pt x="443" y="446"/>
                    </a:lnTo>
                    <a:lnTo>
                      <a:pt x="423" y="359"/>
                    </a:lnTo>
                    <a:lnTo>
                      <a:pt x="405" y="273"/>
                    </a:lnTo>
                    <a:lnTo>
                      <a:pt x="386" y="183"/>
                    </a:lnTo>
                    <a:lnTo>
                      <a:pt x="369" y="92"/>
                    </a:lnTo>
                    <a:lnTo>
                      <a:pt x="351" y="0"/>
                    </a:lnTo>
                    <a:lnTo>
                      <a:pt x="309" y="10"/>
                    </a:lnTo>
                    <a:lnTo>
                      <a:pt x="266" y="21"/>
                    </a:lnTo>
                    <a:lnTo>
                      <a:pt x="223" y="32"/>
                    </a:lnTo>
                    <a:lnTo>
                      <a:pt x="178" y="41"/>
                    </a:lnTo>
                    <a:lnTo>
                      <a:pt x="134" y="50"/>
                    </a:lnTo>
                    <a:lnTo>
                      <a:pt x="90" y="59"/>
                    </a:lnTo>
                    <a:lnTo>
                      <a:pt x="45" y="69"/>
                    </a:lnTo>
                    <a:lnTo>
                      <a:pt x="0" y="77"/>
                    </a:lnTo>
                    <a:close/>
                  </a:path>
                </a:pathLst>
              </a:custGeom>
              <a:solidFill>
                <a:srgbClr val="BA393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66" name="Freeform 81"/>
              <p:cNvSpPr>
                <a:spLocks/>
              </p:cNvSpPr>
              <p:nvPr/>
            </p:nvSpPr>
            <p:spPr bwMode="auto">
              <a:xfrm>
                <a:off x="3538" y="1552"/>
                <a:ext cx="143" cy="115"/>
              </a:xfrm>
              <a:custGeom>
                <a:avLst/>
                <a:gdLst>
                  <a:gd name="T0" fmla="*/ 0 w 1000"/>
                  <a:gd name="T1" fmla="*/ 0 h 805"/>
                  <a:gd name="T2" fmla="*/ 0 w 1000"/>
                  <a:gd name="T3" fmla="*/ 0 h 805"/>
                  <a:gd name="T4" fmla="*/ 0 w 1000"/>
                  <a:gd name="T5" fmla="*/ 0 h 805"/>
                  <a:gd name="T6" fmla="*/ 0 w 1000"/>
                  <a:gd name="T7" fmla="*/ 0 h 805"/>
                  <a:gd name="T8" fmla="*/ 0 w 1000"/>
                  <a:gd name="T9" fmla="*/ 0 h 805"/>
                  <a:gd name="T10" fmla="*/ 0 w 1000"/>
                  <a:gd name="T11" fmla="*/ 0 h 805"/>
                  <a:gd name="T12" fmla="*/ 0 w 1000"/>
                  <a:gd name="T13" fmla="*/ 0 h 805"/>
                  <a:gd name="T14" fmla="*/ 0 w 1000"/>
                  <a:gd name="T15" fmla="*/ 0 h 805"/>
                  <a:gd name="T16" fmla="*/ 0 w 1000"/>
                  <a:gd name="T17" fmla="*/ 0 h 805"/>
                  <a:gd name="T18" fmla="*/ 0 w 1000"/>
                  <a:gd name="T19" fmla="*/ 0 h 805"/>
                  <a:gd name="T20" fmla="*/ 0 w 1000"/>
                  <a:gd name="T21" fmla="*/ 0 h 805"/>
                  <a:gd name="T22" fmla="*/ 0 w 1000"/>
                  <a:gd name="T23" fmla="*/ 0 h 805"/>
                  <a:gd name="T24" fmla="*/ 0 w 1000"/>
                  <a:gd name="T25" fmla="*/ 0 h 805"/>
                  <a:gd name="T26" fmla="*/ 0 w 1000"/>
                  <a:gd name="T27" fmla="*/ 0 h 805"/>
                  <a:gd name="T28" fmla="*/ 0 w 1000"/>
                  <a:gd name="T29" fmla="*/ 0 h 805"/>
                  <a:gd name="T30" fmla="*/ 0 w 1000"/>
                  <a:gd name="T31" fmla="*/ 0 h 805"/>
                  <a:gd name="T32" fmla="*/ 0 w 1000"/>
                  <a:gd name="T33" fmla="*/ 0 h 805"/>
                  <a:gd name="T34" fmla="*/ 0 w 1000"/>
                  <a:gd name="T35" fmla="*/ 0 h 805"/>
                  <a:gd name="T36" fmla="*/ 0 w 1000"/>
                  <a:gd name="T37" fmla="*/ 0 h 805"/>
                  <a:gd name="T38" fmla="*/ 0 w 1000"/>
                  <a:gd name="T39" fmla="*/ 0 h 805"/>
                  <a:gd name="T40" fmla="*/ 0 w 1000"/>
                  <a:gd name="T41" fmla="*/ 0 h 805"/>
                  <a:gd name="T42" fmla="*/ 0 w 1000"/>
                  <a:gd name="T43" fmla="*/ 0 h 805"/>
                  <a:gd name="T44" fmla="*/ 0 w 1000"/>
                  <a:gd name="T45" fmla="*/ 0 h 805"/>
                  <a:gd name="T46" fmla="*/ 0 w 1000"/>
                  <a:gd name="T47" fmla="*/ 0 h 805"/>
                  <a:gd name="T48" fmla="*/ 0 w 1000"/>
                  <a:gd name="T49" fmla="*/ 0 h 805"/>
                  <a:gd name="T50" fmla="*/ 0 w 1000"/>
                  <a:gd name="T51" fmla="*/ 0 h 805"/>
                  <a:gd name="T52" fmla="*/ 0 w 1000"/>
                  <a:gd name="T53" fmla="*/ 0 h 805"/>
                  <a:gd name="T54" fmla="*/ 0 w 1000"/>
                  <a:gd name="T55" fmla="*/ 0 h 805"/>
                  <a:gd name="T56" fmla="*/ 0 w 1000"/>
                  <a:gd name="T57" fmla="*/ 0 h 805"/>
                  <a:gd name="T58" fmla="*/ 0 w 1000"/>
                  <a:gd name="T59" fmla="*/ 0 h 805"/>
                  <a:gd name="T60" fmla="*/ 0 w 1000"/>
                  <a:gd name="T61" fmla="*/ 0 h 805"/>
                  <a:gd name="T62" fmla="*/ 0 w 1000"/>
                  <a:gd name="T63" fmla="*/ 0 h 805"/>
                  <a:gd name="T64" fmla="*/ 0 w 1000"/>
                  <a:gd name="T65" fmla="*/ 0 h 805"/>
                  <a:gd name="T66" fmla="*/ 0 w 1000"/>
                  <a:gd name="T67" fmla="*/ 0 h 805"/>
                  <a:gd name="T68" fmla="*/ 0 w 1000"/>
                  <a:gd name="T69" fmla="*/ 0 h 805"/>
                  <a:gd name="T70" fmla="*/ 0 w 1000"/>
                  <a:gd name="T71" fmla="*/ 0 h 80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000"/>
                  <a:gd name="T109" fmla="*/ 0 h 805"/>
                  <a:gd name="T110" fmla="*/ 1000 w 1000"/>
                  <a:gd name="T111" fmla="*/ 805 h 805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000" h="805">
                    <a:moveTo>
                      <a:pt x="0" y="0"/>
                    </a:moveTo>
                    <a:lnTo>
                      <a:pt x="4" y="53"/>
                    </a:lnTo>
                    <a:lnTo>
                      <a:pt x="8" y="105"/>
                    </a:lnTo>
                    <a:lnTo>
                      <a:pt x="14" y="155"/>
                    </a:lnTo>
                    <a:lnTo>
                      <a:pt x="21" y="205"/>
                    </a:lnTo>
                    <a:lnTo>
                      <a:pt x="30" y="254"/>
                    </a:lnTo>
                    <a:lnTo>
                      <a:pt x="40" y="301"/>
                    </a:lnTo>
                    <a:lnTo>
                      <a:pt x="51" y="348"/>
                    </a:lnTo>
                    <a:lnTo>
                      <a:pt x="65" y="391"/>
                    </a:lnTo>
                    <a:lnTo>
                      <a:pt x="80" y="434"/>
                    </a:lnTo>
                    <a:lnTo>
                      <a:pt x="97" y="476"/>
                    </a:lnTo>
                    <a:lnTo>
                      <a:pt x="114" y="515"/>
                    </a:lnTo>
                    <a:lnTo>
                      <a:pt x="135" y="552"/>
                    </a:lnTo>
                    <a:lnTo>
                      <a:pt x="157" y="588"/>
                    </a:lnTo>
                    <a:lnTo>
                      <a:pt x="181" y="620"/>
                    </a:lnTo>
                    <a:lnTo>
                      <a:pt x="206" y="651"/>
                    </a:lnTo>
                    <a:lnTo>
                      <a:pt x="234" y="679"/>
                    </a:lnTo>
                    <a:lnTo>
                      <a:pt x="264" y="704"/>
                    </a:lnTo>
                    <a:lnTo>
                      <a:pt x="296" y="727"/>
                    </a:lnTo>
                    <a:lnTo>
                      <a:pt x="330" y="748"/>
                    </a:lnTo>
                    <a:lnTo>
                      <a:pt x="368" y="765"/>
                    </a:lnTo>
                    <a:lnTo>
                      <a:pt x="406" y="780"/>
                    </a:lnTo>
                    <a:lnTo>
                      <a:pt x="447" y="791"/>
                    </a:lnTo>
                    <a:lnTo>
                      <a:pt x="491" y="798"/>
                    </a:lnTo>
                    <a:lnTo>
                      <a:pt x="537" y="804"/>
                    </a:lnTo>
                    <a:lnTo>
                      <a:pt x="586" y="805"/>
                    </a:lnTo>
                    <a:lnTo>
                      <a:pt x="636" y="803"/>
                    </a:lnTo>
                    <a:lnTo>
                      <a:pt x="690" y="796"/>
                    </a:lnTo>
                    <a:lnTo>
                      <a:pt x="747" y="786"/>
                    </a:lnTo>
                    <a:lnTo>
                      <a:pt x="806" y="773"/>
                    </a:lnTo>
                    <a:lnTo>
                      <a:pt x="868" y="755"/>
                    </a:lnTo>
                    <a:lnTo>
                      <a:pt x="933" y="733"/>
                    </a:lnTo>
                    <a:lnTo>
                      <a:pt x="1000" y="706"/>
                    </a:lnTo>
                    <a:lnTo>
                      <a:pt x="986" y="628"/>
                    </a:lnTo>
                    <a:lnTo>
                      <a:pt x="971" y="546"/>
                    </a:lnTo>
                    <a:lnTo>
                      <a:pt x="957" y="463"/>
                    </a:lnTo>
                    <a:lnTo>
                      <a:pt x="943" y="380"/>
                    </a:lnTo>
                    <a:lnTo>
                      <a:pt x="930" y="294"/>
                    </a:lnTo>
                    <a:lnTo>
                      <a:pt x="917" y="207"/>
                    </a:lnTo>
                    <a:lnTo>
                      <a:pt x="906" y="118"/>
                    </a:lnTo>
                    <a:lnTo>
                      <a:pt x="895" y="27"/>
                    </a:lnTo>
                    <a:lnTo>
                      <a:pt x="870" y="36"/>
                    </a:lnTo>
                    <a:lnTo>
                      <a:pt x="845" y="45"/>
                    </a:lnTo>
                    <a:lnTo>
                      <a:pt x="820" y="52"/>
                    </a:lnTo>
                    <a:lnTo>
                      <a:pt x="794" y="59"/>
                    </a:lnTo>
                    <a:lnTo>
                      <a:pt x="769" y="66"/>
                    </a:lnTo>
                    <a:lnTo>
                      <a:pt x="743" y="73"/>
                    </a:lnTo>
                    <a:lnTo>
                      <a:pt x="716" y="79"/>
                    </a:lnTo>
                    <a:lnTo>
                      <a:pt x="690" y="84"/>
                    </a:lnTo>
                    <a:lnTo>
                      <a:pt x="663" y="89"/>
                    </a:lnTo>
                    <a:lnTo>
                      <a:pt x="635" y="93"/>
                    </a:lnTo>
                    <a:lnTo>
                      <a:pt x="608" y="96"/>
                    </a:lnTo>
                    <a:lnTo>
                      <a:pt x="580" y="99"/>
                    </a:lnTo>
                    <a:lnTo>
                      <a:pt x="553" y="102"/>
                    </a:lnTo>
                    <a:lnTo>
                      <a:pt x="525" y="104"/>
                    </a:lnTo>
                    <a:lnTo>
                      <a:pt x="497" y="105"/>
                    </a:lnTo>
                    <a:lnTo>
                      <a:pt x="468" y="105"/>
                    </a:lnTo>
                    <a:lnTo>
                      <a:pt x="439" y="105"/>
                    </a:lnTo>
                    <a:lnTo>
                      <a:pt x="411" y="104"/>
                    </a:lnTo>
                    <a:lnTo>
                      <a:pt x="382" y="102"/>
                    </a:lnTo>
                    <a:lnTo>
                      <a:pt x="353" y="98"/>
                    </a:lnTo>
                    <a:lnTo>
                      <a:pt x="324" y="95"/>
                    </a:lnTo>
                    <a:lnTo>
                      <a:pt x="294" y="91"/>
                    </a:lnTo>
                    <a:lnTo>
                      <a:pt x="265" y="86"/>
                    </a:lnTo>
                    <a:lnTo>
                      <a:pt x="236" y="80"/>
                    </a:lnTo>
                    <a:lnTo>
                      <a:pt x="206" y="74"/>
                    </a:lnTo>
                    <a:lnTo>
                      <a:pt x="177" y="65"/>
                    </a:lnTo>
                    <a:lnTo>
                      <a:pt x="147" y="57"/>
                    </a:lnTo>
                    <a:lnTo>
                      <a:pt x="119" y="48"/>
                    </a:lnTo>
                    <a:lnTo>
                      <a:pt x="89" y="37"/>
                    </a:lnTo>
                    <a:lnTo>
                      <a:pt x="59" y="26"/>
                    </a:lnTo>
                    <a:lnTo>
                      <a:pt x="30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4E6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67" name="Freeform 82"/>
              <p:cNvSpPr>
                <a:spLocks/>
              </p:cNvSpPr>
              <p:nvPr/>
            </p:nvSpPr>
            <p:spPr bwMode="auto">
              <a:xfrm>
                <a:off x="3716" y="1530"/>
                <a:ext cx="73" cy="113"/>
              </a:xfrm>
              <a:custGeom>
                <a:avLst/>
                <a:gdLst>
                  <a:gd name="T0" fmla="*/ 0 w 515"/>
                  <a:gd name="T1" fmla="*/ 0 h 796"/>
                  <a:gd name="T2" fmla="*/ 0 w 515"/>
                  <a:gd name="T3" fmla="*/ 0 h 796"/>
                  <a:gd name="T4" fmla="*/ 0 w 515"/>
                  <a:gd name="T5" fmla="*/ 0 h 796"/>
                  <a:gd name="T6" fmla="*/ 0 w 515"/>
                  <a:gd name="T7" fmla="*/ 0 h 796"/>
                  <a:gd name="T8" fmla="*/ 0 w 515"/>
                  <a:gd name="T9" fmla="*/ 0 h 796"/>
                  <a:gd name="T10" fmla="*/ 0 w 515"/>
                  <a:gd name="T11" fmla="*/ 0 h 796"/>
                  <a:gd name="T12" fmla="*/ 0 w 515"/>
                  <a:gd name="T13" fmla="*/ 0 h 796"/>
                  <a:gd name="T14" fmla="*/ 0 w 515"/>
                  <a:gd name="T15" fmla="*/ 0 h 796"/>
                  <a:gd name="T16" fmla="*/ 0 w 515"/>
                  <a:gd name="T17" fmla="*/ 0 h 796"/>
                  <a:gd name="T18" fmla="*/ 0 w 515"/>
                  <a:gd name="T19" fmla="*/ 0 h 796"/>
                  <a:gd name="T20" fmla="*/ 0 w 515"/>
                  <a:gd name="T21" fmla="*/ 0 h 796"/>
                  <a:gd name="T22" fmla="*/ 0 w 515"/>
                  <a:gd name="T23" fmla="*/ 0 h 796"/>
                  <a:gd name="T24" fmla="*/ 0 w 515"/>
                  <a:gd name="T25" fmla="*/ 0 h 796"/>
                  <a:gd name="T26" fmla="*/ 0 w 515"/>
                  <a:gd name="T27" fmla="*/ 0 h 796"/>
                  <a:gd name="T28" fmla="*/ 0 w 515"/>
                  <a:gd name="T29" fmla="*/ 0 h 796"/>
                  <a:gd name="T30" fmla="*/ 0 w 515"/>
                  <a:gd name="T31" fmla="*/ 0 h 796"/>
                  <a:gd name="T32" fmla="*/ 0 w 515"/>
                  <a:gd name="T33" fmla="*/ 0 h 796"/>
                  <a:gd name="T34" fmla="*/ 0 w 515"/>
                  <a:gd name="T35" fmla="*/ 0 h 796"/>
                  <a:gd name="T36" fmla="*/ 0 w 515"/>
                  <a:gd name="T37" fmla="*/ 0 h 796"/>
                  <a:gd name="T38" fmla="*/ 0 w 515"/>
                  <a:gd name="T39" fmla="*/ 0 h 796"/>
                  <a:gd name="T40" fmla="*/ 0 w 515"/>
                  <a:gd name="T41" fmla="*/ 0 h 796"/>
                  <a:gd name="T42" fmla="*/ 0 w 515"/>
                  <a:gd name="T43" fmla="*/ 0 h 796"/>
                  <a:gd name="T44" fmla="*/ 0 w 515"/>
                  <a:gd name="T45" fmla="*/ 0 h 796"/>
                  <a:gd name="T46" fmla="*/ 0 w 515"/>
                  <a:gd name="T47" fmla="*/ 0 h 796"/>
                  <a:gd name="T48" fmla="*/ 0 w 515"/>
                  <a:gd name="T49" fmla="*/ 0 h 796"/>
                  <a:gd name="T50" fmla="*/ 0 w 515"/>
                  <a:gd name="T51" fmla="*/ 0 h 796"/>
                  <a:gd name="T52" fmla="*/ 0 w 515"/>
                  <a:gd name="T53" fmla="*/ 0 h 796"/>
                  <a:gd name="T54" fmla="*/ 0 w 515"/>
                  <a:gd name="T55" fmla="*/ 0 h 796"/>
                  <a:gd name="T56" fmla="*/ 0 w 515"/>
                  <a:gd name="T57" fmla="*/ 0 h 796"/>
                  <a:gd name="T58" fmla="*/ 0 w 515"/>
                  <a:gd name="T59" fmla="*/ 0 h 796"/>
                  <a:gd name="T60" fmla="*/ 0 w 515"/>
                  <a:gd name="T61" fmla="*/ 0 h 796"/>
                  <a:gd name="T62" fmla="*/ 0 w 515"/>
                  <a:gd name="T63" fmla="*/ 0 h 796"/>
                  <a:gd name="T64" fmla="*/ 0 w 515"/>
                  <a:gd name="T65" fmla="*/ 0 h 79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515"/>
                  <a:gd name="T100" fmla="*/ 0 h 796"/>
                  <a:gd name="T101" fmla="*/ 515 w 515"/>
                  <a:gd name="T102" fmla="*/ 796 h 79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515" h="796">
                    <a:moveTo>
                      <a:pt x="0" y="104"/>
                    </a:moveTo>
                    <a:lnTo>
                      <a:pt x="18" y="196"/>
                    </a:lnTo>
                    <a:lnTo>
                      <a:pt x="35" y="287"/>
                    </a:lnTo>
                    <a:lnTo>
                      <a:pt x="54" y="377"/>
                    </a:lnTo>
                    <a:lnTo>
                      <a:pt x="72" y="463"/>
                    </a:lnTo>
                    <a:lnTo>
                      <a:pt x="92" y="550"/>
                    </a:lnTo>
                    <a:lnTo>
                      <a:pt x="112" y="634"/>
                    </a:lnTo>
                    <a:lnTo>
                      <a:pt x="131" y="717"/>
                    </a:lnTo>
                    <a:lnTo>
                      <a:pt x="151" y="796"/>
                    </a:lnTo>
                    <a:lnTo>
                      <a:pt x="198" y="784"/>
                    </a:lnTo>
                    <a:lnTo>
                      <a:pt x="245" y="772"/>
                    </a:lnTo>
                    <a:lnTo>
                      <a:pt x="291" y="758"/>
                    </a:lnTo>
                    <a:lnTo>
                      <a:pt x="337" y="743"/>
                    </a:lnTo>
                    <a:lnTo>
                      <a:pt x="382" y="728"/>
                    </a:lnTo>
                    <a:lnTo>
                      <a:pt x="427" y="712"/>
                    </a:lnTo>
                    <a:lnTo>
                      <a:pt x="471" y="695"/>
                    </a:lnTo>
                    <a:lnTo>
                      <a:pt x="515" y="677"/>
                    </a:lnTo>
                    <a:lnTo>
                      <a:pt x="489" y="599"/>
                    </a:lnTo>
                    <a:lnTo>
                      <a:pt x="464" y="517"/>
                    </a:lnTo>
                    <a:lnTo>
                      <a:pt x="439" y="435"/>
                    </a:lnTo>
                    <a:lnTo>
                      <a:pt x="414" y="352"/>
                    </a:lnTo>
                    <a:lnTo>
                      <a:pt x="391" y="266"/>
                    </a:lnTo>
                    <a:lnTo>
                      <a:pt x="367" y="179"/>
                    </a:lnTo>
                    <a:lnTo>
                      <a:pt x="344" y="90"/>
                    </a:lnTo>
                    <a:lnTo>
                      <a:pt x="322" y="0"/>
                    </a:lnTo>
                    <a:lnTo>
                      <a:pt x="285" y="15"/>
                    </a:lnTo>
                    <a:lnTo>
                      <a:pt x="247" y="28"/>
                    </a:lnTo>
                    <a:lnTo>
                      <a:pt x="208" y="41"/>
                    </a:lnTo>
                    <a:lnTo>
                      <a:pt x="167" y="55"/>
                    </a:lnTo>
                    <a:lnTo>
                      <a:pt x="127" y="67"/>
                    </a:lnTo>
                    <a:lnTo>
                      <a:pt x="86" y="80"/>
                    </a:lnTo>
                    <a:lnTo>
                      <a:pt x="43" y="92"/>
                    </a:lnTo>
                    <a:lnTo>
                      <a:pt x="0" y="104"/>
                    </a:lnTo>
                    <a:close/>
                  </a:path>
                </a:pathLst>
              </a:custGeom>
              <a:solidFill>
                <a:srgbClr val="1B4D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68" name="Freeform 83"/>
              <p:cNvSpPr>
                <a:spLocks/>
              </p:cNvSpPr>
              <p:nvPr/>
            </p:nvSpPr>
            <p:spPr bwMode="auto">
              <a:xfrm>
                <a:off x="3762" y="1508"/>
                <a:ext cx="75" cy="118"/>
              </a:xfrm>
              <a:custGeom>
                <a:avLst/>
                <a:gdLst>
                  <a:gd name="T0" fmla="*/ 0 w 526"/>
                  <a:gd name="T1" fmla="*/ 0 h 830"/>
                  <a:gd name="T2" fmla="*/ 0 w 526"/>
                  <a:gd name="T3" fmla="*/ 0 h 830"/>
                  <a:gd name="T4" fmla="*/ 0 w 526"/>
                  <a:gd name="T5" fmla="*/ 0 h 830"/>
                  <a:gd name="T6" fmla="*/ 0 w 526"/>
                  <a:gd name="T7" fmla="*/ 0 h 830"/>
                  <a:gd name="T8" fmla="*/ 0 w 526"/>
                  <a:gd name="T9" fmla="*/ 0 h 830"/>
                  <a:gd name="T10" fmla="*/ 0 w 526"/>
                  <a:gd name="T11" fmla="*/ 0 h 830"/>
                  <a:gd name="T12" fmla="*/ 0 w 526"/>
                  <a:gd name="T13" fmla="*/ 0 h 830"/>
                  <a:gd name="T14" fmla="*/ 0 w 526"/>
                  <a:gd name="T15" fmla="*/ 0 h 830"/>
                  <a:gd name="T16" fmla="*/ 0 w 526"/>
                  <a:gd name="T17" fmla="*/ 0 h 830"/>
                  <a:gd name="T18" fmla="*/ 0 w 526"/>
                  <a:gd name="T19" fmla="*/ 0 h 830"/>
                  <a:gd name="T20" fmla="*/ 0 w 526"/>
                  <a:gd name="T21" fmla="*/ 0 h 830"/>
                  <a:gd name="T22" fmla="*/ 0 w 526"/>
                  <a:gd name="T23" fmla="*/ 0 h 830"/>
                  <a:gd name="T24" fmla="*/ 0 w 526"/>
                  <a:gd name="T25" fmla="*/ 0 h 830"/>
                  <a:gd name="T26" fmla="*/ 0 w 526"/>
                  <a:gd name="T27" fmla="*/ 0 h 830"/>
                  <a:gd name="T28" fmla="*/ 0 w 526"/>
                  <a:gd name="T29" fmla="*/ 0 h 830"/>
                  <a:gd name="T30" fmla="*/ 0 w 526"/>
                  <a:gd name="T31" fmla="*/ 0 h 830"/>
                  <a:gd name="T32" fmla="*/ 0 w 526"/>
                  <a:gd name="T33" fmla="*/ 0 h 830"/>
                  <a:gd name="T34" fmla="*/ 0 w 526"/>
                  <a:gd name="T35" fmla="*/ 0 h 830"/>
                  <a:gd name="T36" fmla="*/ 0 w 526"/>
                  <a:gd name="T37" fmla="*/ 0 h 830"/>
                  <a:gd name="T38" fmla="*/ 0 w 526"/>
                  <a:gd name="T39" fmla="*/ 0 h 830"/>
                  <a:gd name="T40" fmla="*/ 0 w 526"/>
                  <a:gd name="T41" fmla="*/ 0 h 830"/>
                  <a:gd name="T42" fmla="*/ 0 w 526"/>
                  <a:gd name="T43" fmla="*/ 0 h 830"/>
                  <a:gd name="T44" fmla="*/ 0 w 526"/>
                  <a:gd name="T45" fmla="*/ 0 h 830"/>
                  <a:gd name="T46" fmla="*/ 0 w 526"/>
                  <a:gd name="T47" fmla="*/ 0 h 830"/>
                  <a:gd name="T48" fmla="*/ 0 w 526"/>
                  <a:gd name="T49" fmla="*/ 0 h 830"/>
                  <a:gd name="T50" fmla="*/ 0 w 526"/>
                  <a:gd name="T51" fmla="*/ 0 h 830"/>
                  <a:gd name="T52" fmla="*/ 0 w 526"/>
                  <a:gd name="T53" fmla="*/ 0 h 830"/>
                  <a:gd name="T54" fmla="*/ 0 w 526"/>
                  <a:gd name="T55" fmla="*/ 0 h 830"/>
                  <a:gd name="T56" fmla="*/ 0 w 526"/>
                  <a:gd name="T57" fmla="*/ 0 h 830"/>
                  <a:gd name="T58" fmla="*/ 0 w 526"/>
                  <a:gd name="T59" fmla="*/ 0 h 830"/>
                  <a:gd name="T60" fmla="*/ 0 w 526"/>
                  <a:gd name="T61" fmla="*/ 0 h 830"/>
                  <a:gd name="T62" fmla="*/ 0 w 526"/>
                  <a:gd name="T63" fmla="*/ 0 h 830"/>
                  <a:gd name="T64" fmla="*/ 0 w 526"/>
                  <a:gd name="T65" fmla="*/ 0 h 830"/>
                  <a:gd name="T66" fmla="*/ 0 w 526"/>
                  <a:gd name="T67" fmla="*/ 0 h 830"/>
                  <a:gd name="T68" fmla="*/ 0 w 526"/>
                  <a:gd name="T69" fmla="*/ 0 h 830"/>
                  <a:gd name="T70" fmla="*/ 0 w 526"/>
                  <a:gd name="T71" fmla="*/ 0 h 830"/>
                  <a:gd name="T72" fmla="*/ 0 w 526"/>
                  <a:gd name="T73" fmla="*/ 0 h 83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526"/>
                  <a:gd name="T112" fmla="*/ 0 h 830"/>
                  <a:gd name="T113" fmla="*/ 526 w 526"/>
                  <a:gd name="T114" fmla="*/ 830 h 830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526" h="830">
                    <a:moveTo>
                      <a:pt x="193" y="830"/>
                    </a:moveTo>
                    <a:lnTo>
                      <a:pt x="236" y="812"/>
                    </a:lnTo>
                    <a:lnTo>
                      <a:pt x="280" y="792"/>
                    </a:lnTo>
                    <a:lnTo>
                      <a:pt x="323" y="771"/>
                    </a:lnTo>
                    <a:lnTo>
                      <a:pt x="365" y="751"/>
                    </a:lnTo>
                    <a:lnTo>
                      <a:pt x="406" y="729"/>
                    </a:lnTo>
                    <a:lnTo>
                      <a:pt x="447" y="707"/>
                    </a:lnTo>
                    <a:lnTo>
                      <a:pt x="487" y="685"/>
                    </a:lnTo>
                    <a:lnTo>
                      <a:pt x="526" y="662"/>
                    </a:lnTo>
                    <a:lnTo>
                      <a:pt x="511" y="626"/>
                    </a:lnTo>
                    <a:lnTo>
                      <a:pt x="494" y="589"/>
                    </a:lnTo>
                    <a:lnTo>
                      <a:pt x="480" y="552"/>
                    </a:lnTo>
                    <a:lnTo>
                      <a:pt x="464" y="514"/>
                    </a:lnTo>
                    <a:lnTo>
                      <a:pt x="450" y="476"/>
                    </a:lnTo>
                    <a:lnTo>
                      <a:pt x="435" y="435"/>
                    </a:lnTo>
                    <a:lnTo>
                      <a:pt x="421" y="395"/>
                    </a:lnTo>
                    <a:lnTo>
                      <a:pt x="406" y="354"/>
                    </a:lnTo>
                    <a:lnTo>
                      <a:pt x="380" y="269"/>
                    </a:lnTo>
                    <a:lnTo>
                      <a:pt x="353" y="182"/>
                    </a:lnTo>
                    <a:lnTo>
                      <a:pt x="328" y="92"/>
                    </a:lnTo>
                    <a:lnTo>
                      <a:pt x="303" y="0"/>
                    </a:lnTo>
                    <a:lnTo>
                      <a:pt x="271" y="22"/>
                    </a:lnTo>
                    <a:lnTo>
                      <a:pt x="237" y="42"/>
                    </a:lnTo>
                    <a:lnTo>
                      <a:pt x="201" y="62"/>
                    </a:lnTo>
                    <a:lnTo>
                      <a:pt x="164" y="82"/>
                    </a:lnTo>
                    <a:lnTo>
                      <a:pt x="125" y="100"/>
                    </a:lnTo>
                    <a:lnTo>
                      <a:pt x="85" y="119"/>
                    </a:lnTo>
                    <a:lnTo>
                      <a:pt x="44" y="137"/>
                    </a:lnTo>
                    <a:lnTo>
                      <a:pt x="0" y="153"/>
                    </a:lnTo>
                    <a:lnTo>
                      <a:pt x="22" y="243"/>
                    </a:lnTo>
                    <a:lnTo>
                      <a:pt x="45" y="332"/>
                    </a:lnTo>
                    <a:lnTo>
                      <a:pt x="69" y="419"/>
                    </a:lnTo>
                    <a:lnTo>
                      <a:pt x="92" y="505"/>
                    </a:lnTo>
                    <a:lnTo>
                      <a:pt x="117" y="588"/>
                    </a:lnTo>
                    <a:lnTo>
                      <a:pt x="142" y="670"/>
                    </a:lnTo>
                    <a:lnTo>
                      <a:pt x="167" y="752"/>
                    </a:lnTo>
                    <a:lnTo>
                      <a:pt x="193" y="830"/>
                    </a:lnTo>
                    <a:close/>
                  </a:path>
                </a:pathLst>
              </a:custGeom>
              <a:solidFill>
                <a:srgbClr val="F4D8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69" name="Freeform 84"/>
              <p:cNvSpPr>
                <a:spLocks/>
              </p:cNvSpPr>
              <p:nvPr/>
            </p:nvSpPr>
            <p:spPr bwMode="auto">
              <a:xfrm>
                <a:off x="3586" y="1609"/>
                <a:ext cx="17" cy="21"/>
              </a:xfrm>
              <a:custGeom>
                <a:avLst/>
                <a:gdLst>
                  <a:gd name="T0" fmla="*/ 0 w 120"/>
                  <a:gd name="T1" fmla="*/ 0 h 146"/>
                  <a:gd name="T2" fmla="*/ 0 w 120"/>
                  <a:gd name="T3" fmla="*/ 0 h 146"/>
                  <a:gd name="T4" fmla="*/ 0 w 120"/>
                  <a:gd name="T5" fmla="*/ 0 h 146"/>
                  <a:gd name="T6" fmla="*/ 0 w 120"/>
                  <a:gd name="T7" fmla="*/ 0 h 146"/>
                  <a:gd name="T8" fmla="*/ 0 w 120"/>
                  <a:gd name="T9" fmla="*/ 0 h 146"/>
                  <a:gd name="T10" fmla="*/ 0 w 120"/>
                  <a:gd name="T11" fmla="*/ 0 h 146"/>
                  <a:gd name="T12" fmla="*/ 0 w 120"/>
                  <a:gd name="T13" fmla="*/ 0 h 146"/>
                  <a:gd name="T14" fmla="*/ 0 w 120"/>
                  <a:gd name="T15" fmla="*/ 0 h 146"/>
                  <a:gd name="T16" fmla="*/ 0 w 120"/>
                  <a:gd name="T17" fmla="*/ 0 h 146"/>
                  <a:gd name="T18" fmla="*/ 0 w 120"/>
                  <a:gd name="T19" fmla="*/ 0 h 146"/>
                  <a:gd name="T20" fmla="*/ 0 w 120"/>
                  <a:gd name="T21" fmla="*/ 0 h 146"/>
                  <a:gd name="T22" fmla="*/ 0 w 120"/>
                  <a:gd name="T23" fmla="*/ 0 h 146"/>
                  <a:gd name="T24" fmla="*/ 0 w 120"/>
                  <a:gd name="T25" fmla="*/ 0 h 146"/>
                  <a:gd name="T26" fmla="*/ 0 w 120"/>
                  <a:gd name="T27" fmla="*/ 0 h 146"/>
                  <a:gd name="T28" fmla="*/ 0 w 120"/>
                  <a:gd name="T29" fmla="*/ 0 h 146"/>
                  <a:gd name="T30" fmla="*/ 0 w 120"/>
                  <a:gd name="T31" fmla="*/ 0 h 146"/>
                  <a:gd name="T32" fmla="*/ 0 w 120"/>
                  <a:gd name="T33" fmla="*/ 0 h 146"/>
                  <a:gd name="T34" fmla="*/ 0 w 120"/>
                  <a:gd name="T35" fmla="*/ 0 h 146"/>
                  <a:gd name="T36" fmla="*/ 0 w 120"/>
                  <a:gd name="T37" fmla="*/ 0 h 146"/>
                  <a:gd name="T38" fmla="*/ 0 w 120"/>
                  <a:gd name="T39" fmla="*/ 0 h 146"/>
                  <a:gd name="T40" fmla="*/ 0 w 120"/>
                  <a:gd name="T41" fmla="*/ 0 h 146"/>
                  <a:gd name="T42" fmla="*/ 0 w 120"/>
                  <a:gd name="T43" fmla="*/ 0 h 146"/>
                  <a:gd name="T44" fmla="*/ 0 w 120"/>
                  <a:gd name="T45" fmla="*/ 0 h 146"/>
                  <a:gd name="T46" fmla="*/ 0 w 120"/>
                  <a:gd name="T47" fmla="*/ 0 h 146"/>
                  <a:gd name="T48" fmla="*/ 0 w 120"/>
                  <a:gd name="T49" fmla="*/ 0 h 146"/>
                  <a:gd name="T50" fmla="*/ 0 w 120"/>
                  <a:gd name="T51" fmla="*/ 0 h 146"/>
                  <a:gd name="T52" fmla="*/ 0 w 120"/>
                  <a:gd name="T53" fmla="*/ 0 h 146"/>
                  <a:gd name="T54" fmla="*/ 0 w 120"/>
                  <a:gd name="T55" fmla="*/ 0 h 146"/>
                  <a:gd name="T56" fmla="*/ 0 w 120"/>
                  <a:gd name="T57" fmla="*/ 0 h 146"/>
                  <a:gd name="T58" fmla="*/ 0 w 120"/>
                  <a:gd name="T59" fmla="*/ 0 h 146"/>
                  <a:gd name="T60" fmla="*/ 0 w 120"/>
                  <a:gd name="T61" fmla="*/ 0 h 146"/>
                  <a:gd name="T62" fmla="*/ 0 w 120"/>
                  <a:gd name="T63" fmla="*/ 0 h 146"/>
                  <a:gd name="T64" fmla="*/ 0 w 120"/>
                  <a:gd name="T65" fmla="*/ 0 h 146"/>
                  <a:gd name="T66" fmla="*/ 0 w 120"/>
                  <a:gd name="T67" fmla="*/ 0 h 146"/>
                  <a:gd name="T68" fmla="*/ 0 w 120"/>
                  <a:gd name="T69" fmla="*/ 0 h 146"/>
                  <a:gd name="T70" fmla="*/ 0 w 120"/>
                  <a:gd name="T71" fmla="*/ 0 h 146"/>
                  <a:gd name="T72" fmla="*/ 0 w 120"/>
                  <a:gd name="T73" fmla="*/ 0 h 146"/>
                  <a:gd name="T74" fmla="*/ 0 w 120"/>
                  <a:gd name="T75" fmla="*/ 0 h 146"/>
                  <a:gd name="T76" fmla="*/ 0 w 120"/>
                  <a:gd name="T77" fmla="*/ 0 h 146"/>
                  <a:gd name="T78" fmla="*/ 0 w 120"/>
                  <a:gd name="T79" fmla="*/ 0 h 146"/>
                  <a:gd name="T80" fmla="*/ 0 w 120"/>
                  <a:gd name="T81" fmla="*/ 0 h 146"/>
                  <a:gd name="T82" fmla="*/ 0 w 120"/>
                  <a:gd name="T83" fmla="*/ 0 h 146"/>
                  <a:gd name="T84" fmla="*/ 0 w 120"/>
                  <a:gd name="T85" fmla="*/ 0 h 146"/>
                  <a:gd name="T86" fmla="*/ 0 w 120"/>
                  <a:gd name="T87" fmla="*/ 0 h 14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20"/>
                  <a:gd name="T133" fmla="*/ 0 h 146"/>
                  <a:gd name="T134" fmla="*/ 120 w 120"/>
                  <a:gd name="T135" fmla="*/ 146 h 14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20" h="146">
                    <a:moveTo>
                      <a:pt x="42" y="57"/>
                    </a:moveTo>
                    <a:lnTo>
                      <a:pt x="34" y="57"/>
                    </a:lnTo>
                    <a:lnTo>
                      <a:pt x="25" y="56"/>
                    </a:lnTo>
                    <a:lnTo>
                      <a:pt x="19" y="55"/>
                    </a:lnTo>
                    <a:lnTo>
                      <a:pt x="14" y="53"/>
                    </a:lnTo>
                    <a:lnTo>
                      <a:pt x="11" y="50"/>
                    </a:lnTo>
                    <a:lnTo>
                      <a:pt x="8" y="47"/>
                    </a:lnTo>
                    <a:lnTo>
                      <a:pt x="7" y="44"/>
                    </a:lnTo>
                    <a:lnTo>
                      <a:pt x="6" y="41"/>
                    </a:lnTo>
                    <a:lnTo>
                      <a:pt x="6" y="37"/>
                    </a:lnTo>
                    <a:lnTo>
                      <a:pt x="7" y="33"/>
                    </a:lnTo>
                    <a:lnTo>
                      <a:pt x="9" y="28"/>
                    </a:lnTo>
                    <a:lnTo>
                      <a:pt x="11" y="24"/>
                    </a:lnTo>
                    <a:lnTo>
                      <a:pt x="17" y="17"/>
                    </a:lnTo>
                    <a:lnTo>
                      <a:pt x="24" y="10"/>
                    </a:lnTo>
                    <a:lnTo>
                      <a:pt x="34" y="5"/>
                    </a:lnTo>
                    <a:lnTo>
                      <a:pt x="42" y="2"/>
                    </a:lnTo>
                    <a:lnTo>
                      <a:pt x="47" y="0"/>
                    </a:lnTo>
                    <a:lnTo>
                      <a:pt x="51" y="0"/>
                    </a:lnTo>
                    <a:lnTo>
                      <a:pt x="55" y="2"/>
                    </a:lnTo>
                    <a:lnTo>
                      <a:pt x="59" y="4"/>
                    </a:lnTo>
                    <a:lnTo>
                      <a:pt x="62" y="6"/>
                    </a:lnTo>
                    <a:lnTo>
                      <a:pt x="65" y="10"/>
                    </a:lnTo>
                    <a:lnTo>
                      <a:pt x="67" y="14"/>
                    </a:lnTo>
                    <a:lnTo>
                      <a:pt x="69" y="20"/>
                    </a:lnTo>
                    <a:lnTo>
                      <a:pt x="69" y="27"/>
                    </a:lnTo>
                    <a:lnTo>
                      <a:pt x="70" y="36"/>
                    </a:lnTo>
                    <a:lnTo>
                      <a:pt x="69" y="45"/>
                    </a:lnTo>
                    <a:lnTo>
                      <a:pt x="67" y="56"/>
                    </a:lnTo>
                    <a:lnTo>
                      <a:pt x="74" y="55"/>
                    </a:lnTo>
                    <a:lnTo>
                      <a:pt x="81" y="54"/>
                    </a:lnTo>
                    <a:lnTo>
                      <a:pt x="87" y="54"/>
                    </a:lnTo>
                    <a:lnTo>
                      <a:pt x="93" y="55"/>
                    </a:lnTo>
                    <a:lnTo>
                      <a:pt x="98" y="56"/>
                    </a:lnTo>
                    <a:lnTo>
                      <a:pt x="102" y="58"/>
                    </a:lnTo>
                    <a:lnTo>
                      <a:pt x="106" y="60"/>
                    </a:lnTo>
                    <a:lnTo>
                      <a:pt x="109" y="64"/>
                    </a:lnTo>
                    <a:lnTo>
                      <a:pt x="112" y="67"/>
                    </a:lnTo>
                    <a:lnTo>
                      <a:pt x="115" y="70"/>
                    </a:lnTo>
                    <a:lnTo>
                      <a:pt x="116" y="73"/>
                    </a:lnTo>
                    <a:lnTo>
                      <a:pt x="118" y="77"/>
                    </a:lnTo>
                    <a:lnTo>
                      <a:pt x="120" y="85"/>
                    </a:lnTo>
                    <a:lnTo>
                      <a:pt x="120" y="93"/>
                    </a:lnTo>
                    <a:lnTo>
                      <a:pt x="117" y="101"/>
                    </a:lnTo>
                    <a:lnTo>
                      <a:pt x="114" y="107"/>
                    </a:lnTo>
                    <a:lnTo>
                      <a:pt x="112" y="110"/>
                    </a:lnTo>
                    <a:lnTo>
                      <a:pt x="109" y="113"/>
                    </a:lnTo>
                    <a:lnTo>
                      <a:pt x="106" y="115"/>
                    </a:lnTo>
                    <a:lnTo>
                      <a:pt x="103" y="116"/>
                    </a:lnTo>
                    <a:lnTo>
                      <a:pt x="100" y="117"/>
                    </a:lnTo>
                    <a:lnTo>
                      <a:pt x="96" y="118"/>
                    </a:lnTo>
                    <a:lnTo>
                      <a:pt x="92" y="118"/>
                    </a:lnTo>
                    <a:lnTo>
                      <a:pt x="87" y="117"/>
                    </a:lnTo>
                    <a:lnTo>
                      <a:pt x="83" y="116"/>
                    </a:lnTo>
                    <a:lnTo>
                      <a:pt x="78" y="114"/>
                    </a:lnTo>
                    <a:lnTo>
                      <a:pt x="73" y="111"/>
                    </a:lnTo>
                    <a:lnTo>
                      <a:pt x="68" y="107"/>
                    </a:lnTo>
                    <a:lnTo>
                      <a:pt x="66" y="115"/>
                    </a:lnTo>
                    <a:lnTo>
                      <a:pt x="64" y="123"/>
                    </a:lnTo>
                    <a:lnTo>
                      <a:pt x="61" y="129"/>
                    </a:lnTo>
                    <a:lnTo>
                      <a:pt x="58" y="134"/>
                    </a:lnTo>
                    <a:lnTo>
                      <a:pt x="53" y="138"/>
                    </a:lnTo>
                    <a:lnTo>
                      <a:pt x="50" y="141"/>
                    </a:lnTo>
                    <a:lnTo>
                      <a:pt x="46" y="144"/>
                    </a:lnTo>
                    <a:lnTo>
                      <a:pt x="42" y="145"/>
                    </a:lnTo>
                    <a:lnTo>
                      <a:pt x="38" y="146"/>
                    </a:lnTo>
                    <a:lnTo>
                      <a:pt x="34" y="146"/>
                    </a:lnTo>
                    <a:lnTo>
                      <a:pt x="29" y="146"/>
                    </a:lnTo>
                    <a:lnTo>
                      <a:pt x="24" y="145"/>
                    </a:lnTo>
                    <a:lnTo>
                      <a:pt x="21" y="143"/>
                    </a:lnTo>
                    <a:lnTo>
                      <a:pt x="17" y="141"/>
                    </a:lnTo>
                    <a:lnTo>
                      <a:pt x="13" y="138"/>
                    </a:lnTo>
                    <a:lnTo>
                      <a:pt x="10" y="135"/>
                    </a:lnTo>
                    <a:lnTo>
                      <a:pt x="7" y="132"/>
                    </a:lnTo>
                    <a:lnTo>
                      <a:pt x="5" y="128"/>
                    </a:lnTo>
                    <a:lnTo>
                      <a:pt x="3" y="124"/>
                    </a:lnTo>
                    <a:lnTo>
                      <a:pt x="1" y="118"/>
                    </a:lnTo>
                    <a:lnTo>
                      <a:pt x="0" y="114"/>
                    </a:lnTo>
                    <a:lnTo>
                      <a:pt x="0" y="109"/>
                    </a:lnTo>
                    <a:lnTo>
                      <a:pt x="0" y="104"/>
                    </a:lnTo>
                    <a:lnTo>
                      <a:pt x="1" y="99"/>
                    </a:lnTo>
                    <a:lnTo>
                      <a:pt x="3" y="93"/>
                    </a:lnTo>
                    <a:lnTo>
                      <a:pt x="6" y="87"/>
                    </a:lnTo>
                    <a:lnTo>
                      <a:pt x="9" y="82"/>
                    </a:lnTo>
                    <a:lnTo>
                      <a:pt x="14" y="77"/>
                    </a:lnTo>
                    <a:lnTo>
                      <a:pt x="19" y="72"/>
                    </a:lnTo>
                    <a:lnTo>
                      <a:pt x="25" y="67"/>
                    </a:lnTo>
                    <a:lnTo>
                      <a:pt x="34" y="63"/>
                    </a:lnTo>
                    <a:lnTo>
                      <a:pt x="42" y="57"/>
                    </a:lnTo>
                    <a:close/>
                  </a:path>
                </a:pathLst>
              </a:custGeom>
              <a:solidFill>
                <a:srgbClr val="BF3B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70" name="Freeform 85"/>
              <p:cNvSpPr>
                <a:spLocks/>
              </p:cNvSpPr>
              <p:nvPr/>
            </p:nvSpPr>
            <p:spPr bwMode="auto">
              <a:xfrm>
                <a:off x="3615" y="1579"/>
                <a:ext cx="27" cy="22"/>
              </a:xfrm>
              <a:custGeom>
                <a:avLst/>
                <a:gdLst>
                  <a:gd name="T0" fmla="*/ 0 w 188"/>
                  <a:gd name="T1" fmla="*/ 0 h 153"/>
                  <a:gd name="T2" fmla="*/ 0 w 188"/>
                  <a:gd name="T3" fmla="*/ 0 h 153"/>
                  <a:gd name="T4" fmla="*/ 0 w 188"/>
                  <a:gd name="T5" fmla="*/ 0 h 153"/>
                  <a:gd name="T6" fmla="*/ 0 w 188"/>
                  <a:gd name="T7" fmla="*/ 0 h 153"/>
                  <a:gd name="T8" fmla="*/ 0 w 188"/>
                  <a:gd name="T9" fmla="*/ 0 h 153"/>
                  <a:gd name="T10" fmla="*/ 0 w 188"/>
                  <a:gd name="T11" fmla="*/ 0 h 153"/>
                  <a:gd name="T12" fmla="*/ 0 w 188"/>
                  <a:gd name="T13" fmla="*/ 0 h 153"/>
                  <a:gd name="T14" fmla="*/ 0 w 188"/>
                  <a:gd name="T15" fmla="*/ 0 h 153"/>
                  <a:gd name="T16" fmla="*/ 0 w 188"/>
                  <a:gd name="T17" fmla="*/ 0 h 153"/>
                  <a:gd name="T18" fmla="*/ 0 w 188"/>
                  <a:gd name="T19" fmla="*/ 0 h 153"/>
                  <a:gd name="T20" fmla="*/ 0 w 188"/>
                  <a:gd name="T21" fmla="*/ 0 h 153"/>
                  <a:gd name="T22" fmla="*/ 0 w 188"/>
                  <a:gd name="T23" fmla="*/ 0 h 153"/>
                  <a:gd name="T24" fmla="*/ 0 w 188"/>
                  <a:gd name="T25" fmla="*/ 0 h 153"/>
                  <a:gd name="T26" fmla="*/ 0 w 188"/>
                  <a:gd name="T27" fmla="*/ 0 h 153"/>
                  <a:gd name="T28" fmla="*/ 0 w 188"/>
                  <a:gd name="T29" fmla="*/ 0 h 153"/>
                  <a:gd name="T30" fmla="*/ 0 w 188"/>
                  <a:gd name="T31" fmla="*/ 0 h 153"/>
                  <a:gd name="T32" fmla="*/ 0 w 188"/>
                  <a:gd name="T33" fmla="*/ 0 h 153"/>
                  <a:gd name="T34" fmla="*/ 0 w 188"/>
                  <a:gd name="T35" fmla="*/ 0 h 153"/>
                  <a:gd name="T36" fmla="*/ 0 w 188"/>
                  <a:gd name="T37" fmla="*/ 0 h 153"/>
                  <a:gd name="T38" fmla="*/ 0 w 188"/>
                  <a:gd name="T39" fmla="*/ 0 h 153"/>
                  <a:gd name="T40" fmla="*/ 0 w 188"/>
                  <a:gd name="T41" fmla="*/ 0 h 153"/>
                  <a:gd name="T42" fmla="*/ 0 w 188"/>
                  <a:gd name="T43" fmla="*/ 0 h 153"/>
                  <a:gd name="T44" fmla="*/ 0 w 188"/>
                  <a:gd name="T45" fmla="*/ 0 h 153"/>
                  <a:gd name="T46" fmla="*/ 0 w 188"/>
                  <a:gd name="T47" fmla="*/ 0 h 153"/>
                  <a:gd name="T48" fmla="*/ 0 w 188"/>
                  <a:gd name="T49" fmla="*/ 0 h 153"/>
                  <a:gd name="T50" fmla="*/ 0 w 188"/>
                  <a:gd name="T51" fmla="*/ 0 h 153"/>
                  <a:gd name="T52" fmla="*/ 0 w 188"/>
                  <a:gd name="T53" fmla="*/ 0 h 153"/>
                  <a:gd name="T54" fmla="*/ 0 w 188"/>
                  <a:gd name="T55" fmla="*/ 0 h 153"/>
                  <a:gd name="T56" fmla="*/ 0 w 188"/>
                  <a:gd name="T57" fmla="*/ 0 h 153"/>
                  <a:gd name="T58" fmla="*/ 0 w 188"/>
                  <a:gd name="T59" fmla="*/ 0 h 153"/>
                  <a:gd name="T60" fmla="*/ 0 w 188"/>
                  <a:gd name="T61" fmla="*/ 0 h 153"/>
                  <a:gd name="T62" fmla="*/ 0 w 188"/>
                  <a:gd name="T63" fmla="*/ 0 h 153"/>
                  <a:gd name="T64" fmla="*/ 0 w 188"/>
                  <a:gd name="T65" fmla="*/ 0 h 153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88"/>
                  <a:gd name="T100" fmla="*/ 0 h 153"/>
                  <a:gd name="T101" fmla="*/ 188 w 188"/>
                  <a:gd name="T102" fmla="*/ 153 h 153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88" h="153">
                    <a:moveTo>
                      <a:pt x="0" y="0"/>
                    </a:moveTo>
                    <a:lnTo>
                      <a:pt x="20" y="3"/>
                    </a:lnTo>
                    <a:lnTo>
                      <a:pt x="37" y="7"/>
                    </a:lnTo>
                    <a:lnTo>
                      <a:pt x="53" y="11"/>
                    </a:lnTo>
                    <a:lnTo>
                      <a:pt x="67" y="15"/>
                    </a:lnTo>
                    <a:lnTo>
                      <a:pt x="80" y="21"/>
                    </a:lnTo>
                    <a:lnTo>
                      <a:pt x="91" y="27"/>
                    </a:lnTo>
                    <a:lnTo>
                      <a:pt x="103" y="35"/>
                    </a:lnTo>
                    <a:lnTo>
                      <a:pt x="112" y="43"/>
                    </a:lnTo>
                    <a:lnTo>
                      <a:pt x="121" y="52"/>
                    </a:lnTo>
                    <a:lnTo>
                      <a:pt x="130" y="63"/>
                    </a:lnTo>
                    <a:lnTo>
                      <a:pt x="139" y="75"/>
                    </a:lnTo>
                    <a:lnTo>
                      <a:pt x="148" y="87"/>
                    </a:lnTo>
                    <a:lnTo>
                      <a:pt x="167" y="117"/>
                    </a:lnTo>
                    <a:lnTo>
                      <a:pt x="188" y="153"/>
                    </a:lnTo>
                    <a:lnTo>
                      <a:pt x="182" y="151"/>
                    </a:lnTo>
                    <a:lnTo>
                      <a:pt x="164" y="144"/>
                    </a:lnTo>
                    <a:lnTo>
                      <a:pt x="151" y="139"/>
                    </a:lnTo>
                    <a:lnTo>
                      <a:pt x="138" y="134"/>
                    </a:lnTo>
                    <a:lnTo>
                      <a:pt x="122" y="127"/>
                    </a:lnTo>
                    <a:lnTo>
                      <a:pt x="107" y="118"/>
                    </a:lnTo>
                    <a:lnTo>
                      <a:pt x="90" y="108"/>
                    </a:lnTo>
                    <a:lnTo>
                      <a:pt x="74" y="98"/>
                    </a:lnTo>
                    <a:lnTo>
                      <a:pt x="58" y="85"/>
                    </a:lnTo>
                    <a:lnTo>
                      <a:pt x="44" y="71"/>
                    </a:lnTo>
                    <a:lnTo>
                      <a:pt x="36" y="64"/>
                    </a:lnTo>
                    <a:lnTo>
                      <a:pt x="29" y="55"/>
                    </a:lnTo>
                    <a:lnTo>
                      <a:pt x="23" y="47"/>
                    </a:lnTo>
                    <a:lnTo>
                      <a:pt x="18" y="39"/>
                    </a:lnTo>
                    <a:lnTo>
                      <a:pt x="13" y="30"/>
                    </a:lnTo>
                    <a:lnTo>
                      <a:pt x="8" y="20"/>
                    </a:lnTo>
                    <a:lnTo>
                      <a:pt x="4" y="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8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71" name="Freeform 86"/>
              <p:cNvSpPr>
                <a:spLocks/>
              </p:cNvSpPr>
              <p:nvPr/>
            </p:nvSpPr>
            <p:spPr bwMode="auto">
              <a:xfrm>
                <a:off x="3645" y="1570"/>
                <a:ext cx="5" cy="18"/>
              </a:xfrm>
              <a:custGeom>
                <a:avLst/>
                <a:gdLst>
                  <a:gd name="T0" fmla="*/ 0 w 37"/>
                  <a:gd name="T1" fmla="*/ 0 h 129"/>
                  <a:gd name="T2" fmla="*/ 0 w 37"/>
                  <a:gd name="T3" fmla="*/ 0 h 129"/>
                  <a:gd name="T4" fmla="*/ 0 w 37"/>
                  <a:gd name="T5" fmla="*/ 0 h 129"/>
                  <a:gd name="T6" fmla="*/ 0 w 37"/>
                  <a:gd name="T7" fmla="*/ 0 h 129"/>
                  <a:gd name="T8" fmla="*/ 0 w 37"/>
                  <a:gd name="T9" fmla="*/ 0 h 129"/>
                  <a:gd name="T10" fmla="*/ 0 w 37"/>
                  <a:gd name="T11" fmla="*/ 0 h 129"/>
                  <a:gd name="T12" fmla="*/ 0 w 37"/>
                  <a:gd name="T13" fmla="*/ 0 h 129"/>
                  <a:gd name="T14" fmla="*/ 0 w 37"/>
                  <a:gd name="T15" fmla="*/ 0 h 129"/>
                  <a:gd name="T16" fmla="*/ 0 w 37"/>
                  <a:gd name="T17" fmla="*/ 0 h 129"/>
                  <a:gd name="T18" fmla="*/ 0 w 37"/>
                  <a:gd name="T19" fmla="*/ 0 h 129"/>
                  <a:gd name="T20" fmla="*/ 0 w 37"/>
                  <a:gd name="T21" fmla="*/ 0 h 129"/>
                  <a:gd name="T22" fmla="*/ 0 w 37"/>
                  <a:gd name="T23" fmla="*/ 0 h 129"/>
                  <a:gd name="T24" fmla="*/ 0 w 37"/>
                  <a:gd name="T25" fmla="*/ 0 h 129"/>
                  <a:gd name="T26" fmla="*/ 0 w 37"/>
                  <a:gd name="T27" fmla="*/ 0 h 129"/>
                  <a:gd name="T28" fmla="*/ 0 w 37"/>
                  <a:gd name="T29" fmla="*/ 0 h 129"/>
                  <a:gd name="T30" fmla="*/ 0 w 37"/>
                  <a:gd name="T31" fmla="*/ 0 h 129"/>
                  <a:gd name="T32" fmla="*/ 0 w 37"/>
                  <a:gd name="T33" fmla="*/ 0 h 129"/>
                  <a:gd name="T34" fmla="*/ 0 w 37"/>
                  <a:gd name="T35" fmla="*/ 0 h 129"/>
                  <a:gd name="T36" fmla="*/ 0 w 37"/>
                  <a:gd name="T37" fmla="*/ 0 h 129"/>
                  <a:gd name="T38" fmla="*/ 0 w 37"/>
                  <a:gd name="T39" fmla="*/ 0 h 129"/>
                  <a:gd name="T40" fmla="*/ 0 w 37"/>
                  <a:gd name="T41" fmla="*/ 0 h 129"/>
                  <a:gd name="T42" fmla="*/ 0 w 37"/>
                  <a:gd name="T43" fmla="*/ 0 h 129"/>
                  <a:gd name="T44" fmla="*/ 0 w 37"/>
                  <a:gd name="T45" fmla="*/ 0 h 12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37"/>
                  <a:gd name="T70" fmla="*/ 0 h 129"/>
                  <a:gd name="T71" fmla="*/ 37 w 37"/>
                  <a:gd name="T72" fmla="*/ 129 h 129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37" h="129">
                    <a:moveTo>
                      <a:pt x="27" y="0"/>
                    </a:moveTo>
                    <a:lnTo>
                      <a:pt x="33" y="21"/>
                    </a:lnTo>
                    <a:lnTo>
                      <a:pt x="36" y="38"/>
                    </a:lnTo>
                    <a:lnTo>
                      <a:pt x="37" y="45"/>
                    </a:lnTo>
                    <a:lnTo>
                      <a:pt x="36" y="52"/>
                    </a:lnTo>
                    <a:lnTo>
                      <a:pt x="36" y="59"/>
                    </a:lnTo>
                    <a:lnTo>
                      <a:pt x="35" y="66"/>
                    </a:lnTo>
                    <a:lnTo>
                      <a:pt x="30" y="80"/>
                    </a:lnTo>
                    <a:lnTo>
                      <a:pt x="24" y="94"/>
                    </a:lnTo>
                    <a:lnTo>
                      <a:pt x="15" y="110"/>
                    </a:lnTo>
                    <a:lnTo>
                      <a:pt x="5" y="129"/>
                    </a:lnTo>
                    <a:lnTo>
                      <a:pt x="4" y="125"/>
                    </a:lnTo>
                    <a:lnTo>
                      <a:pt x="2" y="114"/>
                    </a:lnTo>
                    <a:lnTo>
                      <a:pt x="1" y="99"/>
                    </a:lnTo>
                    <a:lnTo>
                      <a:pt x="0" y="80"/>
                    </a:lnTo>
                    <a:lnTo>
                      <a:pt x="1" y="70"/>
                    </a:lnTo>
                    <a:lnTo>
                      <a:pt x="2" y="59"/>
                    </a:lnTo>
                    <a:lnTo>
                      <a:pt x="3" y="48"/>
                    </a:lnTo>
                    <a:lnTo>
                      <a:pt x="6" y="38"/>
                    </a:lnTo>
                    <a:lnTo>
                      <a:pt x="9" y="27"/>
                    </a:lnTo>
                    <a:lnTo>
                      <a:pt x="14" y="18"/>
                    </a:lnTo>
                    <a:lnTo>
                      <a:pt x="20" y="9"/>
                    </a:lnTo>
                    <a:lnTo>
                      <a:pt x="27" y="0"/>
                    </a:lnTo>
                    <a:close/>
                  </a:path>
                </a:pathLst>
              </a:custGeom>
              <a:solidFill>
                <a:srgbClr val="008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72" name="Freeform 87"/>
              <p:cNvSpPr>
                <a:spLocks/>
              </p:cNvSpPr>
              <p:nvPr/>
            </p:nvSpPr>
            <p:spPr bwMode="auto">
              <a:xfrm>
                <a:off x="3645" y="1540"/>
                <a:ext cx="5" cy="12"/>
              </a:xfrm>
              <a:custGeom>
                <a:avLst/>
                <a:gdLst>
                  <a:gd name="T0" fmla="*/ 0 w 33"/>
                  <a:gd name="T1" fmla="*/ 0 h 87"/>
                  <a:gd name="T2" fmla="*/ 0 w 33"/>
                  <a:gd name="T3" fmla="*/ 0 h 87"/>
                  <a:gd name="T4" fmla="*/ 0 w 33"/>
                  <a:gd name="T5" fmla="*/ 0 h 87"/>
                  <a:gd name="T6" fmla="*/ 0 w 33"/>
                  <a:gd name="T7" fmla="*/ 0 h 87"/>
                  <a:gd name="T8" fmla="*/ 0 w 33"/>
                  <a:gd name="T9" fmla="*/ 0 h 87"/>
                  <a:gd name="T10" fmla="*/ 0 w 33"/>
                  <a:gd name="T11" fmla="*/ 0 h 87"/>
                  <a:gd name="T12" fmla="*/ 0 w 33"/>
                  <a:gd name="T13" fmla="*/ 0 h 87"/>
                  <a:gd name="T14" fmla="*/ 0 w 33"/>
                  <a:gd name="T15" fmla="*/ 0 h 87"/>
                  <a:gd name="T16" fmla="*/ 0 w 33"/>
                  <a:gd name="T17" fmla="*/ 0 h 87"/>
                  <a:gd name="T18" fmla="*/ 0 w 33"/>
                  <a:gd name="T19" fmla="*/ 0 h 87"/>
                  <a:gd name="T20" fmla="*/ 0 w 33"/>
                  <a:gd name="T21" fmla="*/ 0 h 87"/>
                  <a:gd name="T22" fmla="*/ 0 w 33"/>
                  <a:gd name="T23" fmla="*/ 0 h 87"/>
                  <a:gd name="T24" fmla="*/ 0 w 33"/>
                  <a:gd name="T25" fmla="*/ 0 h 87"/>
                  <a:gd name="T26" fmla="*/ 0 w 33"/>
                  <a:gd name="T27" fmla="*/ 0 h 87"/>
                  <a:gd name="T28" fmla="*/ 0 w 33"/>
                  <a:gd name="T29" fmla="*/ 0 h 87"/>
                  <a:gd name="T30" fmla="*/ 0 w 33"/>
                  <a:gd name="T31" fmla="*/ 0 h 87"/>
                  <a:gd name="T32" fmla="*/ 0 w 33"/>
                  <a:gd name="T33" fmla="*/ 0 h 87"/>
                  <a:gd name="T34" fmla="*/ 0 w 33"/>
                  <a:gd name="T35" fmla="*/ 0 h 87"/>
                  <a:gd name="T36" fmla="*/ 0 w 33"/>
                  <a:gd name="T37" fmla="*/ 0 h 87"/>
                  <a:gd name="T38" fmla="*/ 0 w 33"/>
                  <a:gd name="T39" fmla="*/ 0 h 87"/>
                  <a:gd name="T40" fmla="*/ 0 w 33"/>
                  <a:gd name="T41" fmla="*/ 0 h 87"/>
                  <a:gd name="T42" fmla="*/ 0 w 33"/>
                  <a:gd name="T43" fmla="*/ 0 h 87"/>
                  <a:gd name="T44" fmla="*/ 0 w 33"/>
                  <a:gd name="T45" fmla="*/ 0 h 87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33"/>
                  <a:gd name="T70" fmla="*/ 0 h 87"/>
                  <a:gd name="T71" fmla="*/ 33 w 33"/>
                  <a:gd name="T72" fmla="*/ 87 h 87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33" h="87">
                    <a:moveTo>
                      <a:pt x="19" y="0"/>
                    </a:moveTo>
                    <a:lnTo>
                      <a:pt x="26" y="12"/>
                    </a:lnTo>
                    <a:lnTo>
                      <a:pt x="31" y="22"/>
                    </a:lnTo>
                    <a:lnTo>
                      <a:pt x="32" y="27"/>
                    </a:lnTo>
                    <a:lnTo>
                      <a:pt x="33" y="31"/>
                    </a:lnTo>
                    <a:lnTo>
                      <a:pt x="33" y="37"/>
                    </a:lnTo>
                    <a:lnTo>
                      <a:pt x="32" y="41"/>
                    </a:lnTo>
                    <a:lnTo>
                      <a:pt x="30" y="50"/>
                    </a:lnTo>
                    <a:lnTo>
                      <a:pt x="25" y="60"/>
                    </a:lnTo>
                    <a:lnTo>
                      <a:pt x="19" y="73"/>
                    </a:lnTo>
                    <a:lnTo>
                      <a:pt x="10" y="87"/>
                    </a:lnTo>
                    <a:lnTo>
                      <a:pt x="9" y="84"/>
                    </a:lnTo>
                    <a:lnTo>
                      <a:pt x="6" y="78"/>
                    </a:lnTo>
                    <a:lnTo>
                      <a:pt x="3" y="69"/>
                    </a:lnTo>
                    <a:lnTo>
                      <a:pt x="1" y="56"/>
                    </a:lnTo>
                    <a:lnTo>
                      <a:pt x="0" y="50"/>
                    </a:lnTo>
                    <a:lnTo>
                      <a:pt x="0" y="43"/>
                    </a:lnTo>
                    <a:lnTo>
                      <a:pt x="0" y="36"/>
                    </a:lnTo>
                    <a:lnTo>
                      <a:pt x="2" y="28"/>
                    </a:lnTo>
                    <a:lnTo>
                      <a:pt x="4" y="21"/>
                    </a:lnTo>
                    <a:lnTo>
                      <a:pt x="7" y="14"/>
                    </a:lnTo>
                    <a:lnTo>
                      <a:pt x="12" y="7"/>
                    </a:lnTo>
                    <a:lnTo>
                      <a:pt x="19" y="0"/>
                    </a:lnTo>
                    <a:close/>
                  </a:path>
                </a:pathLst>
              </a:custGeom>
              <a:solidFill>
                <a:srgbClr val="008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73" name="Freeform 88"/>
              <p:cNvSpPr>
                <a:spLocks/>
              </p:cNvSpPr>
              <p:nvPr/>
            </p:nvSpPr>
            <p:spPr bwMode="auto">
              <a:xfrm>
                <a:off x="3642" y="1529"/>
                <a:ext cx="6" cy="11"/>
              </a:xfrm>
              <a:custGeom>
                <a:avLst/>
                <a:gdLst>
                  <a:gd name="T0" fmla="*/ 0 w 41"/>
                  <a:gd name="T1" fmla="*/ 0 h 77"/>
                  <a:gd name="T2" fmla="*/ 0 w 41"/>
                  <a:gd name="T3" fmla="*/ 0 h 77"/>
                  <a:gd name="T4" fmla="*/ 0 w 41"/>
                  <a:gd name="T5" fmla="*/ 0 h 77"/>
                  <a:gd name="T6" fmla="*/ 0 w 41"/>
                  <a:gd name="T7" fmla="*/ 0 h 77"/>
                  <a:gd name="T8" fmla="*/ 0 w 41"/>
                  <a:gd name="T9" fmla="*/ 0 h 77"/>
                  <a:gd name="T10" fmla="*/ 0 w 41"/>
                  <a:gd name="T11" fmla="*/ 0 h 77"/>
                  <a:gd name="T12" fmla="*/ 0 w 41"/>
                  <a:gd name="T13" fmla="*/ 0 h 77"/>
                  <a:gd name="T14" fmla="*/ 0 w 41"/>
                  <a:gd name="T15" fmla="*/ 0 h 77"/>
                  <a:gd name="T16" fmla="*/ 0 w 41"/>
                  <a:gd name="T17" fmla="*/ 0 h 77"/>
                  <a:gd name="T18" fmla="*/ 0 w 41"/>
                  <a:gd name="T19" fmla="*/ 0 h 77"/>
                  <a:gd name="T20" fmla="*/ 0 w 41"/>
                  <a:gd name="T21" fmla="*/ 0 h 77"/>
                  <a:gd name="T22" fmla="*/ 0 w 41"/>
                  <a:gd name="T23" fmla="*/ 0 h 77"/>
                  <a:gd name="T24" fmla="*/ 0 w 41"/>
                  <a:gd name="T25" fmla="*/ 0 h 77"/>
                  <a:gd name="T26" fmla="*/ 0 w 41"/>
                  <a:gd name="T27" fmla="*/ 0 h 77"/>
                  <a:gd name="T28" fmla="*/ 0 w 41"/>
                  <a:gd name="T29" fmla="*/ 0 h 77"/>
                  <a:gd name="T30" fmla="*/ 0 w 41"/>
                  <a:gd name="T31" fmla="*/ 0 h 77"/>
                  <a:gd name="T32" fmla="*/ 0 w 41"/>
                  <a:gd name="T33" fmla="*/ 0 h 77"/>
                  <a:gd name="T34" fmla="*/ 0 w 41"/>
                  <a:gd name="T35" fmla="*/ 0 h 77"/>
                  <a:gd name="T36" fmla="*/ 0 w 41"/>
                  <a:gd name="T37" fmla="*/ 0 h 77"/>
                  <a:gd name="T38" fmla="*/ 0 w 41"/>
                  <a:gd name="T39" fmla="*/ 0 h 77"/>
                  <a:gd name="T40" fmla="*/ 0 w 41"/>
                  <a:gd name="T41" fmla="*/ 0 h 77"/>
                  <a:gd name="T42" fmla="*/ 0 w 41"/>
                  <a:gd name="T43" fmla="*/ 0 h 77"/>
                  <a:gd name="T44" fmla="*/ 0 w 41"/>
                  <a:gd name="T45" fmla="*/ 0 h 77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41"/>
                  <a:gd name="T70" fmla="*/ 0 h 77"/>
                  <a:gd name="T71" fmla="*/ 41 w 41"/>
                  <a:gd name="T72" fmla="*/ 77 h 77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41" h="77">
                    <a:moveTo>
                      <a:pt x="2" y="0"/>
                    </a:moveTo>
                    <a:lnTo>
                      <a:pt x="15" y="5"/>
                    </a:lnTo>
                    <a:lnTo>
                      <a:pt x="24" y="10"/>
                    </a:lnTo>
                    <a:lnTo>
                      <a:pt x="27" y="13"/>
                    </a:lnTo>
                    <a:lnTo>
                      <a:pt x="30" y="18"/>
                    </a:lnTo>
                    <a:lnTo>
                      <a:pt x="33" y="21"/>
                    </a:lnTo>
                    <a:lnTo>
                      <a:pt x="35" y="25"/>
                    </a:lnTo>
                    <a:lnTo>
                      <a:pt x="37" y="35"/>
                    </a:lnTo>
                    <a:lnTo>
                      <a:pt x="40" y="47"/>
                    </a:lnTo>
                    <a:lnTo>
                      <a:pt x="41" y="60"/>
                    </a:lnTo>
                    <a:lnTo>
                      <a:pt x="41" y="77"/>
                    </a:lnTo>
                    <a:lnTo>
                      <a:pt x="39" y="76"/>
                    </a:lnTo>
                    <a:lnTo>
                      <a:pt x="33" y="71"/>
                    </a:lnTo>
                    <a:lnTo>
                      <a:pt x="25" y="65"/>
                    </a:lnTo>
                    <a:lnTo>
                      <a:pt x="17" y="57"/>
                    </a:lnTo>
                    <a:lnTo>
                      <a:pt x="13" y="52"/>
                    </a:lnTo>
                    <a:lnTo>
                      <a:pt x="9" y="47"/>
                    </a:lnTo>
                    <a:lnTo>
                      <a:pt x="5" y="40"/>
                    </a:lnTo>
                    <a:lnTo>
                      <a:pt x="3" y="33"/>
                    </a:lnTo>
                    <a:lnTo>
                      <a:pt x="1" y="26"/>
                    </a:lnTo>
                    <a:lnTo>
                      <a:pt x="0" y="18"/>
                    </a:lnTo>
                    <a:lnTo>
                      <a:pt x="0" y="9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008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74" name="Freeform 89"/>
              <p:cNvSpPr>
                <a:spLocks/>
              </p:cNvSpPr>
              <p:nvPr/>
            </p:nvSpPr>
            <p:spPr bwMode="auto">
              <a:xfrm>
                <a:off x="3645" y="1524"/>
                <a:ext cx="6" cy="12"/>
              </a:xfrm>
              <a:custGeom>
                <a:avLst/>
                <a:gdLst>
                  <a:gd name="T0" fmla="*/ 0 w 36"/>
                  <a:gd name="T1" fmla="*/ 0 h 82"/>
                  <a:gd name="T2" fmla="*/ 0 w 36"/>
                  <a:gd name="T3" fmla="*/ 0 h 82"/>
                  <a:gd name="T4" fmla="*/ 0 w 36"/>
                  <a:gd name="T5" fmla="*/ 0 h 82"/>
                  <a:gd name="T6" fmla="*/ 0 w 36"/>
                  <a:gd name="T7" fmla="*/ 0 h 82"/>
                  <a:gd name="T8" fmla="*/ 0 w 36"/>
                  <a:gd name="T9" fmla="*/ 0 h 82"/>
                  <a:gd name="T10" fmla="*/ 0 w 36"/>
                  <a:gd name="T11" fmla="*/ 0 h 82"/>
                  <a:gd name="T12" fmla="*/ 0 w 36"/>
                  <a:gd name="T13" fmla="*/ 0 h 82"/>
                  <a:gd name="T14" fmla="*/ 0 w 36"/>
                  <a:gd name="T15" fmla="*/ 0 h 82"/>
                  <a:gd name="T16" fmla="*/ 0 w 36"/>
                  <a:gd name="T17" fmla="*/ 0 h 82"/>
                  <a:gd name="T18" fmla="*/ 0 w 36"/>
                  <a:gd name="T19" fmla="*/ 0 h 82"/>
                  <a:gd name="T20" fmla="*/ 0 w 36"/>
                  <a:gd name="T21" fmla="*/ 0 h 82"/>
                  <a:gd name="T22" fmla="*/ 0 w 36"/>
                  <a:gd name="T23" fmla="*/ 0 h 82"/>
                  <a:gd name="T24" fmla="*/ 0 w 36"/>
                  <a:gd name="T25" fmla="*/ 0 h 82"/>
                  <a:gd name="T26" fmla="*/ 0 w 36"/>
                  <a:gd name="T27" fmla="*/ 0 h 82"/>
                  <a:gd name="T28" fmla="*/ 0 w 36"/>
                  <a:gd name="T29" fmla="*/ 0 h 82"/>
                  <a:gd name="T30" fmla="*/ 0 w 36"/>
                  <a:gd name="T31" fmla="*/ 0 h 82"/>
                  <a:gd name="T32" fmla="*/ 0 w 36"/>
                  <a:gd name="T33" fmla="*/ 0 h 82"/>
                  <a:gd name="T34" fmla="*/ 0 w 36"/>
                  <a:gd name="T35" fmla="*/ 0 h 82"/>
                  <a:gd name="T36" fmla="*/ 0 w 36"/>
                  <a:gd name="T37" fmla="*/ 0 h 82"/>
                  <a:gd name="T38" fmla="*/ 0 w 36"/>
                  <a:gd name="T39" fmla="*/ 0 h 82"/>
                  <a:gd name="T40" fmla="*/ 0 w 36"/>
                  <a:gd name="T41" fmla="*/ 0 h 82"/>
                  <a:gd name="T42" fmla="*/ 0 w 36"/>
                  <a:gd name="T43" fmla="*/ 0 h 82"/>
                  <a:gd name="T44" fmla="*/ 0 w 36"/>
                  <a:gd name="T45" fmla="*/ 0 h 82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36"/>
                  <a:gd name="T70" fmla="*/ 0 h 82"/>
                  <a:gd name="T71" fmla="*/ 36 w 36"/>
                  <a:gd name="T72" fmla="*/ 82 h 82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36" h="82">
                    <a:moveTo>
                      <a:pt x="26" y="0"/>
                    </a:moveTo>
                    <a:lnTo>
                      <a:pt x="32" y="12"/>
                    </a:lnTo>
                    <a:lnTo>
                      <a:pt x="35" y="24"/>
                    </a:lnTo>
                    <a:lnTo>
                      <a:pt x="36" y="28"/>
                    </a:lnTo>
                    <a:lnTo>
                      <a:pt x="36" y="33"/>
                    </a:lnTo>
                    <a:lnTo>
                      <a:pt x="35" y="37"/>
                    </a:lnTo>
                    <a:lnTo>
                      <a:pt x="34" y="41"/>
                    </a:lnTo>
                    <a:lnTo>
                      <a:pt x="30" y="50"/>
                    </a:lnTo>
                    <a:lnTo>
                      <a:pt x="24" y="60"/>
                    </a:lnTo>
                    <a:lnTo>
                      <a:pt x="16" y="70"/>
                    </a:lnTo>
                    <a:lnTo>
                      <a:pt x="5" y="82"/>
                    </a:lnTo>
                    <a:lnTo>
                      <a:pt x="4" y="80"/>
                    </a:lnTo>
                    <a:lnTo>
                      <a:pt x="3" y="73"/>
                    </a:lnTo>
                    <a:lnTo>
                      <a:pt x="1" y="64"/>
                    </a:lnTo>
                    <a:lnTo>
                      <a:pt x="0" y="51"/>
                    </a:lnTo>
                    <a:lnTo>
                      <a:pt x="0" y="45"/>
                    </a:lnTo>
                    <a:lnTo>
                      <a:pt x="1" y="38"/>
                    </a:lnTo>
                    <a:lnTo>
                      <a:pt x="3" y="31"/>
                    </a:lnTo>
                    <a:lnTo>
                      <a:pt x="5" y="25"/>
                    </a:lnTo>
                    <a:lnTo>
                      <a:pt x="8" y="17"/>
                    </a:lnTo>
                    <a:lnTo>
                      <a:pt x="13" y="11"/>
                    </a:lnTo>
                    <a:lnTo>
                      <a:pt x="19" y="5"/>
                    </a:lnTo>
                    <a:lnTo>
                      <a:pt x="26" y="0"/>
                    </a:lnTo>
                    <a:close/>
                  </a:path>
                </a:pathLst>
              </a:custGeom>
              <a:solidFill>
                <a:srgbClr val="008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75" name="Freeform 90"/>
              <p:cNvSpPr>
                <a:spLocks/>
              </p:cNvSpPr>
              <p:nvPr/>
            </p:nvSpPr>
            <p:spPr bwMode="auto">
              <a:xfrm>
                <a:off x="3581" y="1599"/>
                <a:ext cx="5" cy="12"/>
              </a:xfrm>
              <a:custGeom>
                <a:avLst/>
                <a:gdLst>
                  <a:gd name="T0" fmla="*/ 0 w 33"/>
                  <a:gd name="T1" fmla="*/ 0 h 88"/>
                  <a:gd name="T2" fmla="*/ 0 w 33"/>
                  <a:gd name="T3" fmla="*/ 0 h 88"/>
                  <a:gd name="T4" fmla="*/ 0 w 33"/>
                  <a:gd name="T5" fmla="*/ 0 h 88"/>
                  <a:gd name="T6" fmla="*/ 0 w 33"/>
                  <a:gd name="T7" fmla="*/ 0 h 88"/>
                  <a:gd name="T8" fmla="*/ 0 w 33"/>
                  <a:gd name="T9" fmla="*/ 0 h 88"/>
                  <a:gd name="T10" fmla="*/ 0 w 33"/>
                  <a:gd name="T11" fmla="*/ 0 h 88"/>
                  <a:gd name="T12" fmla="*/ 0 w 33"/>
                  <a:gd name="T13" fmla="*/ 0 h 88"/>
                  <a:gd name="T14" fmla="*/ 0 w 33"/>
                  <a:gd name="T15" fmla="*/ 0 h 88"/>
                  <a:gd name="T16" fmla="*/ 0 w 33"/>
                  <a:gd name="T17" fmla="*/ 0 h 88"/>
                  <a:gd name="T18" fmla="*/ 0 w 33"/>
                  <a:gd name="T19" fmla="*/ 0 h 88"/>
                  <a:gd name="T20" fmla="*/ 0 w 33"/>
                  <a:gd name="T21" fmla="*/ 0 h 88"/>
                  <a:gd name="T22" fmla="*/ 0 w 33"/>
                  <a:gd name="T23" fmla="*/ 0 h 88"/>
                  <a:gd name="T24" fmla="*/ 0 w 33"/>
                  <a:gd name="T25" fmla="*/ 0 h 88"/>
                  <a:gd name="T26" fmla="*/ 0 w 33"/>
                  <a:gd name="T27" fmla="*/ 0 h 88"/>
                  <a:gd name="T28" fmla="*/ 0 w 33"/>
                  <a:gd name="T29" fmla="*/ 0 h 88"/>
                  <a:gd name="T30" fmla="*/ 0 w 33"/>
                  <a:gd name="T31" fmla="*/ 0 h 88"/>
                  <a:gd name="T32" fmla="*/ 0 w 33"/>
                  <a:gd name="T33" fmla="*/ 0 h 88"/>
                  <a:gd name="T34" fmla="*/ 0 w 33"/>
                  <a:gd name="T35" fmla="*/ 0 h 88"/>
                  <a:gd name="T36" fmla="*/ 0 w 33"/>
                  <a:gd name="T37" fmla="*/ 0 h 88"/>
                  <a:gd name="T38" fmla="*/ 0 w 33"/>
                  <a:gd name="T39" fmla="*/ 0 h 88"/>
                  <a:gd name="T40" fmla="*/ 0 w 33"/>
                  <a:gd name="T41" fmla="*/ 0 h 88"/>
                  <a:gd name="T42" fmla="*/ 0 w 33"/>
                  <a:gd name="T43" fmla="*/ 0 h 88"/>
                  <a:gd name="T44" fmla="*/ 0 w 33"/>
                  <a:gd name="T45" fmla="*/ 0 h 88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33"/>
                  <a:gd name="T70" fmla="*/ 0 h 88"/>
                  <a:gd name="T71" fmla="*/ 33 w 33"/>
                  <a:gd name="T72" fmla="*/ 88 h 88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33" h="88">
                    <a:moveTo>
                      <a:pt x="7" y="0"/>
                    </a:moveTo>
                    <a:lnTo>
                      <a:pt x="18" y="9"/>
                    </a:lnTo>
                    <a:lnTo>
                      <a:pt x="25" y="18"/>
                    </a:lnTo>
                    <a:lnTo>
                      <a:pt x="28" y="22"/>
                    </a:lnTo>
                    <a:lnTo>
                      <a:pt x="31" y="26"/>
                    </a:lnTo>
                    <a:lnTo>
                      <a:pt x="32" y="31"/>
                    </a:lnTo>
                    <a:lnTo>
                      <a:pt x="33" y="35"/>
                    </a:lnTo>
                    <a:lnTo>
                      <a:pt x="33" y="46"/>
                    </a:lnTo>
                    <a:lnTo>
                      <a:pt x="31" y="58"/>
                    </a:lnTo>
                    <a:lnTo>
                      <a:pt x="28" y="71"/>
                    </a:lnTo>
                    <a:lnTo>
                      <a:pt x="24" y="88"/>
                    </a:lnTo>
                    <a:lnTo>
                      <a:pt x="23" y="86"/>
                    </a:lnTo>
                    <a:lnTo>
                      <a:pt x="18" y="81"/>
                    </a:lnTo>
                    <a:lnTo>
                      <a:pt x="12" y="72"/>
                    </a:lnTo>
                    <a:lnTo>
                      <a:pt x="7" y="62"/>
                    </a:lnTo>
                    <a:lnTo>
                      <a:pt x="4" y="56"/>
                    </a:lnTo>
                    <a:lnTo>
                      <a:pt x="2" y="49"/>
                    </a:lnTo>
                    <a:lnTo>
                      <a:pt x="0" y="41"/>
                    </a:lnTo>
                    <a:lnTo>
                      <a:pt x="0" y="34"/>
                    </a:lnTo>
                    <a:lnTo>
                      <a:pt x="0" y="26"/>
                    </a:lnTo>
                    <a:lnTo>
                      <a:pt x="1" y="18"/>
                    </a:lnTo>
                    <a:lnTo>
                      <a:pt x="3" y="9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008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76" name="Freeform 91"/>
              <p:cNvSpPr>
                <a:spLocks/>
              </p:cNvSpPr>
              <p:nvPr/>
            </p:nvSpPr>
            <p:spPr bwMode="auto">
              <a:xfrm>
                <a:off x="3577" y="1583"/>
                <a:ext cx="5" cy="12"/>
              </a:xfrm>
              <a:custGeom>
                <a:avLst/>
                <a:gdLst>
                  <a:gd name="T0" fmla="*/ 0 w 33"/>
                  <a:gd name="T1" fmla="*/ 0 h 89"/>
                  <a:gd name="T2" fmla="*/ 0 w 33"/>
                  <a:gd name="T3" fmla="*/ 0 h 89"/>
                  <a:gd name="T4" fmla="*/ 0 w 33"/>
                  <a:gd name="T5" fmla="*/ 0 h 89"/>
                  <a:gd name="T6" fmla="*/ 0 w 33"/>
                  <a:gd name="T7" fmla="*/ 0 h 89"/>
                  <a:gd name="T8" fmla="*/ 0 w 33"/>
                  <a:gd name="T9" fmla="*/ 0 h 89"/>
                  <a:gd name="T10" fmla="*/ 0 w 33"/>
                  <a:gd name="T11" fmla="*/ 0 h 89"/>
                  <a:gd name="T12" fmla="*/ 0 w 33"/>
                  <a:gd name="T13" fmla="*/ 0 h 89"/>
                  <a:gd name="T14" fmla="*/ 0 w 33"/>
                  <a:gd name="T15" fmla="*/ 0 h 89"/>
                  <a:gd name="T16" fmla="*/ 0 w 33"/>
                  <a:gd name="T17" fmla="*/ 0 h 89"/>
                  <a:gd name="T18" fmla="*/ 0 w 33"/>
                  <a:gd name="T19" fmla="*/ 0 h 89"/>
                  <a:gd name="T20" fmla="*/ 0 w 33"/>
                  <a:gd name="T21" fmla="*/ 0 h 89"/>
                  <a:gd name="T22" fmla="*/ 0 w 33"/>
                  <a:gd name="T23" fmla="*/ 0 h 89"/>
                  <a:gd name="T24" fmla="*/ 0 w 33"/>
                  <a:gd name="T25" fmla="*/ 0 h 89"/>
                  <a:gd name="T26" fmla="*/ 0 w 33"/>
                  <a:gd name="T27" fmla="*/ 0 h 89"/>
                  <a:gd name="T28" fmla="*/ 0 w 33"/>
                  <a:gd name="T29" fmla="*/ 0 h 89"/>
                  <a:gd name="T30" fmla="*/ 0 w 33"/>
                  <a:gd name="T31" fmla="*/ 0 h 89"/>
                  <a:gd name="T32" fmla="*/ 0 w 33"/>
                  <a:gd name="T33" fmla="*/ 0 h 89"/>
                  <a:gd name="T34" fmla="*/ 0 w 33"/>
                  <a:gd name="T35" fmla="*/ 0 h 89"/>
                  <a:gd name="T36" fmla="*/ 0 w 33"/>
                  <a:gd name="T37" fmla="*/ 0 h 89"/>
                  <a:gd name="T38" fmla="*/ 0 w 33"/>
                  <a:gd name="T39" fmla="*/ 0 h 89"/>
                  <a:gd name="T40" fmla="*/ 0 w 33"/>
                  <a:gd name="T41" fmla="*/ 0 h 89"/>
                  <a:gd name="T42" fmla="*/ 0 w 33"/>
                  <a:gd name="T43" fmla="*/ 0 h 89"/>
                  <a:gd name="T44" fmla="*/ 0 w 33"/>
                  <a:gd name="T45" fmla="*/ 0 h 8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33"/>
                  <a:gd name="T70" fmla="*/ 0 h 89"/>
                  <a:gd name="T71" fmla="*/ 33 w 33"/>
                  <a:gd name="T72" fmla="*/ 89 h 89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33" h="89">
                    <a:moveTo>
                      <a:pt x="13" y="0"/>
                    </a:moveTo>
                    <a:lnTo>
                      <a:pt x="22" y="11"/>
                    </a:lnTo>
                    <a:lnTo>
                      <a:pt x="29" y="20"/>
                    </a:lnTo>
                    <a:lnTo>
                      <a:pt x="31" y="25"/>
                    </a:lnTo>
                    <a:lnTo>
                      <a:pt x="32" y="29"/>
                    </a:lnTo>
                    <a:lnTo>
                      <a:pt x="33" y="34"/>
                    </a:lnTo>
                    <a:lnTo>
                      <a:pt x="33" y="39"/>
                    </a:lnTo>
                    <a:lnTo>
                      <a:pt x="32" y="49"/>
                    </a:lnTo>
                    <a:lnTo>
                      <a:pt x="29" y="60"/>
                    </a:lnTo>
                    <a:lnTo>
                      <a:pt x="23" y="74"/>
                    </a:lnTo>
                    <a:lnTo>
                      <a:pt x="17" y="89"/>
                    </a:lnTo>
                    <a:lnTo>
                      <a:pt x="16" y="87"/>
                    </a:lnTo>
                    <a:lnTo>
                      <a:pt x="12" y="81"/>
                    </a:lnTo>
                    <a:lnTo>
                      <a:pt x="8" y="72"/>
                    </a:lnTo>
                    <a:lnTo>
                      <a:pt x="4" y="60"/>
                    </a:lnTo>
                    <a:lnTo>
                      <a:pt x="2" y="53"/>
                    </a:lnTo>
                    <a:lnTo>
                      <a:pt x="1" y="47"/>
                    </a:lnTo>
                    <a:lnTo>
                      <a:pt x="0" y="40"/>
                    </a:lnTo>
                    <a:lnTo>
                      <a:pt x="1" y="31"/>
                    </a:lnTo>
                    <a:lnTo>
                      <a:pt x="2" y="24"/>
                    </a:lnTo>
                    <a:lnTo>
                      <a:pt x="4" y="16"/>
                    </a:lnTo>
                    <a:lnTo>
                      <a:pt x="8" y="9"/>
                    </a:lnTo>
                    <a:lnTo>
                      <a:pt x="13" y="0"/>
                    </a:lnTo>
                    <a:close/>
                  </a:path>
                </a:pathLst>
              </a:custGeom>
              <a:solidFill>
                <a:srgbClr val="008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77" name="Freeform 92"/>
              <p:cNvSpPr>
                <a:spLocks/>
              </p:cNvSpPr>
              <p:nvPr/>
            </p:nvSpPr>
            <p:spPr bwMode="auto">
              <a:xfrm>
                <a:off x="3643" y="1507"/>
                <a:ext cx="5" cy="12"/>
              </a:xfrm>
              <a:custGeom>
                <a:avLst/>
                <a:gdLst>
                  <a:gd name="T0" fmla="*/ 0 w 36"/>
                  <a:gd name="T1" fmla="*/ 0 h 83"/>
                  <a:gd name="T2" fmla="*/ 0 w 36"/>
                  <a:gd name="T3" fmla="*/ 0 h 83"/>
                  <a:gd name="T4" fmla="*/ 0 w 36"/>
                  <a:gd name="T5" fmla="*/ 0 h 83"/>
                  <a:gd name="T6" fmla="*/ 0 w 36"/>
                  <a:gd name="T7" fmla="*/ 0 h 83"/>
                  <a:gd name="T8" fmla="*/ 0 w 36"/>
                  <a:gd name="T9" fmla="*/ 0 h 83"/>
                  <a:gd name="T10" fmla="*/ 0 w 36"/>
                  <a:gd name="T11" fmla="*/ 0 h 83"/>
                  <a:gd name="T12" fmla="*/ 0 w 36"/>
                  <a:gd name="T13" fmla="*/ 0 h 83"/>
                  <a:gd name="T14" fmla="*/ 0 w 36"/>
                  <a:gd name="T15" fmla="*/ 0 h 83"/>
                  <a:gd name="T16" fmla="*/ 0 w 36"/>
                  <a:gd name="T17" fmla="*/ 0 h 83"/>
                  <a:gd name="T18" fmla="*/ 0 w 36"/>
                  <a:gd name="T19" fmla="*/ 0 h 83"/>
                  <a:gd name="T20" fmla="*/ 0 w 36"/>
                  <a:gd name="T21" fmla="*/ 0 h 83"/>
                  <a:gd name="T22" fmla="*/ 0 w 36"/>
                  <a:gd name="T23" fmla="*/ 0 h 83"/>
                  <a:gd name="T24" fmla="*/ 0 w 36"/>
                  <a:gd name="T25" fmla="*/ 0 h 83"/>
                  <a:gd name="T26" fmla="*/ 0 w 36"/>
                  <a:gd name="T27" fmla="*/ 0 h 83"/>
                  <a:gd name="T28" fmla="*/ 0 w 36"/>
                  <a:gd name="T29" fmla="*/ 0 h 83"/>
                  <a:gd name="T30" fmla="*/ 0 w 36"/>
                  <a:gd name="T31" fmla="*/ 0 h 83"/>
                  <a:gd name="T32" fmla="*/ 0 w 36"/>
                  <a:gd name="T33" fmla="*/ 0 h 83"/>
                  <a:gd name="T34" fmla="*/ 0 w 36"/>
                  <a:gd name="T35" fmla="*/ 0 h 83"/>
                  <a:gd name="T36" fmla="*/ 0 w 36"/>
                  <a:gd name="T37" fmla="*/ 0 h 83"/>
                  <a:gd name="T38" fmla="*/ 0 w 36"/>
                  <a:gd name="T39" fmla="*/ 0 h 83"/>
                  <a:gd name="T40" fmla="*/ 0 w 36"/>
                  <a:gd name="T41" fmla="*/ 0 h 83"/>
                  <a:gd name="T42" fmla="*/ 0 w 36"/>
                  <a:gd name="T43" fmla="*/ 0 h 83"/>
                  <a:gd name="T44" fmla="*/ 0 w 36"/>
                  <a:gd name="T45" fmla="*/ 0 h 83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36"/>
                  <a:gd name="T70" fmla="*/ 0 h 83"/>
                  <a:gd name="T71" fmla="*/ 36 w 36"/>
                  <a:gd name="T72" fmla="*/ 83 h 83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36" h="83">
                    <a:moveTo>
                      <a:pt x="25" y="0"/>
                    </a:moveTo>
                    <a:lnTo>
                      <a:pt x="31" y="12"/>
                    </a:lnTo>
                    <a:lnTo>
                      <a:pt x="36" y="23"/>
                    </a:lnTo>
                    <a:lnTo>
                      <a:pt x="36" y="28"/>
                    </a:lnTo>
                    <a:lnTo>
                      <a:pt x="36" y="32"/>
                    </a:lnTo>
                    <a:lnTo>
                      <a:pt x="36" y="37"/>
                    </a:lnTo>
                    <a:lnTo>
                      <a:pt x="35" y="41"/>
                    </a:lnTo>
                    <a:lnTo>
                      <a:pt x="30" y="50"/>
                    </a:lnTo>
                    <a:lnTo>
                      <a:pt x="24" y="59"/>
                    </a:lnTo>
                    <a:lnTo>
                      <a:pt x="16" y="70"/>
                    </a:lnTo>
                    <a:lnTo>
                      <a:pt x="7" y="83"/>
                    </a:lnTo>
                    <a:lnTo>
                      <a:pt x="6" y="80"/>
                    </a:lnTo>
                    <a:lnTo>
                      <a:pt x="4" y="73"/>
                    </a:lnTo>
                    <a:lnTo>
                      <a:pt x="2" y="64"/>
                    </a:lnTo>
                    <a:lnTo>
                      <a:pt x="0" y="52"/>
                    </a:lnTo>
                    <a:lnTo>
                      <a:pt x="0" y="44"/>
                    </a:lnTo>
                    <a:lnTo>
                      <a:pt x="2" y="38"/>
                    </a:lnTo>
                    <a:lnTo>
                      <a:pt x="4" y="31"/>
                    </a:lnTo>
                    <a:lnTo>
                      <a:pt x="6" y="24"/>
                    </a:lnTo>
                    <a:lnTo>
                      <a:pt x="9" y="18"/>
                    </a:lnTo>
                    <a:lnTo>
                      <a:pt x="13" y="11"/>
                    </a:lnTo>
                    <a:lnTo>
                      <a:pt x="19" y="5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8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78" name="Freeform 93"/>
              <p:cNvSpPr>
                <a:spLocks/>
              </p:cNvSpPr>
              <p:nvPr/>
            </p:nvSpPr>
            <p:spPr bwMode="auto">
              <a:xfrm>
                <a:off x="3605" y="1621"/>
                <a:ext cx="12" cy="7"/>
              </a:xfrm>
              <a:custGeom>
                <a:avLst/>
                <a:gdLst>
                  <a:gd name="T0" fmla="*/ 0 w 79"/>
                  <a:gd name="T1" fmla="*/ 0 h 53"/>
                  <a:gd name="T2" fmla="*/ 0 w 79"/>
                  <a:gd name="T3" fmla="*/ 0 h 53"/>
                  <a:gd name="T4" fmla="*/ 0 w 79"/>
                  <a:gd name="T5" fmla="*/ 0 h 53"/>
                  <a:gd name="T6" fmla="*/ 0 w 79"/>
                  <a:gd name="T7" fmla="*/ 0 h 53"/>
                  <a:gd name="T8" fmla="*/ 0 w 79"/>
                  <a:gd name="T9" fmla="*/ 0 h 53"/>
                  <a:gd name="T10" fmla="*/ 0 w 79"/>
                  <a:gd name="T11" fmla="*/ 0 h 53"/>
                  <a:gd name="T12" fmla="*/ 0 w 79"/>
                  <a:gd name="T13" fmla="*/ 0 h 53"/>
                  <a:gd name="T14" fmla="*/ 0 w 79"/>
                  <a:gd name="T15" fmla="*/ 0 h 53"/>
                  <a:gd name="T16" fmla="*/ 0 w 79"/>
                  <a:gd name="T17" fmla="*/ 0 h 53"/>
                  <a:gd name="T18" fmla="*/ 0 w 79"/>
                  <a:gd name="T19" fmla="*/ 0 h 53"/>
                  <a:gd name="T20" fmla="*/ 0 w 79"/>
                  <a:gd name="T21" fmla="*/ 0 h 53"/>
                  <a:gd name="T22" fmla="*/ 0 w 79"/>
                  <a:gd name="T23" fmla="*/ 0 h 53"/>
                  <a:gd name="T24" fmla="*/ 0 w 79"/>
                  <a:gd name="T25" fmla="*/ 0 h 53"/>
                  <a:gd name="T26" fmla="*/ 0 w 79"/>
                  <a:gd name="T27" fmla="*/ 0 h 53"/>
                  <a:gd name="T28" fmla="*/ 0 w 79"/>
                  <a:gd name="T29" fmla="*/ 0 h 53"/>
                  <a:gd name="T30" fmla="*/ 0 w 79"/>
                  <a:gd name="T31" fmla="*/ 0 h 53"/>
                  <a:gd name="T32" fmla="*/ 0 w 79"/>
                  <a:gd name="T33" fmla="*/ 0 h 53"/>
                  <a:gd name="T34" fmla="*/ 0 w 79"/>
                  <a:gd name="T35" fmla="*/ 0 h 53"/>
                  <a:gd name="T36" fmla="*/ 0 w 79"/>
                  <a:gd name="T37" fmla="*/ 0 h 53"/>
                  <a:gd name="T38" fmla="*/ 0 w 79"/>
                  <a:gd name="T39" fmla="*/ 0 h 53"/>
                  <a:gd name="T40" fmla="*/ 0 w 79"/>
                  <a:gd name="T41" fmla="*/ 0 h 53"/>
                  <a:gd name="T42" fmla="*/ 0 w 79"/>
                  <a:gd name="T43" fmla="*/ 0 h 53"/>
                  <a:gd name="T44" fmla="*/ 0 w 79"/>
                  <a:gd name="T45" fmla="*/ 0 h 53"/>
                  <a:gd name="T46" fmla="*/ 0 w 79"/>
                  <a:gd name="T47" fmla="*/ 0 h 53"/>
                  <a:gd name="T48" fmla="*/ 0 w 79"/>
                  <a:gd name="T49" fmla="*/ 0 h 53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79"/>
                  <a:gd name="T76" fmla="*/ 0 h 53"/>
                  <a:gd name="T77" fmla="*/ 79 w 79"/>
                  <a:gd name="T78" fmla="*/ 53 h 53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79" h="53">
                    <a:moveTo>
                      <a:pt x="0" y="51"/>
                    </a:moveTo>
                    <a:lnTo>
                      <a:pt x="1" y="42"/>
                    </a:lnTo>
                    <a:lnTo>
                      <a:pt x="4" y="35"/>
                    </a:lnTo>
                    <a:lnTo>
                      <a:pt x="6" y="29"/>
                    </a:lnTo>
                    <a:lnTo>
                      <a:pt x="9" y="24"/>
                    </a:lnTo>
                    <a:lnTo>
                      <a:pt x="12" y="20"/>
                    </a:lnTo>
                    <a:lnTo>
                      <a:pt x="15" y="16"/>
                    </a:lnTo>
                    <a:lnTo>
                      <a:pt x="20" y="12"/>
                    </a:lnTo>
                    <a:lnTo>
                      <a:pt x="24" y="10"/>
                    </a:lnTo>
                    <a:lnTo>
                      <a:pt x="34" y="6"/>
                    </a:lnTo>
                    <a:lnTo>
                      <a:pt x="46" y="4"/>
                    </a:lnTo>
                    <a:lnTo>
                      <a:pt x="61" y="2"/>
                    </a:lnTo>
                    <a:lnTo>
                      <a:pt x="79" y="0"/>
                    </a:lnTo>
                    <a:lnTo>
                      <a:pt x="76" y="3"/>
                    </a:lnTo>
                    <a:lnTo>
                      <a:pt x="73" y="10"/>
                    </a:lnTo>
                    <a:lnTo>
                      <a:pt x="67" y="20"/>
                    </a:lnTo>
                    <a:lnTo>
                      <a:pt x="59" y="30"/>
                    </a:lnTo>
                    <a:lnTo>
                      <a:pt x="54" y="35"/>
                    </a:lnTo>
                    <a:lnTo>
                      <a:pt x="49" y="40"/>
                    </a:lnTo>
                    <a:lnTo>
                      <a:pt x="41" y="45"/>
                    </a:lnTo>
                    <a:lnTo>
                      <a:pt x="35" y="49"/>
                    </a:lnTo>
                    <a:lnTo>
                      <a:pt x="27" y="51"/>
                    </a:lnTo>
                    <a:lnTo>
                      <a:pt x="19" y="53"/>
                    </a:lnTo>
                    <a:lnTo>
                      <a:pt x="9" y="53"/>
                    </a:lnTo>
                    <a:lnTo>
                      <a:pt x="0" y="51"/>
                    </a:lnTo>
                    <a:close/>
                  </a:path>
                </a:pathLst>
              </a:custGeom>
              <a:solidFill>
                <a:srgbClr val="008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79" name="Freeform 94"/>
              <p:cNvSpPr>
                <a:spLocks/>
              </p:cNvSpPr>
              <p:nvPr/>
            </p:nvSpPr>
            <p:spPr bwMode="auto">
              <a:xfrm>
                <a:off x="3616" y="1621"/>
                <a:ext cx="11" cy="6"/>
              </a:xfrm>
              <a:custGeom>
                <a:avLst/>
                <a:gdLst>
                  <a:gd name="T0" fmla="*/ 0 w 76"/>
                  <a:gd name="T1" fmla="*/ 0 h 39"/>
                  <a:gd name="T2" fmla="*/ 0 w 76"/>
                  <a:gd name="T3" fmla="*/ 0 h 39"/>
                  <a:gd name="T4" fmla="*/ 0 w 76"/>
                  <a:gd name="T5" fmla="*/ 0 h 39"/>
                  <a:gd name="T6" fmla="*/ 0 w 76"/>
                  <a:gd name="T7" fmla="*/ 0 h 39"/>
                  <a:gd name="T8" fmla="*/ 0 w 76"/>
                  <a:gd name="T9" fmla="*/ 0 h 39"/>
                  <a:gd name="T10" fmla="*/ 0 w 76"/>
                  <a:gd name="T11" fmla="*/ 0 h 39"/>
                  <a:gd name="T12" fmla="*/ 0 w 76"/>
                  <a:gd name="T13" fmla="*/ 0 h 39"/>
                  <a:gd name="T14" fmla="*/ 0 w 76"/>
                  <a:gd name="T15" fmla="*/ 0 h 39"/>
                  <a:gd name="T16" fmla="*/ 0 w 76"/>
                  <a:gd name="T17" fmla="*/ 0 h 39"/>
                  <a:gd name="T18" fmla="*/ 0 w 76"/>
                  <a:gd name="T19" fmla="*/ 0 h 39"/>
                  <a:gd name="T20" fmla="*/ 0 w 76"/>
                  <a:gd name="T21" fmla="*/ 0 h 39"/>
                  <a:gd name="T22" fmla="*/ 0 w 76"/>
                  <a:gd name="T23" fmla="*/ 0 h 39"/>
                  <a:gd name="T24" fmla="*/ 0 w 76"/>
                  <a:gd name="T25" fmla="*/ 0 h 39"/>
                  <a:gd name="T26" fmla="*/ 0 w 76"/>
                  <a:gd name="T27" fmla="*/ 0 h 39"/>
                  <a:gd name="T28" fmla="*/ 0 w 76"/>
                  <a:gd name="T29" fmla="*/ 0 h 39"/>
                  <a:gd name="T30" fmla="*/ 0 w 76"/>
                  <a:gd name="T31" fmla="*/ 0 h 39"/>
                  <a:gd name="T32" fmla="*/ 0 w 76"/>
                  <a:gd name="T33" fmla="*/ 0 h 39"/>
                  <a:gd name="T34" fmla="*/ 0 w 76"/>
                  <a:gd name="T35" fmla="*/ 0 h 39"/>
                  <a:gd name="T36" fmla="*/ 0 w 76"/>
                  <a:gd name="T37" fmla="*/ 0 h 39"/>
                  <a:gd name="T38" fmla="*/ 0 w 76"/>
                  <a:gd name="T39" fmla="*/ 0 h 39"/>
                  <a:gd name="T40" fmla="*/ 0 w 76"/>
                  <a:gd name="T41" fmla="*/ 0 h 39"/>
                  <a:gd name="T42" fmla="*/ 0 w 76"/>
                  <a:gd name="T43" fmla="*/ 0 h 39"/>
                  <a:gd name="T44" fmla="*/ 0 w 76"/>
                  <a:gd name="T45" fmla="*/ 0 h 3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76"/>
                  <a:gd name="T70" fmla="*/ 0 h 39"/>
                  <a:gd name="T71" fmla="*/ 76 w 76"/>
                  <a:gd name="T72" fmla="*/ 39 h 39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76" h="39">
                    <a:moveTo>
                      <a:pt x="76" y="30"/>
                    </a:moveTo>
                    <a:lnTo>
                      <a:pt x="63" y="35"/>
                    </a:lnTo>
                    <a:lnTo>
                      <a:pt x="54" y="39"/>
                    </a:lnTo>
                    <a:lnTo>
                      <a:pt x="50" y="39"/>
                    </a:lnTo>
                    <a:lnTo>
                      <a:pt x="45" y="39"/>
                    </a:lnTo>
                    <a:lnTo>
                      <a:pt x="42" y="37"/>
                    </a:lnTo>
                    <a:lnTo>
                      <a:pt x="38" y="36"/>
                    </a:lnTo>
                    <a:lnTo>
                      <a:pt x="29" y="31"/>
                    </a:lnTo>
                    <a:lnTo>
                      <a:pt x="21" y="24"/>
                    </a:lnTo>
                    <a:lnTo>
                      <a:pt x="12" y="15"/>
                    </a:lnTo>
                    <a:lnTo>
                      <a:pt x="0" y="4"/>
                    </a:lnTo>
                    <a:lnTo>
                      <a:pt x="2" y="3"/>
                    </a:lnTo>
                    <a:lnTo>
                      <a:pt x="9" y="2"/>
                    </a:lnTo>
                    <a:lnTo>
                      <a:pt x="18" y="1"/>
                    </a:lnTo>
                    <a:lnTo>
                      <a:pt x="29" y="0"/>
                    </a:lnTo>
                    <a:lnTo>
                      <a:pt x="36" y="1"/>
                    </a:lnTo>
                    <a:lnTo>
                      <a:pt x="42" y="2"/>
                    </a:lnTo>
                    <a:lnTo>
                      <a:pt x="48" y="4"/>
                    </a:lnTo>
                    <a:lnTo>
                      <a:pt x="54" y="7"/>
                    </a:lnTo>
                    <a:lnTo>
                      <a:pt x="59" y="12"/>
                    </a:lnTo>
                    <a:lnTo>
                      <a:pt x="66" y="16"/>
                    </a:lnTo>
                    <a:lnTo>
                      <a:pt x="71" y="22"/>
                    </a:lnTo>
                    <a:lnTo>
                      <a:pt x="76" y="30"/>
                    </a:lnTo>
                    <a:close/>
                  </a:path>
                </a:pathLst>
              </a:custGeom>
              <a:solidFill>
                <a:srgbClr val="008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80" name="Freeform 95"/>
              <p:cNvSpPr>
                <a:spLocks/>
              </p:cNvSpPr>
              <p:nvPr/>
            </p:nvSpPr>
            <p:spPr bwMode="auto">
              <a:xfrm>
                <a:off x="3624" y="1584"/>
                <a:ext cx="27" cy="31"/>
              </a:xfrm>
              <a:custGeom>
                <a:avLst/>
                <a:gdLst>
                  <a:gd name="T0" fmla="*/ 0 w 192"/>
                  <a:gd name="T1" fmla="*/ 0 h 216"/>
                  <a:gd name="T2" fmla="*/ 0 w 192"/>
                  <a:gd name="T3" fmla="*/ 0 h 216"/>
                  <a:gd name="T4" fmla="*/ 0 w 192"/>
                  <a:gd name="T5" fmla="*/ 0 h 216"/>
                  <a:gd name="T6" fmla="*/ 0 w 192"/>
                  <a:gd name="T7" fmla="*/ 0 h 216"/>
                  <a:gd name="T8" fmla="*/ 0 w 192"/>
                  <a:gd name="T9" fmla="*/ 0 h 216"/>
                  <a:gd name="T10" fmla="*/ 0 w 192"/>
                  <a:gd name="T11" fmla="*/ 0 h 216"/>
                  <a:gd name="T12" fmla="*/ 0 w 192"/>
                  <a:gd name="T13" fmla="*/ 0 h 216"/>
                  <a:gd name="T14" fmla="*/ 0 w 192"/>
                  <a:gd name="T15" fmla="*/ 0 h 216"/>
                  <a:gd name="T16" fmla="*/ 0 w 192"/>
                  <a:gd name="T17" fmla="*/ 0 h 216"/>
                  <a:gd name="T18" fmla="*/ 0 w 192"/>
                  <a:gd name="T19" fmla="*/ 0 h 216"/>
                  <a:gd name="T20" fmla="*/ 0 w 192"/>
                  <a:gd name="T21" fmla="*/ 0 h 216"/>
                  <a:gd name="T22" fmla="*/ 0 w 192"/>
                  <a:gd name="T23" fmla="*/ 0 h 216"/>
                  <a:gd name="T24" fmla="*/ 0 w 192"/>
                  <a:gd name="T25" fmla="*/ 0 h 216"/>
                  <a:gd name="T26" fmla="*/ 0 w 192"/>
                  <a:gd name="T27" fmla="*/ 0 h 216"/>
                  <a:gd name="T28" fmla="*/ 0 w 192"/>
                  <a:gd name="T29" fmla="*/ 0 h 216"/>
                  <a:gd name="T30" fmla="*/ 0 w 192"/>
                  <a:gd name="T31" fmla="*/ 0 h 216"/>
                  <a:gd name="T32" fmla="*/ 0 w 192"/>
                  <a:gd name="T33" fmla="*/ 0 h 216"/>
                  <a:gd name="T34" fmla="*/ 0 w 192"/>
                  <a:gd name="T35" fmla="*/ 0 h 216"/>
                  <a:gd name="T36" fmla="*/ 0 w 192"/>
                  <a:gd name="T37" fmla="*/ 0 h 216"/>
                  <a:gd name="T38" fmla="*/ 0 w 192"/>
                  <a:gd name="T39" fmla="*/ 0 h 216"/>
                  <a:gd name="T40" fmla="*/ 0 w 192"/>
                  <a:gd name="T41" fmla="*/ 0 h 216"/>
                  <a:gd name="T42" fmla="*/ 0 w 192"/>
                  <a:gd name="T43" fmla="*/ 0 h 216"/>
                  <a:gd name="T44" fmla="*/ 0 w 192"/>
                  <a:gd name="T45" fmla="*/ 0 h 216"/>
                  <a:gd name="T46" fmla="*/ 0 w 192"/>
                  <a:gd name="T47" fmla="*/ 0 h 216"/>
                  <a:gd name="T48" fmla="*/ 0 w 192"/>
                  <a:gd name="T49" fmla="*/ 0 h 216"/>
                  <a:gd name="T50" fmla="*/ 0 w 192"/>
                  <a:gd name="T51" fmla="*/ 0 h 216"/>
                  <a:gd name="T52" fmla="*/ 0 w 192"/>
                  <a:gd name="T53" fmla="*/ 0 h 216"/>
                  <a:gd name="T54" fmla="*/ 0 w 192"/>
                  <a:gd name="T55" fmla="*/ 0 h 216"/>
                  <a:gd name="T56" fmla="*/ 0 w 192"/>
                  <a:gd name="T57" fmla="*/ 0 h 216"/>
                  <a:gd name="T58" fmla="*/ 0 w 192"/>
                  <a:gd name="T59" fmla="*/ 0 h 216"/>
                  <a:gd name="T60" fmla="*/ 0 w 192"/>
                  <a:gd name="T61" fmla="*/ 0 h 216"/>
                  <a:gd name="T62" fmla="*/ 0 w 192"/>
                  <a:gd name="T63" fmla="*/ 0 h 216"/>
                  <a:gd name="T64" fmla="*/ 0 w 192"/>
                  <a:gd name="T65" fmla="*/ 0 h 216"/>
                  <a:gd name="T66" fmla="*/ 0 w 192"/>
                  <a:gd name="T67" fmla="*/ 0 h 216"/>
                  <a:gd name="T68" fmla="*/ 0 w 192"/>
                  <a:gd name="T69" fmla="*/ 0 h 216"/>
                  <a:gd name="T70" fmla="*/ 0 w 192"/>
                  <a:gd name="T71" fmla="*/ 0 h 216"/>
                  <a:gd name="T72" fmla="*/ 0 w 192"/>
                  <a:gd name="T73" fmla="*/ 0 h 216"/>
                  <a:gd name="T74" fmla="*/ 0 w 192"/>
                  <a:gd name="T75" fmla="*/ 0 h 216"/>
                  <a:gd name="T76" fmla="*/ 0 w 192"/>
                  <a:gd name="T77" fmla="*/ 0 h 216"/>
                  <a:gd name="T78" fmla="*/ 0 w 192"/>
                  <a:gd name="T79" fmla="*/ 0 h 216"/>
                  <a:gd name="T80" fmla="*/ 0 w 192"/>
                  <a:gd name="T81" fmla="*/ 0 h 216"/>
                  <a:gd name="T82" fmla="*/ 0 w 192"/>
                  <a:gd name="T83" fmla="*/ 0 h 216"/>
                  <a:gd name="T84" fmla="*/ 0 w 192"/>
                  <a:gd name="T85" fmla="*/ 0 h 216"/>
                  <a:gd name="T86" fmla="*/ 0 w 192"/>
                  <a:gd name="T87" fmla="*/ 0 h 216"/>
                  <a:gd name="T88" fmla="*/ 0 w 192"/>
                  <a:gd name="T89" fmla="*/ 0 h 216"/>
                  <a:gd name="T90" fmla="*/ 0 w 192"/>
                  <a:gd name="T91" fmla="*/ 0 h 216"/>
                  <a:gd name="T92" fmla="*/ 0 w 192"/>
                  <a:gd name="T93" fmla="*/ 0 h 216"/>
                  <a:gd name="T94" fmla="*/ 0 w 192"/>
                  <a:gd name="T95" fmla="*/ 0 h 21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192"/>
                  <a:gd name="T145" fmla="*/ 0 h 216"/>
                  <a:gd name="T146" fmla="*/ 192 w 192"/>
                  <a:gd name="T147" fmla="*/ 216 h 21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192" h="216">
                    <a:moveTo>
                      <a:pt x="111" y="77"/>
                    </a:moveTo>
                    <a:lnTo>
                      <a:pt x="99" y="68"/>
                    </a:lnTo>
                    <a:lnTo>
                      <a:pt x="90" y="58"/>
                    </a:lnTo>
                    <a:lnTo>
                      <a:pt x="84" y="50"/>
                    </a:lnTo>
                    <a:lnTo>
                      <a:pt x="80" y="42"/>
                    </a:lnTo>
                    <a:lnTo>
                      <a:pt x="77" y="35"/>
                    </a:lnTo>
                    <a:lnTo>
                      <a:pt x="76" y="28"/>
                    </a:lnTo>
                    <a:lnTo>
                      <a:pt x="77" y="22"/>
                    </a:lnTo>
                    <a:lnTo>
                      <a:pt x="80" y="17"/>
                    </a:lnTo>
                    <a:lnTo>
                      <a:pt x="83" y="13"/>
                    </a:lnTo>
                    <a:lnTo>
                      <a:pt x="88" y="9"/>
                    </a:lnTo>
                    <a:lnTo>
                      <a:pt x="93" y="6"/>
                    </a:lnTo>
                    <a:lnTo>
                      <a:pt x="100" y="3"/>
                    </a:lnTo>
                    <a:lnTo>
                      <a:pt x="107" y="2"/>
                    </a:lnTo>
                    <a:lnTo>
                      <a:pt x="115" y="0"/>
                    </a:lnTo>
                    <a:lnTo>
                      <a:pt x="122" y="0"/>
                    </a:lnTo>
                    <a:lnTo>
                      <a:pt x="130" y="0"/>
                    </a:lnTo>
                    <a:lnTo>
                      <a:pt x="139" y="1"/>
                    </a:lnTo>
                    <a:lnTo>
                      <a:pt x="147" y="2"/>
                    </a:lnTo>
                    <a:lnTo>
                      <a:pt x="154" y="5"/>
                    </a:lnTo>
                    <a:lnTo>
                      <a:pt x="160" y="7"/>
                    </a:lnTo>
                    <a:lnTo>
                      <a:pt x="167" y="11"/>
                    </a:lnTo>
                    <a:lnTo>
                      <a:pt x="173" y="15"/>
                    </a:lnTo>
                    <a:lnTo>
                      <a:pt x="177" y="20"/>
                    </a:lnTo>
                    <a:lnTo>
                      <a:pt x="180" y="26"/>
                    </a:lnTo>
                    <a:lnTo>
                      <a:pt x="182" y="33"/>
                    </a:lnTo>
                    <a:lnTo>
                      <a:pt x="182" y="41"/>
                    </a:lnTo>
                    <a:lnTo>
                      <a:pt x="180" y="48"/>
                    </a:lnTo>
                    <a:lnTo>
                      <a:pt x="177" y="57"/>
                    </a:lnTo>
                    <a:lnTo>
                      <a:pt x="172" y="67"/>
                    </a:lnTo>
                    <a:lnTo>
                      <a:pt x="165" y="78"/>
                    </a:lnTo>
                    <a:lnTo>
                      <a:pt x="155" y="88"/>
                    </a:lnTo>
                    <a:lnTo>
                      <a:pt x="143" y="101"/>
                    </a:lnTo>
                    <a:lnTo>
                      <a:pt x="153" y="107"/>
                    </a:lnTo>
                    <a:lnTo>
                      <a:pt x="162" y="113"/>
                    </a:lnTo>
                    <a:lnTo>
                      <a:pt x="171" y="121"/>
                    </a:lnTo>
                    <a:lnTo>
                      <a:pt x="177" y="127"/>
                    </a:lnTo>
                    <a:lnTo>
                      <a:pt x="182" y="134"/>
                    </a:lnTo>
                    <a:lnTo>
                      <a:pt x="186" y="140"/>
                    </a:lnTo>
                    <a:lnTo>
                      <a:pt x="189" y="147"/>
                    </a:lnTo>
                    <a:lnTo>
                      <a:pt x="191" y="155"/>
                    </a:lnTo>
                    <a:lnTo>
                      <a:pt x="192" y="161"/>
                    </a:lnTo>
                    <a:lnTo>
                      <a:pt x="192" y="168"/>
                    </a:lnTo>
                    <a:lnTo>
                      <a:pt x="191" y="174"/>
                    </a:lnTo>
                    <a:lnTo>
                      <a:pt x="190" y="180"/>
                    </a:lnTo>
                    <a:lnTo>
                      <a:pt x="188" y="187"/>
                    </a:lnTo>
                    <a:lnTo>
                      <a:pt x="185" y="192"/>
                    </a:lnTo>
                    <a:lnTo>
                      <a:pt x="182" y="197"/>
                    </a:lnTo>
                    <a:lnTo>
                      <a:pt x="178" y="201"/>
                    </a:lnTo>
                    <a:lnTo>
                      <a:pt x="174" y="205"/>
                    </a:lnTo>
                    <a:lnTo>
                      <a:pt x="169" y="209"/>
                    </a:lnTo>
                    <a:lnTo>
                      <a:pt x="163" y="212"/>
                    </a:lnTo>
                    <a:lnTo>
                      <a:pt x="158" y="214"/>
                    </a:lnTo>
                    <a:lnTo>
                      <a:pt x="153" y="216"/>
                    </a:lnTo>
                    <a:lnTo>
                      <a:pt x="147" y="216"/>
                    </a:lnTo>
                    <a:lnTo>
                      <a:pt x="142" y="216"/>
                    </a:lnTo>
                    <a:lnTo>
                      <a:pt x="136" y="215"/>
                    </a:lnTo>
                    <a:lnTo>
                      <a:pt x="130" y="213"/>
                    </a:lnTo>
                    <a:lnTo>
                      <a:pt x="125" y="209"/>
                    </a:lnTo>
                    <a:lnTo>
                      <a:pt x="120" y="204"/>
                    </a:lnTo>
                    <a:lnTo>
                      <a:pt x="115" y="199"/>
                    </a:lnTo>
                    <a:lnTo>
                      <a:pt x="110" y="193"/>
                    </a:lnTo>
                    <a:lnTo>
                      <a:pt x="106" y="185"/>
                    </a:lnTo>
                    <a:lnTo>
                      <a:pt x="103" y="175"/>
                    </a:lnTo>
                    <a:lnTo>
                      <a:pt x="98" y="165"/>
                    </a:lnTo>
                    <a:lnTo>
                      <a:pt x="89" y="173"/>
                    </a:lnTo>
                    <a:lnTo>
                      <a:pt x="80" y="179"/>
                    </a:lnTo>
                    <a:lnTo>
                      <a:pt x="70" y="185"/>
                    </a:lnTo>
                    <a:lnTo>
                      <a:pt x="62" y="188"/>
                    </a:lnTo>
                    <a:lnTo>
                      <a:pt x="53" y="189"/>
                    </a:lnTo>
                    <a:lnTo>
                      <a:pt x="46" y="189"/>
                    </a:lnTo>
                    <a:lnTo>
                      <a:pt x="38" y="188"/>
                    </a:lnTo>
                    <a:lnTo>
                      <a:pt x="31" y="186"/>
                    </a:lnTo>
                    <a:lnTo>
                      <a:pt x="25" y="183"/>
                    </a:lnTo>
                    <a:lnTo>
                      <a:pt x="20" y="178"/>
                    </a:lnTo>
                    <a:lnTo>
                      <a:pt x="15" y="173"/>
                    </a:lnTo>
                    <a:lnTo>
                      <a:pt x="11" y="168"/>
                    </a:lnTo>
                    <a:lnTo>
                      <a:pt x="7" y="161"/>
                    </a:lnTo>
                    <a:lnTo>
                      <a:pt x="4" y="155"/>
                    </a:lnTo>
                    <a:lnTo>
                      <a:pt x="2" y="147"/>
                    </a:lnTo>
                    <a:lnTo>
                      <a:pt x="1" y="140"/>
                    </a:lnTo>
                    <a:lnTo>
                      <a:pt x="0" y="132"/>
                    </a:lnTo>
                    <a:lnTo>
                      <a:pt x="0" y="125"/>
                    </a:lnTo>
                    <a:lnTo>
                      <a:pt x="1" y="117"/>
                    </a:lnTo>
                    <a:lnTo>
                      <a:pt x="3" y="110"/>
                    </a:lnTo>
                    <a:lnTo>
                      <a:pt x="6" y="103"/>
                    </a:lnTo>
                    <a:lnTo>
                      <a:pt x="11" y="96"/>
                    </a:lnTo>
                    <a:lnTo>
                      <a:pt x="16" y="91"/>
                    </a:lnTo>
                    <a:lnTo>
                      <a:pt x="22" y="84"/>
                    </a:lnTo>
                    <a:lnTo>
                      <a:pt x="29" y="80"/>
                    </a:lnTo>
                    <a:lnTo>
                      <a:pt x="36" y="76"/>
                    </a:lnTo>
                    <a:lnTo>
                      <a:pt x="46" y="73"/>
                    </a:lnTo>
                    <a:lnTo>
                      <a:pt x="57" y="71"/>
                    </a:lnTo>
                    <a:lnTo>
                      <a:pt x="68" y="71"/>
                    </a:lnTo>
                    <a:lnTo>
                      <a:pt x="81" y="71"/>
                    </a:lnTo>
                    <a:lnTo>
                      <a:pt x="95" y="73"/>
                    </a:lnTo>
                    <a:lnTo>
                      <a:pt x="111" y="77"/>
                    </a:lnTo>
                    <a:close/>
                  </a:path>
                </a:pathLst>
              </a:custGeom>
              <a:solidFill>
                <a:srgbClr val="BF3B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81" name="Freeform 96"/>
              <p:cNvSpPr>
                <a:spLocks/>
              </p:cNvSpPr>
              <p:nvPr/>
            </p:nvSpPr>
            <p:spPr bwMode="auto">
              <a:xfrm>
                <a:off x="3641" y="1493"/>
                <a:ext cx="6" cy="7"/>
              </a:xfrm>
              <a:custGeom>
                <a:avLst/>
                <a:gdLst>
                  <a:gd name="T0" fmla="*/ 0 w 45"/>
                  <a:gd name="T1" fmla="*/ 0 h 50"/>
                  <a:gd name="T2" fmla="*/ 0 w 45"/>
                  <a:gd name="T3" fmla="*/ 0 h 50"/>
                  <a:gd name="T4" fmla="*/ 0 w 45"/>
                  <a:gd name="T5" fmla="*/ 0 h 50"/>
                  <a:gd name="T6" fmla="*/ 0 w 45"/>
                  <a:gd name="T7" fmla="*/ 0 h 50"/>
                  <a:gd name="T8" fmla="*/ 0 w 45"/>
                  <a:gd name="T9" fmla="*/ 0 h 50"/>
                  <a:gd name="T10" fmla="*/ 0 w 45"/>
                  <a:gd name="T11" fmla="*/ 0 h 50"/>
                  <a:gd name="T12" fmla="*/ 0 w 45"/>
                  <a:gd name="T13" fmla="*/ 0 h 50"/>
                  <a:gd name="T14" fmla="*/ 0 w 45"/>
                  <a:gd name="T15" fmla="*/ 0 h 50"/>
                  <a:gd name="T16" fmla="*/ 0 w 45"/>
                  <a:gd name="T17" fmla="*/ 0 h 50"/>
                  <a:gd name="T18" fmla="*/ 0 w 45"/>
                  <a:gd name="T19" fmla="*/ 0 h 50"/>
                  <a:gd name="T20" fmla="*/ 0 w 45"/>
                  <a:gd name="T21" fmla="*/ 0 h 50"/>
                  <a:gd name="T22" fmla="*/ 0 w 45"/>
                  <a:gd name="T23" fmla="*/ 0 h 50"/>
                  <a:gd name="T24" fmla="*/ 0 w 45"/>
                  <a:gd name="T25" fmla="*/ 0 h 50"/>
                  <a:gd name="T26" fmla="*/ 0 w 45"/>
                  <a:gd name="T27" fmla="*/ 0 h 50"/>
                  <a:gd name="T28" fmla="*/ 0 w 45"/>
                  <a:gd name="T29" fmla="*/ 0 h 50"/>
                  <a:gd name="T30" fmla="*/ 0 w 45"/>
                  <a:gd name="T31" fmla="*/ 0 h 50"/>
                  <a:gd name="T32" fmla="*/ 0 w 45"/>
                  <a:gd name="T33" fmla="*/ 0 h 50"/>
                  <a:gd name="T34" fmla="*/ 0 w 45"/>
                  <a:gd name="T35" fmla="*/ 0 h 50"/>
                  <a:gd name="T36" fmla="*/ 0 w 45"/>
                  <a:gd name="T37" fmla="*/ 0 h 50"/>
                  <a:gd name="T38" fmla="*/ 0 w 45"/>
                  <a:gd name="T39" fmla="*/ 0 h 50"/>
                  <a:gd name="T40" fmla="*/ 0 w 45"/>
                  <a:gd name="T41" fmla="*/ 0 h 50"/>
                  <a:gd name="T42" fmla="*/ 0 w 45"/>
                  <a:gd name="T43" fmla="*/ 0 h 50"/>
                  <a:gd name="T44" fmla="*/ 0 w 45"/>
                  <a:gd name="T45" fmla="*/ 0 h 50"/>
                  <a:gd name="T46" fmla="*/ 0 w 45"/>
                  <a:gd name="T47" fmla="*/ 0 h 50"/>
                  <a:gd name="T48" fmla="*/ 0 w 45"/>
                  <a:gd name="T49" fmla="*/ 0 h 50"/>
                  <a:gd name="T50" fmla="*/ 0 w 45"/>
                  <a:gd name="T51" fmla="*/ 0 h 50"/>
                  <a:gd name="T52" fmla="*/ 0 w 45"/>
                  <a:gd name="T53" fmla="*/ 0 h 50"/>
                  <a:gd name="T54" fmla="*/ 0 w 45"/>
                  <a:gd name="T55" fmla="*/ 0 h 50"/>
                  <a:gd name="T56" fmla="*/ 0 w 45"/>
                  <a:gd name="T57" fmla="*/ 0 h 50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45"/>
                  <a:gd name="T88" fmla="*/ 0 h 50"/>
                  <a:gd name="T89" fmla="*/ 45 w 45"/>
                  <a:gd name="T90" fmla="*/ 50 h 50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45" h="50">
                    <a:moveTo>
                      <a:pt x="45" y="34"/>
                    </a:moveTo>
                    <a:lnTo>
                      <a:pt x="43" y="36"/>
                    </a:lnTo>
                    <a:lnTo>
                      <a:pt x="39" y="40"/>
                    </a:lnTo>
                    <a:lnTo>
                      <a:pt x="33" y="45"/>
                    </a:lnTo>
                    <a:lnTo>
                      <a:pt x="26" y="49"/>
                    </a:lnTo>
                    <a:lnTo>
                      <a:pt x="22" y="50"/>
                    </a:lnTo>
                    <a:lnTo>
                      <a:pt x="18" y="50"/>
                    </a:lnTo>
                    <a:lnTo>
                      <a:pt x="14" y="50"/>
                    </a:lnTo>
                    <a:lnTo>
                      <a:pt x="10" y="48"/>
                    </a:lnTo>
                    <a:lnTo>
                      <a:pt x="7" y="45"/>
                    </a:lnTo>
                    <a:lnTo>
                      <a:pt x="4" y="40"/>
                    </a:lnTo>
                    <a:lnTo>
                      <a:pt x="2" y="34"/>
                    </a:lnTo>
                    <a:lnTo>
                      <a:pt x="0" y="24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2" y="7"/>
                    </a:lnTo>
                    <a:lnTo>
                      <a:pt x="4" y="4"/>
                    </a:lnTo>
                    <a:lnTo>
                      <a:pt x="7" y="1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21" y="1"/>
                    </a:lnTo>
                    <a:lnTo>
                      <a:pt x="25" y="3"/>
                    </a:lnTo>
                    <a:lnTo>
                      <a:pt x="29" y="5"/>
                    </a:lnTo>
                    <a:lnTo>
                      <a:pt x="33" y="8"/>
                    </a:lnTo>
                    <a:lnTo>
                      <a:pt x="37" y="12"/>
                    </a:lnTo>
                    <a:lnTo>
                      <a:pt x="40" y="17"/>
                    </a:lnTo>
                    <a:lnTo>
                      <a:pt x="43" y="22"/>
                    </a:lnTo>
                    <a:lnTo>
                      <a:pt x="44" y="28"/>
                    </a:lnTo>
                    <a:lnTo>
                      <a:pt x="45" y="34"/>
                    </a:lnTo>
                    <a:close/>
                  </a:path>
                </a:pathLst>
              </a:custGeom>
              <a:solidFill>
                <a:srgbClr val="BF3B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82" name="Freeform 97"/>
              <p:cNvSpPr>
                <a:spLocks/>
              </p:cNvSpPr>
              <p:nvPr/>
            </p:nvSpPr>
            <p:spPr bwMode="auto">
              <a:xfrm>
                <a:off x="3636" y="1597"/>
                <a:ext cx="6" cy="9"/>
              </a:xfrm>
              <a:custGeom>
                <a:avLst/>
                <a:gdLst>
                  <a:gd name="T0" fmla="*/ 0 w 46"/>
                  <a:gd name="T1" fmla="*/ 0 h 58"/>
                  <a:gd name="T2" fmla="*/ 0 w 46"/>
                  <a:gd name="T3" fmla="*/ 0 h 58"/>
                  <a:gd name="T4" fmla="*/ 0 w 46"/>
                  <a:gd name="T5" fmla="*/ 0 h 58"/>
                  <a:gd name="T6" fmla="*/ 0 w 46"/>
                  <a:gd name="T7" fmla="*/ 0 h 58"/>
                  <a:gd name="T8" fmla="*/ 0 w 46"/>
                  <a:gd name="T9" fmla="*/ 0 h 58"/>
                  <a:gd name="T10" fmla="*/ 0 w 46"/>
                  <a:gd name="T11" fmla="*/ 0 h 58"/>
                  <a:gd name="T12" fmla="*/ 0 w 46"/>
                  <a:gd name="T13" fmla="*/ 0 h 58"/>
                  <a:gd name="T14" fmla="*/ 0 w 46"/>
                  <a:gd name="T15" fmla="*/ 0 h 58"/>
                  <a:gd name="T16" fmla="*/ 0 w 46"/>
                  <a:gd name="T17" fmla="*/ 0 h 58"/>
                  <a:gd name="T18" fmla="*/ 0 w 46"/>
                  <a:gd name="T19" fmla="*/ 0 h 58"/>
                  <a:gd name="T20" fmla="*/ 0 w 46"/>
                  <a:gd name="T21" fmla="*/ 0 h 58"/>
                  <a:gd name="T22" fmla="*/ 0 w 46"/>
                  <a:gd name="T23" fmla="*/ 0 h 58"/>
                  <a:gd name="T24" fmla="*/ 0 w 46"/>
                  <a:gd name="T25" fmla="*/ 0 h 58"/>
                  <a:gd name="T26" fmla="*/ 0 w 46"/>
                  <a:gd name="T27" fmla="*/ 0 h 58"/>
                  <a:gd name="T28" fmla="*/ 0 w 46"/>
                  <a:gd name="T29" fmla="*/ 0 h 58"/>
                  <a:gd name="T30" fmla="*/ 0 w 46"/>
                  <a:gd name="T31" fmla="*/ 0 h 58"/>
                  <a:gd name="T32" fmla="*/ 0 w 46"/>
                  <a:gd name="T33" fmla="*/ 0 h 58"/>
                  <a:gd name="T34" fmla="*/ 0 w 46"/>
                  <a:gd name="T35" fmla="*/ 0 h 58"/>
                  <a:gd name="T36" fmla="*/ 0 w 46"/>
                  <a:gd name="T37" fmla="*/ 0 h 58"/>
                  <a:gd name="T38" fmla="*/ 0 w 46"/>
                  <a:gd name="T39" fmla="*/ 0 h 58"/>
                  <a:gd name="T40" fmla="*/ 0 w 46"/>
                  <a:gd name="T41" fmla="*/ 0 h 58"/>
                  <a:gd name="T42" fmla="*/ 0 w 46"/>
                  <a:gd name="T43" fmla="*/ 0 h 58"/>
                  <a:gd name="T44" fmla="*/ 0 w 46"/>
                  <a:gd name="T45" fmla="*/ 0 h 58"/>
                  <a:gd name="T46" fmla="*/ 0 w 46"/>
                  <a:gd name="T47" fmla="*/ 0 h 58"/>
                  <a:gd name="T48" fmla="*/ 0 w 46"/>
                  <a:gd name="T49" fmla="*/ 0 h 58"/>
                  <a:gd name="T50" fmla="*/ 0 w 46"/>
                  <a:gd name="T51" fmla="*/ 0 h 58"/>
                  <a:gd name="T52" fmla="*/ 0 w 46"/>
                  <a:gd name="T53" fmla="*/ 0 h 58"/>
                  <a:gd name="T54" fmla="*/ 0 w 46"/>
                  <a:gd name="T55" fmla="*/ 0 h 58"/>
                  <a:gd name="T56" fmla="*/ 0 w 46"/>
                  <a:gd name="T57" fmla="*/ 0 h 58"/>
                  <a:gd name="T58" fmla="*/ 0 w 46"/>
                  <a:gd name="T59" fmla="*/ 0 h 58"/>
                  <a:gd name="T60" fmla="*/ 0 w 46"/>
                  <a:gd name="T61" fmla="*/ 0 h 58"/>
                  <a:gd name="T62" fmla="*/ 0 w 46"/>
                  <a:gd name="T63" fmla="*/ 0 h 58"/>
                  <a:gd name="T64" fmla="*/ 0 w 46"/>
                  <a:gd name="T65" fmla="*/ 0 h 58"/>
                  <a:gd name="T66" fmla="*/ 0 w 46"/>
                  <a:gd name="T67" fmla="*/ 0 h 58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46"/>
                  <a:gd name="T103" fmla="*/ 0 h 58"/>
                  <a:gd name="T104" fmla="*/ 46 w 46"/>
                  <a:gd name="T105" fmla="*/ 58 h 58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46" h="58">
                    <a:moveTo>
                      <a:pt x="46" y="36"/>
                    </a:moveTo>
                    <a:lnTo>
                      <a:pt x="46" y="22"/>
                    </a:lnTo>
                    <a:lnTo>
                      <a:pt x="46" y="31"/>
                    </a:lnTo>
                    <a:lnTo>
                      <a:pt x="46" y="37"/>
                    </a:lnTo>
                    <a:lnTo>
                      <a:pt x="45" y="43"/>
                    </a:lnTo>
                    <a:lnTo>
                      <a:pt x="42" y="48"/>
                    </a:lnTo>
                    <a:lnTo>
                      <a:pt x="39" y="51"/>
                    </a:lnTo>
                    <a:lnTo>
                      <a:pt x="35" y="55"/>
                    </a:lnTo>
                    <a:lnTo>
                      <a:pt x="31" y="57"/>
                    </a:lnTo>
                    <a:lnTo>
                      <a:pt x="27" y="58"/>
                    </a:lnTo>
                    <a:lnTo>
                      <a:pt x="22" y="57"/>
                    </a:lnTo>
                    <a:lnTo>
                      <a:pt x="17" y="56"/>
                    </a:lnTo>
                    <a:lnTo>
                      <a:pt x="13" y="53"/>
                    </a:lnTo>
                    <a:lnTo>
                      <a:pt x="9" y="50"/>
                    </a:lnTo>
                    <a:lnTo>
                      <a:pt x="5" y="46"/>
                    </a:lnTo>
                    <a:lnTo>
                      <a:pt x="3" y="40"/>
                    </a:lnTo>
                    <a:lnTo>
                      <a:pt x="1" y="34"/>
                    </a:lnTo>
                    <a:lnTo>
                      <a:pt x="0" y="27"/>
                    </a:lnTo>
                    <a:lnTo>
                      <a:pt x="0" y="18"/>
                    </a:lnTo>
                    <a:lnTo>
                      <a:pt x="2" y="12"/>
                    </a:lnTo>
                    <a:lnTo>
                      <a:pt x="4" y="7"/>
                    </a:lnTo>
                    <a:lnTo>
                      <a:pt x="6" y="4"/>
                    </a:lnTo>
                    <a:lnTo>
                      <a:pt x="10" y="2"/>
                    </a:lnTo>
                    <a:lnTo>
                      <a:pt x="14" y="1"/>
                    </a:lnTo>
                    <a:lnTo>
                      <a:pt x="18" y="0"/>
                    </a:lnTo>
                    <a:lnTo>
                      <a:pt x="23" y="1"/>
                    </a:lnTo>
                    <a:lnTo>
                      <a:pt x="27" y="3"/>
                    </a:lnTo>
                    <a:lnTo>
                      <a:pt x="31" y="6"/>
                    </a:lnTo>
                    <a:lnTo>
                      <a:pt x="35" y="9"/>
                    </a:lnTo>
                    <a:lnTo>
                      <a:pt x="39" y="13"/>
                    </a:lnTo>
                    <a:lnTo>
                      <a:pt x="42" y="18"/>
                    </a:lnTo>
                    <a:lnTo>
                      <a:pt x="44" y="23"/>
                    </a:lnTo>
                    <a:lnTo>
                      <a:pt x="45" y="30"/>
                    </a:lnTo>
                    <a:lnTo>
                      <a:pt x="46" y="36"/>
                    </a:lnTo>
                    <a:close/>
                  </a:path>
                </a:pathLst>
              </a:custGeom>
              <a:solidFill>
                <a:srgbClr val="F4E25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83" name="Freeform 98"/>
              <p:cNvSpPr>
                <a:spLocks/>
              </p:cNvSpPr>
              <p:nvPr/>
            </p:nvSpPr>
            <p:spPr bwMode="auto">
              <a:xfrm>
                <a:off x="3187" y="1265"/>
                <a:ext cx="371" cy="386"/>
              </a:xfrm>
              <a:custGeom>
                <a:avLst/>
                <a:gdLst>
                  <a:gd name="T0" fmla="*/ 0 w 2595"/>
                  <a:gd name="T1" fmla="*/ 0 h 2700"/>
                  <a:gd name="T2" fmla="*/ 0 w 2595"/>
                  <a:gd name="T3" fmla="*/ 0 h 2700"/>
                  <a:gd name="T4" fmla="*/ 0 w 2595"/>
                  <a:gd name="T5" fmla="*/ 0 h 2700"/>
                  <a:gd name="T6" fmla="*/ 0 w 2595"/>
                  <a:gd name="T7" fmla="*/ 0 h 2700"/>
                  <a:gd name="T8" fmla="*/ 0 w 2595"/>
                  <a:gd name="T9" fmla="*/ 0 h 2700"/>
                  <a:gd name="T10" fmla="*/ 0 w 2595"/>
                  <a:gd name="T11" fmla="*/ 0 h 2700"/>
                  <a:gd name="T12" fmla="*/ 0 w 2595"/>
                  <a:gd name="T13" fmla="*/ 0 h 2700"/>
                  <a:gd name="T14" fmla="*/ 0 w 2595"/>
                  <a:gd name="T15" fmla="*/ 0 h 2700"/>
                  <a:gd name="T16" fmla="*/ 0 w 2595"/>
                  <a:gd name="T17" fmla="*/ 0 h 2700"/>
                  <a:gd name="T18" fmla="*/ 0 w 2595"/>
                  <a:gd name="T19" fmla="*/ 0 h 2700"/>
                  <a:gd name="T20" fmla="*/ 0 w 2595"/>
                  <a:gd name="T21" fmla="*/ 0 h 2700"/>
                  <a:gd name="T22" fmla="*/ 0 w 2595"/>
                  <a:gd name="T23" fmla="*/ 0 h 2700"/>
                  <a:gd name="T24" fmla="*/ 0 w 2595"/>
                  <a:gd name="T25" fmla="*/ 0 h 2700"/>
                  <a:gd name="T26" fmla="*/ 0 w 2595"/>
                  <a:gd name="T27" fmla="*/ 0 h 2700"/>
                  <a:gd name="T28" fmla="*/ 0 w 2595"/>
                  <a:gd name="T29" fmla="*/ 0 h 2700"/>
                  <a:gd name="T30" fmla="*/ 0 w 2595"/>
                  <a:gd name="T31" fmla="*/ 0 h 2700"/>
                  <a:gd name="T32" fmla="*/ 0 w 2595"/>
                  <a:gd name="T33" fmla="*/ 0 h 2700"/>
                  <a:gd name="T34" fmla="*/ 0 w 2595"/>
                  <a:gd name="T35" fmla="*/ 0 h 2700"/>
                  <a:gd name="T36" fmla="*/ 0 w 2595"/>
                  <a:gd name="T37" fmla="*/ 0 h 2700"/>
                  <a:gd name="T38" fmla="*/ 0 w 2595"/>
                  <a:gd name="T39" fmla="*/ 0 h 2700"/>
                  <a:gd name="T40" fmla="*/ 0 w 2595"/>
                  <a:gd name="T41" fmla="*/ 0 h 2700"/>
                  <a:gd name="T42" fmla="*/ 0 w 2595"/>
                  <a:gd name="T43" fmla="*/ 0 h 2700"/>
                  <a:gd name="T44" fmla="*/ 0 w 2595"/>
                  <a:gd name="T45" fmla="*/ 0 h 2700"/>
                  <a:gd name="T46" fmla="*/ 0 w 2595"/>
                  <a:gd name="T47" fmla="*/ 0 h 2700"/>
                  <a:gd name="T48" fmla="*/ 0 w 2595"/>
                  <a:gd name="T49" fmla="*/ 0 h 2700"/>
                  <a:gd name="T50" fmla="*/ 0 w 2595"/>
                  <a:gd name="T51" fmla="*/ 0 h 2700"/>
                  <a:gd name="T52" fmla="*/ 0 w 2595"/>
                  <a:gd name="T53" fmla="*/ 0 h 2700"/>
                  <a:gd name="T54" fmla="*/ 0 w 2595"/>
                  <a:gd name="T55" fmla="*/ 0 h 2700"/>
                  <a:gd name="T56" fmla="*/ 0 w 2595"/>
                  <a:gd name="T57" fmla="*/ 0 h 2700"/>
                  <a:gd name="T58" fmla="*/ 0 w 2595"/>
                  <a:gd name="T59" fmla="*/ 0 h 2700"/>
                  <a:gd name="T60" fmla="*/ 0 w 2595"/>
                  <a:gd name="T61" fmla="*/ 0 h 2700"/>
                  <a:gd name="T62" fmla="*/ 0 w 2595"/>
                  <a:gd name="T63" fmla="*/ 0 h 2700"/>
                  <a:gd name="T64" fmla="*/ 0 w 2595"/>
                  <a:gd name="T65" fmla="*/ 0 h 2700"/>
                  <a:gd name="T66" fmla="*/ 0 w 2595"/>
                  <a:gd name="T67" fmla="*/ 0 h 2700"/>
                  <a:gd name="T68" fmla="*/ 0 w 2595"/>
                  <a:gd name="T69" fmla="*/ 0 h 2700"/>
                  <a:gd name="T70" fmla="*/ 0 w 2595"/>
                  <a:gd name="T71" fmla="*/ 0 h 2700"/>
                  <a:gd name="T72" fmla="*/ 0 w 2595"/>
                  <a:gd name="T73" fmla="*/ 0 h 2700"/>
                  <a:gd name="T74" fmla="*/ 0 w 2595"/>
                  <a:gd name="T75" fmla="*/ 0 h 2700"/>
                  <a:gd name="T76" fmla="*/ 0 w 2595"/>
                  <a:gd name="T77" fmla="*/ 0 h 2700"/>
                  <a:gd name="T78" fmla="*/ 0 w 2595"/>
                  <a:gd name="T79" fmla="*/ 0 h 2700"/>
                  <a:gd name="T80" fmla="*/ 0 w 2595"/>
                  <a:gd name="T81" fmla="*/ 0 h 2700"/>
                  <a:gd name="T82" fmla="*/ 0 w 2595"/>
                  <a:gd name="T83" fmla="*/ 0 h 2700"/>
                  <a:gd name="T84" fmla="*/ 0 w 2595"/>
                  <a:gd name="T85" fmla="*/ 0 h 2700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595"/>
                  <a:gd name="T130" fmla="*/ 0 h 2700"/>
                  <a:gd name="T131" fmla="*/ 2595 w 2595"/>
                  <a:gd name="T132" fmla="*/ 2700 h 2700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595" h="2700">
                    <a:moveTo>
                      <a:pt x="3" y="1223"/>
                    </a:moveTo>
                    <a:lnTo>
                      <a:pt x="0" y="1276"/>
                    </a:lnTo>
                    <a:lnTo>
                      <a:pt x="2" y="1330"/>
                    </a:lnTo>
                    <a:lnTo>
                      <a:pt x="6" y="1384"/>
                    </a:lnTo>
                    <a:lnTo>
                      <a:pt x="12" y="1439"/>
                    </a:lnTo>
                    <a:lnTo>
                      <a:pt x="22" y="1494"/>
                    </a:lnTo>
                    <a:lnTo>
                      <a:pt x="36" y="1550"/>
                    </a:lnTo>
                    <a:lnTo>
                      <a:pt x="52" y="1606"/>
                    </a:lnTo>
                    <a:lnTo>
                      <a:pt x="72" y="1663"/>
                    </a:lnTo>
                    <a:lnTo>
                      <a:pt x="95" y="1719"/>
                    </a:lnTo>
                    <a:lnTo>
                      <a:pt x="120" y="1775"/>
                    </a:lnTo>
                    <a:lnTo>
                      <a:pt x="148" y="1832"/>
                    </a:lnTo>
                    <a:lnTo>
                      <a:pt x="180" y="1886"/>
                    </a:lnTo>
                    <a:lnTo>
                      <a:pt x="215" y="1941"/>
                    </a:lnTo>
                    <a:lnTo>
                      <a:pt x="253" y="1996"/>
                    </a:lnTo>
                    <a:lnTo>
                      <a:pt x="293" y="2049"/>
                    </a:lnTo>
                    <a:lnTo>
                      <a:pt x="337" y="2101"/>
                    </a:lnTo>
                    <a:lnTo>
                      <a:pt x="384" y="2152"/>
                    </a:lnTo>
                    <a:lnTo>
                      <a:pt x="432" y="2202"/>
                    </a:lnTo>
                    <a:lnTo>
                      <a:pt x="485" y="2250"/>
                    </a:lnTo>
                    <a:lnTo>
                      <a:pt x="541" y="2297"/>
                    </a:lnTo>
                    <a:lnTo>
                      <a:pt x="599" y="2342"/>
                    </a:lnTo>
                    <a:lnTo>
                      <a:pt x="660" y="2385"/>
                    </a:lnTo>
                    <a:lnTo>
                      <a:pt x="724" y="2426"/>
                    </a:lnTo>
                    <a:lnTo>
                      <a:pt x="790" y="2465"/>
                    </a:lnTo>
                    <a:lnTo>
                      <a:pt x="860" y="2502"/>
                    </a:lnTo>
                    <a:lnTo>
                      <a:pt x="933" y="2536"/>
                    </a:lnTo>
                    <a:lnTo>
                      <a:pt x="1007" y="2567"/>
                    </a:lnTo>
                    <a:lnTo>
                      <a:pt x="1086" y="2596"/>
                    </a:lnTo>
                    <a:lnTo>
                      <a:pt x="1166" y="2622"/>
                    </a:lnTo>
                    <a:lnTo>
                      <a:pt x="1249" y="2644"/>
                    </a:lnTo>
                    <a:lnTo>
                      <a:pt x="1336" y="2664"/>
                    </a:lnTo>
                    <a:lnTo>
                      <a:pt x="1424" y="2680"/>
                    </a:lnTo>
                    <a:lnTo>
                      <a:pt x="1489" y="2690"/>
                    </a:lnTo>
                    <a:lnTo>
                      <a:pt x="1552" y="2696"/>
                    </a:lnTo>
                    <a:lnTo>
                      <a:pt x="1612" y="2699"/>
                    </a:lnTo>
                    <a:lnTo>
                      <a:pt x="1668" y="2700"/>
                    </a:lnTo>
                    <a:lnTo>
                      <a:pt x="1724" y="2698"/>
                    </a:lnTo>
                    <a:lnTo>
                      <a:pt x="1777" y="2694"/>
                    </a:lnTo>
                    <a:lnTo>
                      <a:pt x="1827" y="2686"/>
                    </a:lnTo>
                    <a:lnTo>
                      <a:pt x="1876" y="2675"/>
                    </a:lnTo>
                    <a:lnTo>
                      <a:pt x="1923" y="2663"/>
                    </a:lnTo>
                    <a:lnTo>
                      <a:pt x="1967" y="2647"/>
                    </a:lnTo>
                    <a:lnTo>
                      <a:pt x="2009" y="2629"/>
                    </a:lnTo>
                    <a:lnTo>
                      <a:pt x="2050" y="2607"/>
                    </a:lnTo>
                    <a:lnTo>
                      <a:pt x="2089" y="2583"/>
                    </a:lnTo>
                    <a:lnTo>
                      <a:pt x="2126" y="2556"/>
                    </a:lnTo>
                    <a:lnTo>
                      <a:pt x="2161" y="2527"/>
                    </a:lnTo>
                    <a:lnTo>
                      <a:pt x="2194" y="2495"/>
                    </a:lnTo>
                    <a:lnTo>
                      <a:pt x="2226" y="2460"/>
                    </a:lnTo>
                    <a:lnTo>
                      <a:pt x="2256" y="2423"/>
                    </a:lnTo>
                    <a:lnTo>
                      <a:pt x="2284" y="2383"/>
                    </a:lnTo>
                    <a:lnTo>
                      <a:pt x="2312" y="2339"/>
                    </a:lnTo>
                    <a:lnTo>
                      <a:pt x="2337" y="2294"/>
                    </a:lnTo>
                    <a:lnTo>
                      <a:pt x="2362" y="2246"/>
                    </a:lnTo>
                    <a:lnTo>
                      <a:pt x="2384" y="2194"/>
                    </a:lnTo>
                    <a:lnTo>
                      <a:pt x="2406" y="2141"/>
                    </a:lnTo>
                    <a:lnTo>
                      <a:pt x="2426" y="2085"/>
                    </a:lnTo>
                    <a:lnTo>
                      <a:pt x="2445" y="2026"/>
                    </a:lnTo>
                    <a:lnTo>
                      <a:pt x="2463" y="1964"/>
                    </a:lnTo>
                    <a:lnTo>
                      <a:pt x="2481" y="1900"/>
                    </a:lnTo>
                    <a:lnTo>
                      <a:pt x="2496" y="1833"/>
                    </a:lnTo>
                    <a:lnTo>
                      <a:pt x="2511" y="1763"/>
                    </a:lnTo>
                    <a:lnTo>
                      <a:pt x="2525" y="1691"/>
                    </a:lnTo>
                    <a:lnTo>
                      <a:pt x="2538" y="1616"/>
                    </a:lnTo>
                    <a:lnTo>
                      <a:pt x="2549" y="1550"/>
                    </a:lnTo>
                    <a:lnTo>
                      <a:pt x="2559" y="1483"/>
                    </a:lnTo>
                    <a:lnTo>
                      <a:pt x="2568" y="1416"/>
                    </a:lnTo>
                    <a:lnTo>
                      <a:pt x="2577" y="1349"/>
                    </a:lnTo>
                    <a:lnTo>
                      <a:pt x="2583" y="1281"/>
                    </a:lnTo>
                    <a:lnTo>
                      <a:pt x="2589" y="1213"/>
                    </a:lnTo>
                    <a:lnTo>
                      <a:pt x="2593" y="1146"/>
                    </a:lnTo>
                    <a:lnTo>
                      <a:pt x="2595" y="1079"/>
                    </a:lnTo>
                    <a:lnTo>
                      <a:pt x="2595" y="1012"/>
                    </a:lnTo>
                    <a:lnTo>
                      <a:pt x="2593" y="946"/>
                    </a:lnTo>
                    <a:lnTo>
                      <a:pt x="2588" y="881"/>
                    </a:lnTo>
                    <a:lnTo>
                      <a:pt x="2581" y="817"/>
                    </a:lnTo>
                    <a:lnTo>
                      <a:pt x="2572" y="754"/>
                    </a:lnTo>
                    <a:lnTo>
                      <a:pt x="2558" y="692"/>
                    </a:lnTo>
                    <a:lnTo>
                      <a:pt x="2542" y="632"/>
                    </a:lnTo>
                    <a:lnTo>
                      <a:pt x="2521" y="574"/>
                    </a:lnTo>
                    <a:lnTo>
                      <a:pt x="2497" y="517"/>
                    </a:lnTo>
                    <a:lnTo>
                      <a:pt x="2469" y="462"/>
                    </a:lnTo>
                    <a:lnTo>
                      <a:pt x="2437" y="411"/>
                    </a:lnTo>
                    <a:lnTo>
                      <a:pt x="2401" y="361"/>
                    </a:lnTo>
                    <a:lnTo>
                      <a:pt x="2361" y="314"/>
                    </a:lnTo>
                    <a:lnTo>
                      <a:pt x="2314" y="268"/>
                    </a:lnTo>
                    <a:lnTo>
                      <a:pt x="2265" y="227"/>
                    </a:lnTo>
                    <a:lnTo>
                      <a:pt x="2209" y="187"/>
                    </a:lnTo>
                    <a:lnTo>
                      <a:pt x="2147" y="151"/>
                    </a:lnTo>
                    <a:lnTo>
                      <a:pt x="2081" y="119"/>
                    </a:lnTo>
                    <a:lnTo>
                      <a:pt x="2007" y="90"/>
                    </a:lnTo>
                    <a:lnTo>
                      <a:pt x="1929" y="64"/>
                    </a:lnTo>
                    <a:lnTo>
                      <a:pt x="1844" y="44"/>
                    </a:lnTo>
                    <a:lnTo>
                      <a:pt x="1753" y="26"/>
                    </a:lnTo>
                    <a:lnTo>
                      <a:pt x="1655" y="13"/>
                    </a:lnTo>
                    <a:lnTo>
                      <a:pt x="1551" y="3"/>
                    </a:lnTo>
                    <a:lnTo>
                      <a:pt x="1467" y="0"/>
                    </a:lnTo>
                    <a:lnTo>
                      <a:pt x="1385" y="0"/>
                    </a:lnTo>
                    <a:lnTo>
                      <a:pt x="1305" y="4"/>
                    </a:lnTo>
                    <a:lnTo>
                      <a:pt x="1227" y="12"/>
                    </a:lnTo>
                    <a:lnTo>
                      <a:pt x="1152" y="22"/>
                    </a:lnTo>
                    <a:lnTo>
                      <a:pt x="1077" y="35"/>
                    </a:lnTo>
                    <a:lnTo>
                      <a:pt x="1006" y="52"/>
                    </a:lnTo>
                    <a:lnTo>
                      <a:pt x="936" y="73"/>
                    </a:lnTo>
                    <a:lnTo>
                      <a:pt x="869" y="95"/>
                    </a:lnTo>
                    <a:lnTo>
                      <a:pt x="802" y="121"/>
                    </a:lnTo>
                    <a:lnTo>
                      <a:pt x="739" y="149"/>
                    </a:lnTo>
                    <a:lnTo>
                      <a:pt x="678" y="181"/>
                    </a:lnTo>
                    <a:lnTo>
                      <a:pt x="619" y="214"/>
                    </a:lnTo>
                    <a:lnTo>
                      <a:pt x="564" y="250"/>
                    </a:lnTo>
                    <a:lnTo>
                      <a:pt x="510" y="290"/>
                    </a:lnTo>
                    <a:lnTo>
                      <a:pt x="458" y="331"/>
                    </a:lnTo>
                    <a:lnTo>
                      <a:pt x="410" y="374"/>
                    </a:lnTo>
                    <a:lnTo>
                      <a:pt x="363" y="419"/>
                    </a:lnTo>
                    <a:lnTo>
                      <a:pt x="319" y="467"/>
                    </a:lnTo>
                    <a:lnTo>
                      <a:pt x="277" y="516"/>
                    </a:lnTo>
                    <a:lnTo>
                      <a:pt x="239" y="567"/>
                    </a:lnTo>
                    <a:lnTo>
                      <a:pt x="203" y="620"/>
                    </a:lnTo>
                    <a:lnTo>
                      <a:pt x="170" y="674"/>
                    </a:lnTo>
                    <a:lnTo>
                      <a:pt x="140" y="730"/>
                    </a:lnTo>
                    <a:lnTo>
                      <a:pt x="112" y="788"/>
                    </a:lnTo>
                    <a:lnTo>
                      <a:pt x="87" y="847"/>
                    </a:lnTo>
                    <a:lnTo>
                      <a:pt x="66" y="907"/>
                    </a:lnTo>
                    <a:lnTo>
                      <a:pt x="47" y="969"/>
                    </a:lnTo>
                    <a:lnTo>
                      <a:pt x="31" y="1031"/>
                    </a:lnTo>
                    <a:lnTo>
                      <a:pt x="19" y="1094"/>
                    </a:lnTo>
                    <a:lnTo>
                      <a:pt x="9" y="1159"/>
                    </a:lnTo>
                    <a:lnTo>
                      <a:pt x="3" y="1223"/>
                    </a:lnTo>
                    <a:close/>
                  </a:path>
                </a:pathLst>
              </a:custGeom>
              <a:solidFill>
                <a:srgbClr val="2DAA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84" name="Freeform 99"/>
              <p:cNvSpPr>
                <a:spLocks/>
              </p:cNvSpPr>
              <p:nvPr/>
            </p:nvSpPr>
            <p:spPr bwMode="auto">
              <a:xfrm>
                <a:off x="3371" y="1266"/>
                <a:ext cx="80" cy="387"/>
              </a:xfrm>
              <a:custGeom>
                <a:avLst/>
                <a:gdLst>
                  <a:gd name="T0" fmla="*/ 0 w 556"/>
                  <a:gd name="T1" fmla="*/ 0 h 2710"/>
                  <a:gd name="T2" fmla="*/ 0 w 556"/>
                  <a:gd name="T3" fmla="*/ 0 h 2710"/>
                  <a:gd name="T4" fmla="*/ 0 w 556"/>
                  <a:gd name="T5" fmla="*/ 0 h 2710"/>
                  <a:gd name="T6" fmla="*/ 0 w 556"/>
                  <a:gd name="T7" fmla="*/ 0 h 2710"/>
                  <a:gd name="T8" fmla="*/ 0 w 556"/>
                  <a:gd name="T9" fmla="*/ 0 h 2710"/>
                  <a:gd name="T10" fmla="*/ 0 w 556"/>
                  <a:gd name="T11" fmla="*/ 0 h 2710"/>
                  <a:gd name="T12" fmla="*/ 0 w 556"/>
                  <a:gd name="T13" fmla="*/ 0 h 2710"/>
                  <a:gd name="T14" fmla="*/ 0 w 556"/>
                  <a:gd name="T15" fmla="*/ 0 h 2710"/>
                  <a:gd name="T16" fmla="*/ 0 w 556"/>
                  <a:gd name="T17" fmla="*/ 0 h 2710"/>
                  <a:gd name="T18" fmla="*/ 0 w 556"/>
                  <a:gd name="T19" fmla="*/ 0 h 2710"/>
                  <a:gd name="T20" fmla="*/ 0 w 556"/>
                  <a:gd name="T21" fmla="*/ 0 h 2710"/>
                  <a:gd name="T22" fmla="*/ 0 w 556"/>
                  <a:gd name="T23" fmla="*/ 0 h 2710"/>
                  <a:gd name="T24" fmla="*/ 0 w 556"/>
                  <a:gd name="T25" fmla="*/ 0 h 2710"/>
                  <a:gd name="T26" fmla="*/ 0 w 556"/>
                  <a:gd name="T27" fmla="*/ 0 h 2710"/>
                  <a:gd name="T28" fmla="*/ 0 w 556"/>
                  <a:gd name="T29" fmla="*/ 0 h 2710"/>
                  <a:gd name="T30" fmla="*/ 0 w 556"/>
                  <a:gd name="T31" fmla="*/ 0 h 2710"/>
                  <a:gd name="T32" fmla="*/ 0 w 556"/>
                  <a:gd name="T33" fmla="*/ 0 h 2710"/>
                  <a:gd name="T34" fmla="*/ 0 w 556"/>
                  <a:gd name="T35" fmla="*/ 0 h 2710"/>
                  <a:gd name="T36" fmla="*/ 0 w 556"/>
                  <a:gd name="T37" fmla="*/ 0 h 2710"/>
                  <a:gd name="T38" fmla="*/ 0 w 556"/>
                  <a:gd name="T39" fmla="*/ 0 h 2710"/>
                  <a:gd name="T40" fmla="*/ 0 w 556"/>
                  <a:gd name="T41" fmla="*/ 0 h 2710"/>
                  <a:gd name="T42" fmla="*/ 0 w 556"/>
                  <a:gd name="T43" fmla="*/ 0 h 2710"/>
                  <a:gd name="T44" fmla="*/ 0 w 556"/>
                  <a:gd name="T45" fmla="*/ 0 h 2710"/>
                  <a:gd name="T46" fmla="*/ 0 w 556"/>
                  <a:gd name="T47" fmla="*/ 0 h 2710"/>
                  <a:gd name="T48" fmla="*/ 0 w 556"/>
                  <a:gd name="T49" fmla="*/ 0 h 2710"/>
                  <a:gd name="T50" fmla="*/ 0 w 556"/>
                  <a:gd name="T51" fmla="*/ 0 h 2710"/>
                  <a:gd name="T52" fmla="*/ 0 w 556"/>
                  <a:gd name="T53" fmla="*/ 0 h 2710"/>
                  <a:gd name="T54" fmla="*/ 0 w 556"/>
                  <a:gd name="T55" fmla="*/ 0 h 2710"/>
                  <a:gd name="T56" fmla="*/ 0 w 556"/>
                  <a:gd name="T57" fmla="*/ 0 h 2710"/>
                  <a:gd name="T58" fmla="*/ 0 w 556"/>
                  <a:gd name="T59" fmla="*/ 0 h 2710"/>
                  <a:gd name="T60" fmla="*/ 0 w 556"/>
                  <a:gd name="T61" fmla="*/ 0 h 2710"/>
                  <a:gd name="T62" fmla="*/ 0 w 556"/>
                  <a:gd name="T63" fmla="*/ 0 h 2710"/>
                  <a:gd name="T64" fmla="*/ 0 w 556"/>
                  <a:gd name="T65" fmla="*/ 0 h 2710"/>
                  <a:gd name="T66" fmla="*/ 0 w 556"/>
                  <a:gd name="T67" fmla="*/ 0 h 2710"/>
                  <a:gd name="T68" fmla="*/ 0 w 556"/>
                  <a:gd name="T69" fmla="*/ 0 h 2710"/>
                  <a:gd name="T70" fmla="*/ 0 w 556"/>
                  <a:gd name="T71" fmla="*/ 0 h 2710"/>
                  <a:gd name="T72" fmla="*/ 0 w 556"/>
                  <a:gd name="T73" fmla="*/ 0 h 2710"/>
                  <a:gd name="T74" fmla="*/ 0 w 556"/>
                  <a:gd name="T75" fmla="*/ 0 h 2710"/>
                  <a:gd name="T76" fmla="*/ 0 w 556"/>
                  <a:gd name="T77" fmla="*/ 0 h 2710"/>
                  <a:gd name="T78" fmla="*/ 0 w 556"/>
                  <a:gd name="T79" fmla="*/ 0 h 2710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556"/>
                  <a:gd name="T121" fmla="*/ 0 h 2710"/>
                  <a:gd name="T122" fmla="*/ 556 w 556"/>
                  <a:gd name="T123" fmla="*/ 2710 h 2710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556" h="2710">
                    <a:moveTo>
                      <a:pt x="278" y="0"/>
                    </a:moveTo>
                    <a:lnTo>
                      <a:pt x="303" y="2"/>
                    </a:lnTo>
                    <a:lnTo>
                      <a:pt x="328" y="5"/>
                    </a:lnTo>
                    <a:lnTo>
                      <a:pt x="351" y="8"/>
                    </a:lnTo>
                    <a:lnTo>
                      <a:pt x="376" y="10"/>
                    </a:lnTo>
                    <a:lnTo>
                      <a:pt x="399" y="13"/>
                    </a:lnTo>
                    <a:lnTo>
                      <a:pt x="423" y="16"/>
                    </a:lnTo>
                    <a:lnTo>
                      <a:pt x="445" y="19"/>
                    </a:lnTo>
                    <a:lnTo>
                      <a:pt x="468" y="22"/>
                    </a:lnTo>
                    <a:lnTo>
                      <a:pt x="483" y="120"/>
                    </a:lnTo>
                    <a:lnTo>
                      <a:pt x="496" y="218"/>
                    </a:lnTo>
                    <a:lnTo>
                      <a:pt x="508" y="314"/>
                    </a:lnTo>
                    <a:lnTo>
                      <a:pt x="519" y="410"/>
                    </a:lnTo>
                    <a:lnTo>
                      <a:pt x="528" y="505"/>
                    </a:lnTo>
                    <a:lnTo>
                      <a:pt x="535" y="599"/>
                    </a:lnTo>
                    <a:lnTo>
                      <a:pt x="543" y="692"/>
                    </a:lnTo>
                    <a:lnTo>
                      <a:pt x="548" y="784"/>
                    </a:lnTo>
                    <a:lnTo>
                      <a:pt x="551" y="876"/>
                    </a:lnTo>
                    <a:lnTo>
                      <a:pt x="554" y="966"/>
                    </a:lnTo>
                    <a:lnTo>
                      <a:pt x="555" y="1056"/>
                    </a:lnTo>
                    <a:lnTo>
                      <a:pt x="556" y="1145"/>
                    </a:lnTo>
                    <a:lnTo>
                      <a:pt x="555" y="1233"/>
                    </a:lnTo>
                    <a:lnTo>
                      <a:pt x="553" y="1320"/>
                    </a:lnTo>
                    <a:lnTo>
                      <a:pt x="551" y="1407"/>
                    </a:lnTo>
                    <a:lnTo>
                      <a:pt x="547" y="1491"/>
                    </a:lnTo>
                    <a:lnTo>
                      <a:pt x="543" y="1575"/>
                    </a:lnTo>
                    <a:lnTo>
                      <a:pt x="537" y="1659"/>
                    </a:lnTo>
                    <a:lnTo>
                      <a:pt x="531" y="1741"/>
                    </a:lnTo>
                    <a:lnTo>
                      <a:pt x="524" y="1822"/>
                    </a:lnTo>
                    <a:lnTo>
                      <a:pt x="516" y="1902"/>
                    </a:lnTo>
                    <a:lnTo>
                      <a:pt x="507" y="1981"/>
                    </a:lnTo>
                    <a:lnTo>
                      <a:pt x="499" y="2059"/>
                    </a:lnTo>
                    <a:lnTo>
                      <a:pt x="489" y="2136"/>
                    </a:lnTo>
                    <a:lnTo>
                      <a:pt x="480" y="2211"/>
                    </a:lnTo>
                    <a:lnTo>
                      <a:pt x="468" y="2287"/>
                    </a:lnTo>
                    <a:lnTo>
                      <a:pt x="458" y="2360"/>
                    </a:lnTo>
                    <a:lnTo>
                      <a:pt x="446" y="2432"/>
                    </a:lnTo>
                    <a:lnTo>
                      <a:pt x="422" y="2573"/>
                    </a:lnTo>
                    <a:lnTo>
                      <a:pt x="397" y="2710"/>
                    </a:lnTo>
                    <a:lnTo>
                      <a:pt x="367" y="2707"/>
                    </a:lnTo>
                    <a:lnTo>
                      <a:pt x="336" y="2705"/>
                    </a:lnTo>
                    <a:lnTo>
                      <a:pt x="305" y="2702"/>
                    </a:lnTo>
                    <a:lnTo>
                      <a:pt x="273" y="2698"/>
                    </a:lnTo>
                    <a:lnTo>
                      <a:pt x="240" y="2694"/>
                    </a:lnTo>
                    <a:lnTo>
                      <a:pt x="207" y="2689"/>
                    </a:lnTo>
                    <a:lnTo>
                      <a:pt x="172" y="2683"/>
                    </a:lnTo>
                    <a:lnTo>
                      <a:pt x="136" y="2676"/>
                    </a:lnTo>
                    <a:lnTo>
                      <a:pt x="101" y="2669"/>
                    </a:lnTo>
                    <a:lnTo>
                      <a:pt x="67" y="2662"/>
                    </a:lnTo>
                    <a:lnTo>
                      <a:pt x="34" y="2654"/>
                    </a:lnTo>
                    <a:lnTo>
                      <a:pt x="0" y="2645"/>
                    </a:lnTo>
                    <a:lnTo>
                      <a:pt x="33" y="2511"/>
                    </a:lnTo>
                    <a:lnTo>
                      <a:pt x="66" y="2370"/>
                    </a:lnTo>
                    <a:lnTo>
                      <a:pt x="82" y="2298"/>
                    </a:lnTo>
                    <a:lnTo>
                      <a:pt x="97" y="2226"/>
                    </a:lnTo>
                    <a:lnTo>
                      <a:pt x="113" y="2151"/>
                    </a:lnTo>
                    <a:lnTo>
                      <a:pt x="128" y="2076"/>
                    </a:lnTo>
                    <a:lnTo>
                      <a:pt x="143" y="1999"/>
                    </a:lnTo>
                    <a:lnTo>
                      <a:pt x="156" y="1921"/>
                    </a:lnTo>
                    <a:lnTo>
                      <a:pt x="170" y="1842"/>
                    </a:lnTo>
                    <a:lnTo>
                      <a:pt x="183" y="1762"/>
                    </a:lnTo>
                    <a:lnTo>
                      <a:pt x="195" y="1682"/>
                    </a:lnTo>
                    <a:lnTo>
                      <a:pt x="208" y="1600"/>
                    </a:lnTo>
                    <a:lnTo>
                      <a:pt x="219" y="1517"/>
                    </a:lnTo>
                    <a:lnTo>
                      <a:pt x="229" y="1434"/>
                    </a:lnTo>
                    <a:lnTo>
                      <a:pt x="240" y="1350"/>
                    </a:lnTo>
                    <a:lnTo>
                      <a:pt x="249" y="1265"/>
                    </a:lnTo>
                    <a:lnTo>
                      <a:pt x="257" y="1178"/>
                    </a:lnTo>
                    <a:lnTo>
                      <a:pt x="265" y="1091"/>
                    </a:lnTo>
                    <a:lnTo>
                      <a:pt x="272" y="1004"/>
                    </a:lnTo>
                    <a:lnTo>
                      <a:pt x="277" y="915"/>
                    </a:lnTo>
                    <a:lnTo>
                      <a:pt x="282" y="827"/>
                    </a:lnTo>
                    <a:lnTo>
                      <a:pt x="286" y="738"/>
                    </a:lnTo>
                    <a:lnTo>
                      <a:pt x="289" y="648"/>
                    </a:lnTo>
                    <a:lnTo>
                      <a:pt x="290" y="557"/>
                    </a:lnTo>
                    <a:lnTo>
                      <a:pt x="291" y="465"/>
                    </a:lnTo>
                    <a:lnTo>
                      <a:pt x="291" y="374"/>
                    </a:lnTo>
                    <a:lnTo>
                      <a:pt x="289" y="281"/>
                    </a:lnTo>
                    <a:lnTo>
                      <a:pt x="287" y="188"/>
                    </a:lnTo>
                    <a:lnTo>
                      <a:pt x="283" y="94"/>
                    </a:lnTo>
                    <a:lnTo>
                      <a:pt x="278" y="0"/>
                    </a:lnTo>
                    <a:close/>
                  </a:path>
                </a:pathLst>
              </a:custGeom>
              <a:solidFill>
                <a:srgbClr val="D5353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85" name="Freeform 100"/>
              <p:cNvSpPr>
                <a:spLocks/>
              </p:cNvSpPr>
              <p:nvPr/>
            </p:nvSpPr>
            <p:spPr bwMode="auto">
              <a:xfrm>
                <a:off x="3428" y="1269"/>
                <a:ext cx="144" cy="399"/>
              </a:xfrm>
              <a:custGeom>
                <a:avLst/>
                <a:gdLst>
                  <a:gd name="T0" fmla="*/ 0 w 1007"/>
                  <a:gd name="T1" fmla="*/ 0 h 2791"/>
                  <a:gd name="T2" fmla="*/ 0 w 1007"/>
                  <a:gd name="T3" fmla="*/ 0 h 2791"/>
                  <a:gd name="T4" fmla="*/ 0 w 1007"/>
                  <a:gd name="T5" fmla="*/ 0 h 2791"/>
                  <a:gd name="T6" fmla="*/ 0 w 1007"/>
                  <a:gd name="T7" fmla="*/ 0 h 2791"/>
                  <a:gd name="T8" fmla="*/ 0 w 1007"/>
                  <a:gd name="T9" fmla="*/ 0 h 2791"/>
                  <a:gd name="T10" fmla="*/ 0 w 1007"/>
                  <a:gd name="T11" fmla="*/ 0 h 2791"/>
                  <a:gd name="T12" fmla="*/ 0 w 1007"/>
                  <a:gd name="T13" fmla="*/ 0 h 2791"/>
                  <a:gd name="T14" fmla="*/ 0 w 1007"/>
                  <a:gd name="T15" fmla="*/ 0 h 2791"/>
                  <a:gd name="T16" fmla="*/ 0 w 1007"/>
                  <a:gd name="T17" fmla="*/ 0 h 2791"/>
                  <a:gd name="T18" fmla="*/ 0 w 1007"/>
                  <a:gd name="T19" fmla="*/ 0 h 2791"/>
                  <a:gd name="T20" fmla="*/ 0 w 1007"/>
                  <a:gd name="T21" fmla="*/ 0 h 2791"/>
                  <a:gd name="T22" fmla="*/ 0 w 1007"/>
                  <a:gd name="T23" fmla="*/ 0 h 2791"/>
                  <a:gd name="T24" fmla="*/ 0 w 1007"/>
                  <a:gd name="T25" fmla="*/ 0 h 2791"/>
                  <a:gd name="T26" fmla="*/ 0 w 1007"/>
                  <a:gd name="T27" fmla="*/ 0 h 2791"/>
                  <a:gd name="T28" fmla="*/ 0 w 1007"/>
                  <a:gd name="T29" fmla="*/ 0 h 2791"/>
                  <a:gd name="T30" fmla="*/ 0 w 1007"/>
                  <a:gd name="T31" fmla="*/ 0 h 2791"/>
                  <a:gd name="T32" fmla="*/ 0 w 1007"/>
                  <a:gd name="T33" fmla="*/ 0 h 2791"/>
                  <a:gd name="T34" fmla="*/ 0 w 1007"/>
                  <a:gd name="T35" fmla="*/ 0 h 2791"/>
                  <a:gd name="T36" fmla="*/ 0 w 1007"/>
                  <a:gd name="T37" fmla="*/ 0 h 2791"/>
                  <a:gd name="T38" fmla="*/ 0 w 1007"/>
                  <a:gd name="T39" fmla="*/ 0 h 2791"/>
                  <a:gd name="T40" fmla="*/ 0 w 1007"/>
                  <a:gd name="T41" fmla="*/ 0 h 2791"/>
                  <a:gd name="T42" fmla="*/ 0 w 1007"/>
                  <a:gd name="T43" fmla="*/ 0 h 2791"/>
                  <a:gd name="T44" fmla="*/ 0 w 1007"/>
                  <a:gd name="T45" fmla="*/ 0 h 2791"/>
                  <a:gd name="T46" fmla="*/ 0 w 1007"/>
                  <a:gd name="T47" fmla="*/ 0 h 2791"/>
                  <a:gd name="T48" fmla="*/ 0 w 1007"/>
                  <a:gd name="T49" fmla="*/ 0 h 2791"/>
                  <a:gd name="T50" fmla="*/ 0 w 1007"/>
                  <a:gd name="T51" fmla="*/ 0 h 2791"/>
                  <a:gd name="T52" fmla="*/ 0 w 1007"/>
                  <a:gd name="T53" fmla="*/ 0 h 2791"/>
                  <a:gd name="T54" fmla="*/ 0 w 1007"/>
                  <a:gd name="T55" fmla="*/ 0 h 2791"/>
                  <a:gd name="T56" fmla="*/ 0 w 1007"/>
                  <a:gd name="T57" fmla="*/ 0 h 2791"/>
                  <a:gd name="T58" fmla="*/ 0 w 1007"/>
                  <a:gd name="T59" fmla="*/ 0 h 2791"/>
                  <a:gd name="T60" fmla="*/ 0 w 1007"/>
                  <a:gd name="T61" fmla="*/ 0 h 2791"/>
                  <a:gd name="T62" fmla="*/ 0 w 1007"/>
                  <a:gd name="T63" fmla="*/ 0 h 2791"/>
                  <a:gd name="T64" fmla="*/ 0 w 1007"/>
                  <a:gd name="T65" fmla="*/ 0 h 2791"/>
                  <a:gd name="T66" fmla="*/ 0 w 1007"/>
                  <a:gd name="T67" fmla="*/ 0 h 2791"/>
                  <a:gd name="T68" fmla="*/ 0 w 1007"/>
                  <a:gd name="T69" fmla="*/ 0 h 2791"/>
                  <a:gd name="T70" fmla="*/ 0 w 1007"/>
                  <a:gd name="T71" fmla="*/ 0 h 2791"/>
                  <a:gd name="T72" fmla="*/ 0 w 1007"/>
                  <a:gd name="T73" fmla="*/ 0 h 2791"/>
                  <a:gd name="T74" fmla="*/ 0 w 1007"/>
                  <a:gd name="T75" fmla="*/ 0 h 2791"/>
                  <a:gd name="T76" fmla="*/ 0 w 1007"/>
                  <a:gd name="T77" fmla="*/ 0 h 2791"/>
                  <a:gd name="T78" fmla="*/ 0 w 1007"/>
                  <a:gd name="T79" fmla="*/ 0 h 2791"/>
                  <a:gd name="T80" fmla="*/ 0 w 1007"/>
                  <a:gd name="T81" fmla="*/ 0 h 2791"/>
                  <a:gd name="T82" fmla="*/ 0 w 1007"/>
                  <a:gd name="T83" fmla="*/ 0 h 2791"/>
                  <a:gd name="T84" fmla="*/ 0 w 1007"/>
                  <a:gd name="T85" fmla="*/ 0 h 2791"/>
                  <a:gd name="T86" fmla="*/ 0 w 1007"/>
                  <a:gd name="T87" fmla="*/ 0 h 2791"/>
                  <a:gd name="T88" fmla="*/ 0 w 1007"/>
                  <a:gd name="T89" fmla="*/ 0 h 2791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007"/>
                  <a:gd name="T136" fmla="*/ 0 h 2791"/>
                  <a:gd name="T137" fmla="*/ 1007 w 1007"/>
                  <a:gd name="T138" fmla="*/ 2791 h 2791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007" h="2791">
                    <a:moveTo>
                      <a:pt x="71" y="0"/>
                    </a:moveTo>
                    <a:lnTo>
                      <a:pt x="176" y="2"/>
                    </a:lnTo>
                    <a:lnTo>
                      <a:pt x="273" y="6"/>
                    </a:lnTo>
                    <a:lnTo>
                      <a:pt x="362" y="15"/>
                    </a:lnTo>
                    <a:lnTo>
                      <a:pt x="443" y="26"/>
                    </a:lnTo>
                    <a:lnTo>
                      <a:pt x="518" y="40"/>
                    </a:lnTo>
                    <a:lnTo>
                      <a:pt x="585" y="58"/>
                    </a:lnTo>
                    <a:lnTo>
                      <a:pt x="647" y="79"/>
                    </a:lnTo>
                    <a:lnTo>
                      <a:pt x="702" y="102"/>
                    </a:lnTo>
                    <a:lnTo>
                      <a:pt x="751" y="129"/>
                    </a:lnTo>
                    <a:lnTo>
                      <a:pt x="796" y="159"/>
                    </a:lnTo>
                    <a:lnTo>
                      <a:pt x="834" y="191"/>
                    </a:lnTo>
                    <a:lnTo>
                      <a:pt x="868" y="228"/>
                    </a:lnTo>
                    <a:lnTo>
                      <a:pt x="897" y="266"/>
                    </a:lnTo>
                    <a:lnTo>
                      <a:pt x="922" y="306"/>
                    </a:lnTo>
                    <a:lnTo>
                      <a:pt x="943" y="351"/>
                    </a:lnTo>
                    <a:lnTo>
                      <a:pt x="961" y="397"/>
                    </a:lnTo>
                    <a:lnTo>
                      <a:pt x="974" y="447"/>
                    </a:lnTo>
                    <a:lnTo>
                      <a:pt x="986" y="498"/>
                    </a:lnTo>
                    <a:lnTo>
                      <a:pt x="994" y="553"/>
                    </a:lnTo>
                    <a:lnTo>
                      <a:pt x="1000" y="610"/>
                    </a:lnTo>
                    <a:lnTo>
                      <a:pt x="1004" y="670"/>
                    </a:lnTo>
                    <a:lnTo>
                      <a:pt x="1006" y="732"/>
                    </a:lnTo>
                    <a:lnTo>
                      <a:pt x="1007" y="797"/>
                    </a:lnTo>
                    <a:lnTo>
                      <a:pt x="1006" y="865"/>
                    </a:lnTo>
                    <a:lnTo>
                      <a:pt x="1003" y="1006"/>
                    </a:lnTo>
                    <a:lnTo>
                      <a:pt x="1000" y="1157"/>
                    </a:lnTo>
                    <a:lnTo>
                      <a:pt x="998" y="1236"/>
                    </a:lnTo>
                    <a:lnTo>
                      <a:pt x="998" y="1316"/>
                    </a:lnTo>
                    <a:lnTo>
                      <a:pt x="998" y="1399"/>
                    </a:lnTo>
                    <a:lnTo>
                      <a:pt x="999" y="1485"/>
                    </a:lnTo>
                    <a:lnTo>
                      <a:pt x="1003" y="1586"/>
                    </a:lnTo>
                    <a:lnTo>
                      <a:pt x="1005" y="1700"/>
                    </a:lnTo>
                    <a:lnTo>
                      <a:pt x="1006" y="1761"/>
                    </a:lnTo>
                    <a:lnTo>
                      <a:pt x="1006" y="1823"/>
                    </a:lnTo>
                    <a:lnTo>
                      <a:pt x="1006" y="1886"/>
                    </a:lnTo>
                    <a:lnTo>
                      <a:pt x="1004" y="1950"/>
                    </a:lnTo>
                    <a:lnTo>
                      <a:pt x="1000" y="2014"/>
                    </a:lnTo>
                    <a:lnTo>
                      <a:pt x="995" y="2080"/>
                    </a:lnTo>
                    <a:lnTo>
                      <a:pt x="989" y="2144"/>
                    </a:lnTo>
                    <a:lnTo>
                      <a:pt x="980" y="2207"/>
                    </a:lnTo>
                    <a:lnTo>
                      <a:pt x="968" y="2270"/>
                    </a:lnTo>
                    <a:lnTo>
                      <a:pt x="954" y="2330"/>
                    </a:lnTo>
                    <a:lnTo>
                      <a:pt x="937" y="2389"/>
                    </a:lnTo>
                    <a:lnTo>
                      <a:pt x="918" y="2446"/>
                    </a:lnTo>
                    <a:lnTo>
                      <a:pt x="895" y="2499"/>
                    </a:lnTo>
                    <a:lnTo>
                      <a:pt x="868" y="2550"/>
                    </a:lnTo>
                    <a:lnTo>
                      <a:pt x="837" y="2597"/>
                    </a:lnTo>
                    <a:lnTo>
                      <a:pt x="803" y="2639"/>
                    </a:lnTo>
                    <a:lnTo>
                      <a:pt x="765" y="2677"/>
                    </a:lnTo>
                    <a:lnTo>
                      <a:pt x="722" y="2711"/>
                    </a:lnTo>
                    <a:lnTo>
                      <a:pt x="675" y="2739"/>
                    </a:lnTo>
                    <a:lnTo>
                      <a:pt x="622" y="2761"/>
                    </a:lnTo>
                    <a:lnTo>
                      <a:pt x="564" y="2777"/>
                    </a:lnTo>
                    <a:lnTo>
                      <a:pt x="502" y="2788"/>
                    </a:lnTo>
                    <a:lnTo>
                      <a:pt x="433" y="2791"/>
                    </a:lnTo>
                    <a:lnTo>
                      <a:pt x="360" y="2787"/>
                    </a:lnTo>
                    <a:lnTo>
                      <a:pt x="279" y="2774"/>
                    </a:lnTo>
                    <a:lnTo>
                      <a:pt x="192" y="2755"/>
                    </a:lnTo>
                    <a:lnTo>
                      <a:pt x="99" y="2726"/>
                    </a:lnTo>
                    <a:lnTo>
                      <a:pt x="0" y="2688"/>
                    </a:lnTo>
                    <a:lnTo>
                      <a:pt x="25" y="2551"/>
                    </a:lnTo>
                    <a:lnTo>
                      <a:pt x="49" y="2410"/>
                    </a:lnTo>
                    <a:lnTo>
                      <a:pt x="61" y="2338"/>
                    </a:lnTo>
                    <a:lnTo>
                      <a:pt x="71" y="2265"/>
                    </a:lnTo>
                    <a:lnTo>
                      <a:pt x="83" y="2189"/>
                    </a:lnTo>
                    <a:lnTo>
                      <a:pt x="92" y="2114"/>
                    </a:lnTo>
                    <a:lnTo>
                      <a:pt x="102" y="2037"/>
                    </a:lnTo>
                    <a:lnTo>
                      <a:pt x="110" y="1959"/>
                    </a:lnTo>
                    <a:lnTo>
                      <a:pt x="119" y="1880"/>
                    </a:lnTo>
                    <a:lnTo>
                      <a:pt x="127" y="1800"/>
                    </a:lnTo>
                    <a:lnTo>
                      <a:pt x="134" y="1719"/>
                    </a:lnTo>
                    <a:lnTo>
                      <a:pt x="140" y="1637"/>
                    </a:lnTo>
                    <a:lnTo>
                      <a:pt x="146" y="1553"/>
                    </a:lnTo>
                    <a:lnTo>
                      <a:pt x="150" y="1469"/>
                    </a:lnTo>
                    <a:lnTo>
                      <a:pt x="154" y="1385"/>
                    </a:lnTo>
                    <a:lnTo>
                      <a:pt x="156" y="1298"/>
                    </a:lnTo>
                    <a:lnTo>
                      <a:pt x="158" y="1211"/>
                    </a:lnTo>
                    <a:lnTo>
                      <a:pt x="159" y="1123"/>
                    </a:lnTo>
                    <a:lnTo>
                      <a:pt x="158" y="1034"/>
                    </a:lnTo>
                    <a:lnTo>
                      <a:pt x="157" y="944"/>
                    </a:lnTo>
                    <a:lnTo>
                      <a:pt x="154" y="854"/>
                    </a:lnTo>
                    <a:lnTo>
                      <a:pt x="151" y="762"/>
                    </a:lnTo>
                    <a:lnTo>
                      <a:pt x="146" y="670"/>
                    </a:lnTo>
                    <a:lnTo>
                      <a:pt x="138" y="577"/>
                    </a:lnTo>
                    <a:lnTo>
                      <a:pt x="131" y="483"/>
                    </a:lnTo>
                    <a:lnTo>
                      <a:pt x="122" y="388"/>
                    </a:lnTo>
                    <a:lnTo>
                      <a:pt x="111" y="292"/>
                    </a:lnTo>
                    <a:lnTo>
                      <a:pt x="99" y="196"/>
                    </a:lnTo>
                    <a:lnTo>
                      <a:pt x="86" y="98"/>
                    </a:lnTo>
                    <a:lnTo>
                      <a:pt x="7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86" name="Freeform 101"/>
              <p:cNvSpPr>
                <a:spLocks/>
              </p:cNvSpPr>
              <p:nvPr/>
            </p:nvSpPr>
            <p:spPr bwMode="auto">
              <a:xfrm>
                <a:off x="3319" y="1265"/>
                <a:ext cx="94" cy="379"/>
              </a:xfrm>
              <a:custGeom>
                <a:avLst/>
                <a:gdLst>
                  <a:gd name="T0" fmla="*/ 0 w 655"/>
                  <a:gd name="T1" fmla="*/ 0 h 2649"/>
                  <a:gd name="T2" fmla="*/ 0 w 655"/>
                  <a:gd name="T3" fmla="*/ 0 h 2649"/>
                  <a:gd name="T4" fmla="*/ 0 w 655"/>
                  <a:gd name="T5" fmla="*/ 0 h 2649"/>
                  <a:gd name="T6" fmla="*/ 0 w 655"/>
                  <a:gd name="T7" fmla="*/ 0 h 2649"/>
                  <a:gd name="T8" fmla="*/ 0 w 655"/>
                  <a:gd name="T9" fmla="*/ 0 h 2649"/>
                  <a:gd name="T10" fmla="*/ 0 w 655"/>
                  <a:gd name="T11" fmla="*/ 0 h 2649"/>
                  <a:gd name="T12" fmla="*/ 0 w 655"/>
                  <a:gd name="T13" fmla="*/ 0 h 2649"/>
                  <a:gd name="T14" fmla="*/ 0 w 655"/>
                  <a:gd name="T15" fmla="*/ 0 h 2649"/>
                  <a:gd name="T16" fmla="*/ 0 w 655"/>
                  <a:gd name="T17" fmla="*/ 0 h 2649"/>
                  <a:gd name="T18" fmla="*/ 0 w 655"/>
                  <a:gd name="T19" fmla="*/ 0 h 2649"/>
                  <a:gd name="T20" fmla="*/ 0 w 655"/>
                  <a:gd name="T21" fmla="*/ 0 h 2649"/>
                  <a:gd name="T22" fmla="*/ 0 w 655"/>
                  <a:gd name="T23" fmla="*/ 0 h 2649"/>
                  <a:gd name="T24" fmla="*/ 0 w 655"/>
                  <a:gd name="T25" fmla="*/ 0 h 2649"/>
                  <a:gd name="T26" fmla="*/ 0 w 655"/>
                  <a:gd name="T27" fmla="*/ 0 h 2649"/>
                  <a:gd name="T28" fmla="*/ 0 w 655"/>
                  <a:gd name="T29" fmla="*/ 0 h 2649"/>
                  <a:gd name="T30" fmla="*/ 0 w 655"/>
                  <a:gd name="T31" fmla="*/ 0 h 2649"/>
                  <a:gd name="T32" fmla="*/ 0 w 655"/>
                  <a:gd name="T33" fmla="*/ 0 h 2649"/>
                  <a:gd name="T34" fmla="*/ 0 w 655"/>
                  <a:gd name="T35" fmla="*/ 0 h 2649"/>
                  <a:gd name="T36" fmla="*/ 0 w 655"/>
                  <a:gd name="T37" fmla="*/ 0 h 2649"/>
                  <a:gd name="T38" fmla="*/ 0 w 655"/>
                  <a:gd name="T39" fmla="*/ 0 h 2649"/>
                  <a:gd name="T40" fmla="*/ 0 w 655"/>
                  <a:gd name="T41" fmla="*/ 0 h 2649"/>
                  <a:gd name="T42" fmla="*/ 0 w 655"/>
                  <a:gd name="T43" fmla="*/ 0 h 2649"/>
                  <a:gd name="T44" fmla="*/ 0 w 655"/>
                  <a:gd name="T45" fmla="*/ 0 h 2649"/>
                  <a:gd name="T46" fmla="*/ 0 w 655"/>
                  <a:gd name="T47" fmla="*/ 0 h 2649"/>
                  <a:gd name="T48" fmla="*/ 0 w 655"/>
                  <a:gd name="T49" fmla="*/ 0 h 2649"/>
                  <a:gd name="T50" fmla="*/ 0 w 655"/>
                  <a:gd name="T51" fmla="*/ 0 h 2649"/>
                  <a:gd name="T52" fmla="*/ 0 w 655"/>
                  <a:gd name="T53" fmla="*/ 0 h 2649"/>
                  <a:gd name="T54" fmla="*/ 0 w 655"/>
                  <a:gd name="T55" fmla="*/ 0 h 2649"/>
                  <a:gd name="T56" fmla="*/ 0 w 655"/>
                  <a:gd name="T57" fmla="*/ 0 h 2649"/>
                  <a:gd name="T58" fmla="*/ 0 w 655"/>
                  <a:gd name="T59" fmla="*/ 0 h 2649"/>
                  <a:gd name="T60" fmla="*/ 0 w 655"/>
                  <a:gd name="T61" fmla="*/ 0 h 2649"/>
                  <a:gd name="T62" fmla="*/ 0 w 655"/>
                  <a:gd name="T63" fmla="*/ 0 h 2649"/>
                  <a:gd name="T64" fmla="*/ 0 w 655"/>
                  <a:gd name="T65" fmla="*/ 0 h 2649"/>
                  <a:gd name="T66" fmla="*/ 0 w 655"/>
                  <a:gd name="T67" fmla="*/ 0 h 2649"/>
                  <a:gd name="T68" fmla="*/ 0 w 655"/>
                  <a:gd name="T69" fmla="*/ 0 h 2649"/>
                  <a:gd name="T70" fmla="*/ 0 w 655"/>
                  <a:gd name="T71" fmla="*/ 0 h 2649"/>
                  <a:gd name="T72" fmla="*/ 0 w 655"/>
                  <a:gd name="T73" fmla="*/ 0 h 2649"/>
                  <a:gd name="T74" fmla="*/ 0 w 655"/>
                  <a:gd name="T75" fmla="*/ 0 h 2649"/>
                  <a:gd name="T76" fmla="*/ 0 w 655"/>
                  <a:gd name="T77" fmla="*/ 0 h 2649"/>
                  <a:gd name="T78" fmla="*/ 0 w 655"/>
                  <a:gd name="T79" fmla="*/ 0 h 2649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655"/>
                  <a:gd name="T121" fmla="*/ 0 h 2649"/>
                  <a:gd name="T122" fmla="*/ 655 w 655"/>
                  <a:gd name="T123" fmla="*/ 2649 h 2649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655" h="2649">
                    <a:moveTo>
                      <a:pt x="414" y="2"/>
                    </a:moveTo>
                    <a:lnTo>
                      <a:pt x="440" y="1"/>
                    </a:lnTo>
                    <a:lnTo>
                      <a:pt x="465" y="0"/>
                    </a:lnTo>
                    <a:lnTo>
                      <a:pt x="492" y="0"/>
                    </a:lnTo>
                    <a:lnTo>
                      <a:pt x="519" y="0"/>
                    </a:lnTo>
                    <a:lnTo>
                      <a:pt x="546" y="0"/>
                    </a:lnTo>
                    <a:lnTo>
                      <a:pt x="572" y="1"/>
                    </a:lnTo>
                    <a:lnTo>
                      <a:pt x="599" y="2"/>
                    </a:lnTo>
                    <a:lnTo>
                      <a:pt x="627" y="3"/>
                    </a:lnTo>
                    <a:lnTo>
                      <a:pt x="634" y="4"/>
                    </a:lnTo>
                    <a:lnTo>
                      <a:pt x="642" y="4"/>
                    </a:lnTo>
                    <a:lnTo>
                      <a:pt x="647" y="98"/>
                    </a:lnTo>
                    <a:lnTo>
                      <a:pt x="651" y="192"/>
                    </a:lnTo>
                    <a:lnTo>
                      <a:pt x="653" y="285"/>
                    </a:lnTo>
                    <a:lnTo>
                      <a:pt x="655" y="378"/>
                    </a:lnTo>
                    <a:lnTo>
                      <a:pt x="655" y="469"/>
                    </a:lnTo>
                    <a:lnTo>
                      <a:pt x="654" y="561"/>
                    </a:lnTo>
                    <a:lnTo>
                      <a:pt x="653" y="652"/>
                    </a:lnTo>
                    <a:lnTo>
                      <a:pt x="650" y="742"/>
                    </a:lnTo>
                    <a:lnTo>
                      <a:pt x="646" y="831"/>
                    </a:lnTo>
                    <a:lnTo>
                      <a:pt x="641" y="919"/>
                    </a:lnTo>
                    <a:lnTo>
                      <a:pt x="636" y="1008"/>
                    </a:lnTo>
                    <a:lnTo>
                      <a:pt x="629" y="1095"/>
                    </a:lnTo>
                    <a:lnTo>
                      <a:pt x="621" y="1182"/>
                    </a:lnTo>
                    <a:lnTo>
                      <a:pt x="613" y="1269"/>
                    </a:lnTo>
                    <a:lnTo>
                      <a:pt x="604" y="1354"/>
                    </a:lnTo>
                    <a:lnTo>
                      <a:pt x="593" y="1438"/>
                    </a:lnTo>
                    <a:lnTo>
                      <a:pt x="583" y="1521"/>
                    </a:lnTo>
                    <a:lnTo>
                      <a:pt x="572" y="1604"/>
                    </a:lnTo>
                    <a:lnTo>
                      <a:pt x="559" y="1686"/>
                    </a:lnTo>
                    <a:lnTo>
                      <a:pt x="547" y="1766"/>
                    </a:lnTo>
                    <a:lnTo>
                      <a:pt x="534" y="1846"/>
                    </a:lnTo>
                    <a:lnTo>
                      <a:pt x="520" y="1925"/>
                    </a:lnTo>
                    <a:lnTo>
                      <a:pt x="507" y="2003"/>
                    </a:lnTo>
                    <a:lnTo>
                      <a:pt x="492" y="2080"/>
                    </a:lnTo>
                    <a:lnTo>
                      <a:pt x="477" y="2155"/>
                    </a:lnTo>
                    <a:lnTo>
                      <a:pt x="461" y="2230"/>
                    </a:lnTo>
                    <a:lnTo>
                      <a:pt x="446" y="2302"/>
                    </a:lnTo>
                    <a:lnTo>
                      <a:pt x="430" y="2374"/>
                    </a:lnTo>
                    <a:lnTo>
                      <a:pt x="397" y="2515"/>
                    </a:lnTo>
                    <a:lnTo>
                      <a:pt x="364" y="2649"/>
                    </a:lnTo>
                    <a:lnTo>
                      <a:pt x="317" y="2637"/>
                    </a:lnTo>
                    <a:lnTo>
                      <a:pt x="270" y="2625"/>
                    </a:lnTo>
                    <a:lnTo>
                      <a:pt x="224" y="2611"/>
                    </a:lnTo>
                    <a:lnTo>
                      <a:pt x="178" y="2596"/>
                    </a:lnTo>
                    <a:lnTo>
                      <a:pt x="133" y="2581"/>
                    </a:lnTo>
                    <a:lnTo>
                      <a:pt x="88" y="2565"/>
                    </a:lnTo>
                    <a:lnTo>
                      <a:pt x="44" y="2548"/>
                    </a:lnTo>
                    <a:lnTo>
                      <a:pt x="0" y="2531"/>
                    </a:lnTo>
                    <a:lnTo>
                      <a:pt x="22" y="2464"/>
                    </a:lnTo>
                    <a:lnTo>
                      <a:pt x="43" y="2397"/>
                    </a:lnTo>
                    <a:lnTo>
                      <a:pt x="64" y="2329"/>
                    </a:lnTo>
                    <a:lnTo>
                      <a:pt x="85" y="2260"/>
                    </a:lnTo>
                    <a:lnTo>
                      <a:pt x="105" y="2189"/>
                    </a:lnTo>
                    <a:lnTo>
                      <a:pt x="124" y="2118"/>
                    </a:lnTo>
                    <a:lnTo>
                      <a:pt x="144" y="2046"/>
                    </a:lnTo>
                    <a:lnTo>
                      <a:pt x="164" y="1972"/>
                    </a:lnTo>
                    <a:lnTo>
                      <a:pt x="182" y="1898"/>
                    </a:lnTo>
                    <a:lnTo>
                      <a:pt x="200" y="1822"/>
                    </a:lnTo>
                    <a:lnTo>
                      <a:pt x="217" y="1746"/>
                    </a:lnTo>
                    <a:lnTo>
                      <a:pt x="235" y="1668"/>
                    </a:lnTo>
                    <a:lnTo>
                      <a:pt x="251" y="1591"/>
                    </a:lnTo>
                    <a:lnTo>
                      <a:pt x="267" y="1512"/>
                    </a:lnTo>
                    <a:lnTo>
                      <a:pt x="282" y="1432"/>
                    </a:lnTo>
                    <a:lnTo>
                      <a:pt x="297" y="1352"/>
                    </a:lnTo>
                    <a:lnTo>
                      <a:pt x="311" y="1271"/>
                    </a:lnTo>
                    <a:lnTo>
                      <a:pt x="324" y="1190"/>
                    </a:lnTo>
                    <a:lnTo>
                      <a:pt x="336" y="1108"/>
                    </a:lnTo>
                    <a:lnTo>
                      <a:pt x="349" y="1025"/>
                    </a:lnTo>
                    <a:lnTo>
                      <a:pt x="359" y="942"/>
                    </a:lnTo>
                    <a:lnTo>
                      <a:pt x="369" y="858"/>
                    </a:lnTo>
                    <a:lnTo>
                      <a:pt x="378" y="775"/>
                    </a:lnTo>
                    <a:lnTo>
                      <a:pt x="386" y="690"/>
                    </a:lnTo>
                    <a:lnTo>
                      <a:pt x="393" y="605"/>
                    </a:lnTo>
                    <a:lnTo>
                      <a:pt x="399" y="519"/>
                    </a:lnTo>
                    <a:lnTo>
                      <a:pt x="404" y="433"/>
                    </a:lnTo>
                    <a:lnTo>
                      <a:pt x="409" y="348"/>
                    </a:lnTo>
                    <a:lnTo>
                      <a:pt x="412" y="262"/>
                    </a:lnTo>
                    <a:lnTo>
                      <a:pt x="413" y="176"/>
                    </a:lnTo>
                    <a:lnTo>
                      <a:pt x="414" y="89"/>
                    </a:lnTo>
                    <a:lnTo>
                      <a:pt x="414" y="2"/>
                    </a:lnTo>
                    <a:close/>
                  </a:path>
                </a:pathLst>
              </a:custGeom>
              <a:solidFill>
                <a:srgbClr val="23509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87" name="Freeform 102"/>
              <p:cNvSpPr>
                <a:spLocks/>
              </p:cNvSpPr>
              <p:nvPr/>
            </p:nvSpPr>
            <p:spPr bwMode="auto">
              <a:xfrm>
                <a:off x="3272" y="1266"/>
                <a:ext cx="106" cy="361"/>
              </a:xfrm>
              <a:custGeom>
                <a:avLst/>
                <a:gdLst>
                  <a:gd name="T0" fmla="*/ 0 w 747"/>
                  <a:gd name="T1" fmla="*/ 0 h 2529"/>
                  <a:gd name="T2" fmla="*/ 0 w 747"/>
                  <a:gd name="T3" fmla="*/ 0 h 2529"/>
                  <a:gd name="T4" fmla="*/ 0 w 747"/>
                  <a:gd name="T5" fmla="*/ 0 h 2529"/>
                  <a:gd name="T6" fmla="*/ 0 w 747"/>
                  <a:gd name="T7" fmla="*/ 0 h 2529"/>
                  <a:gd name="T8" fmla="*/ 0 w 747"/>
                  <a:gd name="T9" fmla="*/ 0 h 2529"/>
                  <a:gd name="T10" fmla="*/ 0 w 747"/>
                  <a:gd name="T11" fmla="*/ 0 h 2529"/>
                  <a:gd name="T12" fmla="*/ 0 w 747"/>
                  <a:gd name="T13" fmla="*/ 0 h 2529"/>
                  <a:gd name="T14" fmla="*/ 0 w 747"/>
                  <a:gd name="T15" fmla="*/ 0 h 2529"/>
                  <a:gd name="T16" fmla="*/ 0 w 747"/>
                  <a:gd name="T17" fmla="*/ 0 h 2529"/>
                  <a:gd name="T18" fmla="*/ 0 w 747"/>
                  <a:gd name="T19" fmla="*/ 0 h 2529"/>
                  <a:gd name="T20" fmla="*/ 0 w 747"/>
                  <a:gd name="T21" fmla="*/ 0 h 2529"/>
                  <a:gd name="T22" fmla="*/ 0 w 747"/>
                  <a:gd name="T23" fmla="*/ 0 h 2529"/>
                  <a:gd name="T24" fmla="*/ 0 w 747"/>
                  <a:gd name="T25" fmla="*/ 0 h 2529"/>
                  <a:gd name="T26" fmla="*/ 0 w 747"/>
                  <a:gd name="T27" fmla="*/ 0 h 2529"/>
                  <a:gd name="T28" fmla="*/ 0 w 747"/>
                  <a:gd name="T29" fmla="*/ 0 h 2529"/>
                  <a:gd name="T30" fmla="*/ 0 w 747"/>
                  <a:gd name="T31" fmla="*/ 0 h 2529"/>
                  <a:gd name="T32" fmla="*/ 0 w 747"/>
                  <a:gd name="T33" fmla="*/ 0 h 2529"/>
                  <a:gd name="T34" fmla="*/ 0 w 747"/>
                  <a:gd name="T35" fmla="*/ 0 h 2529"/>
                  <a:gd name="T36" fmla="*/ 0 w 747"/>
                  <a:gd name="T37" fmla="*/ 0 h 2529"/>
                  <a:gd name="T38" fmla="*/ 0 w 747"/>
                  <a:gd name="T39" fmla="*/ 0 h 2529"/>
                  <a:gd name="T40" fmla="*/ 0 w 747"/>
                  <a:gd name="T41" fmla="*/ 0 h 2529"/>
                  <a:gd name="T42" fmla="*/ 0 w 747"/>
                  <a:gd name="T43" fmla="*/ 0 h 2529"/>
                  <a:gd name="T44" fmla="*/ 0 w 747"/>
                  <a:gd name="T45" fmla="*/ 0 h 2529"/>
                  <a:gd name="T46" fmla="*/ 0 w 747"/>
                  <a:gd name="T47" fmla="*/ 0 h 2529"/>
                  <a:gd name="T48" fmla="*/ 0 w 747"/>
                  <a:gd name="T49" fmla="*/ 0 h 2529"/>
                  <a:gd name="T50" fmla="*/ 0 w 747"/>
                  <a:gd name="T51" fmla="*/ 0 h 2529"/>
                  <a:gd name="T52" fmla="*/ 0 w 747"/>
                  <a:gd name="T53" fmla="*/ 0 h 2529"/>
                  <a:gd name="T54" fmla="*/ 0 w 747"/>
                  <a:gd name="T55" fmla="*/ 0 h 2529"/>
                  <a:gd name="T56" fmla="*/ 0 w 747"/>
                  <a:gd name="T57" fmla="*/ 0 h 2529"/>
                  <a:gd name="T58" fmla="*/ 0 w 747"/>
                  <a:gd name="T59" fmla="*/ 0 h 2529"/>
                  <a:gd name="T60" fmla="*/ 0 w 747"/>
                  <a:gd name="T61" fmla="*/ 0 h 2529"/>
                  <a:gd name="T62" fmla="*/ 0 w 747"/>
                  <a:gd name="T63" fmla="*/ 0 h 2529"/>
                  <a:gd name="T64" fmla="*/ 0 w 747"/>
                  <a:gd name="T65" fmla="*/ 0 h 2529"/>
                  <a:gd name="T66" fmla="*/ 0 w 747"/>
                  <a:gd name="T67" fmla="*/ 0 h 2529"/>
                  <a:gd name="T68" fmla="*/ 0 w 747"/>
                  <a:gd name="T69" fmla="*/ 0 h 2529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747"/>
                  <a:gd name="T106" fmla="*/ 0 h 2529"/>
                  <a:gd name="T107" fmla="*/ 747 w 747"/>
                  <a:gd name="T108" fmla="*/ 2529 h 2529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747" h="2529">
                    <a:moveTo>
                      <a:pt x="747" y="0"/>
                    </a:moveTo>
                    <a:lnTo>
                      <a:pt x="747" y="87"/>
                    </a:lnTo>
                    <a:lnTo>
                      <a:pt x="746" y="174"/>
                    </a:lnTo>
                    <a:lnTo>
                      <a:pt x="745" y="260"/>
                    </a:lnTo>
                    <a:lnTo>
                      <a:pt x="742" y="346"/>
                    </a:lnTo>
                    <a:lnTo>
                      <a:pt x="737" y="431"/>
                    </a:lnTo>
                    <a:lnTo>
                      <a:pt x="732" y="517"/>
                    </a:lnTo>
                    <a:lnTo>
                      <a:pt x="726" y="603"/>
                    </a:lnTo>
                    <a:lnTo>
                      <a:pt x="719" y="688"/>
                    </a:lnTo>
                    <a:lnTo>
                      <a:pt x="711" y="773"/>
                    </a:lnTo>
                    <a:lnTo>
                      <a:pt x="702" y="856"/>
                    </a:lnTo>
                    <a:lnTo>
                      <a:pt x="692" y="940"/>
                    </a:lnTo>
                    <a:lnTo>
                      <a:pt x="682" y="1023"/>
                    </a:lnTo>
                    <a:lnTo>
                      <a:pt x="669" y="1106"/>
                    </a:lnTo>
                    <a:lnTo>
                      <a:pt x="657" y="1188"/>
                    </a:lnTo>
                    <a:lnTo>
                      <a:pt x="644" y="1269"/>
                    </a:lnTo>
                    <a:lnTo>
                      <a:pt x="630" y="1350"/>
                    </a:lnTo>
                    <a:lnTo>
                      <a:pt x="615" y="1430"/>
                    </a:lnTo>
                    <a:lnTo>
                      <a:pt x="600" y="1510"/>
                    </a:lnTo>
                    <a:lnTo>
                      <a:pt x="584" y="1589"/>
                    </a:lnTo>
                    <a:lnTo>
                      <a:pt x="568" y="1666"/>
                    </a:lnTo>
                    <a:lnTo>
                      <a:pt x="550" y="1744"/>
                    </a:lnTo>
                    <a:lnTo>
                      <a:pt x="533" y="1820"/>
                    </a:lnTo>
                    <a:lnTo>
                      <a:pt x="515" y="1896"/>
                    </a:lnTo>
                    <a:lnTo>
                      <a:pt x="497" y="1970"/>
                    </a:lnTo>
                    <a:lnTo>
                      <a:pt x="477" y="2044"/>
                    </a:lnTo>
                    <a:lnTo>
                      <a:pt x="457" y="2116"/>
                    </a:lnTo>
                    <a:lnTo>
                      <a:pt x="438" y="2187"/>
                    </a:lnTo>
                    <a:lnTo>
                      <a:pt x="418" y="2258"/>
                    </a:lnTo>
                    <a:lnTo>
                      <a:pt x="397" y="2327"/>
                    </a:lnTo>
                    <a:lnTo>
                      <a:pt x="376" y="2395"/>
                    </a:lnTo>
                    <a:lnTo>
                      <a:pt x="355" y="2462"/>
                    </a:lnTo>
                    <a:lnTo>
                      <a:pt x="333" y="2529"/>
                    </a:lnTo>
                    <a:lnTo>
                      <a:pt x="290" y="2510"/>
                    </a:lnTo>
                    <a:lnTo>
                      <a:pt x="245" y="2490"/>
                    </a:lnTo>
                    <a:lnTo>
                      <a:pt x="203" y="2470"/>
                    </a:lnTo>
                    <a:lnTo>
                      <a:pt x="161" y="2449"/>
                    </a:lnTo>
                    <a:lnTo>
                      <a:pt x="119" y="2427"/>
                    </a:lnTo>
                    <a:lnTo>
                      <a:pt x="79" y="2405"/>
                    </a:lnTo>
                    <a:lnTo>
                      <a:pt x="39" y="2383"/>
                    </a:lnTo>
                    <a:lnTo>
                      <a:pt x="0" y="2360"/>
                    </a:lnTo>
                    <a:lnTo>
                      <a:pt x="24" y="2303"/>
                    </a:lnTo>
                    <a:lnTo>
                      <a:pt x="48" y="2245"/>
                    </a:lnTo>
                    <a:lnTo>
                      <a:pt x="72" y="2185"/>
                    </a:lnTo>
                    <a:lnTo>
                      <a:pt x="95" y="2122"/>
                    </a:lnTo>
                    <a:lnTo>
                      <a:pt x="117" y="2058"/>
                    </a:lnTo>
                    <a:lnTo>
                      <a:pt x="138" y="1992"/>
                    </a:lnTo>
                    <a:lnTo>
                      <a:pt x="160" y="1925"/>
                    </a:lnTo>
                    <a:lnTo>
                      <a:pt x="180" y="1855"/>
                    </a:lnTo>
                    <a:lnTo>
                      <a:pt x="200" y="1784"/>
                    </a:lnTo>
                    <a:lnTo>
                      <a:pt x="220" y="1713"/>
                    </a:lnTo>
                    <a:lnTo>
                      <a:pt x="238" y="1639"/>
                    </a:lnTo>
                    <a:lnTo>
                      <a:pt x="257" y="1565"/>
                    </a:lnTo>
                    <a:lnTo>
                      <a:pt x="293" y="1413"/>
                    </a:lnTo>
                    <a:lnTo>
                      <a:pt x="328" y="1258"/>
                    </a:lnTo>
                    <a:lnTo>
                      <a:pt x="361" y="1101"/>
                    </a:lnTo>
                    <a:lnTo>
                      <a:pt x="393" y="942"/>
                    </a:lnTo>
                    <a:lnTo>
                      <a:pt x="425" y="784"/>
                    </a:lnTo>
                    <a:lnTo>
                      <a:pt x="457" y="626"/>
                    </a:lnTo>
                    <a:lnTo>
                      <a:pt x="487" y="469"/>
                    </a:lnTo>
                    <a:lnTo>
                      <a:pt x="518" y="315"/>
                    </a:lnTo>
                    <a:lnTo>
                      <a:pt x="550" y="164"/>
                    </a:lnTo>
                    <a:lnTo>
                      <a:pt x="581" y="16"/>
                    </a:lnTo>
                    <a:lnTo>
                      <a:pt x="602" y="14"/>
                    </a:lnTo>
                    <a:lnTo>
                      <a:pt x="622" y="11"/>
                    </a:lnTo>
                    <a:lnTo>
                      <a:pt x="642" y="9"/>
                    </a:lnTo>
                    <a:lnTo>
                      <a:pt x="663" y="7"/>
                    </a:lnTo>
                    <a:lnTo>
                      <a:pt x="684" y="4"/>
                    </a:lnTo>
                    <a:lnTo>
                      <a:pt x="704" y="3"/>
                    </a:lnTo>
                    <a:lnTo>
                      <a:pt x="725" y="1"/>
                    </a:lnTo>
                    <a:lnTo>
                      <a:pt x="747" y="0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88" name="Freeform 103"/>
              <p:cNvSpPr>
                <a:spLocks/>
              </p:cNvSpPr>
              <p:nvPr/>
            </p:nvSpPr>
            <p:spPr bwMode="auto">
              <a:xfrm>
                <a:off x="3188" y="1369"/>
                <a:ext cx="222" cy="274"/>
              </a:xfrm>
              <a:custGeom>
                <a:avLst/>
                <a:gdLst>
                  <a:gd name="T0" fmla="*/ 0 w 1559"/>
                  <a:gd name="T1" fmla="*/ 0 h 1917"/>
                  <a:gd name="T2" fmla="*/ 0 w 1559"/>
                  <a:gd name="T3" fmla="*/ 0 h 1917"/>
                  <a:gd name="T4" fmla="*/ 0 w 1559"/>
                  <a:gd name="T5" fmla="*/ 0 h 1917"/>
                  <a:gd name="T6" fmla="*/ 0 w 1559"/>
                  <a:gd name="T7" fmla="*/ 0 h 1917"/>
                  <a:gd name="T8" fmla="*/ 0 w 1559"/>
                  <a:gd name="T9" fmla="*/ 0 h 1917"/>
                  <a:gd name="T10" fmla="*/ 0 w 1559"/>
                  <a:gd name="T11" fmla="*/ 0 h 1917"/>
                  <a:gd name="T12" fmla="*/ 0 w 1559"/>
                  <a:gd name="T13" fmla="*/ 0 h 1917"/>
                  <a:gd name="T14" fmla="*/ 0 w 1559"/>
                  <a:gd name="T15" fmla="*/ 0 h 1917"/>
                  <a:gd name="T16" fmla="*/ 0 w 1559"/>
                  <a:gd name="T17" fmla="*/ 0 h 1917"/>
                  <a:gd name="T18" fmla="*/ 0 w 1559"/>
                  <a:gd name="T19" fmla="*/ 0 h 1917"/>
                  <a:gd name="T20" fmla="*/ 0 w 1559"/>
                  <a:gd name="T21" fmla="*/ 0 h 1917"/>
                  <a:gd name="T22" fmla="*/ 0 w 1559"/>
                  <a:gd name="T23" fmla="*/ 0 h 1917"/>
                  <a:gd name="T24" fmla="*/ 0 w 1559"/>
                  <a:gd name="T25" fmla="*/ 0 h 1917"/>
                  <a:gd name="T26" fmla="*/ 0 w 1559"/>
                  <a:gd name="T27" fmla="*/ 0 h 1917"/>
                  <a:gd name="T28" fmla="*/ 0 w 1559"/>
                  <a:gd name="T29" fmla="*/ 0 h 1917"/>
                  <a:gd name="T30" fmla="*/ 0 w 1559"/>
                  <a:gd name="T31" fmla="*/ 0 h 1917"/>
                  <a:gd name="T32" fmla="*/ 0 w 1559"/>
                  <a:gd name="T33" fmla="*/ 0 h 1917"/>
                  <a:gd name="T34" fmla="*/ 0 w 1559"/>
                  <a:gd name="T35" fmla="*/ 0 h 1917"/>
                  <a:gd name="T36" fmla="*/ 0 w 1559"/>
                  <a:gd name="T37" fmla="*/ 0 h 1917"/>
                  <a:gd name="T38" fmla="*/ 0 w 1559"/>
                  <a:gd name="T39" fmla="*/ 0 h 1917"/>
                  <a:gd name="T40" fmla="*/ 0 w 1559"/>
                  <a:gd name="T41" fmla="*/ 0 h 1917"/>
                  <a:gd name="T42" fmla="*/ 0 w 1559"/>
                  <a:gd name="T43" fmla="*/ 0 h 1917"/>
                  <a:gd name="T44" fmla="*/ 0 w 1559"/>
                  <a:gd name="T45" fmla="*/ 0 h 1917"/>
                  <a:gd name="T46" fmla="*/ 0 w 1559"/>
                  <a:gd name="T47" fmla="*/ 0 h 1917"/>
                  <a:gd name="T48" fmla="*/ 0 w 1559"/>
                  <a:gd name="T49" fmla="*/ 0 h 1917"/>
                  <a:gd name="T50" fmla="*/ 0 w 1559"/>
                  <a:gd name="T51" fmla="*/ 0 h 1917"/>
                  <a:gd name="T52" fmla="*/ 0 w 1559"/>
                  <a:gd name="T53" fmla="*/ 0 h 1917"/>
                  <a:gd name="T54" fmla="*/ 0 w 1559"/>
                  <a:gd name="T55" fmla="*/ 0 h 1917"/>
                  <a:gd name="T56" fmla="*/ 0 w 1559"/>
                  <a:gd name="T57" fmla="*/ 0 h 1917"/>
                  <a:gd name="T58" fmla="*/ 0 w 1559"/>
                  <a:gd name="T59" fmla="*/ 0 h 1917"/>
                  <a:gd name="T60" fmla="*/ 0 w 1559"/>
                  <a:gd name="T61" fmla="*/ 0 h 1917"/>
                  <a:gd name="T62" fmla="*/ 0 w 1559"/>
                  <a:gd name="T63" fmla="*/ 0 h 1917"/>
                  <a:gd name="T64" fmla="*/ 0 w 1559"/>
                  <a:gd name="T65" fmla="*/ 0 h 1917"/>
                  <a:gd name="T66" fmla="*/ 0 w 1559"/>
                  <a:gd name="T67" fmla="*/ 0 h 1917"/>
                  <a:gd name="T68" fmla="*/ 0 w 1559"/>
                  <a:gd name="T69" fmla="*/ 0 h 1917"/>
                  <a:gd name="T70" fmla="*/ 0 w 1559"/>
                  <a:gd name="T71" fmla="*/ 0 h 1917"/>
                  <a:gd name="T72" fmla="*/ 0 w 1559"/>
                  <a:gd name="T73" fmla="*/ 0 h 1917"/>
                  <a:gd name="T74" fmla="*/ 0 w 1559"/>
                  <a:gd name="T75" fmla="*/ 0 h 1917"/>
                  <a:gd name="T76" fmla="*/ 0 w 1559"/>
                  <a:gd name="T77" fmla="*/ 0 h 1917"/>
                  <a:gd name="T78" fmla="*/ 0 w 1559"/>
                  <a:gd name="T79" fmla="*/ 0 h 1917"/>
                  <a:gd name="T80" fmla="*/ 0 w 1559"/>
                  <a:gd name="T81" fmla="*/ 0 h 1917"/>
                  <a:gd name="T82" fmla="*/ 0 w 1559"/>
                  <a:gd name="T83" fmla="*/ 0 h 1917"/>
                  <a:gd name="T84" fmla="*/ 0 w 1559"/>
                  <a:gd name="T85" fmla="*/ 0 h 1917"/>
                  <a:gd name="T86" fmla="*/ 0 w 1559"/>
                  <a:gd name="T87" fmla="*/ 0 h 1917"/>
                  <a:gd name="T88" fmla="*/ 0 w 1559"/>
                  <a:gd name="T89" fmla="*/ 0 h 1917"/>
                  <a:gd name="T90" fmla="*/ 0 w 1559"/>
                  <a:gd name="T91" fmla="*/ 0 h 1917"/>
                  <a:gd name="T92" fmla="*/ 0 w 1559"/>
                  <a:gd name="T93" fmla="*/ 0 h 1917"/>
                  <a:gd name="T94" fmla="*/ 0 w 1559"/>
                  <a:gd name="T95" fmla="*/ 0 h 1917"/>
                  <a:gd name="T96" fmla="*/ 0 w 1559"/>
                  <a:gd name="T97" fmla="*/ 0 h 1917"/>
                  <a:gd name="T98" fmla="*/ 0 w 1559"/>
                  <a:gd name="T99" fmla="*/ 0 h 1917"/>
                  <a:gd name="T100" fmla="*/ 0 w 1559"/>
                  <a:gd name="T101" fmla="*/ 0 h 1917"/>
                  <a:gd name="T102" fmla="*/ 0 w 1559"/>
                  <a:gd name="T103" fmla="*/ 0 h 1917"/>
                  <a:gd name="T104" fmla="*/ 0 w 1559"/>
                  <a:gd name="T105" fmla="*/ 0 h 1917"/>
                  <a:gd name="T106" fmla="*/ 0 w 1559"/>
                  <a:gd name="T107" fmla="*/ 0 h 1917"/>
                  <a:gd name="T108" fmla="*/ 0 w 1559"/>
                  <a:gd name="T109" fmla="*/ 0 h 1917"/>
                  <a:gd name="T110" fmla="*/ 0 w 1559"/>
                  <a:gd name="T111" fmla="*/ 0 h 1917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559"/>
                  <a:gd name="T169" fmla="*/ 0 h 1917"/>
                  <a:gd name="T170" fmla="*/ 1559 w 1559"/>
                  <a:gd name="T171" fmla="*/ 1917 h 1917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559" h="1917">
                    <a:moveTo>
                      <a:pt x="0" y="497"/>
                    </a:moveTo>
                    <a:lnTo>
                      <a:pt x="0" y="465"/>
                    </a:lnTo>
                    <a:lnTo>
                      <a:pt x="2" y="432"/>
                    </a:lnTo>
                    <a:lnTo>
                      <a:pt x="6" y="399"/>
                    </a:lnTo>
                    <a:lnTo>
                      <a:pt x="10" y="367"/>
                    </a:lnTo>
                    <a:lnTo>
                      <a:pt x="16" y="335"/>
                    </a:lnTo>
                    <a:lnTo>
                      <a:pt x="23" y="303"/>
                    </a:lnTo>
                    <a:lnTo>
                      <a:pt x="31" y="271"/>
                    </a:lnTo>
                    <a:lnTo>
                      <a:pt x="40" y="240"/>
                    </a:lnTo>
                    <a:lnTo>
                      <a:pt x="49" y="209"/>
                    </a:lnTo>
                    <a:lnTo>
                      <a:pt x="60" y="178"/>
                    </a:lnTo>
                    <a:lnTo>
                      <a:pt x="72" y="148"/>
                    </a:lnTo>
                    <a:lnTo>
                      <a:pt x="84" y="118"/>
                    </a:lnTo>
                    <a:lnTo>
                      <a:pt x="97" y="88"/>
                    </a:lnTo>
                    <a:lnTo>
                      <a:pt x="110" y="58"/>
                    </a:lnTo>
                    <a:lnTo>
                      <a:pt x="125" y="29"/>
                    </a:lnTo>
                    <a:lnTo>
                      <a:pt x="139" y="0"/>
                    </a:lnTo>
                    <a:lnTo>
                      <a:pt x="144" y="36"/>
                    </a:lnTo>
                    <a:lnTo>
                      <a:pt x="150" y="73"/>
                    </a:lnTo>
                    <a:lnTo>
                      <a:pt x="160" y="110"/>
                    </a:lnTo>
                    <a:lnTo>
                      <a:pt x="170" y="146"/>
                    </a:lnTo>
                    <a:lnTo>
                      <a:pt x="181" y="182"/>
                    </a:lnTo>
                    <a:lnTo>
                      <a:pt x="194" y="217"/>
                    </a:lnTo>
                    <a:lnTo>
                      <a:pt x="208" y="253"/>
                    </a:lnTo>
                    <a:lnTo>
                      <a:pt x="224" y="289"/>
                    </a:lnTo>
                    <a:lnTo>
                      <a:pt x="241" y="324"/>
                    </a:lnTo>
                    <a:lnTo>
                      <a:pt x="259" y="358"/>
                    </a:lnTo>
                    <a:lnTo>
                      <a:pt x="277" y="392"/>
                    </a:lnTo>
                    <a:lnTo>
                      <a:pt x="298" y="426"/>
                    </a:lnTo>
                    <a:lnTo>
                      <a:pt x="319" y="459"/>
                    </a:lnTo>
                    <a:lnTo>
                      <a:pt x="341" y="492"/>
                    </a:lnTo>
                    <a:lnTo>
                      <a:pt x="362" y="524"/>
                    </a:lnTo>
                    <a:lnTo>
                      <a:pt x="386" y="556"/>
                    </a:lnTo>
                    <a:lnTo>
                      <a:pt x="410" y="587"/>
                    </a:lnTo>
                    <a:lnTo>
                      <a:pt x="434" y="618"/>
                    </a:lnTo>
                    <a:lnTo>
                      <a:pt x="458" y="648"/>
                    </a:lnTo>
                    <a:lnTo>
                      <a:pt x="483" y="677"/>
                    </a:lnTo>
                    <a:lnTo>
                      <a:pt x="509" y="705"/>
                    </a:lnTo>
                    <a:lnTo>
                      <a:pt x="535" y="733"/>
                    </a:lnTo>
                    <a:lnTo>
                      <a:pt x="560" y="760"/>
                    </a:lnTo>
                    <a:lnTo>
                      <a:pt x="586" y="786"/>
                    </a:lnTo>
                    <a:lnTo>
                      <a:pt x="612" y="811"/>
                    </a:lnTo>
                    <a:lnTo>
                      <a:pt x="638" y="836"/>
                    </a:lnTo>
                    <a:lnTo>
                      <a:pt x="664" y="858"/>
                    </a:lnTo>
                    <a:lnTo>
                      <a:pt x="689" y="881"/>
                    </a:lnTo>
                    <a:lnTo>
                      <a:pt x="715" y="902"/>
                    </a:lnTo>
                    <a:lnTo>
                      <a:pt x="739" y="922"/>
                    </a:lnTo>
                    <a:lnTo>
                      <a:pt x="764" y="941"/>
                    </a:lnTo>
                    <a:lnTo>
                      <a:pt x="788" y="959"/>
                    </a:lnTo>
                    <a:lnTo>
                      <a:pt x="821" y="983"/>
                    </a:lnTo>
                    <a:lnTo>
                      <a:pt x="855" y="1011"/>
                    </a:lnTo>
                    <a:lnTo>
                      <a:pt x="892" y="1041"/>
                    </a:lnTo>
                    <a:lnTo>
                      <a:pt x="932" y="1073"/>
                    </a:lnTo>
                    <a:lnTo>
                      <a:pt x="971" y="1109"/>
                    </a:lnTo>
                    <a:lnTo>
                      <a:pt x="1012" y="1145"/>
                    </a:lnTo>
                    <a:lnTo>
                      <a:pt x="1055" y="1183"/>
                    </a:lnTo>
                    <a:lnTo>
                      <a:pt x="1097" y="1222"/>
                    </a:lnTo>
                    <a:lnTo>
                      <a:pt x="1138" y="1264"/>
                    </a:lnTo>
                    <a:lnTo>
                      <a:pt x="1181" y="1305"/>
                    </a:lnTo>
                    <a:lnTo>
                      <a:pt x="1222" y="1347"/>
                    </a:lnTo>
                    <a:lnTo>
                      <a:pt x="1262" y="1390"/>
                    </a:lnTo>
                    <a:lnTo>
                      <a:pt x="1302" y="1433"/>
                    </a:lnTo>
                    <a:lnTo>
                      <a:pt x="1340" y="1476"/>
                    </a:lnTo>
                    <a:lnTo>
                      <a:pt x="1376" y="1517"/>
                    </a:lnTo>
                    <a:lnTo>
                      <a:pt x="1409" y="1558"/>
                    </a:lnTo>
                    <a:lnTo>
                      <a:pt x="1440" y="1599"/>
                    </a:lnTo>
                    <a:lnTo>
                      <a:pt x="1469" y="1638"/>
                    </a:lnTo>
                    <a:lnTo>
                      <a:pt x="1494" y="1676"/>
                    </a:lnTo>
                    <a:lnTo>
                      <a:pt x="1515" y="1711"/>
                    </a:lnTo>
                    <a:lnTo>
                      <a:pt x="1533" y="1745"/>
                    </a:lnTo>
                    <a:lnTo>
                      <a:pt x="1546" y="1778"/>
                    </a:lnTo>
                    <a:lnTo>
                      <a:pt x="1555" y="1806"/>
                    </a:lnTo>
                    <a:lnTo>
                      <a:pt x="1559" y="1832"/>
                    </a:lnTo>
                    <a:lnTo>
                      <a:pt x="1558" y="1856"/>
                    </a:lnTo>
                    <a:lnTo>
                      <a:pt x="1552" y="1876"/>
                    </a:lnTo>
                    <a:lnTo>
                      <a:pt x="1539" y="1892"/>
                    </a:lnTo>
                    <a:lnTo>
                      <a:pt x="1521" y="1905"/>
                    </a:lnTo>
                    <a:lnTo>
                      <a:pt x="1496" y="1913"/>
                    </a:lnTo>
                    <a:lnTo>
                      <a:pt x="1464" y="1917"/>
                    </a:lnTo>
                    <a:lnTo>
                      <a:pt x="1425" y="1916"/>
                    </a:lnTo>
                    <a:lnTo>
                      <a:pt x="1378" y="1911"/>
                    </a:lnTo>
                    <a:lnTo>
                      <a:pt x="1289" y="1895"/>
                    </a:lnTo>
                    <a:lnTo>
                      <a:pt x="1204" y="1878"/>
                    </a:lnTo>
                    <a:lnTo>
                      <a:pt x="1122" y="1857"/>
                    </a:lnTo>
                    <a:lnTo>
                      <a:pt x="1042" y="1835"/>
                    </a:lnTo>
                    <a:lnTo>
                      <a:pt x="967" y="1812"/>
                    </a:lnTo>
                    <a:lnTo>
                      <a:pt x="893" y="1786"/>
                    </a:lnTo>
                    <a:lnTo>
                      <a:pt x="823" y="1758"/>
                    </a:lnTo>
                    <a:lnTo>
                      <a:pt x="756" y="1728"/>
                    </a:lnTo>
                    <a:lnTo>
                      <a:pt x="692" y="1696"/>
                    </a:lnTo>
                    <a:lnTo>
                      <a:pt x="631" y="1662"/>
                    </a:lnTo>
                    <a:lnTo>
                      <a:pt x="573" y="1627"/>
                    </a:lnTo>
                    <a:lnTo>
                      <a:pt x="518" y="1589"/>
                    </a:lnTo>
                    <a:lnTo>
                      <a:pt x="466" y="1550"/>
                    </a:lnTo>
                    <a:lnTo>
                      <a:pt x="416" y="1509"/>
                    </a:lnTo>
                    <a:lnTo>
                      <a:pt x="369" y="1466"/>
                    </a:lnTo>
                    <a:lnTo>
                      <a:pt x="326" y="1421"/>
                    </a:lnTo>
                    <a:lnTo>
                      <a:pt x="286" y="1375"/>
                    </a:lnTo>
                    <a:lnTo>
                      <a:pt x="248" y="1327"/>
                    </a:lnTo>
                    <a:lnTo>
                      <a:pt x="212" y="1277"/>
                    </a:lnTo>
                    <a:lnTo>
                      <a:pt x="180" y="1226"/>
                    </a:lnTo>
                    <a:lnTo>
                      <a:pt x="150" y="1174"/>
                    </a:lnTo>
                    <a:lnTo>
                      <a:pt x="124" y="1119"/>
                    </a:lnTo>
                    <a:lnTo>
                      <a:pt x="99" y="1063"/>
                    </a:lnTo>
                    <a:lnTo>
                      <a:pt x="78" y="1006"/>
                    </a:lnTo>
                    <a:lnTo>
                      <a:pt x="58" y="947"/>
                    </a:lnTo>
                    <a:lnTo>
                      <a:pt x="42" y="887"/>
                    </a:lnTo>
                    <a:lnTo>
                      <a:pt x="28" y="825"/>
                    </a:lnTo>
                    <a:lnTo>
                      <a:pt x="18" y="763"/>
                    </a:lnTo>
                    <a:lnTo>
                      <a:pt x="9" y="698"/>
                    </a:lnTo>
                    <a:lnTo>
                      <a:pt x="4" y="633"/>
                    </a:lnTo>
                    <a:lnTo>
                      <a:pt x="0" y="566"/>
                    </a:lnTo>
                    <a:lnTo>
                      <a:pt x="0" y="497"/>
                    </a:lnTo>
                    <a:close/>
                  </a:path>
                </a:pathLst>
              </a:custGeom>
              <a:solidFill>
                <a:srgbClr val="0D9F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89" name="Freeform 104"/>
              <p:cNvSpPr>
                <a:spLocks/>
              </p:cNvSpPr>
              <p:nvPr/>
            </p:nvSpPr>
            <p:spPr bwMode="auto">
              <a:xfrm>
                <a:off x="3371" y="1545"/>
                <a:ext cx="72" cy="108"/>
              </a:xfrm>
              <a:custGeom>
                <a:avLst/>
                <a:gdLst>
                  <a:gd name="T0" fmla="*/ 0 w 502"/>
                  <a:gd name="T1" fmla="*/ 0 h 756"/>
                  <a:gd name="T2" fmla="*/ 0 w 502"/>
                  <a:gd name="T3" fmla="*/ 0 h 756"/>
                  <a:gd name="T4" fmla="*/ 0 w 502"/>
                  <a:gd name="T5" fmla="*/ 0 h 756"/>
                  <a:gd name="T6" fmla="*/ 0 w 502"/>
                  <a:gd name="T7" fmla="*/ 0 h 756"/>
                  <a:gd name="T8" fmla="*/ 0 w 502"/>
                  <a:gd name="T9" fmla="*/ 0 h 756"/>
                  <a:gd name="T10" fmla="*/ 0 w 502"/>
                  <a:gd name="T11" fmla="*/ 0 h 756"/>
                  <a:gd name="T12" fmla="*/ 0 w 502"/>
                  <a:gd name="T13" fmla="*/ 0 h 756"/>
                  <a:gd name="T14" fmla="*/ 0 w 502"/>
                  <a:gd name="T15" fmla="*/ 0 h 756"/>
                  <a:gd name="T16" fmla="*/ 0 w 502"/>
                  <a:gd name="T17" fmla="*/ 0 h 756"/>
                  <a:gd name="T18" fmla="*/ 0 w 502"/>
                  <a:gd name="T19" fmla="*/ 0 h 756"/>
                  <a:gd name="T20" fmla="*/ 0 w 502"/>
                  <a:gd name="T21" fmla="*/ 0 h 756"/>
                  <a:gd name="T22" fmla="*/ 0 w 502"/>
                  <a:gd name="T23" fmla="*/ 0 h 756"/>
                  <a:gd name="T24" fmla="*/ 0 w 502"/>
                  <a:gd name="T25" fmla="*/ 0 h 756"/>
                  <a:gd name="T26" fmla="*/ 0 w 502"/>
                  <a:gd name="T27" fmla="*/ 0 h 756"/>
                  <a:gd name="T28" fmla="*/ 0 w 502"/>
                  <a:gd name="T29" fmla="*/ 0 h 756"/>
                  <a:gd name="T30" fmla="*/ 0 w 502"/>
                  <a:gd name="T31" fmla="*/ 0 h 756"/>
                  <a:gd name="T32" fmla="*/ 0 w 502"/>
                  <a:gd name="T33" fmla="*/ 0 h 756"/>
                  <a:gd name="T34" fmla="*/ 0 w 502"/>
                  <a:gd name="T35" fmla="*/ 0 h 756"/>
                  <a:gd name="T36" fmla="*/ 0 w 502"/>
                  <a:gd name="T37" fmla="*/ 0 h 756"/>
                  <a:gd name="T38" fmla="*/ 0 w 502"/>
                  <a:gd name="T39" fmla="*/ 0 h 756"/>
                  <a:gd name="T40" fmla="*/ 0 w 502"/>
                  <a:gd name="T41" fmla="*/ 0 h 756"/>
                  <a:gd name="T42" fmla="*/ 0 w 502"/>
                  <a:gd name="T43" fmla="*/ 0 h 756"/>
                  <a:gd name="T44" fmla="*/ 0 w 502"/>
                  <a:gd name="T45" fmla="*/ 0 h 756"/>
                  <a:gd name="T46" fmla="*/ 0 w 502"/>
                  <a:gd name="T47" fmla="*/ 0 h 756"/>
                  <a:gd name="T48" fmla="*/ 0 w 502"/>
                  <a:gd name="T49" fmla="*/ 0 h 756"/>
                  <a:gd name="T50" fmla="*/ 0 w 502"/>
                  <a:gd name="T51" fmla="*/ 0 h 756"/>
                  <a:gd name="T52" fmla="*/ 0 w 502"/>
                  <a:gd name="T53" fmla="*/ 0 h 756"/>
                  <a:gd name="T54" fmla="*/ 0 w 502"/>
                  <a:gd name="T55" fmla="*/ 0 h 756"/>
                  <a:gd name="T56" fmla="*/ 0 w 502"/>
                  <a:gd name="T57" fmla="*/ 0 h 756"/>
                  <a:gd name="T58" fmla="*/ 0 w 502"/>
                  <a:gd name="T59" fmla="*/ 0 h 756"/>
                  <a:gd name="T60" fmla="*/ 0 w 502"/>
                  <a:gd name="T61" fmla="*/ 0 h 756"/>
                  <a:gd name="T62" fmla="*/ 0 w 502"/>
                  <a:gd name="T63" fmla="*/ 0 h 756"/>
                  <a:gd name="T64" fmla="*/ 0 w 502"/>
                  <a:gd name="T65" fmla="*/ 0 h 756"/>
                  <a:gd name="T66" fmla="*/ 0 w 502"/>
                  <a:gd name="T67" fmla="*/ 0 h 756"/>
                  <a:gd name="T68" fmla="*/ 0 w 502"/>
                  <a:gd name="T69" fmla="*/ 0 h 756"/>
                  <a:gd name="T70" fmla="*/ 0 w 502"/>
                  <a:gd name="T71" fmla="*/ 0 h 756"/>
                  <a:gd name="T72" fmla="*/ 0 w 502"/>
                  <a:gd name="T73" fmla="*/ 0 h 75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502"/>
                  <a:gd name="T112" fmla="*/ 0 h 756"/>
                  <a:gd name="T113" fmla="*/ 502 w 502"/>
                  <a:gd name="T114" fmla="*/ 756 h 75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502" h="756">
                    <a:moveTo>
                      <a:pt x="502" y="77"/>
                    </a:moveTo>
                    <a:lnTo>
                      <a:pt x="492" y="168"/>
                    </a:lnTo>
                    <a:lnTo>
                      <a:pt x="479" y="257"/>
                    </a:lnTo>
                    <a:lnTo>
                      <a:pt x="467" y="344"/>
                    </a:lnTo>
                    <a:lnTo>
                      <a:pt x="455" y="430"/>
                    </a:lnTo>
                    <a:lnTo>
                      <a:pt x="440" y="513"/>
                    </a:lnTo>
                    <a:lnTo>
                      <a:pt x="427" y="596"/>
                    </a:lnTo>
                    <a:lnTo>
                      <a:pt x="412" y="678"/>
                    </a:lnTo>
                    <a:lnTo>
                      <a:pt x="397" y="756"/>
                    </a:lnTo>
                    <a:lnTo>
                      <a:pt x="367" y="755"/>
                    </a:lnTo>
                    <a:lnTo>
                      <a:pt x="337" y="752"/>
                    </a:lnTo>
                    <a:lnTo>
                      <a:pt x="306" y="749"/>
                    </a:lnTo>
                    <a:lnTo>
                      <a:pt x="274" y="745"/>
                    </a:lnTo>
                    <a:lnTo>
                      <a:pt x="241" y="741"/>
                    </a:lnTo>
                    <a:lnTo>
                      <a:pt x="207" y="736"/>
                    </a:lnTo>
                    <a:lnTo>
                      <a:pt x="173" y="730"/>
                    </a:lnTo>
                    <a:lnTo>
                      <a:pt x="136" y="723"/>
                    </a:lnTo>
                    <a:lnTo>
                      <a:pt x="102" y="716"/>
                    </a:lnTo>
                    <a:lnTo>
                      <a:pt x="68" y="709"/>
                    </a:lnTo>
                    <a:lnTo>
                      <a:pt x="34" y="701"/>
                    </a:lnTo>
                    <a:lnTo>
                      <a:pt x="0" y="692"/>
                    </a:lnTo>
                    <a:lnTo>
                      <a:pt x="21" y="613"/>
                    </a:lnTo>
                    <a:lnTo>
                      <a:pt x="40" y="530"/>
                    </a:lnTo>
                    <a:lnTo>
                      <a:pt x="60" y="446"/>
                    </a:lnTo>
                    <a:lnTo>
                      <a:pt x="79" y="359"/>
                    </a:lnTo>
                    <a:lnTo>
                      <a:pt x="97" y="273"/>
                    </a:lnTo>
                    <a:lnTo>
                      <a:pt x="116" y="183"/>
                    </a:lnTo>
                    <a:lnTo>
                      <a:pt x="133" y="92"/>
                    </a:lnTo>
                    <a:lnTo>
                      <a:pt x="151" y="0"/>
                    </a:lnTo>
                    <a:lnTo>
                      <a:pt x="193" y="10"/>
                    </a:lnTo>
                    <a:lnTo>
                      <a:pt x="237" y="21"/>
                    </a:lnTo>
                    <a:lnTo>
                      <a:pt x="280" y="32"/>
                    </a:lnTo>
                    <a:lnTo>
                      <a:pt x="323" y="41"/>
                    </a:lnTo>
                    <a:lnTo>
                      <a:pt x="368" y="50"/>
                    </a:lnTo>
                    <a:lnTo>
                      <a:pt x="412" y="59"/>
                    </a:lnTo>
                    <a:lnTo>
                      <a:pt x="458" y="69"/>
                    </a:lnTo>
                    <a:lnTo>
                      <a:pt x="502" y="77"/>
                    </a:lnTo>
                    <a:close/>
                  </a:path>
                </a:pathLst>
              </a:custGeom>
              <a:solidFill>
                <a:srgbClr val="BA393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90" name="Freeform 105"/>
              <p:cNvSpPr>
                <a:spLocks/>
              </p:cNvSpPr>
              <p:nvPr/>
            </p:nvSpPr>
            <p:spPr bwMode="auto">
              <a:xfrm>
                <a:off x="3428" y="1552"/>
                <a:ext cx="143" cy="115"/>
              </a:xfrm>
              <a:custGeom>
                <a:avLst/>
                <a:gdLst>
                  <a:gd name="T0" fmla="*/ 0 w 1000"/>
                  <a:gd name="T1" fmla="*/ 0 h 805"/>
                  <a:gd name="T2" fmla="*/ 0 w 1000"/>
                  <a:gd name="T3" fmla="*/ 0 h 805"/>
                  <a:gd name="T4" fmla="*/ 0 w 1000"/>
                  <a:gd name="T5" fmla="*/ 0 h 805"/>
                  <a:gd name="T6" fmla="*/ 0 w 1000"/>
                  <a:gd name="T7" fmla="*/ 0 h 805"/>
                  <a:gd name="T8" fmla="*/ 0 w 1000"/>
                  <a:gd name="T9" fmla="*/ 0 h 805"/>
                  <a:gd name="T10" fmla="*/ 0 w 1000"/>
                  <a:gd name="T11" fmla="*/ 0 h 805"/>
                  <a:gd name="T12" fmla="*/ 0 w 1000"/>
                  <a:gd name="T13" fmla="*/ 0 h 805"/>
                  <a:gd name="T14" fmla="*/ 0 w 1000"/>
                  <a:gd name="T15" fmla="*/ 0 h 805"/>
                  <a:gd name="T16" fmla="*/ 0 w 1000"/>
                  <a:gd name="T17" fmla="*/ 0 h 805"/>
                  <a:gd name="T18" fmla="*/ 0 w 1000"/>
                  <a:gd name="T19" fmla="*/ 0 h 805"/>
                  <a:gd name="T20" fmla="*/ 0 w 1000"/>
                  <a:gd name="T21" fmla="*/ 0 h 805"/>
                  <a:gd name="T22" fmla="*/ 0 w 1000"/>
                  <a:gd name="T23" fmla="*/ 0 h 805"/>
                  <a:gd name="T24" fmla="*/ 0 w 1000"/>
                  <a:gd name="T25" fmla="*/ 0 h 805"/>
                  <a:gd name="T26" fmla="*/ 0 w 1000"/>
                  <a:gd name="T27" fmla="*/ 0 h 805"/>
                  <a:gd name="T28" fmla="*/ 0 w 1000"/>
                  <a:gd name="T29" fmla="*/ 0 h 805"/>
                  <a:gd name="T30" fmla="*/ 0 w 1000"/>
                  <a:gd name="T31" fmla="*/ 0 h 805"/>
                  <a:gd name="T32" fmla="*/ 0 w 1000"/>
                  <a:gd name="T33" fmla="*/ 0 h 805"/>
                  <a:gd name="T34" fmla="*/ 0 w 1000"/>
                  <a:gd name="T35" fmla="*/ 0 h 805"/>
                  <a:gd name="T36" fmla="*/ 0 w 1000"/>
                  <a:gd name="T37" fmla="*/ 0 h 805"/>
                  <a:gd name="T38" fmla="*/ 0 w 1000"/>
                  <a:gd name="T39" fmla="*/ 0 h 805"/>
                  <a:gd name="T40" fmla="*/ 0 w 1000"/>
                  <a:gd name="T41" fmla="*/ 0 h 805"/>
                  <a:gd name="T42" fmla="*/ 0 w 1000"/>
                  <a:gd name="T43" fmla="*/ 0 h 805"/>
                  <a:gd name="T44" fmla="*/ 0 w 1000"/>
                  <a:gd name="T45" fmla="*/ 0 h 805"/>
                  <a:gd name="T46" fmla="*/ 0 w 1000"/>
                  <a:gd name="T47" fmla="*/ 0 h 805"/>
                  <a:gd name="T48" fmla="*/ 0 w 1000"/>
                  <a:gd name="T49" fmla="*/ 0 h 805"/>
                  <a:gd name="T50" fmla="*/ 0 w 1000"/>
                  <a:gd name="T51" fmla="*/ 0 h 805"/>
                  <a:gd name="T52" fmla="*/ 0 w 1000"/>
                  <a:gd name="T53" fmla="*/ 0 h 805"/>
                  <a:gd name="T54" fmla="*/ 0 w 1000"/>
                  <a:gd name="T55" fmla="*/ 0 h 805"/>
                  <a:gd name="T56" fmla="*/ 0 w 1000"/>
                  <a:gd name="T57" fmla="*/ 0 h 805"/>
                  <a:gd name="T58" fmla="*/ 0 w 1000"/>
                  <a:gd name="T59" fmla="*/ 0 h 805"/>
                  <a:gd name="T60" fmla="*/ 0 w 1000"/>
                  <a:gd name="T61" fmla="*/ 0 h 805"/>
                  <a:gd name="T62" fmla="*/ 0 w 1000"/>
                  <a:gd name="T63" fmla="*/ 0 h 805"/>
                  <a:gd name="T64" fmla="*/ 0 w 1000"/>
                  <a:gd name="T65" fmla="*/ 0 h 805"/>
                  <a:gd name="T66" fmla="*/ 0 w 1000"/>
                  <a:gd name="T67" fmla="*/ 0 h 805"/>
                  <a:gd name="T68" fmla="*/ 0 w 1000"/>
                  <a:gd name="T69" fmla="*/ 0 h 805"/>
                  <a:gd name="T70" fmla="*/ 0 w 1000"/>
                  <a:gd name="T71" fmla="*/ 0 h 80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000"/>
                  <a:gd name="T109" fmla="*/ 0 h 805"/>
                  <a:gd name="T110" fmla="*/ 1000 w 1000"/>
                  <a:gd name="T111" fmla="*/ 805 h 805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000" h="805">
                    <a:moveTo>
                      <a:pt x="1000" y="0"/>
                    </a:moveTo>
                    <a:lnTo>
                      <a:pt x="997" y="53"/>
                    </a:lnTo>
                    <a:lnTo>
                      <a:pt x="992" y="105"/>
                    </a:lnTo>
                    <a:lnTo>
                      <a:pt x="987" y="155"/>
                    </a:lnTo>
                    <a:lnTo>
                      <a:pt x="979" y="205"/>
                    </a:lnTo>
                    <a:lnTo>
                      <a:pt x="970" y="254"/>
                    </a:lnTo>
                    <a:lnTo>
                      <a:pt x="960" y="301"/>
                    </a:lnTo>
                    <a:lnTo>
                      <a:pt x="948" y="348"/>
                    </a:lnTo>
                    <a:lnTo>
                      <a:pt x="935" y="391"/>
                    </a:lnTo>
                    <a:lnTo>
                      <a:pt x="921" y="434"/>
                    </a:lnTo>
                    <a:lnTo>
                      <a:pt x="904" y="476"/>
                    </a:lnTo>
                    <a:lnTo>
                      <a:pt x="885" y="515"/>
                    </a:lnTo>
                    <a:lnTo>
                      <a:pt x="866" y="552"/>
                    </a:lnTo>
                    <a:lnTo>
                      <a:pt x="843" y="588"/>
                    </a:lnTo>
                    <a:lnTo>
                      <a:pt x="819" y="620"/>
                    </a:lnTo>
                    <a:lnTo>
                      <a:pt x="793" y="651"/>
                    </a:lnTo>
                    <a:lnTo>
                      <a:pt x="766" y="679"/>
                    </a:lnTo>
                    <a:lnTo>
                      <a:pt x="736" y="704"/>
                    </a:lnTo>
                    <a:lnTo>
                      <a:pt x="704" y="727"/>
                    </a:lnTo>
                    <a:lnTo>
                      <a:pt x="669" y="748"/>
                    </a:lnTo>
                    <a:lnTo>
                      <a:pt x="633" y="765"/>
                    </a:lnTo>
                    <a:lnTo>
                      <a:pt x="594" y="780"/>
                    </a:lnTo>
                    <a:lnTo>
                      <a:pt x="553" y="791"/>
                    </a:lnTo>
                    <a:lnTo>
                      <a:pt x="509" y="798"/>
                    </a:lnTo>
                    <a:lnTo>
                      <a:pt x="464" y="804"/>
                    </a:lnTo>
                    <a:lnTo>
                      <a:pt x="415" y="805"/>
                    </a:lnTo>
                    <a:lnTo>
                      <a:pt x="364" y="803"/>
                    </a:lnTo>
                    <a:lnTo>
                      <a:pt x="310" y="796"/>
                    </a:lnTo>
                    <a:lnTo>
                      <a:pt x="254" y="786"/>
                    </a:lnTo>
                    <a:lnTo>
                      <a:pt x="194" y="773"/>
                    </a:lnTo>
                    <a:lnTo>
                      <a:pt x="133" y="755"/>
                    </a:lnTo>
                    <a:lnTo>
                      <a:pt x="68" y="733"/>
                    </a:lnTo>
                    <a:lnTo>
                      <a:pt x="0" y="706"/>
                    </a:lnTo>
                    <a:lnTo>
                      <a:pt x="15" y="628"/>
                    </a:lnTo>
                    <a:lnTo>
                      <a:pt x="30" y="546"/>
                    </a:lnTo>
                    <a:lnTo>
                      <a:pt x="43" y="463"/>
                    </a:lnTo>
                    <a:lnTo>
                      <a:pt x="58" y="380"/>
                    </a:lnTo>
                    <a:lnTo>
                      <a:pt x="70" y="294"/>
                    </a:lnTo>
                    <a:lnTo>
                      <a:pt x="82" y="207"/>
                    </a:lnTo>
                    <a:lnTo>
                      <a:pt x="95" y="118"/>
                    </a:lnTo>
                    <a:lnTo>
                      <a:pt x="105" y="27"/>
                    </a:lnTo>
                    <a:lnTo>
                      <a:pt x="130" y="36"/>
                    </a:lnTo>
                    <a:lnTo>
                      <a:pt x="155" y="45"/>
                    </a:lnTo>
                    <a:lnTo>
                      <a:pt x="180" y="52"/>
                    </a:lnTo>
                    <a:lnTo>
                      <a:pt x="205" y="59"/>
                    </a:lnTo>
                    <a:lnTo>
                      <a:pt x="231" y="66"/>
                    </a:lnTo>
                    <a:lnTo>
                      <a:pt x="257" y="73"/>
                    </a:lnTo>
                    <a:lnTo>
                      <a:pt x="284" y="79"/>
                    </a:lnTo>
                    <a:lnTo>
                      <a:pt x="311" y="84"/>
                    </a:lnTo>
                    <a:lnTo>
                      <a:pt x="338" y="89"/>
                    </a:lnTo>
                    <a:lnTo>
                      <a:pt x="365" y="93"/>
                    </a:lnTo>
                    <a:lnTo>
                      <a:pt x="393" y="96"/>
                    </a:lnTo>
                    <a:lnTo>
                      <a:pt x="420" y="99"/>
                    </a:lnTo>
                    <a:lnTo>
                      <a:pt x="447" y="102"/>
                    </a:lnTo>
                    <a:lnTo>
                      <a:pt x="476" y="104"/>
                    </a:lnTo>
                    <a:lnTo>
                      <a:pt x="504" y="105"/>
                    </a:lnTo>
                    <a:lnTo>
                      <a:pt x="532" y="105"/>
                    </a:lnTo>
                    <a:lnTo>
                      <a:pt x="561" y="105"/>
                    </a:lnTo>
                    <a:lnTo>
                      <a:pt x="590" y="104"/>
                    </a:lnTo>
                    <a:lnTo>
                      <a:pt x="619" y="102"/>
                    </a:lnTo>
                    <a:lnTo>
                      <a:pt x="648" y="98"/>
                    </a:lnTo>
                    <a:lnTo>
                      <a:pt x="677" y="95"/>
                    </a:lnTo>
                    <a:lnTo>
                      <a:pt x="706" y="91"/>
                    </a:lnTo>
                    <a:lnTo>
                      <a:pt x="735" y="86"/>
                    </a:lnTo>
                    <a:lnTo>
                      <a:pt x="765" y="80"/>
                    </a:lnTo>
                    <a:lnTo>
                      <a:pt x="793" y="74"/>
                    </a:lnTo>
                    <a:lnTo>
                      <a:pt x="823" y="65"/>
                    </a:lnTo>
                    <a:lnTo>
                      <a:pt x="852" y="57"/>
                    </a:lnTo>
                    <a:lnTo>
                      <a:pt x="882" y="48"/>
                    </a:lnTo>
                    <a:lnTo>
                      <a:pt x="911" y="37"/>
                    </a:lnTo>
                    <a:lnTo>
                      <a:pt x="941" y="26"/>
                    </a:lnTo>
                    <a:lnTo>
                      <a:pt x="971" y="14"/>
                    </a:lnTo>
                    <a:lnTo>
                      <a:pt x="1000" y="0"/>
                    </a:lnTo>
                    <a:close/>
                  </a:path>
                </a:pathLst>
              </a:custGeom>
              <a:solidFill>
                <a:srgbClr val="E4E6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91" name="Freeform 106"/>
              <p:cNvSpPr>
                <a:spLocks/>
              </p:cNvSpPr>
              <p:nvPr/>
            </p:nvSpPr>
            <p:spPr bwMode="auto">
              <a:xfrm>
                <a:off x="3319" y="1530"/>
                <a:ext cx="74" cy="113"/>
              </a:xfrm>
              <a:custGeom>
                <a:avLst/>
                <a:gdLst>
                  <a:gd name="T0" fmla="*/ 0 w 514"/>
                  <a:gd name="T1" fmla="*/ 0 h 796"/>
                  <a:gd name="T2" fmla="*/ 0 w 514"/>
                  <a:gd name="T3" fmla="*/ 0 h 796"/>
                  <a:gd name="T4" fmla="*/ 0 w 514"/>
                  <a:gd name="T5" fmla="*/ 0 h 796"/>
                  <a:gd name="T6" fmla="*/ 0 w 514"/>
                  <a:gd name="T7" fmla="*/ 0 h 796"/>
                  <a:gd name="T8" fmla="*/ 0 w 514"/>
                  <a:gd name="T9" fmla="*/ 0 h 796"/>
                  <a:gd name="T10" fmla="*/ 0 w 514"/>
                  <a:gd name="T11" fmla="*/ 0 h 796"/>
                  <a:gd name="T12" fmla="*/ 0 w 514"/>
                  <a:gd name="T13" fmla="*/ 0 h 796"/>
                  <a:gd name="T14" fmla="*/ 0 w 514"/>
                  <a:gd name="T15" fmla="*/ 0 h 796"/>
                  <a:gd name="T16" fmla="*/ 0 w 514"/>
                  <a:gd name="T17" fmla="*/ 0 h 796"/>
                  <a:gd name="T18" fmla="*/ 0 w 514"/>
                  <a:gd name="T19" fmla="*/ 0 h 796"/>
                  <a:gd name="T20" fmla="*/ 0 w 514"/>
                  <a:gd name="T21" fmla="*/ 0 h 796"/>
                  <a:gd name="T22" fmla="*/ 0 w 514"/>
                  <a:gd name="T23" fmla="*/ 0 h 796"/>
                  <a:gd name="T24" fmla="*/ 0 w 514"/>
                  <a:gd name="T25" fmla="*/ 0 h 796"/>
                  <a:gd name="T26" fmla="*/ 0 w 514"/>
                  <a:gd name="T27" fmla="*/ 0 h 796"/>
                  <a:gd name="T28" fmla="*/ 0 w 514"/>
                  <a:gd name="T29" fmla="*/ 0 h 796"/>
                  <a:gd name="T30" fmla="*/ 0 w 514"/>
                  <a:gd name="T31" fmla="*/ 0 h 796"/>
                  <a:gd name="T32" fmla="*/ 0 w 514"/>
                  <a:gd name="T33" fmla="*/ 0 h 796"/>
                  <a:gd name="T34" fmla="*/ 0 w 514"/>
                  <a:gd name="T35" fmla="*/ 0 h 796"/>
                  <a:gd name="T36" fmla="*/ 0 w 514"/>
                  <a:gd name="T37" fmla="*/ 0 h 796"/>
                  <a:gd name="T38" fmla="*/ 0 w 514"/>
                  <a:gd name="T39" fmla="*/ 0 h 796"/>
                  <a:gd name="T40" fmla="*/ 0 w 514"/>
                  <a:gd name="T41" fmla="*/ 0 h 796"/>
                  <a:gd name="T42" fmla="*/ 0 w 514"/>
                  <a:gd name="T43" fmla="*/ 0 h 796"/>
                  <a:gd name="T44" fmla="*/ 0 w 514"/>
                  <a:gd name="T45" fmla="*/ 0 h 796"/>
                  <a:gd name="T46" fmla="*/ 0 w 514"/>
                  <a:gd name="T47" fmla="*/ 0 h 796"/>
                  <a:gd name="T48" fmla="*/ 0 w 514"/>
                  <a:gd name="T49" fmla="*/ 0 h 796"/>
                  <a:gd name="T50" fmla="*/ 0 w 514"/>
                  <a:gd name="T51" fmla="*/ 0 h 796"/>
                  <a:gd name="T52" fmla="*/ 0 w 514"/>
                  <a:gd name="T53" fmla="*/ 0 h 796"/>
                  <a:gd name="T54" fmla="*/ 0 w 514"/>
                  <a:gd name="T55" fmla="*/ 0 h 796"/>
                  <a:gd name="T56" fmla="*/ 0 w 514"/>
                  <a:gd name="T57" fmla="*/ 0 h 796"/>
                  <a:gd name="T58" fmla="*/ 0 w 514"/>
                  <a:gd name="T59" fmla="*/ 0 h 796"/>
                  <a:gd name="T60" fmla="*/ 0 w 514"/>
                  <a:gd name="T61" fmla="*/ 0 h 796"/>
                  <a:gd name="T62" fmla="*/ 0 w 514"/>
                  <a:gd name="T63" fmla="*/ 0 h 796"/>
                  <a:gd name="T64" fmla="*/ 0 w 514"/>
                  <a:gd name="T65" fmla="*/ 0 h 79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514"/>
                  <a:gd name="T100" fmla="*/ 0 h 796"/>
                  <a:gd name="T101" fmla="*/ 514 w 514"/>
                  <a:gd name="T102" fmla="*/ 796 h 79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514" h="796">
                    <a:moveTo>
                      <a:pt x="514" y="104"/>
                    </a:moveTo>
                    <a:lnTo>
                      <a:pt x="496" y="196"/>
                    </a:lnTo>
                    <a:lnTo>
                      <a:pt x="479" y="287"/>
                    </a:lnTo>
                    <a:lnTo>
                      <a:pt x="460" y="377"/>
                    </a:lnTo>
                    <a:lnTo>
                      <a:pt x="442" y="463"/>
                    </a:lnTo>
                    <a:lnTo>
                      <a:pt x="423" y="550"/>
                    </a:lnTo>
                    <a:lnTo>
                      <a:pt x="403" y="634"/>
                    </a:lnTo>
                    <a:lnTo>
                      <a:pt x="384" y="717"/>
                    </a:lnTo>
                    <a:lnTo>
                      <a:pt x="363" y="796"/>
                    </a:lnTo>
                    <a:lnTo>
                      <a:pt x="317" y="784"/>
                    </a:lnTo>
                    <a:lnTo>
                      <a:pt x="269" y="772"/>
                    </a:lnTo>
                    <a:lnTo>
                      <a:pt x="223" y="758"/>
                    </a:lnTo>
                    <a:lnTo>
                      <a:pt x="178" y="743"/>
                    </a:lnTo>
                    <a:lnTo>
                      <a:pt x="133" y="728"/>
                    </a:lnTo>
                    <a:lnTo>
                      <a:pt x="88" y="712"/>
                    </a:lnTo>
                    <a:lnTo>
                      <a:pt x="44" y="695"/>
                    </a:lnTo>
                    <a:lnTo>
                      <a:pt x="0" y="677"/>
                    </a:lnTo>
                    <a:lnTo>
                      <a:pt x="25" y="599"/>
                    </a:lnTo>
                    <a:lnTo>
                      <a:pt x="51" y="517"/>
                    </a:lnTo>
                    <a:lnTo>
                      <a:pt x="76" y="435"/>
                    </a:lnTo>
                    <a:lnTo>
                      <a:pt x="101" y="352"/>
                    </a:lnTo>
                    <a:lnTo>
                      <a:pt x="124" y="266"/>
                    </a:lnTo>
                    <a:lnTo>
                      <a:pt x="147" y="179"/>
                    </a:lnTo>
                    <a:lnTo>
                      <a:pt x="170" y="90"/>
                    </a:lnTo>
                    <a:lnTo>
                      <a:pt x="192" y="0"/>
                    </a:lnTo>
                    <a:lnTo>
                      <a:pt x="230" y="15"/>
                    </a:lnTo>
                    <a:lnTo>
                      <a:pt x="268" y="28"/>
                    </a:lnTo>
                    <a:lnTo>
                      <a:pt x="307" y="41"/>
                    </a:lnTo>
                    <a:lnTo>
                      <a:pt x="346" y="55"/>
                    </a:lnTo>
                    <a:lnTo>
                      <a:pt x="388" y="67"/>
                    </a:lnTo>
                    <a:lnTo>
                      <a:pt x="429" y="80"/>
                    </a:lnTo>
                    <a:lnTo>
                      <a:pt x="472" y="92"/>
                    </a:lnTo>
                    <a:lnTo>
                      <a:pt x="514" y="104"/>
                    </a:lnTo>
                    <a:close/>
                  </a:path>
                </a:pathLst>
              </a:custGeom>
              <a:solidFill>
                <a:srgbClr val="1B4D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92" name="Freeform 107"/>
              <p:cNvSpPr>
                <a:spLocks/>
              </p:cNvSpPr>
              <p:nvPr/>
            </p:nvSpPr>
            <p:spPr bwMode="auto">
              <a:xfrm>
                <a:off x="3272" y="1508"/>
                <a:ext cx="75" cy="118"/>
              </a:xfrm>
              <a:custGeom>
                <a:avLst/>
                <a:gdLst>
                  <a:gd name="T0" fmla="*/ 0 w 525"/>
                  <a:gd name="T1" fmla="*/ 0 h 830"/>
                  <a:gd name="T2" fmla="*/ 0 w 525"/>
                  <a:gd name="T3" fmla="*/ 0 h 830"/>
                  <a:gd name="T4" fmla="*/ 0 w 525"/>
                  <a:gd name="T5" fmla="*/ 0 h 830"/>
                  <a:gd name="T6" fmla="*/ 0 w 525"/>
                  <a:gd name="T7" fmla="*/ 0 h 830"/>
                  <a:gd name="T8" fmla="*/ 0 w 525"/>
                  <a:gd name="T9" fmla="*/ 0 h 830"/>
                  <a:gd name="T10" fmla="*/ 0 w 525"/>
                  <a:gd name="T11" fmla="*/ 0 h 830"/>
                  <a:gd name="T12" fmla="*/ 0 w 525"/>
                  <a:gd name="T13" fmla="*/ 0 h 830"/>
                  <a:gd name="T14" fmla="*/ 0 w 525"/>
                  <a:gd name="T15" fmla="*/ 0 h 830"/>
                  <a:gd name="T16" fmla="*/ 0 w 525"/>
                  <a:gd name="T17" fmla="*/ 0 h 830"/>
                  <a:gd name="T18" fmla="*/ 0 w 525"/>
                  <a:gd name="T19" fmla="*/ 0 h 830"/>
                  <a:gd name="T20" fmla="*/ 0 w 525"/>
                  <a:gd name="T21" fmla="*/ 0 h 830"/>
                  <a:gd name="T22" fmla="*/ 0 w 525"/>
                  <a:gd name="T23" fmla="*/ 0 h 830"/>
                  <a:gd name="T24" fmla="*/ 0 w 525"/>
                  <a:gd name="T25" fmla="*/ 0 h 830"/>
                  <a:gd name="T26" fmla="*/ 0 w 525"/>
                  <a:gd name="T27" fmla="*/ 0 h 830"/>
                  <a:gd name="T28" fmla="*/ 0 w 525"/>
                  <a:gd name="T29" fmla="*/ 0 h 830"/>
                  <a:gd name="T30" fmla="*/ 0 w 525"/>
                  <a:gd name="T31" fmla="*/ 0 h 830"/>
                  <a:gd name="T32" fmla="*/ 0 w 525"/>
                  <a:gd name="T33" fmla="*/ 0 h 830"/>
                  <a:gd name="T34" fmla="*/ 0 w 525"/>
                  <a:gd name="T35" fmla="*/ 0 h 830"/>
                  <a:gd name="T36" fmla="*/ 0 w 525"/>
                  <a:gd name="T37" fmla="*/ 0 h 830"/>
                  <a:gd name="T38" fmla="*/ 0 w 525"/>
                  <a:gd name="T39" fmla="*/ 0 h 830"/>
                  <a:gd name="T40" fmla="*/ 0 w 525"/>
                  <a:gd name="T41" fmla="*/ 0 h 830"/>
                  <a:gd name="T42" fmla="*/ 0 w 525"/>
                  <a:gd name="T43" fmla="*/ 0 h 830"/>
                  <a:gd name="T44" fmla="*/ 0 w 525"/>
                  <a:gd name="T45" fmla="*/ 0 h 830"/>
                  <a:gd name="T46" fmla="*/ 0 w 525"/>
                  <a:gd name="T47" fmla="*/ 0 h 830"/>
                  <a:gd name="T48" fmla="*/ 0 w 525"/>
                  <a:gd name="T49" fmla="*/ 0 h 830"/>
                  <a:gd name="T50" fmla="*/ 0 w 525"/>
                  <a:gd name="T51" fmla="*/ 0 h 830"/>
                  <a:gd name="T52" fmla="*/ 0 w 525"/>
                  <a:gd name="T53" fmla="*/ 0 h 830"/>
                  <a:gd name="T54" fmla="*/ 0 w 525"/>
                  <a:gd name="T55" fmla="*/ 0 h 830"/>
                  <a:gd name="T56" fmla="*/ 0 w 525"/>
                  <a:gd name="T57" fmla="*/ 0 h 830"/>
                  <a:gd name="T58" fmla="*/ 0 w 525"/>
                  <a:gd name="T59" fmla="*/ 0 h 830"/>
                  <a:gd name="T60" fmla="*/ 0 w 525"/>
                  <a:gd name="T61" fmla="*/ 0 h 830"/>
                  <a:gd name="T62" fmla="*/ 0 w 525"/>
                  <a:gd name="T63" fmla="*/ 0 h 830"/>
                  <a:gd name="T64" fmla="*/ 0 w 525"/>
                  <a:gd name="T65" fmla="*/ 0 h 830"/>
                  <a:gd name="T66" fmla="*/ 0 w 525"/>
                  <a:gd name="T67" fmla="*/ 0 h 830"/>
                  <a:gd name="T68" fmla="*/ 0 w 525"/>
                  <a:gd name="T69" fmla="*/ 0 h 830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525"/>
                  <a:gd name="T106" fmla="*/ 0 h 830"/>
                  <a:gd name="T107" fmla="*/ 525 w 525"/>
                  <a:gd name="T108" fmla="*/ 830 h 830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525" h="830">
                    <a:moveTo>
                      <a:pt x="333" y="830"/>
                    </a:moveTo>
                    <a:lnTo>
                      <a:pt x="289" y="812"/>
                    </a:lnTo>
                    <a:lnTo>
                      <a:pt x="245" y="792"/>
                    </a:lnTo>
                    <a:lnTo>
                      <a:pt x="203" y="771"/>
                    </a:lnTo>
                    <a:lnTo>
                      <a:pt x="161" y="751"/>
                    </a:lnTo>
                    <a:lnTo>
                      <a:pt x="119" y="729"/>
                    </a:lnTo>
                    <a:lnTo>
                      <a:pt x="78" y="707"/>
                    </a:lnTo>
                    <a:lnTo>
                      <a:pt x="39" y="685"/>
                    </a:lnTo>
                    <a:lnTo>
                      <a:pt x="0" y="662"/>
                    </a:lnTo>
                    <a:lnTo>
                      <a:pt x="15" y="626"/>
                    </a:lnTo>
                    <a:lnTo>
                      <a:pt x="31" y="589"/>
                    </a:lnTo>
                    <a:lnTo>
                      <a:pt x="46" y="552"/>
                    </a:lnTo>
                    <a:lnTo>
                      <a:pt x="60" y="514"/>
                    </a:lnTo>
                    <a:lnTo>
                      <a:pt x="90" y="435"/>
                    </a:lnTo>
                    <a:lnTo>
                      <a:pt x="118" y="354"/>
                    </a:lnTo>
                    <a:lnTo>
                      <a:pt x="145" y="269"/>
                    </a:lnTo>
                    <a:lnTo>
                      <a:pt x="172" y="182"/>
                    </a:lnTo>
                    <a:lnTo>
                      <a:pt x="198" y="92"/>
                    </a:lnTo>
                    <a:lnTo>
                      <a:pt x="223" y="0"/>
                    </a:lnTo>
                    <a:lnTo>
                      <a:pt x="255" y="22"/>
                    </a:lnTo>
                    <a:lnTo>
                      <a:pt x="289" y="42"/>
                    </a:lnTo>
                    <a:lnTo>
                      <a:pt x="324" y="62"/>
                    </a:lnTo>
                    <a:lnTo>
                      <a:pt x="361" y="82"/>
                    </a:lnTo>
                    <a:lnTo>
                      <a:pt x="400" y="100"/>
                    </a:lnTo>
                    <a:lnTo>
                      <a:pt x="440" y="119"/>
                    </a:lnTo>
                    <a:lnTo>
                      <a:pt x="482" y="137"/>
                    </a:lnTo>
                    <a:lnTo>
                      <a:pt x="525" y="153"/>
                    </a:lnTo>
                    <a:lnTo>
                      <a:pt x="503" y="243"/>
                    </a:lnTo>
                    <a:lnTo>
                      <a:pt x="480" y="332"/>
                    </a:lnTo>
                    <a:lnTo>
                      <a:pt x="457" y="419"/>
                    </a:lnTo>
                    <a:lnTo>
                      <a:pt x="434" y="505"/>
                    </a:lnTo>
                    <a:lnTo>
                      <a:pt x="409" y="588"/>
                    </a:lnTo>
                    <a:lnTo>
                      <a:pt x="384" y="670"/>
                    </a:lnTo>
                    <a:lnTo>
                      <a:pt x="358" y="752"/>
                    </a:lnTo>
                    <a:lnTo>
                      <a:pt x="333" y="830"/>
                    </a:lnTo>
                    <a:close/>
                  </a:path>
                </a:pathLst>
              </a:custGeom>
              <a:solidFill>
                <a:srgbClr val="F4D8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93" name="Freeform 108"/>
              <p:cNvSpPr>
                <a:spLocks/>
              </p:cNvSpPr>
              <p:nvPr/>
            </p:nvSpPr>
            <p:spPr bwMode="auto">
              <a:xfrm>
                <a:off x="3505" y="1609"/>
                <a:ext cx="17" cy="21"/>
              </a:xfrm>
              <a:custGeom>
                <a:avLst/>
                <a:gdLst>
                  <a:gd name="T0" fmla="*/ 0 w 120"/>
                  <a:gd name="T1" fmla="*/ 0 h 146"/>
                  <a:gd name="T2" fmla="*/ 0 w 120"/>
                  <a:gd name="T3" fmla="*/ 0 h 146"/>
                  <a:gd name="T4" fmla="*/ 0 w 120"/>
                  <a:gd name="T5" fmla="*/ 0 h 146"/>
                  <a:gd name="T6" fmla="*/ 0 w 120"/>
                  <a:gd name="T7" fmla="*/ 0 h 146"/>
                  <a:gd name="T8" fmla="*/ 0 w 120"/>
                  <a:gd name="T9" fmla="*/ 0 h 146"/>
                  <a:gd name="T10" fmla="*/ 0 w 120"/>
                  <a:gd name="T11" fmla="*/ 0 h 146"/>
                  <a:gd name="T12" fmla="*/ 0 w 120"/>
                  <a:gd name="T13" fmla="*/ 0 h 146"/>
                  <a:gd name="T14" fmla="*/ 0 w 120"/>
                  <a:gd name="T15" fmla="*/ 0 h 146"/>
                  <a:gd name="T16" fmla="*/ 0 w 120"/>
                  <a:gd name="T17" fmla="*/ 0 h 146"/>
                  <a:gd name="T18" fmla="*/ 0 w 120"/>
                  <a:gd name="T19" fmla="*/ 0 h 146"/>
                  <a:gd name="T20" fmla="*/ 0 w 120"/>
                  <a:gd name="T21" fmla="*/ 0 h 146"/>
                  <a:gd name="T22" fmla="*/ 0 w 120"/>
                  <a:gd name="T23" fmla="*/ 0 h 146"/>
                  <a:gd name="T24" fmla="*/ 0 w 120"/>
                  <a:gd name="T25" fmla="*/ 0 h 146"/>
                  <a:gd name="T26" fmla="*/ 0 w 120"/>
                  <a:gd name="T27" fmla="*/ 0 h 146"/>
                  <a:gd name="T28" fmla="*/ 0 w 120"/>
                  <a:gd name="T29" fmla="*/ 0 h 146"/>
                  <a:gd name="T30" fmla="*/ 0 w 120"/>
                  <a:gd name="T31" fmla="*/ 0 h 146"/>
                  <a:gd name="T32" fmla="*/ 0 w 120"/>
                  <a:gd name="T33" fmla="*/ 0 h 146"/>
                  <a:gd name="T34" fmla="*/ 0 w 120"/>
                  <a:gd name="T35" fmla="*/ 0 h 146"/>
                  <a:gd name="T36" fmla="*/ 0 w 120"/>
                  <a:gd name="T37" fmla="*/ 0 h 146"/>
                  <a:gd name="T38" fmla="*/ 0 w 120"/>
                  <a:gd name="T39" fmla="*/ 0 h 146"/>
                  <a:gd name="T40" fmla="*/ 0 w 120"/>
                  <a:gd name="T41" fmla="*/ 0 h 146"/>
                  <a:gd name="T42" fmla="*/ 0 w 120"/>
                  <a:gd name="T43" fmla="*/ 0 h 146"/>
                  <a:gd name="T44" fmla="*/ 0 w 120"/>
                  <a:gd name="T45" fmla="*/ 0 h 146"/>
                  <a:gd name="T46" fmla="*/ 0 w 120"/>
                  <a:gd name="T47" fmla="*/ 0 h 146"/>
                  <a:gd name="T48" fmla="*/ 0 w 120"/>
                  <a:gd name="T49" fmla="*/ 0 h 146"/>
                  <a:gd name="T50" fmla="*/ 0 w 120"/>
                  <a:gd name="T51" fmla="*/ 0 h 146"/>
                  <a:gd name="T52" fmla="*/ 0 w 120"/>
                  <a:gd name="T53" fmla="*/ 0 h 146"/>
                  <a:gd name="T54" fmla="*/ 0 w 120"/>
                  <a:gd name="T55" fmla="*/ 0 h 146"/>
                  <a:gd name="T56" fmla="*/ 0 w 120"/>
                  <a:gd name="T57" fmla="*/ 0 h 146"/>
                  <a:gd name="T58" fmla="*/ 0 w 120"/>
                  <a:gd name="T59" fmla="*/ 0 h 146"/>
                  <a:gd name="T60" fmla="*/ 0 w 120"/>
                  <a:gd name="T61" fmla="*/ 0 h 146"/>
                  <a:gd name="T62" fmla="*/ 0 w 120"/>
                  <a:gd name="T63" fmla="*/ 0 h 146"/>
                  <a:gd name="T64" fmla="*/ 0 w 120"/>
                  <a:gd name="T65" fmla="*/ 0 h 146"/>
                  <a:gd name="T66" fmla="*/ 0 w 120"/>
                  <a:gd name="T67" fmla="*/ 0 h 146"/>
                  <a:gd name="T68" fmla="*/ 0 w 120"/>
                  <a:gd name="T69" fmla="*/ 0 h 146"/>
                  <a:gd name="T70" fmla="*/ 0 w 120"/>
                  <a:gd name="T71" fmla="*/ 0 h 146"/>
                  <a:gd name="T72" fmla="*/ 0 w 120"/>
                  <a:gd name="T73" fmla="*/ 0 h 146"/>
                  <a:gd name="T74" fmla="*/ 0 w 120"/>
                  <a:gd name="T75" fmla="*/ 0 h 146"/>
                  <a:gd name="T76" fmla="*/ 0 w 120"/>
                  <a:gd name="T77" fmla="*/ 0 h 146"/>
                  <a:gd name="T78" fmla="*/ 0 w 120"/>
                  <a:gd name="T79" fmla="*/ 0 h 146"/>
                  <a:gd name="T80" fmla="*/ 0 w 120"/>
                  <a:gd name="T81" fmla="*/ 0 h 146"/>
                  <a:gd name="T82" fmla="*/ 0 w 120"/>
                  <a:gd name="T83" fmla="*/ 0 h 146"/>
                  <a:gd name="T84" fmla="*/ 0 w 120"/>
                  <a:gd name="T85" fmla="*/ 0 h 146"/>
                  <a:gd name="T86" fmla="*/ 0 w 120"/>
                  <a:gd name="T87" fmla="*/ 0 h 14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20"/>
                  <a:gd name="T133" fmla="*/ 0 h 146"/>
                  <a:gd name="T134" fmla="*/ 120 w 120"/>
                  <a:gd name="T135" fmla="*/ 146 h 14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20" h="146">
                    <a:moveTo>
                      <a:pt x="78" y="57"/>
                    </a:moveTo>
                    <a:lnTo>
                      <a:pt x="87" y="57"/>
                    </a:lnTo>
                    <a:lnTo>
                      <a:pt x="94" y="56"/>
                    </a:lnTo>
                    <a:lnTo>
                      <a:pt x="101" y="55"/>
                    </a:lnTo>
                    <a:lnTo>
                      <a:pt x="106" y="53"/>
                    </a:lnTo>
                    <a:lnTo>
                      <a:pt x="110" y="50"/>
                    </a:lnTo>
                    <a:lnTo>
                      <a:pt x="112" y="47"/>
                    </a:lnTo>
                    <a:lnTo>
                      <a:pt x="114" y="44"/>
                    </a:lnTo>
                    <a:lnTo>
                      <a:pt x="115" y="41"/>
                    </a:lnTo>
                    <a:lnTo>
                      <a:pt x="114" y="37"/>
                    </a:lnTo>
                    <a:lnTo>
                      <a:pt x="113" y="33"/>
                    </a:lnTo>
                    <a:lnTo>
                      <a:pt x="112" y="28"/>
                    </a:lnTo>
                    <a:lnTo>
                      <a:pt x="110" y="24"/>
                    </a:lnTo>
                    <a:lnTo>
                      <a:pt x="104" y="17"/>
                    </a:lnTo>
                    <a:lnTo>
                      <a:pt x="95" y="10"/>
                    </a:lnTo>
                    <a:lnTo>
                      <a:pt x="87" y="5"/>
                    </a:lnTo>
                    <a:lnTo>
                      <a:pt x="78" y="2"/>
                    </a:lnTo>
                    <a:lnTo>
                      <a:pt x="74" y="0"/>
                    </a:lnTo>
                    <a:lnTo>
                      <a:pt x="70" y="0"/>
                    </a:lnTo>
                    <a:lnTo>
                      <a:pt x="65" y="2"/>
                    </a:lnTo>
                    <a:lnTo>
                      <a:pt x="61" y="4"/>
                    </a:lnTo>
                    <a:lnTo>
                      <a:pt x="58" y="6"/>
                    </a:lnTo>
                    <a:lnTo>
                      <a:pt x="55" y="10"/>
                    </a:lnTo>
                    <a:lnTo>
                      <a:pt x="53" y="14"/>
                    </a:lnTo>
                    <a:lnTo>
                      <a:pt x="52" y="20"/>
                    </a:lnTo>
                    <a:lnTo>
                      <a:pt x="51" y="27"/>
                    </a:lnTo>
                    <a:lnTo>
                      <a:pt x="51" y="36"/>
                    </a:lnTo>
                    <a:lnTo>
                      <a:pt x="52" y="45"/>
                    </a:lnTo>
                    <a:lnTo>
                      <a:pt x="54" y="56"/>
                    </a:lnTo>
                    <a:lnTo>
                      <a:pt x="46" y="55"/>
                    </a:lnTo>
                    <a:lnTo>
                      <a:pt x="40" y="54"/>
                    </a:lnTo>
                    <a:lnTo>
                      <a:pt x="33" y="54"/>
                    </a:lnTo>
                    <a:lnTo>
                      <a:pt x="27" y="55"/>
                    </a:lnTo>
                    <a:lnTo>
                      <a:pt x="22" y="56"/>
                    </a:lnTo>
                    <a:lnTo>
                      <a:pt x="18" y="58"/>
                    </a:lnTo>
                    <a:lnTo>
                      <a:pt x="14" y="60"/>
                    </a:lnTo>
                    <a:lnTo>
                      <a:pt x="11" y="64"/>
                    </a:lnTo>
                    <a:lnTo>
                      <a:pt x="8" y="67"/>
                    </a:lnTo>
                    <a:lnTo>
                      <a:pt x="6" y="70"/>
                    </a:lnTo>
                    <a:lnTo>
                      <a:pt x="3" y="73"/>
                    </a:lnTo>
                    <a:lnTo>
                      <a:pt x="2" y="77"/>
                    </a:lnTo>
                    <a:lnTo>
                      <a:pt x="0" y="85"/>
                    </a:lnTo>
                    <a:lnTo>
                      <a:pt x="1" y="93"/>
                    </a:lnTo>
                    <a:lnTo>
                      <a:pt x="2" y="101"/>
                    </a:lnTo>
                    <a:lnTo>
                      <a:pt x="7" y="107"/>
                    </a:lnTo>
                    <a:lnTo>
                      <a:pt x="9" y="110"/>
                    </a:lnTo>
                    <a:lnTo>
                      <a:pt x="11" y="113"/>
                    </a:lnTo>
                    <a:lnTo>
                      <a:pt x="14" y="115"/>
                    </a:lnTo>
                    <a:lnTo>
                      <a:pt x="17" y="116"/>
                    </a:lnTo>
                    <a:lnTo>
                      <a:pt x="21" y="117"/>
                    </a:lnTo>
                    <a:lnTo>
                      <a:pt x="24" y="118"/>
                    </a:lnTo>
                    <a:lnTo>
                      <a:pt x="28" y="118"/>
                    </a:lnTo>
                    <a:lnTo>
                      <a:pt x="32" y="117"/>
                    </a:lnTo>
                    <a:lnTo>
                      <a:pt x="38" y="116"/>
                    </a:lnTo>
                    <a:lnTo>
                      <a:pt x="43" y="114"/>
                    </a:lnTo>
                    <a:lnTo>
                      <a:pt x="47" y="111"/>
                    </a:lnTo>
                    <a:lnTo>
                      <a:pt x="53" y="107"/>
                    </a:lnTo>
                    <a:lnTo>
                      <a:pt x="54" y="115"/>
                    </a:lnTo>
                    <a:lnTo>
                      <a:pt x="57" y="123"/>
                    </a:lnTo>
                    <a:lnTo>
                      <a:pt x="60" y="129"/>
                    </a:lnTo>
                    <a:lnTo>
                      <a:pt x="63" y="134"/>
                    </a:lnTo>
                    <a:lnTo>
                      <a:pt x="66" y="138"/>
                    </a:lnTo>
                    <a:lnTo>
                      <a:pt x="71" y="141"/>
                    </a:lnTo>
                    <a:lnTo>
                      <a:pt x="75" y="144"/>
                    </a:lnTo>
                    <a:lnTo>
                      <a:pt x="79" y="145"/>
                    </a:lnTo>
                    <a:lnTo>
                      <a:pt x="83" y="146"/>
                    </a:lnTo>
                    <a:lnTo>
                      <a:pt x="87" y="146"/>
                    </a:lnTo>
                    <a:lnTo>
                      <a:pt x="91" y="146"/>
                    </a:lnTo>
                    <a:lnTo>
                      <a:pt x="95" y="145"/>
                    </a:lnTo>
                    <a:lnTo>
                      <a:pt x="100" y="143"/>
                    </a:lnTo>
                    <a:lnTo>
                      <a:pt x="104" y="141"/>
                    </a:lnTo>
                    <a:lnTo>
                      <a:pt x="107" y="138"/>
                    </a:lnTo>
                    <a:lnTo>
                      <a:pt x="110" y="135"/>
                    </a:lnTo>
                    <a:lnTo>
                      <a:pt x="113" y="132"/>
                    </a:lnTo>
                    <a:lnTo>
                      <a:pt x="115" y="128"/>
                    </a:lnTo>
                    <a:lnTo>
                      <a:pt x="117" y="124"/>
                    </a:lnTo>
                    <a:lnTo>
                      <a:pt x="119" y="118"/>
                    </a:lnTo>
                    <a:lnTo>
                      <a:pt x="120" y="114"/>
                    </a:lnTo>
                    <a:lnTo>
                      <a:pt x="120" y="109"/>
                    </a:lnTo>
                    <a:lnTo>
                      <a:pt x="120" y="104"/>
                    </a:lnTo>
                    <a:lnTo>
                      <a:pt x="119" y="99"/>
                    </a:lnTo>
                    <a:lnTo>
                      <a:pt x="117" y="93"/>
                    </a:lnTo>
                    <a:lnTo>
                      <a:pt x="115" y="87"/>
                    </a:lnTo>
                    <a:lnTo>
                      <a:pt x="111" y="82"/>
                    </a:lnTo>
                    <a:lnTo>
                      <a:pt x="107" y="77"/>
                    </a:lnTo>
                    <a:lnTo>
                      <a:pt x="102" y="72"/>
                    </a:lnTo>
                    <a:lnTo>
                      <a:pt x="94" y="67"/>
                    </a:lnTo>
                    <a:lnTo>
                      <a:pt x="87" y="63"/>
                    </a:lnTo>
                    <a:lnTo>
                      <a:pt x="78" y="57"/>
                    </a:lnTo>
                    <a:close/>
                  </a:path>
                </a:pathLst>
              </a:custGeom>
              <a:solidFill>
                <a:srgbClr val="BF3B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94" name="Freeform 109"/>
              <p:cNvSpPr>
                <a:spLocks/>
              </p:cNvSpPr>
              <p:nvPr/>
            </p:nvSpPr>
            <p:spPr bwMode="auto">
              <a:xfrm>
                <a:off x="3466" y="1579"/>
                <a:ext cx="27" cy="22"/>
              </a:xfrm>
              <a:custGeom>
                <a:avLst/>
                <a:gdLst>
                  <a:gd name="T0" fmla="*/ 0 w 189"/>
                  <a:gd name="T1" fmla="*/ 0 h 153"/>
                  <a:gd name="T2" fmla="*/ 0 w 189"/>
                  <a:gd name="T3" fmla="*/ 0 h 153"/>
                  <a:gd name="T4" fmla="*/ 0 w 189"/>
                  <a:gd name="T5" fmla="*/ 0 h 153"/>
                  <a:gd name="T6" fmla="*/ 0 w 189"/>
                  <a:gd name="T7" fmla="*/ 0 h 153"/>
                  <a:gd name="T8" fmla="*/ 0 w 189"/>
                  <a:gd name="T9" fmla="*/ 0 h 153"/>
                  <a:gd name="T10" fmla="*/ 0 w 189"/>
                  <a:gd name="T11" fmla="*/ 0 h 153"/>
                  <a:gd name="T12" fmla="*/ 0 w 189"/>
                  <a:gd name="T13" fmla="*/ 0 h 153"/>
                  <a:gd name="T14" fmla="*/ 0 w 189"/>
                  <a:gd name="T15" fmla="*/ 0 h 153"/>
                  <a:gd name="T16" fmla="*/ 0 w 189"/>
                  <a:gd name="T17" fmla="*/ 0 h 153"/>
                  <a:gd name="T18" fmla="*/ 0 w 189"/>
                  <a:gd name="T19" fmla="*/ 0 h 153"/>
                  <a:gd name="T20" fmla="*/ 0 w 189"/>
                  <a:gd name="T21" fmla="*/ 0 h 153"/>
                  <a:gd name="T22" fmla="*/ 0 w 189"/>
                  <a:gd name="T23" fmla="*/ 0 h 153"/>
                  <a:gd name="T24" fmla="*/ 0 w 189"/>
                  <a:gd name="T25" fmla="*/ 0 h 153"/>
                  <a:gd name="T26" fmla="*/ 0 w 189"/>
                  <a:gd name="T27" fmla="*/ 0 h 153"/>
                  <a:gd name="T28" fmla="*/ 0 w 189"/>
                  <a:gd name="T29" fmla="*/ 0 h 153"/>
                  <a:gd name="T30" fmla="*/ 0 w 189"/>
                  <a:gd name="T31" fmla="*/ 0 h 153"/>
                  <a:gd name="T32" fmla="*/ 0 w 189"/>
                  <a:gd name="T33" fmla="*/ 0 h 153"/>
                  <a:gd name="T34" fmla="*/ 0 w 189"/>
                  <a:gd name="T35" fmla="*/ 0 h 153"/>
                  <a:gd name="T36" fmla="*/ 0 w 189"/>
                  <a:gd name="T37" fmla="*/ 0 h 153"/>
                  <a:gd name="T38" fmla="*/ 0 w 189"/>
                  <a:gd name="T39" fmla="*/ 0 h 153"/>
                  <a:gd name="T40" fmla="*/ 0 w 189"/>
                  <a:gd name="T41" fmla="*/ 0 h 153"/>
                  <a:gd name="T42" fmla="*/ 0 w 189"/>
                  <a:gd name="T43" fmla="*/ 0 h 153"/>
                  <a:gd name="T44" fmla="*/ 0 w 189"/>
                  <a:gd name="T45" fmla="*/ 0 h 153"/>
                  <a:gd name="T46" fmla="*/ 0 w 189"/>
                  <a:gd name="T47" fmla="*/ 0 h 153"/>
                  <a:gd name="T48" fmla="*/ 0 w 189"/>
                  <a:gd name="T49" fmla="*/ 0 h 153"/>
                  <a:gd name="T50" fmla="*/ 0 w 189"/>
                  <a:gd name="T51" fmla="*/ 0 h 153"/>
                  <a:gd name="T52" fmla="*/ 0 w 189"/>
                  <a:gd name="T53" fmla="*/ 0 h 153"/>
                  <a:gd name="T54" fmla="*/ 0 w 189"/>
                  <a:gd name="T55" fmla="*/ 0 h 153"/>
                  <a:gd name="T56" fmla="*/ 0 w 189"/>
                  <a:gd name="T57" fmla="*/ 0 h 153"/>
                  <a:gd name="T58" fmla="*/ 0 w 189"/>
                  <a:gd name="T59" fmla="*/ 0 h 153"/>
                  <a:gd name="T60" fmla="*/ 0 w 189"/>
                  <a:gd name="T61" fmla="*/ 0 h 153"/>
                  <a:gd name="T62" fmla="*/ 0 w 189"/>
                  <a:gd name="T63" fmla="*/ 0 h 153"/>
                  <a:gd name="T64" fmla="*/ 0 w 189"/>
                  <a:gd name="T65" fmla="*/ 0 h 153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89"/>
                  <a:gd name="T100" fmla="*/ 0 h 153"/>
                  <a:gd name="T101" fmla="*/ 189 w 189"/>
                  <a:gd name="T102" fmla="*/ 153 h 153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89" h="153">
                    <a:moveTo>
                      <a:pt x="189" y="0"/>
                    </a:moveTo>
                    <a:lnTo>
                      <a:pt x="169" y="3"/>
                    </a:lnTo>
                    <a:lnTo>
                      <a:pt x="151" y="7"/>
                    </a:lnTo>
                    <a:lnTo>
                      <a:pt x="136" y="11"/>
                    </a:lnTo>
                    <a:lnTo>
                      <a:pt x="121" y="15"/>
                    </a:lnTo>
                    <a:lnTo>
                      <a:pt x="109" y="21"/>
                    </a:lnTo>
                    <a:lnTo>
                      <a:pt x="98" y="27"/>
                    </a:lnTo>
                    <a:lnTo>
                      <a:pt x="87" y="35"/>
                    </a:lnTo>
                    <a:lnTo>
                      <a:pt x="77" y="43"/>
                    </a:lnTo>
                    <a:lnTo>
                      <a:pt x="68" y="52"/>
                    </a:lnTo>
                    <a:lnTo>
                      <a:pt x="59" y="63"/>
                    </a:lnTo>
                    <a:lnTo>
                      <a:pt x="50" y="75"/>
                    </a:lnTo>
                    <a:lnTo>
                      <a:pt x="42" y="87"/>
                    </a:lnTo>
                    <a:lnTo>
                      <a:pt x="22" y="117"/>
                    </a:lnTo>
                    <a:lnTo>
                      <a:pt x="0" y="153"/>
                    </a:lnTo>
                    <a:lnTo>
                      <a:pt x="8" y="151"/>
                    </a:lnTo>
                    <a:lnTo>
                      <a:pt x="25" y="144"/>
                    </a:lnTo>
                    <a:lnTo>
                      <a:pt x="38" y="139"/>
                    </a:lnTo>
                    <a:lnTo>
                      <a:pt x="52" y="134"/>
                    </a:lnTo>
                    <a:lnTo>
                      <a:pt x="67" y="127"/>
                    </a:lnTo>
                    <a:lnTo>
                      <a:pt x="83" y="118"/>
                    </a:lnTo>
                    <a:lnTo>
                      <a:pt x="100" y="108"/>
                    </a:lnTo>
                    <a:lnTo>
                      <a:pt x="115" y="98"/>
                    </a:lnTo>
                    <a:lnTo>
                      <a:pt x="131" y="85"/>
                    </a:lnTo>
                    <a:lnTo>
                      <a:pt x="146" y="71"/>
                    </a:lnTo>
                    <a:lnTo>
                      <a:pt x="153" y="64"/>
                    </a:lnTo>
                    <a:lnTo>
                      <a:pt x="160" y="55"/>
                    </a:lnTo>
                    <a:lnTo>
                      <a:pt x="166" y="47"/>
                    </a:lnTo>
                    <a:lnTo>
                      <a:pt x="172" y="39"/>
                    </a:lnTo>
                    <a:lnTo>
                      <a:pt x="177" y="30"/>
                    </a:lnTo>
                    <a:lnTo>
                      <a:pt x="181" y="20"/>
                    </a:lnTo>
                    <a:lnTo>
                      <a:pt x="185" y="10"/>
                    </a:lnTo>
                    <a:lnTo>
                      <a:pt x="189" y="0"/>
                    </a:lnTo>
                    <a:close/>
                  </a:path>
                </a:pathLst>
              </a:custGeom>
              <a:solidFill>
                <a:srgbClr val="008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95" name="Freeform 110"/>
              <p:cNvSpPr>
                <a:spLocks/>
              </p:cNvSpPr>
              <p:nvPr/>
            </p:nvSpPr>
            <p:spPr bwMode="auto">
              <a:xfrm>
                <a:off x="3459" y="1570"/>
                <a:ext cx="5" cy="18"/>
              </a:xfrm>
              <a:custGeom>
                <a:avLst/>
                <a:gdLst>
                  <a:gd name="T0" fmla="*/ 0 w 36"/>
                  <a:gd name="T1" fmla="*/ 0 h 129"/>
                  <a:gd name="T2" fmla="*/ 0 w 36"/>
                  <a:gd name="T3" fmla="*/ 0 h 129"/>
                  <a:gd name="T4" fmla="*/ 0 w 36"/>
                  <a:gd name="T5" fmla="*/ 0 h 129"/>
                  <a:gd name="T6" fmla="*/ 0 w 36"/>
                  <a:gd name="T7" fmla="*/ 0 h 129"/>
                  <a:gd name="T8" fmla="*/ 0 w 36"/>
                  <a:gd name="T9" fmla="*/ 0 h 129"/>
                  <a:gd name="T10" fmla="*/ 0 w 36"/>
                  <a:gd name="T11" fmla="*/ 0 h 129"/>
                  <a:gd name="T12" fmla="*/ 0 w 36"/>
                  <a:gd name="T13" fmla="*/ 0 h 129"/>
                  <a:gd name="T14" fmla="*/ 0 w 36"/>
                  <a:gd name="T15" fmla="*/ 0 h 129"/>
                  <a:gd name="T16" fmla="*/ 0 w 36"/>
                  <a:gd name="T17" fmla="*/ 0 h 129"/>
                  <a:gd name="T18" fmla="*/ 0 w 36"/>
                  <a:gd name="T19" fmla="*/ 0 h 129"/>
                  <a:gd name="T20" fmla="*/ 0 w 36"/>
                  <a:gd name="T21" fmla="*/ 0 h 129"/>
                  <a:gd name="T22" fmla="*/ 0 w 36"/>
                  <a:gd name="T23" fmla="*/ 0 h 129"/>
                  <a:gd name="T24" fmla="*/ 0 w 36"/>
                  <a:gd name="T25" fmla="*/ 0 h 129"/>
                  <a:gd name="T26" fmla="*/ 0 w 36"/>
                  <a:gd name="T27" fmla="*/ 0 h 129"/>
                  <a:gd name="T28" fmla="*/ 0 w 36"/>
                  <a:gd name="T29" fmla="*/ 0 h 129"/>
                  <a:gd name="T30" fmla="*/ 0 w 36"/>
                  <a:gd name="T31" fmla="*/ 0 h 129"/>
                  <a:gd name="T32" fmla="*/ 0 w 36"/>
                  <a:gd name="T33" fmla="*/ 0 h 129"/>
                  <a:gd name="T34" fmla="*/ 0 w 36"/>
                  <a:gd name="T35" fmla="*/ 0 h 129"/>
                  <a:gd name="T36" fmla="*/ 0 w 36"/>
                  <a:gd name="T37" fmla="*/ 0 h 129"/>
                  <a:gd name="T38" fmla="*/ 0 w 36"/>
                  <a:gd name="T39" fmla="*/ 0 h 129"/>
                  <a:gd name="T40" fmla="*/ 0 w 36"/>
                  <a:gd name="T41" fmla="*/ 0 h 129"/>
                  <a:gd name="T42" fmla="*/ 0 w 36"/>
                  <a:gd name="T43" fmla="*/ 0 h 129"/>
                  <a:gd name="T44" fmla="*/ 0 w 36"/>
                  <a:gd name="T45" fmla="*/ 0 h 129"/>
                  <a:gd name="T46" fmla="*/ 0 w 36"/>
                  <a:gd name="T47" fmla="*/ 0 h 129"/>
                  <a:gd name="T48" fmla="*/ 0 w 36"/>
                  <a:gd name="T49" fmla="*/ 0 h 129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36"/>
                  <a:gd name="T76" fmla="*/ 0 h 129"/>
                  <a:gd name="T77" fmla="*/ 36 w 36"/>
                  <a:gd name="T78" fmla="*/ 129 h 129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36" h="129">
                    <a:moveTo>
                      <a:pt x="9" y="0"/>
                    </a:moveTo>
                    <a:lnTo>
                      <a:pt x="6" y="11"/>
                    </a:lnTo>
                    <a:lnTo>
                      <a:pt x="3" y="21"/>
                    </a:lnTo>
                    <a:lnTo>
                      <a:pt x="2" y="29"/>
                    </a:lnTo>
                    <a:lnTo>
                      <a:pt x="0" y="38"/>
                    </a:lnTo>
                    <a:lnTo>
                      <a:pt x="0" y="45"/>
                    </a:lnTo>
                    <a:lnTo>
                      <a:pt x="0" y="52"/>
                    </a:lnTo>
                    <a:lnTo>
                      <a:pt x="1" y="59"/>
                    </a:lnTo>
                    <a:lnTo>
                      <a:pt x="2" y="66"/>
                    </a:lnTo>
                    <a:lnTo>
                      <a:pt x="6" y="80"/>
                    </a:lnTo>
                    <a:lnTo>
                      <a:pt x="13" y="94"/>
                    </a:lnTo>
                    <a:lnTo>
                      <a:pt x="21" y="110"/>
                    </a:lnTo>
                    <a:lnTo>
                      <a:pt x="32" y="129"/>
                    </a:lnTo>
                    <a:lnTo>
                      <a:pt x="32" y="125"/>
                    </a:lnTo>
                    <a:lnTo>
                      <a:pt x="34" y="114"/>
                    </a:lnTo>
                    <a:lnTo>
                      <a:pt x="36" y="99"/>
                    </a:lnTo>
                    <a:lnTo>
                      <a:pt x="36" y="80"/>
                    </a:lnTo>
                    <a:lnTo>
                      <a:pt x="36" y="70"/>
                    </a:lnTo>
                    <a:lnTo>
                      <a:pt x="35" y="59"/>
                    </a:lnTo>
                    <a:lnTo>
                      <a:pt x="33" y="48"/>
                    </a:lnTo>
                    <a:lnTo>
                      <a:pt x="31" y="38"/>
                    </a:lnTo>
                    <a:lnTo>
                      <a:pt x="27" y="27"/>
                    </a:lnTo>
                    <a:lnTo>
                      <a:pt x="23" y="18"/>
                    </a:lnTo>
                    <a:lnTo>
                      <a:pt x="16" y="9"/>
                    </a:ln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008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96" name="Freeform 111"/>
              <p:cNvSpPr>
                <a:spLocks/>
              </p:cNvSpPr>
              <p:nvPr/>
            </p:nvSpPr>
            <p:spPr bwMode="auto">
              <a:xfrm>
                <a:off x="3459" y="1540"/>
                <a:ext cx="5" cy="12"/>
              </a:xfrm>
              <a:custGeom>
                <a:avLst/>
                <a:gdLst>
                  <a:gd name="T0" fmla="*/ 0 w 33"/>
                  <a:gd name="T1" fmla="*/ 0 h 87"/>
                  <a:gd name="T2" fmla="*/ 0 w 33"/>
                  <a:gd name="T3" fmla="*/ 0 h 87"/>
                  <a:gd name="T4" fmla="*/ 0 w 33"/>
                  <a:gd name="T5" fmla="*/ 0 h 87"/>
                  <a:gd name="T6" fmla="*/ 0 w 33"/>
                  <a:gd name="T7" fmla="*/ 0 h 87"/>
                  <a:gd name="T8" fmla="*/ 0 w 33"/>
                  <a:gd name="T9" fmla="*/ 0 h 87"/>
                  <a:gd name="T10" fmla="*/ 0 w 33"/>
                  <a:gd name="T11" fmla="*/ 0 h 87"/>
                  <a:gd name="T12" fmla="*/ 0 w 33"/>
                  <a:gd name="T13" fmla="*/ 0 h 87"/>
                  <a:gd name="T14" fmla="*/ 0 w 33"/>
                  <a:gd name="T15" fmla="*/ 0 h 87"/>
                  <a:gd name="T16" fmla="*/ 0 w 33"/>
                  <a:gd name="T17" fmla="*/ 0 h 87"/>
                  <a:gd name="T18" fmla="*/ 0 w 33"/>
                  <a:gd name="T19" fmla="*/ 0 h 87"/>
                  <a:gd name="T20" fmla="*/ 0 w 33"/>
                  <a:gd name="T21" fmla="*/ 0 h 87"/>
                  <a:gd name="T22" fmla="*/ 0 w 33"/>
                  <a:gd name="T23" fmla="*/ 0 h 87"/>
                  <a:gd name="T24" fmla="*/ 0 w 33"/>
                  <a:gd name="T25" fmla="*/ 0 h 87"/>
                  <a:gd name="T26" fmla="*/ 0 w 33"/>
                  <a:gd name="T27" fmla="*/ 0 h 87"/>
                  <a:gd name="T28" fmla="*/ 0 w 33"/>
                  <a:gd name="T29" fmla="*/ 0 h 87"/>
                  <a:gd name="T30" fmla="*/ 0 w 33"/>
                  <a:gd name="T31" fmla="*/ 0 h 87"/>
                  <a:gd name="T32" fmla="*/ 0 w 33"/>
                  <a:gd name="T33" fmla="*/ 0 h 87"/>
                  <a:gd name="T34" fmla="*/ 0 w 33"/>
                  <a:gd name="T35" fmla="*/ 0 h 87"/>
                  <a:gd name="T36" fmla="*/ 0 w 33"/>
                  <a:gd name="T37" fmla="*/ 0 h 87"/>
                  <a:gd name="T38" fmla="*/ 0 w 33"/>
                  <a:gd name="T39" fmla="*/ 0 h 87"/>
                  <a:gd name="T40" fmla="*/ 0 w 33"/>
                  <a:gd name="T41" fmla="*/ 0 h 87"/>
                  <a:gd name="T42" fmla="*/ 0 w 33"/>
                  <a:gd name="T43" fmla="*/ 0 h 87"/>
                  <a:gd name="T44" fmla="*/ 0 w 33"/>
                  <a:gd name="T45" fmla="*/ 0 h 87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33"/>
                  <a:gd name="T70" fmla="*/ 0 h 87"/>
                  <a:gd name="T71" fmla="*/ 33 w 33"/>
                  <a:gd name="T72" fmla="*/ 87 h 87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33" h="87">
                    <a:moveTo>
                      <a:pt x="14" y="0"/>
                    </a:moveTo>
                    <a:lnTo>
                      <a:pt x="6" y="12"/>
                    </a:lnTo>
                    <a:lnTo>
                      <a:pt x="2" y="22"/>
                    </a:lnTo>
                    <a:lnTo>
                      <a:pt x="0" y="27"/>
                    </a:lnTo>
                    <a:lnTo>
                      <a:pt x="0" y="31"/>
                    </a:lnTo>
                    <a:lnTo>
                      <a:pt x="0" y="37"/>
                    </a:lnTo>
                    <a:lnTo>
                      <a:pt x="0" y="41"/>
                    </a:lnTo>
                    <a:lnTo>
                      <a:pt x="3" y="50"/>
                    </a:lnTo>
                    <a:lnTo>
                      <a:pt x="7" y="60"/>
                    </a:lnTo>
                    <a:lnTo>
                      <a:pt x="14" y="73"/>
                    </a:lnTo>
                    <a:lnTo>
                      <a:pt x="23" y="87"/>
                    </a:lnTo>
                    <a:lnTo>
                      <a:pt x="24" y="84"/>
                    </a:lnTo>
                    <a:lnTo>
                      <a:pt x="26" y="78"/>
                    </a:lnTo>
                    <a:lnTo>
                      <a:pt x="29" y="69"/>
                    </a:lnTo>
                    <a:lnTo>
                      <a:pt x="32" y="56"/>
                    </a:lnTo>
                    <a:lnTo>
                      <a:pt x="33" y="50"/>
                    </a:lnTo>
                    <a:lnTo>
                      <a:pt x="33" y="43"/>
                    </a:lnTo>
                    <a:lnTo>
                      <a:pt x="32" y="36"/>
                    </a:lnTo>
                    <a:lnTo>
                      <a:pt x="31" y="28"/>
                    </a:lnTo>
                    <a:lnTo>
                      <a:pt x="29" y="21"/>
                    </a:lnTo>
                    <a:lnTo>
                      <a:pt x="25" y="14"/>
                    </a:lnTo>
                    <a:lnTo>
                      <a:pt x="21" y="7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008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97" name="Freeform 112"/>
              <p:cNvSpPr>
                <a:spLocks/>
              </p:cNvSpPr>
              <p:nvPr/>
            </p:nvSpPr>
            <p:spPr bwMode="auto">
              <a:xfrm>
                <a:off x="3461" y="1529"/>
                <a:ext cx="6" cy="11"/>
              </a:xfrm>
              <a:custGeom>
                <a:avLst/>
                <a:gdLst>
                  <a:gd name="T0" fmla="*/ 0 w 42"/>
                  <a:gd name="T1" fmla="*/ 0 h 77"/>
                  <a:gd name="T2" fmla="*/ 0 w 42"/>
                  <a:gd name="T3" fmla="*/ 0 h 77"/>
                  <a:gd name="T4" fmla="*/ 0 w 42"/>
                  <a:gd name="T5" fmla="*/ 0 h 77"/>
                  <a:gd name="T6" fmla="*/ 0 w 42"/>
                  <a:gd name="T7" fmla="*/ 0 h 77"/>
                  <a:gd name="T8" fmla="*/ 0 w 42"/>
                  <a:gd name="T9" fmla="*/ 0 h 77"/>
                  <a:gd name="T10" fmla="*/ 0 w 42"/>
                  <a:gd name="T11" fmla="*/ 0 h 77"/>
                  <a:gd name="T12" fmla="*/ 0 w 42"/>
                  <a:gd name="T13" fmla="*/ 0 h 77"/>
                  <a:gd name="T14" fmla="*/ 0 w 42"/>
                  <a:gd name="T15" fmla="*/ 0 h 77"/>
                  <a:gd name="T16" fmla="*/ 0 w 42"/>
                  <a:gd name="T17" fmla="*/ 0 h 77"/>
                  <a:gd name="T18" fmla="*/ 0 w 42"/>
                  <a:gd name="T19" fmla="*/ 0 h 77"/>
                  <a:gd name="T20" fmla="*/ 0 w 42"/>
                  <a:gd name="T21" fmla="*/ 0 h 77"/>
                  <a:gd name="T22" fmla="*/ 0 w 42"/>
                  <a:gd name="T23" fmla="*/ 0 h 77"/>
                  <a:gd name="T24" fmla="*/ 0 w 42"/>
                  <a:gd name="T25" fmla="*/ 0 h 77"/>
                  <a:gd name="T26" fmla="*/ 0 w 42"/>
                  <a:gd name="T27" fmla="*/ 0 h 77"/>
                  <a:gd name="T28" fmla="*/ 0 w 42"/>
                  <a:gd name="T29" fmla="*/ 0 h 77"/>
                  <a:gd name="T30" fmla="*/ 0 w 42"/>
                  <a:gd name="T31" fmla="*/ 0 h 77"/>
                  <a:gd name="T32" fmla="*/ 0 w 42"/>
                  <a:gd name="T33" fmla="*/ 0 h 77"/>
                  <a:gd name="T34" fmla="*/ 0 w 42"/>
                  <a:gd name="T35" fmla="*/ 0 h 77"/>
                  <a:gd name="T36" fmla="*/ 0 w 42"/>
                  <a:gd name="T37" fmla="*/ 0 h 77"/>
                  <a:gd name="T38" fmla="*/ 0 w 42"/>
                  <a:gd name="T39" fmla="*/ 0 h 77"/>
                  <a:gd name="T40" fmla="*/ 0 w 42"/>
                  <a:gd name="T41" fmla="*/ 0 h 77"/>
                  <a:gd name="T42" fmla="*/ 0 w 42"/>
                  <a:gd name="T43" fmla="*/ 0 h 77"/>
                  <a:gd name="T44" fmla="*/ 0 w 42"/>
                  <a:gd name="T45" fmla="*/ 0 h 77"/>
                  <a:gd name="T46" fmla="*/ 0 w 42"/>
                  <a:gd name="T47" fmla="*/ 0 h 77"/>
                  <a:gd name="T48" fmla="*/ 0 w 42"/>
                  <a:gd name="T49" fmla="*/ 0 h 7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42"/>
                  <a:gd name="T76" fmla="*/ 0 h 77"/>
                  <a:gd name="T77" fmla="*/ 42 w 42"/>
                  <a:gd name="T78" fmla="*/ 77 h 77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42" h="77">
                    <a:moveTo>
                      <a:pt x="40" y="0"/>
                    </a:moveTo>
                    <a:lnTo>
                      <a:pt x="32" y="2"/>
                    </a:lnTo>
                    <a:lnTo>
                      <a:pt x="27" y="5"/>
                    </a:lnTo>
                    <a:lnTo>
                      <a:pt x="22" y="7"/>
                    </a:lnTo>
                    <a:lnTo>
                      <a:pt x="18" y="10"/>
                    </a:lnTo>
                    <a:lnTo>
                      <a:pt x="14" y="13"/>
                    </a:lnTo>
                    <a:lnTo>
                      <a:pt x="11" y="18"/>
                    </a:lnTo>
                    <a:lnTo>
                      <a:pt x="9" y="21"/>
                    </a:lnTo>
                    <a:lnTo>
                      <a:pt x="6" y="25"/>
                    </a:lnTo>
                    <a:lnTo>
                      <a:pt x="3" y="35"/>
                    </a:lnTo>
                    <a:lnTo>
                      <a:pt x="2" y="47"/>
                    </a:lnTo>
                    <a:lnTo>
                      <a:pt x="1" y="60"/>
                    </a:lnTo>
                    <a:lnTo>
                      <a:pt x="0" y="77"/>
                    </a:lnTo>
                    <a:lnTo>
                      <a:pt x="2" y="76"/>
                    </a:lnTo>
                    <a:lnTo>
                      <a:pt x="9" y="71"/>
                    </a:lnTo>
                    <a:lnTo>
                      <a:pt x="16" y="65"/>
                    </a:lnTo>
                    <a:lnTo>
                      <a:pt x="24" y="57"/>
                    </a:lnTo>
                    <a:lnTo>
                      <a:pt x="28" y="52"/>
                    </a:lnTo>
                    <a:lnTo>
                      <a:pt x="32" y="47"/>
                    </a:lnTo>
                    <a:lnTo>
                      <a:pt x="35" y="40"/>
                    </a:lnTo>
                    <a:lnTo>
                      <a:pt x="38" y="33"/>
                    </a:lnTo>
                    <a:lnTo>
                      <a:pt x="41" y="26"/>
                    </a:lnTo>
                    <a:lnTo>
                      <a:pt x="42" y="18"/>
                    </a:lnTo>
                    <a:lnTo>
                      <a:pt x="41" y="9"/>
                    </a:lnTo>
                    <a:lnTo>
                      <a:pt x="40" y="0"/>
                    </a:lnTo>
                    <a:close/>
                  </a:path>
                </a:pathLst>
              </a:custGeom>
              <a:solidFill>
                <a:srgbClr val="008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98" name="Freeform 113"/>
              <p:cNvSpPr>
                <a:spLocks/>
              </p:cNvSpPr>
              <p:nvPr/>
            </p:nvSpPr>
            <p:spPr bwMode="auto">
              <a:xfrm>
                <a:off x="3458" y="1524"/>
                <a:ext cx="5" cy="12"/>
              </a:xfrm>
              <a:custGeom>
                <a:avLst/>
                <a:gdLst>
                  <a:gd name="T0" fmla="*/ 0 w 35"/>
                  <a:gd name="T1" fmla="*/ 0 h 82"/>
                  <a:gd name="T2" fmla="*/ 0 w 35"/>
                  <a:gd name="T3" fmla="*/ 0 h 82"/>
                  <a:gd name="T4" fmla="*/ 0 w 35"/>
                  <a:gd name="T5" fmla="*/ 0 h 82"/>
                  <a:gd name="T6" fmla="*/ 0 w 35"/>
                  <a:gd name="T7" fmla="*/ 0 h 82"/>
                  <a:gd name="T8" fmla="*/ 0 w 35"/>
                  <a:gd name="T9" fmla="*/ 0 h 82"/>
                  <a:gd name="T10" fmla="*/ 0 w 35"/>
                  <a:gd name="T11" fmla="*/ 0 h 82"/>
                  <a:gd name="T12" fmla="*/ 0 w 35"/>
                  <a:gd name="T13" fmla="*/ 0 h 82"/>
                  <a:gd name="T14" fmla="*/ 0 w 35"/>
                  <a:gd name="T15" fmla="*/ 0 h 82"/>
                  <a:gd name="T16" fmla="*/ 0 w 35"/>
                  <a:gd name="T17" fmla="*/ 0 h 82"/>
                  <a:gd name="T18" fmla="*/ 0 w 35"/>
                  <a:gd name="T19" fmla="*/ 0 h 82"/>
                  <a:gd name="T20" fmla="*/ 0 w 35"/>
                  <a:gd name="T21" fmla="*/ 0 h 82"/>
                  <a:gd name="T22" fmla="*/ 0 w 35"/>
                  <a:gd name="T23" fmla="*/ 0 h 82"/>
                  <a:gd name="T24" fmla="*/ 0 w 35"/>
                  <a:gd name="T25" fmla="*/ 0 h 82"/>
                  <a:gd name="T26" fmla="*/ 0 w 35"/>
                  <a:gd name="T27" fmla="*/ 0 h 82"/>
                  <a:gd name="T28" fmla="*/ 0 w 35"/>
                  <a:gd name="T29" fmla="*/ 0 h 82"/>
                  <a:gd name="T30" fmla="*/ 0 w 35"/>
                  <a:gd name="T31" fmla="*/ 0 h 82"/>
                  <a:gd name="T32" fmla="*/ 0 w 35"/>
                  <a:gd name="T33" fmla="*/ 0 h 82"/>
                  <a:gd name="T34" fmla="*/ 0 w 35"/>
                  <a:gd name="T35" fmla="*/ 0 h 82"/>
                  <a:gd name="T36" fmla="*/ 0 w 35"/>
                  <a:gd name="T37" fmla="*/ 0 h 82"/>
                  <a:gd name="T38" fmla="*/ 0 w 35"/>
                  <a:gd name="T39" fmla="*/ 0 h 82"/>
                  <a:gd name="T40" fmla="*/ 0 w 35"/>
                  <a:gd name="T41" fmla="*/ 0 h 82"/>
                  <a:gd name="T42" fmla="*/ 0 w 35"/>
                  <a:gd name="T43" fmla="*/ 0 h 82"/>
                  <a:gd name="T44" fmla="*/ 0 w 35"/>
                  <a:gd name="T45" fmla="*/ 0 h 82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35"/>
                  <a:gd name="T70" fmla="*/ 0 h 82"/>
                  <a:gd name="T71" fmla="*/ 35 w 35"/>
                  <a:gd name="T72" fmla="*/ 82 h 82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35" h="82">
                    <a:moveTo>
                      <a:pt x="10" y="0"/>
                    </a:moveTo>
                    <a:lnTo>
                      <a:pt x="4" y="12"/>
                    </a:lnTo>
                    <a:lnTo>
                      <a:pt x="0" y="24"/>
                    </a:lnTo>
                    <a:lnTo>
                      <a:pt x="0" y="28"/>
                    </a:lnTo>
                    <a:lnTo>
                      <a:pt x="0" y="33"/>
                    </a:lnTo>
                    <a:lnTo>
                      <a:pt x="0" y="37"/>
                    </a:lnTo>
                    <a:lnTo>
                      <a:pt x="2" y="41"/>
                    </a:lnTo>
                    <a:lnTo>
                      <a:pt x="6" y="50"/>
                    </a:lnTo>
                    <a:lnTo>
                      <a:pt x="12" y="60"/>
                    </a:lnTo>
                    <a:lnTo>
                      <a:pt x="20" y="70"/>
                    </a:lnTo>
                    <a:lnTo>
                      <a:pt x="30" y="82"/>
                    </a:lnTo>
                    <a:lnTo>
                      <a:pt x="31" y="80"/>
                    </a:lnTo>
                    <a:lnTo>
                      <a:pt x="33" y="73"/>
                    </a:lnTo>
                    <a:lnTo>
                      <a:pt x="35" y="64"/>
                    </a:lnTo>
                    <a:lnTo>
                      <a:pt x="35" y="51"/>
                    </a:lnTo>
                    <a:lnTo>
                      <a:pt x="35" y="45"/>
                    </a:lnTo>
                    <a:lnTo>
                      <a:pt x="34" y="38"/>
                    </a:lnTo>
                    <a:lnTo>
                      <a:pt x="33" y="31"/>
                    </a:lnTo>
                    <a:lnTo>
                      <a:pt x="30" y="25"/>
                    </a:lnTo>
                    <a:lnTo>
                      <a:pt x="27" y="17"/>
                    </a:lnTo>
                    <a:lnTo>
                      <a:pt x="22" y="11"/>
                    </a:lnTo>
                    <a:lnTo>
                      <a:pt x="16" y="5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008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99" name="Freeform 114"/>
              <p:cNvSpPr>
                <a:spLocks/>
              </p:cNvSpPr>
              <p:nvPr/>
            </p:nvSpPr>
            <p:spPr bwMode="auto">
              <a:xfrm>
                <a:off x="3522" y="1599"/>
                <a:ext cx="5" cy="12"/>
              </a:xfrm>
              <a:custGeom>
                <a:avLst/>
                <a:gdLst>
                  <a:gd name="T0" fmla="*/ 0 w 33"/>
                  <a:gd name="T1" fmla="*/ 0 h 88"/>
                  <a:gd name="T2" fmla="*/ 0 w 33"/>
                  <a:gd name="T3" fmla="*/ 0 h 88"/>
                  <a:gd name="T4" fmla="*/ 0 w 33"/>
                  <a:gd name="T5" fmla="*/ 0 h 88"/>
                  <a:gd name="T6" fmla="*/ 0 w 33"/>
                  <a:gd name="T7" fmla="*/ 0 h 88"/>
                  <a:gd name="T8" fmla="*/ 0 w 33"/>
                  <a:gd name="T9" fmla="*/ 0 h 88"/>
                  <a:gd name="T10" fmla="*/ 0 w 33"/>
                  <a:gd name="T11" fmla="*/ 0 h 88"/>
                  <a:gd name="T12" fmla="*/ 0 w 33"/>
                  <a:gd name="T13" fmla="*/ 0 h 88"/>
                  <a:gd name="T14" fmla="*/ 0 w 33"/>
                  <a:gd name="T15" fmla="*/ 0 h 88"/>
                  <a:gd name="T16" fmla="*/ 0 w 33"/>
                  <a:gd name="T17" fmla="*/ 0 h 88"/>
                  <a:gd name="T18" fmla="*/ 0 w 33"/>
                  <a:gd name="T19" fmla="*/ 0 h 88"/>
                  <a:gd name="T20" fmla="*/ 0 w 33"/>
                  <a:gd name="T21" fmla="*/ 0 h 88"/>
                  <a:gd name="T22" fmla="*/ 0 w 33"/>
                  <a:gd name="T23" fmla="*/ 0 h 88"/>
                  <a:gd name="T24" fmla="*/ 0 w 33"/>
                  <a:gd name="T25" fmla="*/ 0 h 88"/>
                  <a:gd name="T26" fmla="*/ 0 w 33"/>
                  <a:gd name="T27" fmla="*/ 0 h 88"/>
                  <a:gd name="T28" fmla="*/ 0 w 33"/>
                  <a:gd name="T29" fmla="*/ 0 h 88"/>
                  <a:gd name="T30" fmla="*/ 0 w 33"/>
                  <a:gd name="T31" fmla="*/ 0 h 88"/>
                  <a:gd name="T32" fmla="*/ 0 w 33"/>
                  <a:gd name="T33" fmla="*/ 0 h 88"/>
                  <a:gd name="T34" fmla="*/ 0 w 33"/>
                  <a:gd name="T35" fmla="*/ 0 h 88"/>
                  <a:gd name="T36" fmla="*/ 0 w 33"/>
                  <a:gd name="T37" fmla="*/ 0 h 88"/>
                  <a:gd name="T38" fmla="*/ 0 w 33"/>
                  <a:gd name="T39" fmla="*/ 0 h 88"/>
                  <a:gd name="T40" fmla="*/ 0 w 33"/>
                  <a:gd name="T41" fmla="*/ 0 h 88"/>
                  <a:gd name="T42" fmla="*/ 0 w 33"/>
                  <a:gd name="T43" fmla="*/ 0 h 88"/>
                  <a:gd name="T44" fmla="*/ 0 w 33"/>
                  <a:gd name="T45" fmla="*/ 0 h 88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33"/>
                  <a:gd name="T70" fmla="*/ 0 h 88"/>
                  <a:gd name="T71" fmla="*/ 33 w 33"/>
                  <a:gd name="T72" fmla="*/ 88 h 88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33" h="88">
                    <a:moveTo>
                      <a:pt x="25" y="0"/>
                    </a:moveTo>
                    <a:lnTo>
                      <a:pt x="15" y="9"/>
                    </a:lnTo>
                    <a:lnTo>
                      <a:pt x="6" y="18"/>
                    </a:lnTo>
                    <a:lnTo>
                      <a:pt x="4" y="22"/>
                    </a:lnTo>
                    <a:lnTo>
                      <a:pt x="2" y="26"/>
                    </a:lnTo>
                    <a:lnTo>
                      <a:pt x="0" y="31"/>
                    </a:lnTo>
                    <a:lnTo>
                      <a:pt x="0" y="35"/>
                    </a:lnTo>
                    <a:lnTo>
                      <a:pt x="0" y="46"/>
                    </a:lnTo>
                    <a:lnTo>
                      <a:pt x="1" y="58"/>
                    </a:lnTo>
                    <a:lnTo>
                      <a:pt x="4" y="71"/>
                    </a:lnTo>
                    <a:lnTo>
                      <a:pt x="7" y="88"/>
                    </a:lnTo>
                    <a:lnTo>
                      <a:pt x="10" y="86"/>
                    </a:lnTo>
                    <a:lnTo>
                      <a:pt x="14" y="81"/>
                    </a:lnTo>
                    <a:lnTo>
                      <a:pt x="20" y="72"/>
                    </a:lnTo>
                    <a:lnTo>
                      <a:pt x="26" y="62"/>
                    </a:lnTo>
                    <a:lnTo>
                      <a:pt x="28" y="56"/>
                    </a:lnTo>
                    <a:lnTo>
                      <a:pt x="31" y="49"/>
                    </a:lnTo>
                    <a:lnTo>
                      <a:pt x="32" y="41"/>
                    </a:lnTo>
                    <a:lnTo>
                      <a:pt x="33" y="34"/>
                    </a:lnTo>
                    <a:lnTo>
                      <a:pt x="33" y="26"/>
                    </a:lnTo>
                    <a:lnTo>
                      <a:pt x="32" y="18"/>
                    </a:lnTo>
                    <a:lnTo>
                      <a:pt x="29" y="9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8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00" name="Freeform 115"/>
              <p:cNvSpPr>
                <a:spLocks/>
              </p:cNvSpPr>
              <p:nvPr/>
            </p:nvSpPr>
            <p:spPr bwMode="auto">
              <a:xfrm>
                <a:off x="3526" y="1583"/>
                <a:ext cx="5" cy="12"/>
              </a:xfrm>
              <a:custGeom>
                <a:avLst/>
                <a:gdLst>
                  <a:gd name="T0" fmla="*/ 0 w 33"/>
                  <a:gd name="T1" fmla="*/ 0 h 89"/>
                  <a:gd name="T2" fmla="*/ 0 w 33"/>
                  <a:gd name="T3" fmla="*/ 0 h 89"/>
                  <a:gd name="T4" fmla="*/ 0 w 33"/>
                  <a:gd name="T5" fmla="*/ 0 h 89"/>
                  <a:gd name="T6" fmla="*/ 0 w 33"/>
                  <a:gd name="T7" fmla="*/ 0 h 89"/>
                  <a:gd name="T8" fmla="*/ 0 w 33"/>
                  <a:gd name="T9" fmla="*/ 0 h 89"/>
                  <a:gd name="T10" fmla="*/ 0 w 33"/>
                  <a:gd name="T11" fmla="*/ 0 h 89"/>
                  <a:gd name="T12" fmla="*/ 0 w 33"/>
                  <a:gd name="T13" fmla="*/ 0 h 89"/>
                  <a:gd name="T14" fmla="*/ 0 w 33"/>
                  <a:gd name="T15" fmla="*/ 0 h 89"/>
                  <a:gd name="T16" fmla="*/ 0 w 33"/>
                  <a:gd name="T17" fmla="*/ 0 h 89"/>
                  <a:gd name="T18" fmla="*/ 0 w 33"/>
                  <a:gd name="T19" fmla="*/ 0 h 89"/>
                  <a:gd name="T20" fmla="*/ 0 w 33"/>
                  <a:gd name="T21" fmla="*/ 0 h 89"/>
                  <a:gd name="T22" fmla="*/ 0 w 33"/>
                  <a:gd name="T23" fmla="*/ 0 h 89"/>
                  <a:gd name="T24" fmla="*/ 0 w 33"/>
                  <a:gd name="T25" fmla="*/ 0 h 89"/>
                  <a:gd name="T26" fmla="*/ 0 w 33"/>
                  <a:gd name="T27" fmla="*/ 0 h 89"/>
                  <a:gd name="T28" fmla="*/ 0 w 33"/>
                  <a:gd name="T29" fmla="*/ 0 h 89"/>
                  <a:gd name="T30" fmla="*/ 0 w 33"/>
                  <a:gd name="T31" fmla="*/ 0 h 89"/>
                  <a:gd name="T32" fmla="*/ 0 w 33"/>
                  <a:gd name="T33" fmla="*/ 0 h 89"/>
                  <a:gd name="T34" fmla="*/ 0 w 33"/>
                  <a:gd name="T35" fmla="*/ 0 h 89"/>
                  <a:gd name="T36" fmla="*/ 0 w 33"/>
                  <a:gd name="T37" fmla="*/ 0 h 89"/>
                  <a:gd name="T38" fmla="*/ 0 w 33"/>
                  <a:gd name="T39" fmla="*/ 0 h 89"/>
                  <a:gd name="T40" fmla="*/ 0 w 33"/>
                  <a:gd name="T41" fmla="*/ 0 h 89"/>
                  <a:gd name="T42" fmla="*/ 0 w 33"/>
                  <a:gd name="T43" fmla="*/ 0 h 89"/>
                  <a:gd name="T44" fmla="*/ 0 w 33"/>
                  <a:gd name="T45" fmla="*/ 0 h 8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33"/>
                  <a:gd name="T70" fmla="*/ 0 h 89"/>
                  <a:gd name="T71" fmla="*/ 33 w 33"/>
                  <a:gd name="T72" fmla="*/ 89 h 89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33" h="89">
                    <a:moveTo>
                      <a:pt x="21" y="0"/>
                    </a:moveTo>
                    <a:lnTo>
                      <a:pt x="10" y="11"/>
                    </a:lnTo>
                    <a:lnTo>
                      <a:pt x="4" y="20"/>
                    </a:lnTo>
                    <a:lnTo>
                      <a:pt x="2" y="25"/>
                    </a:lnTo>
                    <a:lnTo>
                      <a:pt x="1" y="29"/>
                    </a:lnTo>
                    <a:lnTo>
                      <a:pt x="0" y="34"/>
                    </a:lnTo>
                    <a:lnTo>
                      <a:pt x="0" y="39"/>
                    </a:lnTo>
                    <a:lnTo>
                      <a:pt x="2" y="49"/>
                    </a:lnTo>
                    <a:lnTo>
                      <a:pt x="5" y="60"/>
                    </a:lnTo>
                    <a:lnTo>
                      <a:pt x="10" y="74"/>
                    </a:lnTo>
                    <a:lnTo>
                      <a:pt x="16" y="89"/>
                    </a:lnTo>
                    <a:lnTo>
                      <a:pt x="18" y="87"/>
                    </a:lnTo>
                    <a:lnTo>
                      <a:pt x="21" y="81"/>
                    </a:lnTo>
                    <a:lnTo>
                      <a:pt x="26" y="72"/>
                    </a:lnTo>
                    <a:lnTo>
                      <a:pt x="30" y="60"/>
                    </a:lnTo>
                    <a:lnTo>
                      <a:pt x="32" y="53"/>
                    </a:lnTo>
                    <a:lnTo>
                      <a:pt x="33" y="47"/>
                    </a:lnTo>
                    <a:lnTo>
                      <a:pt x="33" y="40"/>
                    </a:lnTo>
                    <a:lnTo>
                      <a:pt x="33" y="31"/>
                    </a:lnTo>
                    <a:lnTo>
                      <a:pt x="32" y="24"/>
                    </a:lnTo>
                    <a:lnTo>
                      <a:pt x="29" y="16"/>
                    </a:lnTo>
                    <a:lnTo>
                      <a:pt x="26" y="9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008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01" name="Freeform 116"/>
              <p:cNvSpPr>
                <a:spLocks/>
              </p:cNvSpPr>
              <p:nvPr/>
            </p:nvSpPr>
            <p:spPr bwMode="auto">
              <a:xfrm>
                <a:off x="3460" y="1507"/>
                <a:ext cx="5" cy="12"/>
              </a:xfrm>
              <a:custGeom>
                <a:avLst/>
                <a:gdLst>
                  <a:gd name="T0" fmla="*/ 0 w 35"/>
                  <a:gd name="T1" fmla="*/ 0 h 83"/>
                  <a:gd name="T2" fmla="*/ 0 w 35"/>
                  <a:gd name="T3" fmla="*/ 0 h 83"/>
                  <a:gd name="T4" fmla="*/ 0 w 35"/>
                  <a:gd name="T5" fmla="*/ 0 h 83"/>
                  <a:gd name="T6" fmla="*/ 0 w 35"/>
                  <a:gd name="T7" fmla="*/ 0 h 83"/>
                  <a:gd name="T8" fmla="*/ 0 w 35"/>
                  <a:gd name="T9" fmla="*/ 0 h 83"/>
                  <a:gd name="T10" fmla="*/ 0 w 35"/>
                  <a:gd name="T11" fmla="*/ 0 h 83"/>
                  <a:gd name="T12" fmla="*/ 0 w 35"/>
                  <a:gd name="T13" fmla="*/ 0 h 83"/>
                  <a:gd name="T14" fmla="*/ 0 w 35"/>
                  <a:gd name="T15" fmla="*/ 0 h 83"/>
                  <a:gd name="T16" fmla="*/ 0 w 35"/>
                  <a:gd name="T17" fmla="*/ 0 h 83"/>
                  <a:gd name="T18" fmla="*/ 0 w 35"/>
                  <a:gd name="T19" fmla="*/ 0 h 83"/>
                  <a:gd name="T20" fmla="*/ 0 w 35"/>
                  <a:gd name="T21" fmla="*/ 0 h 83"/>
                  <a:gd name="T22" fmla="*/ 0 w 35"/>
                  <a:gd name="T23" fmla="*/ 0 h 83"/>
                  <a:gd name="T24" fmla="*/ 0 w 35"/>
                  <a:gd name="T25" fmla="*/ 0 h 83"/>
                  <a:gd name="T26" fmla="*/ 0 w 35"/>
                  <a:gd name="T27" fmla="*/ 0 h 83"/>
                  <a:gd name="T28" fmla="*/ 0 w 35"/>
                  <a:gd name="T29" fmla="*/ 0 h 83"/>
                  <a:gd name="T30" fmla="*/ 0 w 35"/>
                  <a:gd name="T31" fmla="*/ 0 h 83"/>
                  <a:gd name="T32" fmla="*/ 0 w 35"/>
                  <a:gd name="T33" fmla="*/ 0 h 83"/>
                  <a:gd name="T34" fmla="*/ 0 w 35"/>
                  <a:gd name="T35" fmla="*/ 0 h 83"/>
                  <a:gd name="T36" fmla="*/ 0 w 35"/>
                  <a:gd name="T37" fmla="*/ 0 h 83"/>
                  <a:gd name="T38" fmla="*/ 0 w 35"/>
                  <a:gd name="T39" fmla="*/ 0 h 83"/>
                  <a:gd name="T40" fmla="*/ 0 w 35"/>
                  <a:gd name="T41" fmla="*/ 0 h 83"/>
                  <a:gd name="T42" fmla="*/ 0 w 35"/>
                  <a:gd name="T43" fmla="*/ 0 h 83"/>
                  <a:gd name="T44" fmla="*/ 0 w 35"/>
                  <a:gd name="T45" fmla="*/ 0 h 83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35"/>
                  <a:gd name="T70" fmla="*/ 0 h 83"/>
                  <a:gd name="T71" fmla="*/ 35 w 35"/>
                  <a:gd name="T72" fmla="*/ 83 h 83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35" h="83">
                    <a:moveTo>
                      <a:pt x="11" y="0"/>
                    </a:moveTo>
                    <a:lnTo>
                      <a:pt x="4" y="12"/>
                    </a:lnTo>
                    <a:lnTo>
                      <a:pt x="1" y="23"/>
                    </a:lnTo>
                    <a:lnTo>
                      <a:pt x="0" y="28"/>
                    </a:lnTo>
                    <a:lnTo>
                      <a:pt x="0" y="32"/>
                    </a:lnTo>
                    <a:lnTo>
                      <a:pt x="1" y="37"/>
                    </a:lnTo>
                    <a:lnTo>
                      <a:pt x="2" y="41"/>
                    </a:lnTo>
                    <a:lnTo>
                      <a:pt x="6" y="50"/>
                    </a:lnTo>
                    <a:lnTo>
                      <a:pt x="13" y="59"/>
                    </a:lnTo>
                    <a:lnTo>
                      <a:pt x="20" y="70"/>
                    </a:lnTo>
                    <a:lnTo>
                      <a:pt x="30" y="83"/>
                    </a:lnTo>
                    <a:lnTo>
                      <a:pt x="31" y="80"/>
                    </a:lnTo>
                    <a:lnTo>
                      <a:pt x="32" y="73"/>
                    </a:lnTo>
                    <a:lnTo>
                      <a:pt x="34" y="64"/>
                    </a:lnTo>
                    <a:lnTo>
                      <a:pt x="35" y="52"/>
                    </a:lnTo>
                    <a:lnTo>
                      <a:pt x="35" y="44"/>
                    </a:lnTo>
                    <a:lnTo>
                      <a:pt x="34" y="38"/>
                    </a:lnTo>
                    <a:lnTo>
                      <a:pt x="33" y="31"/>
                    </a:lnTo>
                    <a:lnTo>
                      <a:pt x="31" y="24"/>
                    </a:lnTo>
                    <a:lnTo>
                      <a:pt x="27" y="18"/>
                    </a:lnTo>
                    <a:lnTo>
                      <a:pt x="23" y="11"/>
                    </a:lnTo>
                    <a:lnTo>
                      <a:pt x="18" y="5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008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02" name="Freeform 117"/>
              <p:cNvSpPr>
                <a:spLocks/>
              </p:cNvSpPr>
              <p:nvPr/>
            </p:nvSpPr>
            <p:spPr bwMode="auto">
              <a:xfrm>
                <a:off x="3492" y="1621"/>
                <a:ext cx="11" cy="7"/>
              </a:xfrm>
              <a:custGeom>
                <a:avLst/>
                <a:gdLst>
                  <a:gd name="T0" fmla="*/ 0 w 79"/>
                  <a:gd name="T1" fmla="*/ 0 h 53"/>
                  <a:gd name="T2" fmla="*/ 0 w 79"/>
                  <a:gd name="T3" fmla="*/ 0 h 53"/>
                  <a:gd name="T4" fmla="*/ 0 w 79"/>
                  <a:gd name="T5" fmla="*/ 0 h 53"/>
                  <a:gd name="T6" fmla="*/ 0 w 79"/>
                  <a:gd name="T7" fmla="*/ 0 h 53"/>
                  <a:gd name="T8" fmla="*/ 0 w 79"/>
                  <a:gd name="T9" fmla="*/ 0 h 53"/>
                  <a:gd name="T10" fmla="*/ 0 w 79"/>
                  <a:gd name="T11" fmla="*/ 0 h 53"/>
                  <a:gd name="T12" fmla="*/ 0 w 79"/>
                  <a:gd name="T13" fmla="*/ 0 h 53"/>
                  <a:gd name="T14" fmla="*/ 0 w 79"/>
                  <a:gd name="T15" fmla="*/ 0 h 53"/>
                  <a:gd name="T16" fmla="*/ 0 w 79"/>
                  <a:gd name="T17" fmla="*/ 0 h 53"/>
                  <a:gd name="T18" fmla="*/ 0 w 79"/>
                  <a:gd name="T19" fmla="*/ 0 h 53"/>
                  <a:gd name="T20" fmla="*/ 0 w 79"/>
                  <a:gd name="T21" fmla="*/ 0 h 53"/>
                  <a:gd name="T22" fmla="*/ 0 w 79"/>
                  <a:gd name="T23" fmla="*/ 0 h 53"/>
                  <a:gd name="T24" fmla="*/ 0 w 79"/>
                  <a:gd name="T25" fmla="*/ 0 h 53"/>
                  <a:gd name="T26" fmla="*/ 0 w 79"/>
                  <a:gd name="T27" fmla="*/ 0 h 53"/>
                  <a:gd name="T28" fmla="*/ 0 w 79"/>
                  <a:gd name="T29" fmla="*/ 0 h 53"/>
                  <a:gd name="T30" fmla="*/ 0 w 79"/>
                  <a:gd name="T31" fmla="*/ 0 h 53"/>
                  <a:gd name="T32" fmla="*/ 0 w 79"/>
                  <a:gd name="T33" fmla="*/ 0 h 53"/>
                  <a:gd name="T34" fmla="*/ 0 w 79"/>
                  <a:gd name="T35" fmla="*/ 0 h 53"/>
                  <a:gd name="T36" fmla="*/ 0 w 79"/>
                  <a:gd name="T37" fmla="*/ 0 h 53"/>
                  <a:gd name="T38" fmla="*/ 0 w 79"/>
                  <a:gd name="T39" fmla="*/ 0 h 53"/>
                  <a:gd name="T40" fmla="*/ 0 w 79"/>
                  <a:gd name="T41" fmla="*/ 0 h 53"/>
                  <a:gd name="T42" fmla="*/ 0 w 79"/>
                  <a:gd name="T43" fmla="*/ 0 h 53"/>
                  <a:gd name="T44" fmla="*/ 0 w 79"/>
                  <a:gd name="T45" fmla="*/ 0 h 53"/>
                  <a:gd name="T46" fmla="*/ 0 w 79"/>
                  <a:gd name="T47" fmla="*/ 0 h 53"/>
                  <a:gd name="T48" fmla="*/ 0 w 79"/>
                  <a:gd name="T49" fmla="*/ 0 h 53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79"/>
                  <a:gd name="T76" fmla="*/ 0 h 53"/>
                  <a:gd name="T77" fmla="*/ 79 w 79"/>
                  <a:gd name="T78" fmla="*/ 53 h 53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79" h="53">
                    <a:moveTo>
                      <a:pt x="79" y="51"/>
                    </a:moveTo>
                    <a:lnTo>
                      <a:pt x="77" y="42"/>
                    </a:lnTo>
                    <a:lnTo>
                      <a:pt x="75" y="35"/>
                    </a:lnTo>
                    <a:lnTo>
                      <a:pt x="72" y="29"/>
                    </a:lnTo>
                    <a:lnTo>
                      <a:pt x="70" y="24"/>
                    </a:lnTo>
                    <a:lnTo>
                      <a:pt x="67" y="20"/>
                    </a:lnTo>
                    <a:lnTo>
                      <a:pt x="62" y="16"/>
                    </a:lnTo>
                    <a:lnTo>
                      <a:pt x="58" y="12"/>
                    </a:lnTo>
                    <a:lnTo>
                      <a:pt x="54" y="10"/>
                    </a:lnTo>
                    <a:lnTo>
                      <a:pt x="45" y="6"/>
                    </a:lnTo>
                    <a:lnTo>
                      <a:pt x="32" y="4"/>
                    </a:lnTo>
                    <a:lnTo>
                      <a:pt x="18" y="2"/>
                    </a:lnTo>
                    <a:lnTo>
                      <a:pt x="0" y="0"/>
                    </a:lnTo>
                    <a:lnTo>
                      <a:pt x="1" y="3"/>
                    </a:lnTo>
                    <a:lnTo>
                      <a:pt x="6" y="10"/>
                    </a:lnTo>
                    <a:lnTo>
                      <a:pt x="11" y="20"/>
                    </a:lnTo>
                    <a:lnTo>
                      <a:pt x="19" y="30"/>
                    </a:lnTo>
                    <a:lnTo>
                      <a:pt x="24" y="35"/>
                    </a:lnTo>
                    <a:lnTo>
                      <a:pt x="30" y="40"/>
                    </a:lnTo>
                    <a:lnTo>
                      <a:pt x="37" y="45"/>
                    </a:lnTo>
                    <a:lnTo>
                      <a:pt x="44" y="49"/>
                    </a:lnTo>
                    <a:lnTo>
                      <a:pt x="51" y="51"/>
                    </a:lnTo>
                    <a:lnTo>
                      <a:pt x="60" y="53"/>
                    </a:lnTo>
                    <a:lnTo>
                      <a:pt x="69" y="53"/>
                    </a:lnTo>
                    <a:lnTo>
                      <a:pt x="79" y="51"/>
                    </a:lnTo>
                    <a:close/>
                  </a:path>
                </a:pathLst>
              </a:custGeom>
              <a:solidFill>
                <a:srgbClr val="008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03" name="Freeform 118"/>
              <p:cNvSpPr>
                <a:spLocks/>
              </p:cNvSpPr>
              <p:nvPr/>
            </p:nvSpPr>
            <p:spPr bwMode="auto">
              <a:xfrm>
                <a:off x="3482" y="1621"/>
                <a:ext cx="10" cy="6"/>
              </a:xfrm>
              <a:custGeom>
                <a:avLst/>
                <a:gdLst>
                  <a:gd name="T0" fmla="*/ 0 w 74"/>
                  <a:gd name="T1" fmla="*/ 0 h 39"/>
                  <a:gd name="T2" fmla="*/ 0 w 74"/>
                  <a:gd name="T3" fmla="*/ 0 h 39"/>
                  <a:gd name="T4" fmla="*/ 0 w 74"/>
                  <a:gd name="T5" fmla="*/ 0 h 39"/>
                  <a:gd name="T6" fmla="*/ 0 w 74"/>
                  <a:gd name="T7" fmla="*/ 0 h 39"/>
                  <a:gd name="T8" fmla="*/ 0 w 74"/>
                  <a:gd name="T9" fmla="*/ 0 h 39"/>
                  <a:gd name="T10" fmla="*/ 0 w 74"/>
                  <a:gd name="T11" fmla="*/ 0 h 39"/>
                  <a:gd name="T12" fmla="*/ 0 w 74"/>
                  <a:gd name="T13" fmla="*/ 0 h 39"/>
                  <a:gd name="T14" fmla="*/ 0 w 74"/>
                  <a:gd name="T15" fmla="*/ 0 h 39"/>
                  <a:gd name="T16" fmla="*/ 0 w 74"/>
                  <a:gd name="T17" fmla="*/ 0 h 39"/>
                  <a:gd name="T18" fmla="*/ 0 w 74"/>
                  <a:gd name="T19" fmla="*/ 0 h 39"/>
                  <a:gd name="T20" fmla="*/ 0 w 74"/>
                  <a:gd name="T21" fmla="*/ 0 h 39"/>
                  <a:gd name="T22" fmla="*/ 0 w 74"/>
                  <a:gd name="T23" fmla="*/ 0 h 39"/>
                  <a:gd name="T24" fmla="*/ 0 w 74"/>
                  <a:gd name="T25" fmla="*/ 0 h 39"/>
                  <a:gd name="T26" fmla="*/ 0 w 74"/>
                  <a:gd name="T27" fmla="*/ 0 h 39"/>
                  <a:gd name="T28" fmla="*/ 0 w 74"/>
                  <a:gd name="T29" fmla="*/ 0 h 39"/>
                  <a:gd name="T30" fmla="*/ 0 w 74"/>
                  <a:gd name="T31" fmla="*/ 0 h 39"/>
                  <a:gd name="T32" fmla="*/ 0 w 74"/>
                  <a:gd name="T33" fmla="*/ 0 h 39"/>
                  <a:gd name="T34" fmla="*/ 0 w 74"/>
                  <a:gd name="T35" fmla="*/ 0 h 39"/>
                  <a:gd name="T36" fmla="*/ 0 w 74"/>
                  <a:gd name="T37" fmla="*/ 0 h 39"/>
                  <a:gd name="T38" fmla="*/ 0 w 74"/>
                  <a:gd name="T39" fmla="*/ 0 h 39"/>
                  <a:gd name="T40" fmla="*/ 0 w 74"/>
                  <a:gd name="T41" fmla="*/ 0 h 39"/>
                  <a:gd name="T42" fmla="*/ 0 w 74"/>
                  <a:gd name="T43" fmla="*/ 0 h 39"/>
                  <a:gd name="T44" fmla="*/ 0 w 74"/>
                  <a:gd name="T45" fmla="*/ 0 h 39"/>
                  <a:gd name="T46" fmla="*/ 0 w 74"/>
                  <a:gd name="T47" fmla="*/ 0 h 39"/>
                  <a:gd name="T48" fmla="*/ 0 w 74"/>
                  <a:gd name="T49" fmla="*/ 0 h 39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74"/>
                  <a:gd name="T76" fmla="*/ 0 h 39"/>
                  <a:gd name="T77" fmla="*/ 74 w 74"/>
                  <a:gd name="T78" fmla="*/ 39 h 39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74" h="39">
                    <a:moveTo>
                      <a:pt x="0" y="30"/>
                    </a:moveTo>
                    <a:lnTo>
                      <a:pt x="6" y="33"/>
                    </a:lnTo>
                    <a:lnTo>
                      <a:pt x="11" y="35"/>
                    </a:lnTo>
                    <a:lnTo>
                      <a:pt x="17" y="37"/>
                    </a:lnTo>
                    <a:lnTo>
                      <a:pt x="22" y="39"/>
                    </a:lnTo>
                    <a:lnTo>
                      <a:pt x="26" y="39"/>
                    </a:lnTo>
                    <a:lnTo>
                      <a:pt x="30" y="39"/>
                    </a:lnTo>
                    <a:lnTo>
                      <a:pt x="34" y="37"/>
                    </a:lnTo>
                    <a:lnTo>
                      <a:pt x="38" y="36"/>
                    </a:lnTo>
                    <a:lnTo>
                      <a:pt x="46" y="31"/>
                    </a:lnTo>
                    <a:lnTo>
                      <a:pt x="55" y="24"/>
                    </a:lnTo>
                    <a:lnTo>
                      <a:pt x="64" y="15"/>
                    </a:lnTo>
                    <a:lnTo>
                      <a:pt x="74" y="4"/>
                    </a:lnTo>
                    <a:lnTo>
                      <a:pt x="72" y="3"/>
                    </a:lnTo>
                    <a:lnTo>
                      <a:pt x="66" y="2"/>
                    </a:lnTo>
                    <a:lnTo>
                      <a:pt x="57" y="1"/>
                    </a:lnTo>
                    <a:lnTo>
                      <a:pt x="47" y="0"/>
                    </a:lnTo>
                    <a:lnTo>
                      <a:pt x="40" y="1"/>
                    </a:lnTo>
                    <a:lnTo>
                      <a:pt x="34" y="2"/>
                    </a:lnTo>
                    <a:lnTo>
                      <a:pt x="28" y="4"/>
                    </a:lnTo>
                    <a:lnTo>
                      <a:pt x="22" y="7"/>
                    </a:lnTo>
                    <a:lnTo>
                      <a:pt x="16" y="12"/>
                    </a:lnTo>
                    <a:lnTo>
                      <a:pt x="10" y="16"/>
                    </a:lnTo>
                    <a:lnTo>
                      <a:pt x="4" y="22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008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04" name="Freeform 119"/>
              <p:cNvSpPr>
                <a:spLocks/>
              </p:cNvSpPr>
              <p:nvPr/>
            </p:nvSpPr>
            <p:spPr bwMode="auto">
              <a:xfrm>
                <a:off x="3457" y="1584"/>
                <a:ext cx="28" cy="31"/>
              </a:xfrm>
              <a:custGeom>
                <a:avLst/>
                <a:gdLst>
                  <a:gd name="T0" fmla="*/ 0 w 194"/>
                  <a:gd name="T1" fmla="*/ 0 h 216"/>
                  <a:gd name="T2" fmla="*/ 0 w 194"/>
                  <a:gd name="T3" fmla="*/ 0 h 216"/>
                  <a:gd name="T4" fmla="*/ 0 w 194"/>
                  <a:gd name="T5" fmla="*/ 0 h 216"/>
                  <a:gd name="T6" fmla="*/ 0 w 194"/>
                  <a:gd name="T7" fmla="*/ 0 h 216"/>
                  <a:gd name="T8" fmla="*/ 0 w 194"/>
                  <a:gd name="T9" fmla="*/ 0 h 216"/>
                  <a:gd name="T10" fmla="*/ 0 w 194"/>
                  <a:gd name="T11" fmla="*/ 0 h 216"/>
                  <a:gd name="T12" fmla="*/ 0 w 194"/>
                  <a:gd name="T13" fmla="*/ 0 h 216"/>
                  <a:gd name="T14" fmla="*/ 0 w 194"/>
                  <a:gd name="T15" fmla="*/ 0 h 216"/>
                  <a:gd name="T16" fmla="*/ 0 w 194"/>
                  <a:gd name="T17" fmla="*/ 0 h 216"/>
                  <a:gd name="T18" fmla="*/ 0 w 194"/>
                  <a:gd name="T19" fmla="*/ 0 h 216"/>
                  <a:gd name="T20" fmla="*/ 0 w 194"/>
                  <a:gd name="T21" fmla="*/ 0 h 216"/>
                  <a:gd name="T22" fmla="*/ 0 w 194"/>
                  <a:gd name="T23" fmla="*/ 0 h 216"/>
                  <a:gd name="T24" fmla="*/ 0 w 194"/>
                  <a:gd name="T25" fmla="*/ 0 h 216"/>
                  <a:gd name="T26" fmla="*/ 0 w 194"/>
                  <a:gd name="T27" fmla="*/ 0 h 216"/>
                  <a:gd name="T28" fmla="*/ 0 w 194"/>
                  <a:gd name="T29" fmla="*/ 0 h 216"/>
                  <a:gd name="T30" fmla="*/ 0 w 194"/>
                  <a:gd name="T31" fmla="*/ 0 h 216"/>
                  <a:gd name="T32" fmla="*/ 0 w 194"/>
                  <a:gd name="T33" fmla="*/ 0 h 216"/>
                  <a:gd name="T34" fmla="*/ 0 w 194"/>
                  <a:gd name="T35" fmla="*/ 0 h 216"/>
                  <a:gd name="T36" fmla="*/ 0 w 194"/>
                  <a:gd name="T37" fmla="*/ 0 h 216"/>
                  <a:gd name="T38" fmla="*/ 0 w 194"/>
                  <a:gd name="T39" fmla="*/ 0 h 216"/>
                  <a:gd name="T40" fmla="*/ 0 w 194"/>
                  <a:gd name="T41" fmla="*/ 0 h 216"/>
                  <a:gd name="T42" fmla="*/ 0 w 194"/>
                  <a:gd name="T43" fmla="*/ 0 h 216"/>
                  <a:gd name="T44" fmla="*/ 0 w 194"/>
                  <a:gd name="T45" fmla="*/ 0 h 216"/>
                  <a:gd name="T46" fmla="*/ 0 w 194"/>
                  <a:gd name="T47" fmla="*/ 0 h 216"/>
                  <a:gd name="T48" fmla="*/ 0 w 194"/>
                  <a:gd name="T49" fmla="*/ 0 h 216"/>
                  <a:gd name="T50" fmla="*/ 0 w 194"/>
                  <a:gd name="T51" fmla="*/ 0 h 216"/>
                  <a:gd name="T52" fmla="*/ 0 w 194"/>
                  <a:gd name="T53" fmla="*/ 0 h 216"/>
                  <a:gd name="T54" fmla="*/ 0 w 194"/>
                  <a:gd name="T55" fmla="*/ 0 h 216"/>
                  <a:gd name="T56" fmla="*/ 0 w 194"/>
                  <a:gd name="T57" fmla="*/ 0 h 216"/>
                  <a:gd name="T58" fmla="*/ 0 w 194"/>
                  <a:gd name="T59" fmla="*/ 0 h 216"/>
                  <a:gd name="T60" fmla="*/ 0 w 194"/>
                  <a:gd name="T61" fmla="*/ 0 h 216"/>
                  <a:gd name="T62" fmla="*/ 0 w 194"/>
                  <a:gd name="T63" fmla="*/ 0 h 216"/>
                  <a:gd name="T64" fmla="*/ 0 w 194"/>
                  <a:gd name="T65" fmla="*/ 0 h 216"/>
                  <a:gd name="T66" fmla="*/ 0 w 194"/>
                  <a:gd name="T67" fmla="*/ 0 h 216"/>
                  <a:gd name="T68" fmla="*/ 0 w 194"/>
                  <a:gd name="T69" fmla="*/ 0 h 216"/>
                  <a:gd name="T70" fmla="*/ 0 w 194"/>
                  <a:gd name="T71" fmla="*/ 0 h 216"/>
                  <a:gd name="T72" fmla="*/ 0 w 194"/>
                  <a:gd name="T73" fmla="*/ 0 h 216"/>
                  <a:gd name="T74" fmla="*/ 0 w 194"/>
                  <a:gd name="T75" fmla="*/ 0 h 216"/>
                  <a:gd name="T76" fmla="*/ 0 w 194"/>
                  <a:gd name="T77" fmla="*/ 0 h 216"/>
                  <a:gd name="T78" fmla="*/ 0 w 194"/>
                  <a:gd name="T79" fmla="*/ 0 h 216"/>
                  <a:gd name="T80" fmla="*/ 0 w 194"/>
                  <a:gd name="T81" fmla="*/ 0 h 216"/>
                  <a:gd name="T82" fmla="*/ 0 w 194"/>
                  <a:gd name="T83" fmla="*/ 0 h 216"/>
                  <a:gd name="T84" fmla="*/ 0 w 194"/>
                  <a:gd name="T85" fmla="*/ 0 h 216"/>
                  <a:gd name="T86" fmla="*/ 0 w 194"/>
                  <a:gd name="T87" fmla="*/ 0 h 216"/>
                  <a:gd name="T88" fmla="*/ 0 w 194"/>
                  <a:gd name="T89" fmla="*/ 0 h 216"/>
                  <a:gd name="T90" fmla="*/ 0 w 194"/>
                  <a:gd name="T91" fmla="*/ 0 h 216"/>
                  <a:gd name="T92" fmla="*/ 0 w 194"/>
                  <a:gd name="T93" fmla="*/ 0 h 216"/>
                  <a:gd name="T94" fmla="*/ 0 w 194"/>
                  <a:gd name="T95" fmla="*/ 0 h 21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194"/>
                  <a:gd name="T145" fmla="*/ 0 h 216"/>
                  <a:gd name="T146" fmla="*/ 194 w 194"/>
                  <a:gd name="T147" fmla="*/ 216 h 21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194" h="216">
                    <a:moveTo>
                      <a:pt x="83" y="77"/>
                    </a:moveTo>
                    <a:lnTo>
                      <a:pt x="94" y="68"/>
                    </a:lnTo>
                    <a:lnTo>
                      <a:pt x="103" y="58"/>
                    </a:lnTo>
                    <a:lnTo>
                      <a:pt x="110" y="50"/>
                    </a:lnTo>
                    <a:lnTo>
                      <a:pt x="114" y="42"/>
                    </a:lnTo>
                    <a:lnTo>
                      <a:pt x="116" y="35"/>
                    </a:lnTo>
                    <a:lnTo>
                      <a:pt x="117" y="28"/>
                    </a:lnTo>
                    <a:lnTo>
                      <a:pt x="116" y="22"/>
                    </a:lnTo>
                    <a:lnTo>
                      <a:pt x="114" y="17"/>
                    </a:lnTo>
                    <a:lnTo>
                      <a:pt x="110" y="13"/>
                    </a:lnTo>
                    <a:lnTo>
                      <a:pt x="106" y="9"/>
                    </a:lnTo>
                    <a:lnTo>
                      <a:pt x="100" y="6"/>
                    </a:lnTo>
                    <a:lnTo>
                      <a:pt x="93" y="3"/>
                    </a:lnTo>
                    <a:lnTo>
                      <a:pt x="86" y="2"/>
                    </a:lnTo>
                    <a:lnTo>
                      <a:pt x="79" y="0"/>
                    </a:lnTo>
                    <a:lnTo>
                      <a:pt x="71" y="0"/>
                    </a:lnTo>
                    <a:lnTo>
                      <a:pt x="62" y="0"/>
                    </a:lnTo>
                    <a:lnTo>
                      <a:pt x="54" y="1"/>
                    </a:lnTo>
                    <a:lnTo>
                      <a:pt x="47" y="2"/>
                    </a:lnTo>
                    <a:lnTo>
                      <a:pt x="40" y="5"/>
                    </a:lnTo>
                    <a:lnTo>
                      <a:pt x="32" y="7"/>
                    </a:lnTo>
                    <a:lnTo>
                      <a:pt x="26" y="11"/>
                    </a:lnTo>
                    <a:lnTo>
                      <a:pt x="21" y="15"/>
                    </a:lnTo>
                    <a:lnTo>
                      <a:pt x="17" y="20"/>
                    </a:lnTo>
                    <a:lnTo>
                      <a:pt x="14" y="26"/>
                    </a:lnTo>
                    <a:lnTo>
                      <a:pt x="12" y="33"/>
                    </a:lnTo>
                    <a:lnTo>
                      <a:pt x="12" y="41"/>
                    </a:lnTo>
                    <a:lnTo>
                      <a:pt x="13" y="48"/>
                    </a:lnTo>
                    <a:lnTo>
                      <a:pt x="16" y="57"/>
                    </a:lnTo>
                    <a:lnTo>
                      <a:pt x="21" y="67"/>
                    </a:lnTo>
                    <a:lnTo>
                      <a:pt x="28" y="78"/>
                    </a:lnTo>
                    <a:lnTo>
                      <a:pt x="39" y="88"/>
                    </a:lnTo>
                    <a:lnTo>
                      <a:pt x="51" y="101"/>
                    </a:lnTo>
                    <a:lnTo>
                      <a:pt x="40" y="107"/>
                    </a:lnTo>
                    <a:lnTo>
                      <a:pt x="30" y="113"/>
                    </a:lnTo>
                    <a:lnTo>
                      <a:pt x="23" y="121"/>
                    </a:lnTo>
                    <a:lnTo>
                      <a:pt x="17" y="127"/>
                    </a:lnTo>
                    <a:lnTo>
                      <a:pt x="11" y="134"/>
                    </a:lnTo>
                    <a:lnTo>
                      <a:pt x="7" y="140"/>
                    </a:lnTo>
                    <a:lnTo>
                      <a:pt x="4" y="147"/>
                    </a:lnTo>
                    <a:lnTo>
                      <a:pt x="1" y="155"/>
                    </a:lnTo>
                    <a:lnTo>
                      <a:pt x="0" y="161"/>
                    </a:lnTo>
                    <a:lnTo>
                      <a:pt x="0" y="168"/>
                    </a:lnTo>
                    <a:lnTo>
                      <a:pt x="1" y="174"/>
                    </a:lnTo>
                    <a:lnTo>
                      <a:pt x="2" y="180"/>
                    </a:lnTo>
                    <a:lnTo>
                      <a:pt x="5" y="187"/>
                    </a:lnTo>
                    <a:lnTo>
                      <a:pt x="8" y="192"/>
                    </a:lnTo>
                    <a:lnTo>
                      <a:pt x="12" y="197"/>
                    </a:lnTo>
                    <a:lnTo>
                      <a:pt x="15" y="201"/>
                    </a:lnTo>
                    <a:lnTo>
                      <a:pt x="20" y="205"/>
                    </a:lnTo>
                    <a:lnTo>
                      <a:pt x="24" y="209"/>
                    </a:lnTo>
                    <a:lnTo>
                      <a:pt x="29" y="212"/>
                    </a:lnTo>
                    <a:lnTo>
                      <a:pt x="35" y="214"/>
                    </a:lnTo>
                    <a:lnTo>
                      <a:pt x="41" y="216"/>
                    </a:lnTo>
                    <a:lnTo>
                      <a:pt x="46" y="216"/>
                    </a:lnTo>
                    <a:lnTo>
                      <a:pt x="52" y="216"/>
                    </a:lnTo>
                    <a:lnTo>
                      <a:pt x="57" y="215"/>
                    </a:lnTo>
                    <a:lnTo>
                      <a:pt x="63" y="213"/>
                    </a:lnTo>
                    <a:lnTo>
                      <a:pt x="69" y="209"/>
                    </a:lnTo>
                    <a:lnTo>
                      <a:pt x="74" y="204"/>
                    </a:lnTo>
                    <a:lnTo>
                      <a:pt x="79" y="199"/>
                    </a:lnTo>
                    <a:lnTo>
                      <a:pt x="83" y="193"/>
                    </a:lnTo>
                    <a:lnTo>
                      <a:pt x="87" y="185"/>
                    </a:lnTo>
                    <a:lnTo>
                      <a:pt x="91" y="175"/>
                    </a:lnTo>
                    <a:lnTo>
                      <a:pt x="94" y="165"/>
                    </a:lnTo>
                    <a:lnTo>
                      <a:pt x="105" y="173"/>
                    </a:lnTo>
                    <a:lnTo>
                      <a:pt x="114" y="179"/>
                    </a:lnTo>
                    <a:lnTo>
                      <a:pt x="123" y="185"/>
                    </a:lnTo>
                    <a:lnTo>
                      <a:pt x="132" y="188"/>
                    </a:lnTo>
                    <a:lnTo>
                      <a:pt x="140" y="189"/>
                    </a:lnTo>
                    <a:lnTo>
                      <a:pt x="147" y="189"/>
                    </a:lnTo>
                    <a:lnTo>
                      <a:pt x="154" y="188"/>
                    </a:lnTo>
                    <a:lnTo>
                      <a:pt x="162" y="186"/>
                    </a:lnTo>
                    <a:lnTo>
                      <a:pt x="168" y="183"/>
                    </a:lnTo>
                    <a:lnTo>
                      <a:pt x="173" y="178"/>
                    </a:lnTo>
                    <a:lnTo>
                      <a:pt x="178" y="173"/>
                    </a:lnTo>
                    <a:lnTo>
                      <a:pt x="182" y="168"/>
                    </a:lnTo>
                    <a:lnTo>
                      <a:pt x="186" y="161"/>
                    </a:lnTo>
                    <a:lnTo>
                      <a:pt x="190" y="155"/>
                    </a:lnTo>
                    <a:lnTo>
                      <a:pt x="192" y="147"/>
                    </a:lnTo>
                    <a:lnTo>
                      <a:pt x="193" y="140"/>
                    </a:lnTo>
                    <a:lnTo>
                      <a:pt x="194" y="132"/>
                    </a:lnTo>
                    <a:lnTo>
                      <a:pt x="193" y="125"/>
                    </a:lnTo>
                    <a:lnTo>
                      <a:pt x="192" y="117"/>
                    </a:lnTo>
                    <a:lnTo>
                      <a:pt x="190" y="110"/>
                    </a:lnTo>
                    <a:lnTo>
                      <a:pt x="186" y="103"/>
                    </a:lnTo>
                    <a:lnTo>
                      <a:pt x="182" y="96"/>
                    </a:lnTo>
                    <a:lnTo>
                      <a:pt x="177" y="91"/>
                    </a:lnTo>
                    <a:lnTo>
                      <a:pt x="172" y="84"/>
                    </a:lnTo>
                    <a:lnTo>
                      <a:pt x="165" y="80"/>
                    </a:lnTo>
                    <a:lnTo>
                      <a:pt x="156" y="76"/>
                    </a:lnTo>
                    <a:lnTo>
                      <a:pt x="147" y="73"/>
                    </a:lnTo>
                    <a:lnTo>
                      <a:pt x="137" y="71"/>
                    </a:lnTo>
                    <a:lnTo>
                      <a:pt x="125" y="71"/>
                    </a:lnTo>
                    <a:lnTo>
                      <a:pt x="112" y="71"/>
                    </a:lnTo>
                    <a:lnTo>
                      <a:pt x="99" y="73"/>
                    </a:lnTo>
                    <a:lnTo>
                      <a:pt x="83" y="77"/>
                    </a:lnTo>
                    <a:close/>
                  </a:path>
                </a:pathLst>
              </a:custGeom>
              <a:solidFill>
                <a:srgbClr val="BF3B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05" name="Freeform 120"/>
              <p:cNvSpPr>
                <a:spLocks/>
              </p:cNvSpPr>
              <p:nvPr/>
            </p:nvSpPr>
            <p:spPr bwMode="auto">
              <a:xfrm>
                <a:off x="3461" y="1493"/>
                <a:ext cx="7" cy="7"/>
              </a:xfrm>
              <a:custGeom>
                <a:avLst/>
                <a:gdLst>
                  <a:gd name="T0" fmla="*/ 0 w 46"/>
                  <a:gd name="T1" fmla="*/ 0 h 50"/>
                  <a:gd name="T2" fmla="*/ 0 w 46"/>
                  <a:gd name="T3" fmla="*/ 0 h 50"/>
                  <a:gd name="T4" fmla="*/ 0 w 46"/>
                  <a:gd name="T5" fmla="*/ 0 h 50"/>
                  <a:gd name="T6" fmla="*/ 0 w 46"/>
                  <a:gd name="T7" fmla="*/ 0 h 50"/>
                  <a:gd name="T8" fmla="*/ 0 w 46"/>
                  <a:gd name="T9" fmla="*/ 0 h 50"/>
                  <a:gd name="T10" fmla="*/ 0 w 46"/>
                  <a:gd name="T11" fmla="*/ 0 h 50"/>
                  <a:gd name="T12" fmla="*/ 0 w 46"/>
                  <a:gd name="T13" fmla="*/ 0 h 50"/>
                  <a:gd name="T14" fmla="*/ 0 w 46"/>
                  <a:gd name="T15" fmla="*/ 0 h 50"/>
                  <a:gd name="T16" fmla="*/ 0 w 46"/>
                  <a:gd name="T17" fmla="*/ 0 h 50"/>
                  <a:gd name="T18" fmla="*/ 0 w 46"/>
                  <a:gd name="T19" fmla="*/ 0 h 50"/>
                  <a:gd name="T20" fmla="*/ 0 w 46"/>
                  <a:gd name="T21" fmla="*/ 0 h 50"/>
                  <a:gd name="T22" fmla="*/ 0 w 46"/>
                  <a:gd name="T23" fmla="*/ 0 h 50"/>
                  <a:gd name="T24" fmla="*/ 0 w 46"/>
                  <a:gd name="T25" fmla="*/ 0 h 50"/>
                  <a:gd name="T26" fmla="*/ 0 w 46"/>
                  <a:gd name="T27" fmla="*/ 0 h 50"/>
                  <a:gd name="T28" fmla="*/ 0 w 46"/>
                  <a:gd name="T29" fmla="*/ 0 h 50"/>
                  <a:gd name="T30" fmla="*/ 0 w 46"/>
                  <a:gd name="T31" fmla="*/ 0 h 50"/>
                  <a:gd name="T32" fmla="*/ 0 w 46"/>
                  <a:gd name="T33" fmla="*/ 0 h 50"/>
                  <a:gd name="T34" fmla="*/ 0 w 46"/>
                  <a:gd name="T35" fmla="*/ 0 h 50"/>
                  <a:gd name="T36" fmla="*/ 0 w 46"/>
                  <a:gd name="T37" fmla="*/ 0 h 50"/>
                  <a:gd name="T38" fmla="*/ 0 w 46"/>
                  <a:gd name="T39" fmla="*/ 0 h 50"/>
                  <a:gd name="T40" fmla="*/ 0 w 46"/>
                  <a:gd name="T41" fmla="*/ 0 h 50"/>
                  <a:gd name="T42" fmla="*/ 0 w 46"/>
                  <a:gd name="T43" fmla="*/ 0 h 50"/>
                  <a:gd name="T44" fmla="*/ 0 w 46"/>
                  <a:gd name="T45" fmla="*/ 0 h 50"/>
                  <a:gd name="T46" fmla="*/ 0 w 46"/>
                  <a:gd name="T47" fmla="*/ 0 h 50"/>
                  <a:gd name="T48" fmla="*/ 0 w 46"/>
                  <a:gd name="T49" fmla="*/ 0 h 50"/>
                  <a:gd name="T50" fmla="*/ 0 w 46"/>
                  <a:gd name="T51" fmla="*/ 0 h 50"/>
                  <a:gd name="T52" fmla="*/ 0 w 46"/>
                  <a:gd name="T53" fmla="*/ 0 h 50"/>
                  <a:gd name="T54" fmla="*/ 0 w 46"/>
                  <a:gd name="T55" fmla="*/ 0 h 50"/>
                  <a:gd name="T56" fmla="*/ 0 w 46"/>
                  <a:gd name="T57" fmla="*/ 0 h 50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46"/>
                  <a:gd name="T88" fmla="*/ 0 h 50"/>
                  <a:gd name="T89" fmla="*/ 46 w 46"/>
                  <a:gd name="T90" fmla="*/ 50 h 50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46" h="50">
                    <a:moveTo>
                      <a:pt x="0" y="34"/>
                    </a:moveTo>
                    <a:lnTo>
                      <a:pt x="1" y="36"/>
                    </a:lnTo>
                    <a:lnTo>
                      <a:pt x="6" y="40"/>
                    </a:lnTo>
                    <a:lnTo>
                      <a:pt x="12" y="45"/>
                    </a:lnTo>
                    <a:lnTo>
                      <a:pt x="20" y="49"/>
                    </a:lnTo>
                    <a:lnTo>
                      <a:pt x="23" y="50"/>
                    </a:lnTo>
                    <a:lnTo>
                      <a:pt x="27" y="50"/>
                    </a:lnTo>
                    <a:lnTo>
                      <a:pt x="31" y="50"/>
                    </a:lnTo>
                    <a:lnTo>
                      <a:pt x="35" y="48"/>
                    </a:lnTo>
                    <a:lnTo>
                      <a:pt x="38" y="45"/>
                    </a:lnTo>
                    <a:lnTo>
                      <a:pt x="41" y="40"/>
                    </a:lnTo>
                    <a:lnTo>
                      <a:pt x="44" y="34"/>
                    </a:lnTo>
                    <a:lnTo>
                      <a:pt x="45" y="24"/>
                    </a:lnTo>
                    <a:lnTo>
                      <a:pt x="46" y="17"/>
                    </a:lnTo>
                    <a:lnTo>
                      <a:pt x="45" y="11"/>
                    </a:lnTo>
                    <a:lnTo>
                      <a:pt x="44" y="7"/>
                    </a:lnTo>
                    <a:lnTo>
                      <a:pt x="41" y="4"/>
                    </a:lnTo>
                    <a:lnTo>
                      <a:pt x="38" y="1"/>
                    </a:lnTo>
                    <a:lnTo>
                      <a:pt x="33" y="0"/>
                    </a:lnTo>
                    <a:lnTo>
                      <a:pt x="29" y="0"/>
                    </a:lnTo>
                    <a:lnTo>
                      <a:pt x="25" y="1"/>
                    </a:lnTo>
                    <a:lnTo>
                      <a:pt x="20" y="3"/>
                    </a:lnTo>
                    <a:lnTo>
                      <a:pt x="16" y="5"/>
                    </a:lnTo>
                    <a:lnTo>
                      <a:pt x="12" y="8"/>
                    </a:lnTo>
                    <a:lnTo>
                      <a:pt x="8" y="12"/>
                    </a:lnTo>
                    <a:lnTo>
                      <a:pt x="5" y="17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BF3B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06" name="Freeform 121"/>
              <p:cNvSpPr>
                <a:spLocks/>
              </p:cNvSpPr>
              <p:nvPr/>
            </p:nvSpPr>
            <p:spPr bwMode="auto">
              <a:xfrm>
                <a:off x="3466" y="1597"/>
                <a:ext cx="7" cy="9"/>
              </a:xfrm>
              <a:custGeom>
                <a:avLst/>
                <a:gdLst>
                  <a:gd name="T0" fmla="*/ 0 w 47"/>
                  <a:gd name="T1" fmla="*/ 0 h 58"/>
                  <a:gd name="T2" fmla="*/ 0 w 47"/>
                  <a:gd name="T3" fmla="*/ 0 h 58"/>
                  <a:gd name="T4" fmla="*/ 0 w 47"/>
                  <a:gd name="T5" fmla="*/ 0 h 58"/>
                  <a:gd name="T6" fmla="*/ 0 w 47"/>
                  <a:gd name="T7" fmla="*/ 0 h 58"/>
                  <a:gd name="T8" fmla="*/ 0 w 47"/>
                  <a:gd name="T9" fmla="*/ 0 h 58"/>
                  <a:gd name="T10" fmla="*/ 0 w 47"/>
                  <a:gd name="T11" fmla="*/ 0 h 58"/>
                  <a:gd name="T12" fmla="*/ 0 w 47"/>
                  <a:gd name="T13" fmla="*/ 0 h 58"/>
                  <a:gd name="T14" fmla="*/ 0 w 47"/>
                  <a:gd name="T15" fmla="*/ 0 h 58"/>
                  <a:gd name="T16" fmla="*/ 0 w 47"/>
                  <a:gd name="T17" fmla="*/ 0 h 58"/>
                  <a:gd name="T18" fmla="*/ 0 w 47"/>
                  <a:gd name="T19" fmla="*/ 0 h 58"/>
                  <a:gd name="T20" fmla="*/ 0 w 47"/>
                  <a:gd name="T21" fmla="*/ 0 h 58"/>
                  <a:gd name="T22" fmla="*/ 0 w 47"/>
                  <a:gd name="T23" fmla="*/ 0 h 58"/>
                  <a:gd name="T24" fmla="*/ 0 w 47"/>
                  <a:gd name="T25" fmla="*/ 0 h 58"/>
                  <a:gd name="T26" fmla="*/ 0 w 47"/>
                  <a:gd name="T27" fmla="*/ 0 h 58"/>
                  <a:gd name="T28" fmla="*/ 0 w 47"/>
                  <a:gd name="T29" fmla="*/ 0 h 58"/>
                  <a:gd name="T30" fmla="*/ 0 w 47"/>
                  <a:gd name="T31" fmla="*/ 0 h 58"/>
                  <a:gd name="T32" fmla="*/ 0 w 47"/>
                  <a:gd name="T33" fmla="*/ 0 h 58"/>
                  <a:gd name="T34" fmla="*/ 0 w 47"/>
                  <a:gd name="T35" fmla="*/ 0 h 58"/>
                  <a:gd name="T36" fmla="*/ 0 w 47"/>
                  <a:gd name="T37" fmla="*/ 0 h 58"/>
                  <a:gd name="T38" fmla="*/ 0 w 47"/>
                  <a:gd name="T39" fmla="*/ 0 h 58"/>
                  <a:gd name="T40" fmla="*/ 0 w 47"/>
                  <a:gd name="T41" fmla="*/ 0 h 58"/>
                  <a:gd name="T42" fmla="*/ 0 w 47"/>
                  <a:gd name="T43" fmla="*/ 0 h 58"/>
                  <a:gd name="T44" fmla="*/ 0 w 47"/>
                  <a:gd name="T45" fmla="*/ 0 h 58"/>
                  <a:gd name="T46" fmla="*/ 0 w 47"/>
                  <a:gd name="T47" fmla="*/ 0 h 58"/>
                  <a:gd name="T48" fmla="*/ 0 w 47"/>
                  <a:gd name="T49" fmla="*/ 0 h 58"/>
                  <a:gd name="T50" fmla="*/ 0 w 47"/>
                  <a:gd name="T51" fmla="*/ 0 h 58"/>
                  <a:gd name="T52" fmla="*/ 0 w 47"/>
                  <a:gd name="T53" fmla="*/ 0 h 58"/>
                  <a:gd name="T54" fmla="*/ 0 w 47"/>
                  <a:gd name="T55" fmla="*/ 0 h 58"/>
                  <a:gd name="T56" fmla="*/ 0 w 47"/>
                  <a:gd name="T57" fmla="*/ 0 h 58"/>
                  <a:gd name="T58" fmla="*/ 0 w 47"/>
                  <a:gd name="T59" fmla="*/ 0 h 58"/>
                  <a:gd name="T60" fmla="*/ 0 w 47"/>
                  <a:gd name="T61" fmla="*/ 0 h 58"/>
                  <a:gd name="T62" fmla="*/ 0 w 47"/>
                  <a:gd name="T63" fmla="*/ 0 h 58"/>
                  <a:gd name="T64" fmla="*/ 0 w 47"/>
                  <a:gd name="T65" fmla="*/ 0 h 58"/>
                  <a:gd name="T66" fmla="*/ 0 w 47"/>
                  <a:gd name="T67" fmla="*/ 0 h 58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47"/>
                  <a:gd name="T103" fmla="*/ 0 h 58"/>
                  <a:gd name="T104" fmla="*/ 47 w 47"/>
                  <a:gd name="T105" fmla="*/ 58 h 58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47" h="58">
                    <a:moveTo>
                      <a:pt x="1" y="36"/>
                    </a:moveTo>
                    <a:lnTo>
                      <a:pt x="1" y="22"/>
                    </a:lnTo>
                    <a:lnTo>
                      <a:pt x="0" y="31"/>
                    </a:lnTo>
                    <a:lnTo>
                      <a:pt x="0" y="37"/>
                    </a:lnTo>
                    <a:lnTo>
                      <a:pt x="3" y="43"/>
                    </a:lnTo>
                    <a:lnTo>
                      <a:pt x="5" y="48"/>
                    </a:lnTo>
                    <a:lnTo>
                      <a:pt x="8" y="51"/>
                    </a:lnTo>
                    <a:lnTo>
                      <a:pt x="12" y="55"/>
                    </a:lnTo>
                    <a:lnTo>
                      <a:pt x="16" y="57"/>
                    </a:lnTo>
                    <a:lnTo>
                      <a:pt x="21" y="58"/>
                    </a:lnTo>
                    <a:lnTo>
                      <a:pt x="25" y="57"/>
                    </a:lnTo>
                    <a:lnTo>
                      <a:pt x="30" y="56"/>
                    </a:lnTo>
                    <a:lnTo>
                      <a:pt x="35" y="53"/>
                    </a:lnTo>
                    <a:lnTo>
                      <a:pt x="39" y="50"/>
                    </a:lnTo>
                    <a:lnTo>
                      <a:pt x="42" y="46"/>
                    </a:lnTo>
                    <a:lnTo>
                      <a:pt x="45" y="40"/>
                    </a:lnTo>
                    <a:lnTo>
                      <a:pt x="47" y="34"/>
                    </a:lnTo>
                    <a:lnTo>
                      <a:pt x="47" y="27"/>
                    </a:lnTo>
                    <a:lnTo>
                      <a:pt x="47" y="18"/>
                    </a:lnTo>
                    <a:lnTo>
                      <a:pt x="46" y="12"/>
                    </a:lnTo>
                    <a:lnTo>
                      <a:pt x="44" y="7"/>
                    </a:lnTo>
                    <a:lnTo>
                      <a:pt x="41" y="4"/>
                    </a:lnTo>
                    <a:lnTo>
                      <a:pt x="38" y="2"/>
                    </a:lnTo>
                    <a:lnTo>
                      <a:pt x="34" y="1"/>
                    </a:lnTo>
                    <a:lnTo>
                      <a:pt x="29" y="0"/>
                    </a:lnTo>
                    <a:lnTo>
                      <a:pt x="25" y="1"/>
                    </a:lnTo>
                    <a:lnTo>
                      <a:pt x="20" y="3"/>
                    </a:lnTo>
                    <a:lnTo>
                      <a:pt x="16" y="6"/>
                    </a:lnTo>
                    <a:lnTo>
                      <a:pt x="12" y="9"/>
                    </a:lnTo>
                    <a:lnTo>
                      <a:pt x="9" y="13"/>
                    </a:lnTo>
                    <a:lnTo>
                      <a:pt x="6" y="18"/>
                    </a:lnTo>
                    <a:lnTo>
                      <a:pt x="4" y="23"/>
                    </a:lnTo>
                    <a:lnTo>
                      <a:pt x="1" y="30"/>
                    </a:lnTo>
                    <a:lnTo>
                      <a:pt x="1" y="36"/>
                    </a:lnTo>
                    <a:close/>
                  </a:path>
                </a:pathLst>
              </a:custGeom>
              <a:solidFill>
                <a:srgbClr val="F4E25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07" name="Freeform 122"/>
              <p:cNvSpPr>
                <a:spLocks/>
              </p:cNvSpPr>
              <p:nvPr/>
            </p:nvSpPr>
            <p:spPr bwMode="auto">
              <a:xfrm>
                <a:off x="3172" y="1838"/>
                <a:ext cx="780" cy="115"/>
              </a:xfrm>
              <a:custGeom>
                <a:avLst/>
                <a:gdLst>
                  <a:gd name="T0" fmla="*/ 0 w 5462"/>
                  <a:gd name="T1" fmla="*/ 0 h 807"/>
                  <a:gd name="T2" fmla="*/ 0 w 5462"/>
                  <a:gd name="T3" fmla="*/ 0 h 807"/>
                  <a:gd name="T4" fmla="*/ 0 w 5462"/>
                  <a:gd name="T5" fmla="*/ 0 h 807"/>
                  <a:gd name="T6" fmla="*/ 0 w 5462"/>
                  <a:gd name="T7" fmla="*/ 0 h 807"/>
                  <a:gd name="T8" fmla="*/ 0 w 5462"/>
                  <a:gd name="T9" fmla="*/ 0 h 807"/>
                  <a:gd name="T10" fmla="*/ 0 w 5462"/>
                  <a:gd name="T11" fmla="*/ 0 h 807"/>
                  <a:gd name="T12" fmla="*/ 0 w 5462"/>
                  <a:gd name="T13" fmla="*/ 0 h 807"/>
                  <a:gd name="T14" fmla="*/ 0 w 5462"/>
                  <a:gd name="T15" fmla="*/ 0 h 807"/>
                  <a:gd name="T16" fmla="*/ 0 w 5462"/>
                  <a:gd name="T17" fmla="*/ 0 h 807"/>
                  <a:gd name="T18" fmla="*/ 0 w 5462"/>
                  <a:gd name="T19" fmla="*/ 0 h 807"/>
                  <a:gd name="T20" fmla="*/ 0 w 5462"/>
                  <a:gd name="T21" fmla="*/ 0 h 807"/>
                  <a:gd name="T22" fmla="*/ 0 w 5462"/>
                  <a:gd name="T23" fmla="*/ 0 h 807"/>
                  <a:gd name="T24" fmla="*/ 0 w 5462"/>
                  <a:gd name="T25" fmla="*/ 0 h 807"/>
                  <a:gd name="T26" fmla="*/ 0 w 5462"/>
                  <a:gd name="T27" fmla="*/ 0 h 807"/>
                  <a:gd name="T28" fmla="*/ 0 w 5462"/>
                  <a:gd name="T29" fmla="*/ 0 h 807"/>
                  <a:gd name="T30" fmla="*/ 0 w 5462"/>
                  <a:gd name="T31" fmla="*/ 0 h 807"/>
                  <a:gd name="T32" fmla="*/ 0 w 5462"/>
                  <a:gd name="T33" fmla="*/ 0 h 807"/>
                  <a:gd name="T34" fmla="*/ 0 w 5462"/>
                  <a:gd name="T35" fmla="*/ 0 h 807"/>
                  <a:gd name="T36" fmla="*/ 0 w 5462"/>
                  <a:gd name="T37" fmla="*/ 0 h 807"/>
                  <a:gd name="T38" fmla="*/ 0 w 5462"/>
                  <a:gd name="T39" fmla="*/ 0 h 807"/>
                  <a:gd name="T40" fmla="*/ 0 w 5462"/>
                  <a:gd name="T41" fmla="*/ 0 h 807"/>
                  <a:gd name="T42" fmla="*/ 0 w 5462"/>
                  <a:gd name="T43" fmla="*/ 0 h 807"/>
                  <a:gd name="T44" fmla="*/ 0 w 5462"/>
                  <a:gd name="T45" fmla="*/ 0 h 807"/>
                  <a:gd name="T46" fmla="*/ 0 w 5462"/>
                  <a:gd name="T47" fmla="*/ 0 h 807"/>
                  <a:gd name="T48" fmla="*/ 0 w 5462"/>
                  <a:gd name="T49" fmla="*/ 0 h 807"/>
                  <a:gd name="T50" fmla="*/ 0 w 5462"/>
                  <a:gd name="T51" fmla="*/ 0 h 807"/>
                  <a:gd name="T52" fmla="*/ 0 w 5462"/>
                  <a:gd name="T53" fmla="*/ 0 h 807"/>
                  <a:gd name="T54" fmla="*/ 0 w 5462"/>
                  <a:gd name="T55" fmla="*/ 0 h 807"/>
                  <a:gd name="T56" fmla="*/ 0 w 5462"/>
                  <a:gd name="T57" fmla="*/ 0 h 807"/>
                  <a:gd name="T58" fmla="*/ 0 w 5462"/>
                  <a:gd name="T59" fmla="*/ 0 h 807"/>
                  <a:gd name="T60" fmla="*/ 0 w 5462"/>
                  <a:gd name="T61" fmla="*/ 0 h 807"/>
                  <a:gd name="T62" fmla="*/ 0 w 5462"/>
                  <a:gd name="T63" fmla="*/ 0 h 807"/>
                  <a:gd name="T64" fmla="*/ 0 w 5462"/>
                  <a:gd name="T65" fmla="*/ 0 h 807"/>
                  <a:gd name="T66" fmla="*/ 0 w 5462"/>
                  <a:gd name="T67" fmla="*/ 0 h 807"/>
                  <a:gd name="T68" fmla="*/ 0 w 5462"/>
                  <a:gd name="T69" fmla="*/ 0 h 807"/>
                  <a:gd name="T70" fmla="*/ 0 w 5462"/>
                  <a:gd name="T71" fmla="*/ 0 h 807"/>
                  <a:gd name="T72" fmla="*/ 0 w 5462"/>
                  <a:gd name="T73" fmla="*/ 0 h 807"/>
                  <a:gd name="T74" fmla="*/ 0 w 5462"/>
                  <a:gd name="T75" fmla="*/ 0 h 807"/>
                  <a:gd name="T76" fmla="*/ 0 w 5462"/>
                  <a:gd name="T77" fmla="*/ 0 h 807"/>
                  <a:gd name="T78" fmla="*/ 0 w 5462"/>
                  <a:gd name="T79" fmla="*/ 0 h 807"/>
                  <a:gd name="T80" fmla="*/ 0 w 5462"/>
                  <a:gd name="T81" fmla="*/ 0 h 807"/>
                  <a:gd name="T82" fmla="*/ 0 w 5462"/>
                  <a:gd name="T83" fmla="*/ 0 h 807"/>
                  <a:gd name="T84" fmla="*/ 0 w 5462"/>
                  <a:gd name="T85" fmla="*/ 0 h 807"/>
                  <a:gd name="T86" fmla="*/ 0 w 5462"/>
                  <a:gd name="T87" fmla="*/ 0 h 807"/>
                  <a:gd name="T88" fmla="*/ 0 w 5462"/>
                  <a:gd name="T89" fmla="*/ 0 h 807"/>
                  <a:gd name="T90" fmla="*/ 0 w 5462"/>
                  <a:gd name="T91" fmla="*/ 0 h 807"/>
                  <a:gd name="T92" fmla="*/ 0 w 5462"/>
                  <a:gd name="T93" fmla="*/ 0 h 807"/>
                  <a:gd name="T94" fmla="*/ 0 w 5462"/>
                  <a:gd name="T95" fmla="*/ 0 h 807"/>
                  <a:gd name="T96" fmla="*/ 0 w 5462"/>
                  <a:gd name="T97" fmla="*/ 0 h 807"/>
                  <a:gd name="T98" fmla="*/ 0 w 5462"/>
                  <a:gd name="T99" fmla="*/ 0 h 807"/>
                  <a:gd name="T100" fmla="*/ 0 w 5462"/>
                  <a:gd name="T101" fmla="*/ 0 h 807"/>
                  <a:gd name="T102" fmla="*/ 0 w 5462"/>
                  <a:gd name="T103" fmla="*/ 0 h 807"/>
                  <a:gd name="T104" fmla="*/ 0 w 5462"/>
                  <a:gd name="T105" fmla="*/ 0 h 807"/>
                  <a:gd name="T106" fmla="*/ 0 w 5462"/>
                  <a:gd name="T107" fmla="*/ 0 h 807"/>
                  <a:gd name="T108" fmla="*/ 0 w 5462"/>
                  <a:gd name="T109" fmla="*/ 0 h 807"/>
                  <a:gd name="T110" fmla="*/ 0 w 5462"/>
                  <a:gd name="T111" fmla="*/ 0 h 807"/>
                  <a:gd name="T112" fmla="*/ 0 w 5462"/>
                  <a:gd name="T113" fmla="*/ 0 h 807"/>
                  <a:gd name="T114" fmla="*/ 0 w 5462"/>
                  <a:gd name="T115" fmla="*/ 0 h 807"/>
                  <a:gd name="T116" fmla="*/ 0 w 5462"/>
                  <a:gd name="T117" fmla="*/ 0 h 807"/>
                  <a:gd name="T118" fmla="*/ 0 w 5462"/>
                  <a:gd name="T119" fmla="*/ 0 h 807"/>
                  <a:gd name="T120" fmla="*/ 0 w 5462"/>
                  <a:gd name="T121" fmla="*/ 0 h 807"/>
                  <a:gd name="T122" fmla="*/ 0 w 5462"/>
                  <a:gd name="T123" fmla="*/ 0 h 807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5462"/>
                  <a:gd name="T187" fmla="*/ 0 h 807"/>
                  <a:gd name="T188" fmla="*/ 5462 w 5462"/>
                  <a:gd name="T189" fmla="*/ 807 h 807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5462" h="807">
                    <a:moveTo>
                      <a:pt x="4513" y="431"/>
                    </a:moveTo>
                    <a:lnTo>
                      <a:pt x="4426" y="450"/>
                    </a:lnTo>
                    <a:lnTo>
                      <a:pt x="4342" y="468"/>
                    </a:lnTo>
                    <a:lnTo>
                      <a:pt x="4262" y="486"/>
                    </a:lnTo>
                    <a:lnTo>
                      <a:pt x="4185" y="504"/>
                    </a:lnTo>
                    <a:lnTo>
                      <a:pt x="4111" y="520"/>
                    </a:lnTo>
                    <a:lnTo>
                      <a:pt x="4041" y="537"/>
                    </a:lnTo>
                    <a:lnTo>
                      <a:pt x="3974" y="552"/>
                    </a:lnTo>
                    <a:lnTo>
                      <a:pt x="3911" y="567"/>
                    </a:lnTo>
                    <a:lnTo>
                      <a:pt x="3851" y="580"/>
                    </a:lnTo>
                    <a:lnTo>
                      <a:pt x="3795" y="593"/>
                    </a:lnTo>
                    <a:lnTo>
                      <a:pt x="3742" y="603"/>
                    </a:lnTo>
                    <a:lnTo>
                      <a:pt x="3692" y="612"/>
                    </a:lnTo>
                    <a:lnTo>
                      <a:pt x="3646" y="621"/>
                    </a:lnTo>
                    <a:lnTo>
                      <a:pt x="3603" y="626"/>
                    </a:lnTo>
                    <a:lnTo>
                      <a:pt x="3565" y="630"/>
                    </a:lnTo>
                    <a:lnTo>
                      <a:pt x="3529" y="632"/>
                    </a:lnTo>
                    <a:lnTo>
                      <a:pt x="3477" y="634"/>
                    </a:lnTo>
                    <a:lnTo>
                      <a:pt x="3424" y="637"/>
                    </a:lnTo>
                    <a:lnTo>
                      <a:pt x="3371" y="642"/>
                    </a:lnTo>
                    <a:lnTo>
                      <a:pt x="3318" y="647"/>
                    </a:lnTo>
                    <a:lnTo>
                      <a:pt x="3264" y="654"/>
                    </a:lnTo>
                    <a:lnTo>
                      <a:pt x="3212" y="660"/>
                    </a:lnTo>
                    <a:lnTo>
                      <a:pt x="3158" y="667"/>
                    </a:lnTo>
                    <a:lnTo>
                      <a:pt x="3106" y="673"/>
                    </a:lnTo>
                    <a:lnTo>
                      <a:pt x="3039" y="683"/>
                    </a:lnTo>
                    <a:lnTo>
                      <a:pt x="2971" y="691"/>
                    </a:lnTo>
                    <a:lnTo>
                      <a:pt x="2904" y="699"/>
                    </a:lnTo>
                    <a:lnTo>
                      <a:pt x="2836" y="705"/>
                    </a:lnTo>
                    <a:lnTo>
                      <a:pt x="2767" y="712"/>
                    </a:lnTo>
                    <a:lnTo>
                      <a:pt x="2699" y="715"/>
                    </a:lnTo>
                    <a:lnTo>
                      <a:pt x="2665" y="717"/>
                    </a:lnTo>
                    <a:lnTo>
                      <a:pt x="2631" y="717"/>
                    </a:lnTo>
                    <a:lnTo>
                      <a:pt x="2597" y="717"/>
                    </a:lnTo>
                    <a:lnTo>
                      <a:pt x="2564" y="716"/>
                    </a:lnTo>
                    <a:lnTo>
                      <a:pt x="2520" y="714"/>
                    </a:lnTo>
                    <a:lnTo>
                      <a:pt x="2476" y="711"/>
                    </a:lnTo>
                    <a:lnTo>
                      <a:pt x="2431" y="706"/>
                    </a:lnTo>
                    <a:lnTo>
                      <a:pt x="2386" y="700"/>
                    </a:lnTo>
                    <a:lnTo>
                      <a:pt x="2340" y="694"/>
                    </a:lnTo>
                    <a:lnTo>
                      <a:pt x="2292" y="687"/>
                    </a:lnTo>
                    <a:lnTo>
                      <a:pt x="2244" y="678"/>
                    </a:lnTo>
                    <a:lnTo>
                      <a:pt x="2197" y="670"/>
                    </a:lnTo>
                    <a:lnTo>
                      <a:pt x="2148" y="662"/>
                    </a:lnTo>
                    <a:lnTo>
                      <a:pt x="2101" y="654"/>
                    </a:lnTo>
                    <a:lnTo>
                      <a:pt x="2052" y="645"/>
                    </a:lnTo>
                    <a:lnTo>
                      <a:pt x="2005" y="637"/>
                    </a:lnTo>
                    <a:lnTo>
                      <a:pt x="1956" y="630"/>
                    </a:lnTo>
                    <a:lnTo>
                      <a:pt x="1910" y="623"/>
                    </a:lnTo>
                    <a:lnTo>
                      <a:pt x="1862" y="616"/>
                    </a:lnTo>
                    <a:lnTo>
                      <a:pt x="1817" y="611"/>
                    </a:lnTo>
                    <a:lnTo>
                      <a:pt x="1574" y="587"/>
                    </a:lnTo>
                    <a:lnTo>
                      <a:pt x="1532" y="583"/>
                    </a:lnTo>
                    <a:lnTo>
                      <a:pt x="1491" y="577"/>
                    </a:lnTo>
                    <a:lnTo>
                      <a:pt x="1450" y="571"/>
                    </a:lnTo>
                    <a:lnTo>
                      <a:pt x="1407" y="564"/>
                    </a:lnTo>
                    <a:lnTo>
                      <a:pt x="1366" y="555"/>
                    </a:lnTo>
                    <a:lnTo>
                      <a:pt x="1325" y="547"/>
                    </a:lnTo>
                    <a:lnTo>
                      <a:pt x="1283" y="537"/>
                    </a:lnTo>
                    <a:lnTo>
                      <a:pt x="1243" y="527"/>
                    </a:lnTo>
                    <a:lnTo>
                      <a:pt x="1161" y="506"/>
                    </a:lnTo>
                    <a:lnTo>
                      <a:pt x="1081" y="482"/>
                    </a:lnTo>
                    <a:lnTo>
                      <a:pt x="1003" y="459"/>
                    </a:lnTo>
                    <a:lnTo>
                      <a:pt x="927" y="435"/>
                    </a:lnTo>
                    <a:lnTo>
                      <a:pt x="888" y="423"/>
                    </a:lnTo>
                    <a:lnTo>
                      <a:pt x="849" y="412"/>
                    </a:lnTo>
                    <a:lnTo>
                      <a:pt x="812" y="400"/>
                    </a:lnTo>
                    <a:lnTo>
                      <a:pt x="775" y="390"/>
                    </a:lnTo>
                    <a:lnTo>
                      <a:pt x="739" y="380"/>
                    </a:lnTo>
                    <a:lnTo>
                      <a:pt x="704" y="370"/>
                    </a:lnTo>
                    <a:lnTo>
                      <a:pt x="670" y="361"/>
                    </a:lnTo>
                    <a:lnTo>
                      <a:pt x="638" y="354"/>
                    </a:lnTo>
                    <a:lnTo>
                      <a:pt x="637" y="353"/>
                    </a:lnTo>
                    <a:lnTo>
                      <a:pt x="638" y="354"/>
                    </a:lnTo>
                    <a:lnTo>
                      <a:pt x="532" y="333"/>
                    </a:lnTo>
                    <a:lnTo>
                      <a:pt x="465" y="321"/>
                    </a:lnTo>
                    <a:lnTo>
                      <a:pt x="397" y="306"/>
                    </a:lnTo>
                    <a:lnTo>
                      <a:pt x="362" y="297"/>
                    </a:lnTo>
                    <a:lnTo>
                      <a:pt x="326" y="288"/>
                    </a:lnTo>
                    <a:lnTo>
                      <a:pt x="291" y="276"/>
                    </a:lnTo>
                    <a:lnTo>
                      <a:pt x="256" y="264"/>
                    </a:lnTo>
                    <a:lnTo>
                      <a:pt x="239" y="257"/>
                    </a:lnTo>
                    <a:lnTo>
                      <a:pt x="221" y="249"/>
                    </a:lnTo>
                    <a:lnTo>
                      <a:pt x="205" y="241"/>
                    </a:lnTo>
                    <a:lnTo>
                      <a:pt x="187" y="232"/>
                    </a:lnTo>
                    <a:lnTo>
                      <a:pt x="170" y="223"/>
                    </a:lnTo>
                    <a:lnTo>
                      <a:pt x="154" y="213"/>
                    </a:lnTo>
                    <a:lnTo>
                      <a:pt x="137" y="203"/>
                    </a:lnTo>
                    <a:lnTo>
                      <a:pt x="121" y="192"/>
                    </a:lnTo>
                    <a:lnTo>
                      <a:pt x="104" y="181"/>
                    </a:lnTo>
                    <a:lnTo>
                      <a:pt x="89" y="169"/>
                    </a:lnTo>
                    <a:lnTo>
                      <a:pt x="73" y="156"/>
                    </a:lnTo>
                    <a:lnTo>
                      <a:pt x="58" y="142"/>
                    </a:lnTo>
                    <a:lnTo>
                      <a:pt x="43" y="128"/>
                    </a:lnTo>
                    <a:lnTo>
                      <a:pt x="28" y="113"/>
                    </a:lnTo>
                    <a:lnTo>
                      <a:pt x="14" y="97"/>
                    </a:lnTo>
                    <a:lnTo>
                      <a:pt x="0" y="81"/>
                    </a:lnTo>
                    <a:lnTo>
                      <a:pt x="0" y="99"/>
                    </a:lnTo>
                    <a:lnTo>
                      <a:pt x="0" y="116"/>
                    </a:lnTo>
                    <a:lnTo>
                      <a:pt x="0" y="131"/>
                    </a:lnTo>
                    <a:lnTo>
                      <a:pt x="1" y="146"/>
                    </a:lnTo>
                    <a:lnTo>
                      <a:pt x="2" y="157"/>
                    </a:lnTo>
                    <a:lnTo>
                      <a:pt x="4" y="168"/>
                    </a:lnTo>
                    <a:lnTo>
                      <a:pt x="6" y="177"/>
                    </a:lnTo>
                    <a:lnTo>
                      <a:pt x="9" y="183"/>
                    </a:lnTo>
                    <a:lnTo>
                      <a:pt x="20" y="202"/>
                    </a:lnTo>
                    <a:lnTo>
                      <a:pt x="30" y="220"/>
                    </a:lnTo>
                    <a:lnTo>
                      <a:pt x="41" y="238"/>
                    </a:lnTo>
                    <a:lnTo>
                      <a:pt x="52" y="256"/>
                    </a:lnTo>
                    <a:lnTo>
                      <a:pt x="81" y="275"/>
                    </a:lnTo>
                    <a:lnTo>
                      <a:pt x="109" y="293"/>
                    </a:lnTo>
                    <a:lnTo>
                      <a:pt x="138" y="309"/>
                    </a:lnTo>
                    <a:lnTo>
                      <a:pt x="168" y="324"/>
                    </a:lnTo>
                    <a:lnTo>
                      <a:pt x="198" y="337"/>
                    </a:lnTo>
                    <a:lnTo>
                      <a:pt x="228" y="350"/>
                    </a:lnTo>
                    <a:lnTo>
                      <a:pt x="258" y="360"/>
                    </a:lnTo>
                    <a:lnTo>
                      <a:pt x="288" y="370"/>
                    </a:lnTo>
                    <a:lnTo>
                      <a:pt x="317" y="379"/>
                    </a:lnTo>
                    <a:lnTo>
                      <a:pt x="347" y="387"/>
                    </a:lnTo>
                    <a:lnTo>
                      <a:pt x="376" y="394"/>
                    </a:lnTo>
                    <a:lnTo>
                      <a:pt x="405" y="400"/>
                    </a:lnTo>
                    <a:lnTo>
                      <a:pt x="462" y="412"/>
                    </a:lnTo>
                    <a:lnTo>
                      <a:pt x="515" y="421"/>
                    </a:lnTo>
                    <a:lnTo>
                      <a:pt x="616" y="441"/>
                    </a:lnTo>
                    <a:lnTo>
                      <a:pt x="648" y="448"/>
                    </a:lnTo>
                    <a:lnTo>
                      <a:pt x="681" y="457"/>
                    </a:lnTo>
                    <a:lnTo>
                      <a:pt x="715" y="466"/>
                    </a:lnTo>
                    <a:lnTo>
                      <a:pt x="750" y="476"/>
                    </a:lnTo>
                    <a:lnTo>
                      <a:pt x="786" y="487"/>
                    </a:lnTo>
                    <a:lnTo>
                      <a:pt x="823" y="498"/>
                    </a:lnTo>
                    <a:lnTo>
                      <a:pt x="861" y="509"/>
                    </a:lnTo>
                    <a:lnTo>
                      <a:pt x="899" y="521"/>
                    </a:lnTo>
                    <a:lnTo>
                      <a:pt x="976" y="545"/>
                    </a:lnTo>
                    <a:lnTo>
                      <a:pt x="1057" y="569"/>
                    </a:lnTo>
                    <a:lnTo>
                      <a:pt x="1139" y="593"/>
                    </a:lnTo>
                    <a:lnTo>
                      <a:pt x="1222" y="614"/>
                    </a:lnTo>
                    <a:lnTo>
                      <a:pt x="1265" y="625"/>
                    </a:lnTo>
                    <a:lnTo>
                      <a:pt x="1307" y="635"/>
                    </a:lnTo>
                    <a:lnTo>
                      <a:pt x="1350" y="644"/>
                    </a:lnTo>
                    <a:lnTo>
                      <a:pt x="1393" y="653"/>
                    </a:lnTo>
                    <a:lnTo>
                      <a:pt x="1435" y="660"/>
                    </a:lnTo>
                    <a:lnTo>
                      <a:pt x="1479" y="666"/>
                    </a:lnTo>
                    <a:lnTo>
                      <a:pt x="1522" y="672"/>
                    </a:lnTo>
                    <a:lnTo>
                      <a:pt x="1566" y="676"/>
                    </a:lnTo>
                    <a:lnTo>
                      <a:pt x="1807" y="700"/>
                    </a:lnTo>
                    <a:lnTo>
                      <a:pt x="1853" y="705"/>
                    </a:lnTo>
                    <a:lnTo>
                      <a:pt x="1900" y="712"/>
                    </a:lnTo>
                    <a:lnTo>
                      <a:pt x="1948" y="719"/>
                    </a:lnTo>
                    <a:lnTo>
                      <a:pt x="1996" y="726"/>
                    </a:lnTo>
                    <a:lnTo>
                      <a:pt x="2044" y="734"/>
                    </a:lnTo>
                    <a:lnTo>
                      <a:pt x="2093" y="743"/>
                    </a:lnTo>
                    <a:lnTo>
                      <a:pt x="2141" y="752"/>
                    </a:lnTo>
                    <a:lnTo>
                      <a:pt x="2190" y="760"/>
                    </a:lnTo>
                    <a:lnTo>
                      <a:pt x="2238" y="768"/>
                    </a:lnTo>
                    <a:lnTo>
                      <a:pt x="2286" y="776"/>
                    </a:lnTo>
                    <a:lnTo>
                      <a:pt x="2333" y="783"/>
                    </a:lnTo>
                    <a:lnTo>
                      <a:pt x="2381" y="790"/>
                    </a:lnTo>
                    <a:lnTo>
                      <a:pt x="2426" y="795"/>
                    </a:lnTo>
                    <a:lnTo>
                      <a:pt x="2472" y="800"/>
                    </a:lnTo>
                    <a:lnTo>
                      <a:pt x="2517" y="804"/>
                    </a:lnTo>
                    <a:lnTo>
                      <a:pt x="2561" y="806"/>
                    </a:lnTo>
                    <a:lnTo>
                      <a:pt x="2596" y="807"/>
                    </a:lnTo>
                    <a:lnTo>
                      <a:pt x="2631" y="807"/>
                    </a:lnTo>
                    <a:lnTo>
                      <a:pt x="2666" y="806"/>
                    </a:lnTo>
                    <a:lnTo>
                      <a:pt x="2701" y="805"/>
                    </a:lnTo>
                    <a:lnTo>
                      <a:pt x="2771" y="802"/>
                    </a:lnTo>
                    <a:lnTo>
                      <a:pt x="2842" y="795"/>
                    </a:lnTo>
                    <a:lnTo>
                      <a:pt x="2911" y="788"/>
                    </a:lnTo>
                    <a:lnTo>
                      <a:pt x="2981" y="780"/>
                    </a:lnTo>
                    <a:lnTo>
                      <a:pt x="3049" y="772"/>
                    </a:lnTo>
                    <a:lnTo>
                      <a:pt x="3119" y="762"/>
                    </a:lnTo>
                    <a:lnTo>
                      <a:pt x="3171" y="756"/>
                    </a:lnTo>
                    <a:lnTo>
                      <a:pt x="3225" y="749"/>
                    </a:lnTo>
                    <a:lnTo>
                      <a:pt x="3277" y="743"/>
                    </a:lnTo>
                    <a:lnTo>
                      <a:pt x="3328" y="736"/>
                    </a:lnTo>
                    <a:lnTo>
                      <a:pt x="3380" y="731"/>
                    </a:lnTo>
                    <a:lnTo>
                      <a:pt x="3431" y="727"/>
                    </a:lnTo>
                    <a:lnTo>
                      <a:pt x="3481" y="724"/>
                    </a:lnTo>
                    <a:lnTo>
                      <a:pt x="3532" y="722"/>
                    </a:lnTo>
                    <a:lnTo>
                      <a:pt x="3568" y="720"/>
                    </a:lnTo>
                    <a:lnTo>
                      <a:pt x="3608" y="716"/>
                    </a:lnTo>
                    <a:lnTo>
                      <a:pt x="3652" y="709"/>
                    </a:lnTo>
                    <a:lnTo>
                      <a:pt x="3699" y="702"/>
                    </a:lnTo>
                    <a:lnTo>
                      <a:pt x="3749" y="693"/>
                    </a:lnTo>
                    <a:lnTo>
                      <a:pt x="3803" y="682"/>
                    </a:lnTo>
                    <a:lnTo>
                      <a:pt x="3860" y="670"/>
                    </a:lnTo>
                    <a:lnTo>
                      <a:pt x="3921" y="657"/>
                    </a:lnTo>
                    <a:lnTo>
                      <a:pt x="3985" y="642"/>
                    </a:lnTo>
                    <a:lnTo>
                      <a:pt x="4052" y="626"/>
                    </a:lnTo>
                    <a:lnTo>
                      <a:pt x="4123" y="610"/>
                    </a:lnTo>
                    <a:lnTo>
                      <a:pt x="4198" y="593"/>
                    </a:lnTo>
                    <a:lnTo>
                      <a:pt x="4276" y="575"/>
                    </a:lnTo>
                    <a:lnTo>
                      <a:pt x="4358" y="556"/>
                    </a:lnTo>
                    <a:lnTo>
                      <a:pt x="4442" y="538"/>
                    </a:lnTo>
                    <a:lnTo>
                      <a:pt x="4532" y="519"/>
                    </a:lnTo>
                    <a:lnTo>
                      <a:pt x="4552" y="515"/>
                    </a:lnTo>
                    <a:lnTo>
                      <a:pt x="4583" y="508"/>
                    </a:lnTo>
                    <a:lnTo>
                      <a:pt x="4624" y="498"/>
                    </a:lnTo>
                    <a:lnTo>
                      <a:pt x="4673" y="485"/>
                    </a:lnTo>
                    <a:lnTo>
                      <a:pt x="4729" y="471"/>
                    </a:lnTo>
                    <a:lnTo>
                      <a:pt x="4792" y="452"/>
                    </a:lnTo>
                    <a:lnTo>
                      <a:pt x="4858" y="432"/>
                    </a:lnTo>
                    <a:lnTo>
                      <a:pt x="4928" y="409"/>
                    </a:lnTo>
                    <a:lnTo>
                      <a:pt x="4964" y="396"/>
                    </a:lnTo>
                    <a:lnTo>
                      <a:pt x="5000" y="383"/>
                    </a:lnTo>
                    <a:lnTo>
                      <a:pt x="5038" y="368"/>
                    </a:lnTo>
                    <a:lnTo>
                      <a:pt x="5074" y="354"/>
                    </a:lnTo>
                    <a:lnTo>
                      <a:pt x="5111" y="338"/>
                    </a:lnTo>
                    <a:lnTo>
                      <a:pt x="5147" y="323"/>
                    </a:lnTo>
                    <a:lnTo>
                      <a:pt x="5183" y="305"/>
                    </a:lnTo>
                    <a:lnTo>
                      <a:pt x="5218" y="289"/>
                    </a:lnTo>
                    <a:lnTo>
                      <a:pt x="5253" y="270"/>
                    </a:lnTo>
                    <a:lnTo>
                      <a:pt x="5287" y="251"/>
                    </a:lnTo>
                    <a:lnTo>
                      <a:pt x="5320" y="232"/>
                    </a:lnTo>
                    <a:lnTo>
                      <a:pt x="5351" y="211"/>
                    </a:lnTo>
                    <a:lnTo>
                      <a:pt x="5382" y="190"/>
                    </a:lnTo>
                    <a:lnTo>
                      <a:pt x="5410" y="169"/>
                    </a:lnTo>
                    <a:lnTo>
                      <a:pt x="5438" y="147"/>
                    </a:lnTo>
                    <a:lnTo>
                      <a:pt x="5462" y="123"/>
                    </a:lnTo>
                    <a:lnTo>
                      <a:pt x="5459" y="95"/>
                    </a:lnTo>
                    <a:lnTo>
                      <a:pt x="5455" y="65"/>
                    </a:lnTo>
                    <a:lnTo>
                      <a:pt x="5451" y="34"/>
                    </a:lnTo>
                    <a:lnTo>
                      <a:pt x="5446" y="0"/>
                    </a:lnTo>
                    <a:lnTo>
                      <a:pt x="5432" y="19"/>
                    </a:lnTo>
                    <a:lnTo>
                      <a:pt x="5418" y="35"/>
                    </a:lnTo>
                    <a:lnTo>
                      <a:pt x="5401" y="53"/>
                    </a:lnTo>
                    <a:lnTo>
                      <a:pt x="5383" y="70"/>
                    </a:lnTo>
                    <a:lnTo>
                      <a:pt x="5363" y="87"/>
                    </a:lnTo>
                    <a:lnTo>
                      <a:pt x="5342" y="104"/>
                    </a:lnTo>
                    <a:lnTo>
                      <a:pt x="5320" y="120"/>
                    </a:lnTo>
                    <a:lnTo>
                      <a:pt x="5296" y="137"/>
                    </a:lnTo>
                    <a:lnTo>
                      <a:pt x="5271" y="153"/>
                    </a:lnTo>
                    <a:lnTo>
                      <a:pt x="5244" y="169"/>
                    </a:lnTo>
                    <a:lnTo>
                      <a:pt x="5217" y="184"/>
                    </a:lnTo>
                    <a:lnTo>
                      <a:pt x="5190" y="200"/>
                    </a:lnTo>
                    <a:lnTo>
                      <a:pt x="5160" y="215"/>
                    </a:lnTo>
                    <a:lnTo>
                      <a:pt x="5130" y="230"/>
                    </a:lnTo>
                    <a:lnTo>
                      <a:pt x="5099" y="244"/>
                    </a:lnTo>
                    <a:lnTo>
                      <a:pt x="5068" y="258"/>
                    </a:lnTo>
                    <a:lnTo>
                      <a:pt x="5035" y="272"/>
                    </a:lnTo>
                    <a:lnTo>
                      <a:pt x="5001" y="286"/>
                    </a:lnTo>
                    <a:lnTo>
                      <a:pt x="4968" y="299"/>
                    </a:lnTo>
                    <a:lnTo>
                      <a:pt x="4934" y="311"/>
                    </a:lnTo>
                    <a:lnTo>
                      <a:pt x="4865" y="335"/>
                    </a:lnTo>
                    <a:lnTo>
                      <a:pt x="4795" y="358"/>
                    </a:lnTo>
                    <a:lnTo>
                      <a:pt x="4724" y="380"/>
                    </a:lnTo>
                    <a:lnTo>
                      <a:pt x="4652" y="398"/>
                    </a:lnTo>
                    <a:lnTo>
                      <a:pt x="4582" y="416"/>
                    </a:lnTo>
                    <a:lnTo>
                      <a:pt x="4513" y="431"/>
                    </a:lnTo>
                    <a:close/>
                  </a:path>
                </a:pathLst>
              </a:custGeom>
              <a:solidFill>
                <a:srgbClr val="F1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08" name="Freeform 123"/>
              <p:cNvSpPr>
                <a:spLocks/>
              </p:cNvSpPr>
              <p:nvPr/>
            </p:nvSpPr>
            <p:spPr bwMode="auto">
              <a:xfrm>
                <a:off x="3183" y="1766"/>
                <a:ext cx="754" cy="97"/>
              </a:xfrm>
              <a:custGeom>
                <a:avLst/>
                <a:gdLst>
                  <a:gd name="T0" fmla="*/ 0 w 5279"/>
                  <a:gd name="T1" fmla="*/ 0 h 679"/>
                  <a:gd name="T2" fmla="*/ 0 w 5279"/>
                  <a:gd name="T3" fmla="*/ 0 h 679"/>
                  <a:gd name="T4" fmla="*/ 0 w 5279"/>
                  <a:gd name="T5" fmla="*/ 0 h 679"/>
                  <a:gd name="T6" fmla="*/ 0 w 5279"/>
                  <a:gd name="T7" fmla="*/ 0 h 679"/>
                  <a:gd name="T8" fmla="*/ 0 w 5279"/>
                  <a:gd name="T9" fmla="*/ 0 h 679"/>
                  <a:gd name="T10" fmla="*/ 0 w 5279"/>
                  <a:gd name="T11" fmla="*/ 0 h 679"/>
                  <a:gd name="T12" fmla="*/ 0 w 5279"/>
                  <a:gd name="T13" fmla="*/ 0 h 679"/>
                  <a:gd name="T14" fmla="*/ 0 w 5279"/>
                  <a:gd name="T15" fmla="*/ 0 h 679"/>
                  <a:gd name="T16" fmla="*/ 0 w 5279"/>
                  <a:gd name="T17" fmla="*/ 0 h 679"/>
                  <a:gd name="T18" fmla="*/ 0 w 5279"/>
                  <a:gd name="T19" fmla="*/ 0 h 679"/>
                  <a:gd name="T20" fmla="*/ 0 w 5279"/>
                  <a:gd name="T21" fmla="*/ 0 h 679"/>
                  <a:gd name="T22" fmla="*/ 0 w 5279"/>
                  <a:gd name="T23" fmla="*/ 0 h 679"/>
                  <a:gd name="T24" fmla="*/ 0 w 5279"/>
                  <a:gd name="T25" fmla="*/ 0 h 679"/>
                  <a:gd name="T26" fmla="*/ 0 w 5279"/>
                  <a:gd name="T27" fmla="*/ 0 h 679"/>
                  <a:gd name="T28" fmla="*/ 0 w 5279"/>
                  <a:gd name="T29" fmla="*/ 0 h 679"/>
                  <a:gd name="T30" fmla="*/ 0 w 5279"/>
                  <a:gd name="T31" fmla="*/ 0 h 679"/>
                  <a:gd name="T32" fmla="*/ 0 w 5279"/>
                  <a:gd name="T33" fmla="*/ 0 h 679"/>
                  <a:gd name="T34" fmla="*/ 0 w 5279"/>
                  <a:gd name="T35" fmla="*/ 0 h 679"/>
                  <a:gd name="T36" fmla="*/ 0 w 5279"/>
                  <a:gd name="T37" fmla="*/ 0 h 679"/>
                  <a:gd name="T38" fmla="*/ 0 w 5279"/>
                  <a:gd name="T39" fmla="*/ 0 h 679"/>
                  <a:gd name="T40" fmla="*/ 0 w 5279"/>
                  <a:gd name="T41" fmla="*/ 0 h 679"/>
                  <a:gd name="T42" fmla="*/ 0 w 5279"/>
                  <a:gd name="T43" fmla="*/ 0 h 679"/>
                  <a:gd name="T44" fmla="*/ 0 w 5279"/>
                  <a:gd name="T45" fmla="*/ 0 h 679"/>
                  <a:gd name="T46" fmla="*/ 0 w 5279"/>
                  <a:gd name="T47" fmla="*/ 0 h 679"/>
                  <a:gd name="T48" fmla="*/ 0 w 5279"/>
                  <a:gd name="T49" fmla="*/ 0 h 679"/>
                  <a:gd name="T50" fmla="*/ 0 w 5279"/>
                  <a:gd name="T51" fmla="*/ 0 h 679"/>
                  <a:gd name="T52" fmla="*/ 0 w 5279"/>
                  <a:gd name="T53" fmla="*/ 0 h 679"/>
                  <a:gd name="T54" fmla="*/ 0 w 5279"/>
                  <a:gd name="T55" fmla="*/ 0 h 679"/>
                  <a:gd name="T56" fmla="*/ 0 w 5279"/>
                  <a:gd name="T57" fmla="*/ 0 h 679"/>
                  <a:gd name="T58" fmla="*/ 0 w 5279"/>
                  <a:gd name="T59" fmla="*/ 0 h 679"/>
                  <a:gd name="T60" fmla="*/ 0 w 5279"/>
                  <a:gd name="T61" fmla="*/ 0 h 679"/>
                  <a:gd name="T62" fmla="*/ 0 w 5279"/>
                  <a:gd name="T63" fmla="*/ 0 h 679"/>
                  <a:gd name="T64" fmla="*/ 0 w 5279"/>
                  <a:gd name="T65" fmla="*/ 0 h 679"/>
                  <a:gd name="T66" fmla="*/ 0 w 5279"/>
                  <a:gd name="T67" fmla="*/ 0 h 679"/>
                  <a:gd name="T68" fmla="*/ 0 w 5279"/>
                  <a:gd name="T69" fmla="*/ 0 h 679"/>
                  <a:gd name="T70" fmla="*/ 0 w 5279"/>
                  <a:gd name="T71" fmla="*/ 0 h 679"/>
                  <a:gd name="T72" fmla="*/ 0 w 5279"/>
                  <a:gd name="T73" fmla="*/ 0 h 679"/>
                  <a:gd name="T74" fmla="*/ 0 w 5279"/>
                  <a:gd name="T75" fmla="*/ 0 h 679"/>
                  <a:gd name="T76" fmla="*/ 0 w 5279"/>
                  <a:gd name="T77" fmla="*/ 0 h 679"/>
                  <a:gd name="T78" fmla="*/ 0 w 5279"/>
                  <a:gd name="T79" fmla="*/ 0 h 679"/>
                  <a:gd name="T80" fmla="*/ 0 w 5279"/>
                  <a:gd name="T81" fmla="*/ 0 h 679"/>
                  <a:gd name="T82" fmla="*/ 0 w 5279"/>
                  <a:gd name="T83" fmla="*/ 0 h 679"/>
                  <a:gd name="T84" fmla="*/ 0 w 5279"/>
                  <a:gd name="T85" fmla="*/ 0 h 679"/>
                  <a:gd name="T86" fmla="*/ 0 w 5279"/>
                  <a:gd name="T87" fmla="*/ 0 h 679"/>
                  <a:gd name="T88" fmla="*/ 0 w 5279"/>
                  <a:gd name="T89" fmla="*/ 0 h 679"/>
                  <a:gd name="T90" fmla="*/ 0 w 5279"/>
                  <a:gd name="T91" fmla="*/ 0 h 679"/>
                  <a:gd name="T92" fmla="*/ 0 w 5279"/>
                  <a:gd name="T93" fmla="*/ 0 h 679"/>
                  <a:gd name="T94" fmla="*/ 0 w 5279"/>
                  <a:gd name="T95" fmla="*/ 0 h 679"/>
                  <a:gd name="T96" fmla="*/ 0 w 5279"/>
                  <a:gd name="T97" fmla="*/ 0 h 679"/>
                  <a:gd name="T98" fmla="*/ 0 w 5279"/>
                  <a:gd name="T99" fmla="*/ 0 h 679"/>
                  <a:gd name="T100" fmla="*/ 0 w 5279"/>
                  <a:gd name="T101" fmla="*/ 0 h 679"/>
                  <a:gd name="T102" fmla="*/ 0 w 5279"/>
                  <a:gd name="T103" fmla="*/ 0 h 679"/>
                  <a:gd name="T104" fmla="*/ 0 w 5279"/>
                  <a:gd name="T105" fmla="*/ 0 h 67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5279"/>
                  <a:gd name="T160" fmla="*/ 0 h 679"/>
                  <a:gd name="T161" fmla="*/ 5279 w 5279"/>
                  <a:gd name="T162" fmla="*/ 679 h 679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5279" h="679">
                    <a:moveTo>
                      <a:pt x="535" y="358"/>
                    </a:moveTo>
                    <a:lnTo>
                      <a:pt x="567" y="366"/>
                    </a:lnTo>
                    <a:lnTo>
                      <a:pt x="600" y="374"/>
                    </a:lnTo>
                    <a:lnTo>
                      <a:pt x="634" y="383"/>
                    </a:lnTo>
                    <a:lnTo>
                      <a:pt x="669" y="394"/>
                    </a:lnTo>
                    <a:lnTo>
                      <a:pt x="705" y="404"/>
                    </a:lnTo>
                    <a:lnTo>
                      <a:pt x="742" y="415"/>
                    </a:lnTo>
                    <a:lnTo>
                      <a:pt x="780" y="427"/>
                    </a:lnTo>
                    <a:lnTo>
                      <a:pt x="818" y="439"/>
                    </a:lnTo>
                    <a:lnTo>
                      <a:pt x="895" y="463"/>
                    </a:lnTo>
                    <a:lnTo>
                      <a:pt x="976" y="487"/>
                    </a:lnTo>
                    <a:lnTo>
                      <a:pt x="1058" y="510"/>
                    </a:lnTo>
                    <a:lnTo>
                      <a:pt x="1141" y="532"/>
                    </a:lnTo>
                    <a:lnTo>
                      <a:pt x="1184" y="543"/>
                    </a:lnTo>
                    <a:lnTo>
                      <a:pt x="1226" y="553"/>
                    </a:lnTo>
                    <a:lnTo>
                      <a:pt x="1269" y="561"/>
                    </a:lnTo>
                    <a:lnTo>
                      <a:pt x="1312" y="569"/>
                    </a:lnTo>
                    <a:lnTo>
                      <a:pt x="1354" y="578"/>
                    </a:lnTo>
                    <a:lnTo>
                      <a:pt x="1398" y="584"/>
                    </a:lnTo>
                    <a:lnTo>
                      <a:pt x="1441" y="590"/>
                    </a:lnTo>
                    <a:lnTo>
                      <a:pt x="1485" y="594"/>
                    </a:lnTo>
                    <a:lnTo>
                      <a:pt x="1726" y="618"/>
                    </a:lnTo>
                    <a:lnTo>
                      <a:pt x="1772" y="623"/>
                    </a:lnTo>
                    <a:lnTo>
                      <a:pt x="1819" y="627"/>
                    </a:lnTo>
                    <a:lnTo>
                      <a:pt x="1867" y="632"/>
                    </a:lnTo>
                    <a:lnTo>
                      <a:pt x="1915" y="637"/>
                    </a:lnTo>
                    <a:lnTo>
                      <a:pt x="1963" y="642"/>
                    </a:lnTo>
                    <a:lnTo>
                      <a:pt x="2012" y="646"/>
                    </a:lnTo>
                    <a:lnTo>
                      <a:pt x="2060" y="651"/>
                    </a:lnTo>
                    <a:lnTo>
                      <a:pt x="2109" y="655"/>
                    </a:lnTo>
                    <a:lnTo>
                      <a:pt x="2157" y="659"/>
                    </a:lnTo>
                    <a:lnTo>
                      <a:pt x="2205" y="662"/>
                    </a:lnTo>
                    <a:lnTo>
                      <a:pt x="2252" y="667"/>
                    </a:lnTo>
                    <a:lnTo>
                      <a:pt x="2300" y="670"/>
                    </a:lnTo>
                    <a:lnTo>
                      <a:pt x="2345" y="673"/>
                    </a:lnTo>
                    <a:lnTo>
                      <a:pt x="2391" y="675"/>
                    </a:lnTo>
                    <a:lnTo>
                      <a:pt x="2436" y="677"/>
                    </a:lnTo>
                    <a:lnTo>
                      <a:pt x="2480" y="678"/>
                    </a:lnTo>
                    <a:lnTo>
                      <a:pt x="2515" y="679"/>
                    </a:lnTo>
                    <a:lnTo>
                      <a:pt x="2550" y="679"/>
                    </a:lnTo>
                    <a:lnTo>
                      <a:pt x="2585" y="679"/>
                    </a:lnTo>
                    <a:lnTo>
                      <a:pt x="2620" y="678"/>
                    </a:lnTo>
                    <a:lnTo>
                      <a:pt x="2690" y="674"/>
                    </a:lnTo>
                    <a:lnTo>
                      <a:pt x="2761" y="669"/>
                    </a:lnTo>
                    <a:lnTo>
                      <a:pt x="2830" y="661"/>
                    </a:lnTo>
                    <a:lnTo>
                      <a:pt x="2900" y="653"/>
                    </a:lnTo>
                    <a:lnTo>
                      <a:pt x="2968" y="645"/>
                    </a:lnTo>
                    <a:lnTo>
                      <a:pt x="3038" y="636"/>
                    </a:lnTo>
                    <a:lnTo>
                      <a:pt x="3090" y="628"/>
                    </a:lnTo>
                    <a:lnTo>
                      <a:pt x="3144" y="621"/>
                    </a:lnTo>
                    <a:lnTo>
                      <a:pt x="3196" y="615"/>
                    </a:lnTo>
                    <a:lnTo>
                      <a:pt x="3247" y="609"/>
                    </a:lnTo>
                    <a:lnTo>
                      <a:pt x="3299" y="605"/>
                    </a:lnTo>
                    <a:lnTo>
                      <a:pt x="3350" y="599"/>
                    </a:lnTo>
                    <a:lnTo>
                      <a:pt x="3400" y="596"/>
                    </a:lnTo>
                    <a:lnTo>
                      <a:pt x="3451" y="594"/>
                    </a:lnTo>
                    <a:lnTo>
                      <a:pt x="3487" y="593"/>
                    </a:lnTo>
                    <a:lnTo>
                      <a:pt x="3527" y="590"/>
                    </a:lnTo>
                    <a:lnTo>
                      <a:pt x="3571" y="587"/>
                    </a:lnTo>
                    <a:lnTo>
                      <a:pt x="3618" y="582"/>
                    </a:lnTo>
                    <a:lnTo>
                      <a:pt x="3668" y="576"/>
                    </a:lnTo>
                    <a:lnTo>
                      <a:pt x="3722" y="569"/>
                    </a:lnTo>
                    <a:lnTo>
                      <a:pt x="3779" y="561"/>
                    </a:lnTo>
                    <a:lnTo>
                      <a:pt x="3840" y="552"/>
                    </a:lnTo>
                    <a:lnTo>
                      <a:pt x="3904" y="541"/>
                    </a:lnTo>
                    <a:lnTo>
                      <a:pt x="3971" y="529"/>
                    </a:lnTo>
                    <a:lnTo>
                      <a:pt x="4042" y="517"/>
                    </a:lnTo>
                    <a:lnTo>
                      <a:pt x="4117" y="503"/>
                    </a:lnTo>
                    <a:lnTo>
                      <a:pt x="4195" y="488"/>
                    </a:lnTo>
                    <a:lnTo>
                      <a:pt x="4277" y="472"/>
                    </a:lnTo>
                    <a:lnTo>
                      <a:pt x="4361" y="455"/>
                    </a:lnTo>
                    <a:lnTo>
                      <a:pt x="4451" y="436"/>
                    </a:lnTo>
                    <a:lnTo>
                      <a:pt x="4494" y="427"/>
                    </a:lnTo>
                    <a:lnTo>
                      <a:pt x="4539" y="415"/>
                    </a:lnTo>
                    <a:lnTo>
                      <a:pt x="4588" y="401"/>
                    </a:lnTo>
                    <a:lnTo>
                      <a:pt x="4639" y="385"/>
                    </a:lnTo>
                    <a:lnTo>
                      <a:pt x="4692" y="368"/>
                    </a:lnTo>
                    <a:lnTo>
                      <a:pt x="4746" y="349"/>
                    </a:lnTo>
                    <a:lnTo>
                      <a:pt x="4802" y="328"/>
                    </a:lnTo>
                    <a:lnTo>
                      <a:pt x="4857" y="307"/>
                    </a:lnTo>
                    <a:lnTo>
                      <a:pt x="4913" y="284"/>
                    </a:lnTo>
                    <a:lnTo>
                      <a:pt x="4969" y="260"/>
                    </a:lnTo>
                    <a:lnTo>
                      <a:pt x="5025" y="234"/>
                    </a:lnTo>
                    <a:lnTo>
                      <a:pt x="5080" y="210"/>
                    </a:lnTo>
                    <a:lnTo>
                      <a:pt x="5132" y="183"/>
                    </a:lnTo>
                    <a:lnTo>
                      <a:pt x="5184" y="156"/>
                    </a:lnTo>
                    <a:lnTo>
                      <a:pt x="5233" y="129"/>
                    </a:lnTo>
                    <a:lnTo>
                      <a:pt x="5279" y="101"/>
                    </a:lnTo>
                    <a:lnTo>
                      <a:pt x="5274" y="79"/>
                    </a:lnTo>
                    <a:lnTo>
                      <a:pt x="5268" y="57"/>
                    </a:lnTo>
                    <a:lnTo>
                      <a:pt x="5261" y="34"/>
                    </a:lnTo>
                    <a:lnTo>
                      <a:pt x="5255" y="11"/>
                    </a:lnTo>
                    <a:lnTo>
                      <a:pt x="5211" y="38"/>
                    </a:lnTo>
                    <a:lnTo>
                      <a:pt x="5164" y="65"/>
                    </a:lnTo>
                    <a:lnTo>
                      <a:pt x="5115" y="92"/>
                    </a:lnTo>
                    <a:lnTo>
                      <a:pt x="5062" y="118"/>
                    </a:lnTo>
                    <a:lnTo>
                      <a:pt x="5008" y="143"/>
                    </a:lnTo>
                    <a:lnTo>
                      <a:pt x="4954" y="169"/>
                    </a:lnTo>
                    <a:lnTo>
                      <a:pt x="4898" y="193"/>
                    </a:lnTo>
                    <a:lnTo>
                      <a:pt x="4841" y="217"/>
                    </a:lnTo>
                    <a:lnTo>
                      <a:pt x="4784" y="238"/>
                    </a:lnTo>
                    <a:lnTo>
                      <a:pt x="4728" y="259"/>
                    </a:lnTo>
                    <a:lnTo>
                      <a:pt x="4674" y="279"/>
                    </a:lnTo>
                    <a:lnTo>
                      <a:pt x="4621" y="296"/>
                    </a:lnTo>
                    <a:lnTo>
                      <a:pt x="4569" y="313"/>
                    </a:lnTo>
                    <a:lnTo>
                      <a:pt x="4521" y="327"/>
                    </a:lnTo>
                    <a:lnTo>
                      <a:pt x="4474" y="339"/>
                    </a:lnTo>
                    <a:lnTo>
                      <a:pt x="4432" y="348"/>
                    </a:lnTo>
                    <a:lnTo>
                      <a:pt x="4345" y="367"/>
                    </a:lnTo>
                    <a:lnTo>
                      <a:pt x="4261" y="383"/>
                    </a:lnTo>
                    <a:lnTo>
                      <a:pt x="4181" y="399"/>
                    </a:lnTo>
                    <a:lnTo>
                      <a:pt x="4104" y="414"/>
                    </a:lnTo>
                    <a:lnTo>
                      <a:pt x="4030" y="428"/>
                    </a:lnTo>
                    <a:lnTo>
                      <a:pt x="3960" y="440"/>
                    </a:lnTo>
                    <a:lnTo>
                      <a:pt x="3893" y="452"/>
                    </a:lnTo>
                    <a:lnTo>
                      <a:pt x="3830" y="462"/>
                    </a:lnTo>
                    <a:lnTo>
                      <a:pt x="3770" y="471"/>
                    </a:lnTo>
                    <a:lnTo>
                      <a:pt x="3714" y="479"/>
                    </a:lnTo>
                    <a:lnTo>
                      <a:pt x="3661" y="487"/>
                    </a:lnTo>
                    <a:lnTo>
                      <a:pt x="3611" y="492"/>
                    </a:lnTo>
                    <a:lnTo>
                      <a:pt x="3565" y="497"/>
                    </a:lnTo>
                    <a:lnTo>
                      <a:pt x="3522" y="500"/>
                    </a:lnTo>
                    <a:lnTo>
                      <a:pt x="3484" y="503"/>
                    </a:lnTo>
                    <a:lnTo>
                      <a:pt x="3448" y="504"/>
                    </a:lnTo>
                    <a:lnTo>
                      <a:pt x="3396" y="507"/>
                    </a:lnTo>
                    <a:lnTo>
                      <a:pt x="3343" y="510"/>
                    </a:lnTo>
                    <a:lnTo>
                      <a:pt x="3290" y="515"/>
                    </a:lnTo>
                    <a:lnTo>
                      <a:pt x="3237" y="520"/>
                    </a:lnTo>
                    <a:lnTo>
                      <a:pt x="3183" y="526"/>
                    </a:lnTo>
                    <a:lnTo>
                      <a:pt x="3131" y="532"/>
                    </a:lnTo>
                    <a:lnTo>
                      <a:pt x="3077" y="539"/>
                    </a:lnTo>
                    <a:lnTo>
                      <a:pt x="3025" y="547"/>
                    </a:lnTo>
                    <a:lnTo>
                      <a:pt x="2958" y="555"/>
                    </a:lnTo>
                    <a:lnTo>
                      <a:pt x="2890" y="564"/>
                    </a:lnTo>
                    <a:lnTo>
                      <a:pt x="2823" y="571"/>
                    </a:lnTo>
                    <a:lnTo>
                      <a:pt x="2755" y="579"/>
                    </a:lnTo>
                    <a:lnTo>
                      <a:pt x="2686" y="584"/>
                    </a:lnTo>
                    <a:lnTo>
                      <a:pt x="2618" y="588"/>
                    </a:lnTo>
                    <a:lnTo>
                      <a:pt x="2584" y="589"/>
                    </a:lnTo>
                    <a:lnTo>
                      <a:pt x="2550" y="590"/>
                    </a:lnTo>
                    <a:lnTo>
                      <a:pt x="2516" y="590"/>
                    </a:lnTo>
                    <a:lnTo>
                      <a:pt x="2483" y="589"/>
                    </a:lnTo>
                    <a:lnTo>
                      <a:pt x="2439" y="587"/>
                    </a:lnTo>
                    <a:lnTo>
                      <a:pt x="2395" y="585"/>
                    </a:lnTo>
                    <a:lnTo>
                      <a:pt x="2350" y="583"/>
                    </a:lnTo>
                    <a:lnTo>
                      <a:pt x="2305" y="580"/>
                    </a:lnTo>
                    <a:lnTo>
                      <a:pt x="2259" y="577"/>
                    </a:lnTo>
                    <a:lnTo>
                      <a:pt x="2211" y="574"/>
                    </a:lnTo>
                    <a:lnTo>
                      <a:pt x="2163" y="569"/>
                    </a:lnTo>
                    <a:lnTo>
                      <a:pt x="2116" y="565"/>
                    </a:lnTo>
                    <a:lnTo>
                      <a:pt x="2067" y="561"/>
                    </a:lnTo>
                    <a:lnTo>
                      <a:pt x="2020" y="557"/>
                    </a:lnTo>
                    <a:lnTo>
                      <a:pt x="1971" y="552"/>
                    </a:lnTo>
                    <a:lnTo>
                      <a:pt x="1924" y="548"/>
                    </a:lnTo>
                    <a:lnTo>
                      <a:pt x="1875" y="543"/>
                    </a:lnTo>
                    <a:lnTo>
                      <a:pt x="1829" y="538"/>
                    </a:lnTo>
                    <a:lnTo>
                      <a:pt x="1781" y="533"/>
                    </a:lnTo>
                    <a:lnTo>
                      <a:pt x="1736" y="529"/>
                    </a:lnTo>
                    <a:lnTo>
                      <a:pt x="1493" y="505"/>
                    </a:lnTo>
                    <a:lnTo>
                      <a:pt x="1451" y="500"/>
                    </a:lnTo>
                    <a:lnTo>
                      <a:pt x="1410" y="495"/>
                    </a:lnTo>
                    <a:lnTo>
                      <a:pt x="1369" y="489"/>
                    </a:lnTo>
                    <a:lnTo>
                      <a:pt x="1326" y="481"/>
                    </a:lnTo>
                    <a:lnTo>
                      <a:pt x="1285" y="473"/>
                    </a:lnTo>
                    <a:lnTo>
                      <a:pt x="1244" y="464"/>
                    </a:lnTo>
                    <a:lnTo>
                      <a:pt x="1202" y="455"/>
                    </a:lnTo>
                    <a:lnTo>
                      <a:pt x="1162" y="444"/>
                    </a:lnTo>
                    <a:lnTo>
                      <a:pt x="1080" y="423"/>
                    </a:lnTo>
                    <a:lnTo>
                      <a:pt x="1000" y="400"/>
                    </a:lnTo>
                    <a:lnTo>
                      <a:pt x="922" y="377"/>
                    </a:lnTo>
                    <a:lnTo>
                      <a:pt x="846" y="353"/>
                    </a:lnTo>
                    <a:lnTo>
                      <a:pt x="807" y="341"/>
                    </a:lnTo>
                    <a:lnTo>
                      <a:pt x="768" y="329"/>
                    </a:lnTo>
                    <a:lnTo>
                      <a:pt x="731" y="318"/>
                    </a:lnTo>
                    <a:lnTo>
                      <a:pt x="694" y="307"/>
                    </a:lnTo>
                    <a:lnTo>
                      <a:pt x="658" y="297"/>
                    </a:lnTo>
                    <a:lnTo>
                      <a:pt x="623" y="287"/>
                    </a:lnTo>
                    <a:lnTo>
                      <a:pt x="589" y="279"/>
                    </a:lnTo>
                    <a:lnTo>
                      <a:pt x="556" y="271"/>
                    </a:lnTo>
                    <a:lnTo>
                      <a:pt x="528" y="263"/>
                    </a:lnTo>
                    <a:lnTo>
                      <a:pt x="497" y="255"/>
                    </a:lnTo>
                    <a:lnTo>
                      <a:pt x="466" y="245"/>
                    </a:lnTo>
                    <a:lnTo>
                      <a:pt x="433" y="233"/>
                    </a:lnTo>
                    <a:lnTo>
                      <a:pt x="398" y="220"/>
                    </a:lnTo>
                    <a:lnTo>
                      <a:pt x="363" y="205"/>
                    </a:lnTo>
                    <a:lnTo>
                      <a:pt x="328" y="190"/>
                    </a:lnTo>
                    <a:lnTo>
                      <a:pt x="293" y="172"/>
                    </a:lnTo>
                    <a:lnTo>
                      <a:pt x="257" y="155"/>
                    </a:lnTo>
                    <a:lnTo>
                      <a:pt x="222" y="135"/>
                    </a:lnTo>
                    <a:lnTo>
                      <a:pt x="187" y="115"/>
                    </a:lnTo>
                    <a:lnTo>
                      <a:pt x="152" y="94"/>
                    </a:lnTo>
                    <a:lnTo>
                      <a:pt x="118" y="72"/>
                    </a:lnTo>
                    <a:lnTo>
                      <a:pt x="85" y="48"/>
                    </a:lnTo>
                    <a:lnTo>
                      <a:pt x="54" y="24"/>
                    </a:lnTo>
                    <a:lnTo>
                      <a:pt x="24" y="0"/>
                    </a:lnTo>
                    <a:lnTo>
                      <a:pt x="18" y="24"/>
                    </a:lnTo>
                    <a:lnTo>
                      <a:pt x="11" y="49"/>
                    </a:lnTo>
                    <a:lnTo>
                      <a:pt x="5" y="73"/>
                    </a:lnTo>
                    <a:lnTo>
                      <a:pt x="0" y="97"/>
                    </a:lnTo>
                    <a:lnTo>
                      <a:pt x="34" y="123"/>
                    </a:lnTo>
                    <a:lnTo>
                      <a:pt x="69" y="148"/>
                    </a:lnTo>
                    <a:lnTo>
                      <a:pt x="105" y="171"/>
                    </a:lnTo>
                    <a:lnTo>
                      <a:pt x="142" y="194"/>
                    </a:lnTo>
                    <a:lnTo>
                      <a:pt x="179" y="215"/>
                    </a:lnTo>
                    <a:lnTo>
                      <a:pt x="216" y="234"/>
                    </a:lnTo>
                    <a:lnTo>
                      <a:pt x="253" y="253"/>
                    </a:lnTo>
                    <a:lnTo>
                      <a:pt x="289" y="271"/>
                    </a:lnTo>
                    <a:lnTo>
                      <a:pt x="324" y="286"/>
                    </a:lnTo>
                    <a:lnTo>
                      <a:pt x="359" y="301"/>
                    </a:lnTo>
                    <a:lnTo>
                      <a:pt x="392" y="314"/>
                    </a:lnTo>
                    <a:lnTo>
                      <a:pt x="424" y="325"/>
                    </a:lnTo>
                    <a:lnTo>
                      <a:pt x="455" y="336"/>
                    </a:lnTo>
                    <a:lnTo>
                      <a:pt x="484" y="345"/>
                    </a:lnTo>
                    <a:lnTo>
                      <a:pt x="511" y="352"/>
                    </a:lnTo>
                    <a:lnTo>
                      <a:pt x="535" y="358"/>
                    </a:lnTo>
                    <a:close/>
                  </a:path>
                </a:pathLst>
              </a:custGeom>
              <a:solidFill>
                <a:srgbClr val="F1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09" name="Freeform 124"/>
              <p:cNvSpPr>
                <a:spLocks/>
              </p:cNvSpPr>
              <p:nvPr/>
            </p:nvSpPr>
            <p:spPr bwMode="auto">
              <a:xfrm>
                <a:off x="3225" y="1804"/>
                <a:ext cx="22" cy="59"/>
              </a:xfrm>
              <a:custGeom>
                <a:avLst/>
                <a:gdLst>
                  <a:gd name="T0" fmla="*/ 0 w 160"/>
                  <a:gd name="T1" fmla="*/ 0 h 415"/>
                  <a:gd name="T2" fmla="*/ 0 w 160"/>
                  <a:gd name="T3" fmla="*/ 0 h 415"/>
                  <a:gd name="T4" fmla="*/ 0 w 160"/>
                  <a:gd name="T5" fmla="*/ 0 h 415"/>
                  <a:gd name="T6" fmla="*/ 0 w 160"/>
                  <a:gd name="T7" fmla="*/ 0 h 415"/>
                  <a:gd name="T8" fmla="*/ 0 w 160"/>
                  <a:gd name="T9" fmla="*/ 0 h 415"/>
                  <a:gd name="T10" fmla="*/ 0 w 160"/>
                  <a:gd name="T11" fmla="*/ 0 h 415"/>
                  <a:gd name="T12" fmla="*/ 0 w 160"/>
                  <a:gd name="T13" fmla="*/ 0 h 415"/>
                  <a:gd name="T14" fmla="*/ 0 w 160"/>
                  <a:gd name="T15" fmla="*/ 0 h 415"/>
                  <a:gd name="T16" fmla="*/ 0 w 160"/>
                  <a:gd name="T17" fmla="*/ 0 h 415"/>
                  <a:gd name="T18" fmla="*/ 0 w 160"/>
                  <a:gd name="T19" fmla="*/ 0 h 415"/>
                  <a:gd name="T20" fmla="*/ 0 w 160"/>
                  <a:gd name="T21" fmla="*/ 0 h 415"/>
                  <a:gd name="T22" fmla="*/ 0 w 160"/>
                  <a:gd name="T23" fmla="*/ 0 h 415"/>
                  <a:gd name="T24" fmla="*/ 0 w 160"/>
                  <a:gd name="T25" fmla="*/ 0 h 415"/>
                  <a:gd name="T26" fmla="*/ 0 w 160"/>
                  <a:gd name="T27" fmla="*/ 0 h 415"/>
                  <a:gd name="T28" fmla="*/ 0 w 160"/>
                  <a:gd name="T29" fmla="*/ 0 h 415"/>
                  <a:gd name="T30" fmla="*/ 0 w 160"/>
                  <a:gd name="T31" fmla="*/ 0 h 415"/>
                  <a:gd name="T32" fmla="*/ 0 w 160"/>
                  <a:gd name="T33" fmla="*/ 0 h 415"/>
                  <a:gd name="T34" fmla="*/ 0 w 160"/>
                  <a:gd name="T35" fmla="*/ 0 h 415"/>
                  <a:gd name="T36" fmla="*/ 0 w 160"/>
                  <a:gd name="T37" fmla="*/ 0 h 415"/>
                  <a:gd name="T38" fmla="*/ 0 w 160"/>
                  <a:gd name="T39" fmla="*/ 0 h 415"/>
                  <a:gd name="T40" fmla="*/ 0 w 160"/>
                  <a:gd name="T41" fmla="*/ 0 h 415"/>
                  <a:gd name="T42" fmla="*/ 0 w 160"/>
                  <a:gd name="T43" fmla="*/ 0 h 415"/>
                  <a:gd name="T44" fmla="*/ 0 w 160"/>
                  <a:gd name="T45" fmla="*/ 0 h 415"/>
                  <a:gd name="T46" fmla="*/ 0 w 160"/>
                  <a:gd name="T47" fmla="*/ 0 h 415"/>
                  <a:gd name="T48" fmla="*/ 0 w 160"/>
                  <a:gd name="T49" fmla="*/ 0 h 415"/>
                  <a:gd name="T50" fmla="*/ 0 w 160"/>
                  <a:gd name="T51" fmla="*/ 0 h 415"/>
                  <a:gd name="T52" fmla="*/ 0 w 160"/>
                  <a:gd name="T53" fmla="*/ 0 h 415"/>
                  <a:gd name="T54" fmla="*/ 0 w 160"/>
                  <a:gd name="T55" fmla="*/ 0 h 415"/>
                  <a:gd name="T56" fmla="*/ 0 w 160"/>
                  <a:gd name="T57" fmla="*/ 0 h 415"/>
                  <a:gd name="T58" fmla="*/ 0 w 160"/>
                  <a:gd name="T59" fmla="*/ 0 h 415"/>
                  <a:gd name="T60" fmla="*/ 0 w 160"/>
                  <a:gd name="T61" fmla="*/ 0 h 415"/>
                  <a:gd name="T62" fmla="*/ 0 w 160"/>
                  <a:gd name="T63" fmla="*/ 0 h 415"/>
                  <a:gd name="T64" fmla="*/ 0 w 160"/>
                  <a:gd name="T65" fmla="*/ 0 h 415"/>
                  <a:gd name="T66" fmla="*/ 0 w 160"/>
                  <a:gd name="T67" fmla="*/ 0 h 415"/>
                  <a:gd name="T68" fmla="*/ 0 w 160"/>
                  <a:gd name="T69" fmla="*/ 0 h 415"/>
                  <a:gd name="T70" fmla="*/ 0 w 160"/>
                  <a:gd name="T71" fmla="*/ 0 h 415"/>
                  <a:gd name="T72" fmla="*/ 0 w 160"/>
                  <a:gd name="T73" fmla="*/ 0 h 415"/>
                  <a:gd name="T74" fmla="*/ 0 w 160"/>
                  <a:gd name="T75" fmla="*/ 0 h 415"/>
                  <a:gd name="T76" fmla="*/ 0 w 160"/>
                  <a:gd name="T77" fmla="*/ 0 h 415"/>
                  <a:gd name="T78" fmla="*/ 0 w 160"/>
                  <a:gd name="T79" fmla="*/ 0 h 415"/>
                  <a:gd name="T80" fmla="*/ 0 w 160"/>
                  <a:gd name="T81" fmla="*/ 0 h 415"/>
                  <a:gd name="T82" fmla="*/ 0 w 160"/>
                  <a:gd name="T83" fmla="*/ 0 h 415"/>
                  <a:gd name="T84" fmla="*/ 0 w 160"/>
                  <a:gd name="T85" fmla="*/ 0 h 415"/>
                  <a:gd name="T86" fmla="*/ 0 w 160"/>
                  <a:gd name="T87" fmla="*/ 0 h 415"/>
                  <a:gd name="T88" fmla="*/ 0 w 160"/>
                  <a:gd name="T89" fmla="*/ 0 h 415"/>
                  <a:gd name="T90" fmla="*/ 0 w 160"/>
                  <a:gd name="T91" fmla="*/ 0 h 415"/>
                  <a:gd name="T92" fmla="*/ 0 w 160"/>
                  <a:gd name="T93" fmla="*/ 0 h 415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60"/>
                  <a:gd name="T142" fmla="*/ 0 h 415"/>
                  <a:gd name="T143" fmla="*/ 160 w 160"/>
                  <a:gd name="T144" fmla="*/ 415 h 415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60" h="415">
                    <a:moveTo>
                      <a:pt x="158" y="1"/>
                    </a:moveTo>
                    <a:lnTo>
                      <a:pt x="143" y="0"/>
                    </a:lnTo>
                    <a:lnTo>
                      <a:pt x="127" y="1"/>
                    </a:lnTo>
                    <a:lnTo>
                      <a:pt x="113" y="6"/>
                    </a:lnTo>
                    <a:lnTo>
                      <a:pt x="100" y="10"/>
                    </a:lnTo>
                    <a:lnTo>
                      <a:pt x="88" y="17"/>
                    </a:lnTo>
                    <a:lnTo>
                      <a:pt x="76" y="24"/>
                    </a:lnTo>
                    <a:lnTo>
                      <a:pt x="67" y="33"/>
                    </a:lnTo>
                    <a:lnTo>
                      <a:pt x="58" y="45"/>
                    </a:lnTo>
                    <a:lnTo>
                      <a:pt x="49" y="56"/>
                    </a:lnTo>
                    <a:lnTo>
                      <a:pt x="42" y="70"/>
                    </a:lnTo>
                    <a:lnTo>
                      <a:pt x="35" y="83"/>
                    </a:lnTo>
                    <a:lnTo>
                      <a:pt x="30" y="98"/>
                    </a:lnTo>
                    <a:lnTo>
                      <a:pt x="24" y="113"/>
                    </a:lnTo>
                    <a:lnTo>
                      <a:pt x="20" y="130"/>
                    </a:lnTo>
                    <a:lnTo>
                      <a:pt x="15" y="146"/>
                    </a:lnTo>
                    <a:lnTo>
                      <a:pt x="12" y="164"/>
                    </a:lnTo>
                    <a:lnTo>
                      <a:pt x="7" y="199"/>
                    </a:lnTo>
                    <a:lnTo>
                      <a:pt x="3" y="234"/>
                    </a:lnTo>
                    <a:lnTo>
                      <a:pt x="1" y="270"/>
                    </a:lnTo>
                    <a:lnTo>
                      <a:pt x="0" y="304"/>
                    </a:lnTo>
                    <a:lnTo>
                      <a:pt x="0" y="367"/>
                    </a:lnTo>
                    <a:lnTo>
                      <a:pt x="0" y="415"/>
                    </a:lnTo>
                    <a:lnTo>
                      <a:pt x="11" y="409"/>
                    </a:lnTo>
                    <a:lnTo>
                      <a:pt x="22" y="402"/>
                    </a:lnTo>
                    <a:lnTo>
                      <a:pt x="32" y="391"/>
                    </a:lnTo>
                    <a:lnTo>
                      <a:pt x="41" y="381"/>
                    </a:lnTo>
                    <a:lnTo>
                      <a:pt x="49" y="368"/>
                    </a:lnTo>
                    <a:lnTo>
                      <a:pt x="58" y="356"/>
                    </a:lnTo>
                    <a:lnTo>
                      <a:pt x="66" y="343"/>
                    </a:lnTo>
                    <a:lnTo>
                      <a:pt x="72" y="328"/>
                    </a:lnTo>
                    <a:lnTo>
                      <a:pt x="86" y="299"/>
                    </a:lnTo>
                    <a:lnTo>
                      <a:pt x="97" y="271"/>
                    </a:lnTo>
                    <a:lnTo>
                      <a:pt x="108" y="244"/>
                    </a:lnTo>
                    <a:lnTo>
                      <a:pt x="119" y="223"/>
                    </a:lnTo>
                    <a:lnTo>
                      <a:pt x="126" y="209"/>
                    </a:lnTo>
                    <a:lnTo>
                      <a:pt x="132" y="195"/>
                    </a:lnTo>
                    <a:lnTo>
                      <a:pt x="137" y="181"/>
                    </a:lnTo>
                    <a:lnTo>
                      <a:pt x="143" y="169"/>
                    </a:lnTo>
                    <a:lnTo>
                      <a:pt x="147" y="155"/>
                    </a:lnTo>
                    <a:lnTo>
                      <a:pt x="150" y="142"/>
                    </a:lnTo>
                    <a:lnTo>
                      <a:pt x="153" y="129"/>
                    </a:lnTo>
                    <a:lnTo>
                      <a:pt x="155" y="115"/>
                    </a:lnTo>
                    <a:lnTo>
                      <a:pt x="158" y="88"/>
                    </a:lnTo>
                    <a:lnTo>
                      <a:pt x="160" y="60"/>
                    </a:lnTo>
                    <a:lnTo>
                      <a:pt x="160" y="31"/>
                    </a:lnTo>
                    <a:lnTo>
                      <a:pt x="158" y="1"/>
                    </a:lnTo>
                    <a:close/>
                  </a:path>
                </a:pathLst>
              </a:custGeom>
              <a:solidFill>
                <a:srgbClr val="F1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10" name="Freeform 125"/>
              <p:cNvSpPr>
                <a:spLocks/>
              </p:cNvSpPr>
              <p:nvPr/>
            </p:nvSpPr>
            <p:spPr bwMode="auto">
              <a:xfrm>
                <a:off x="3189" y="1795"/>
                <a:ext cx="104" cy="79"/>
              </a:xfrm>
              <a:custGeom>
                <a:avLst/>
                <a:gdLst>
                  <a:gd name="T0" fmla="*/ 0 w 726"/>
                  <a:gd name="T1" fmla="*/ 0 h 559"/>
                  <a:gd name="T2" fmla="*/ 0 w 726"/>
                  <a:gd name="T3" fmla="*/ 0 h 559"/>
                  <a:gd name="T4" fmla="*/ 0 w 726"/>
                  <a:gd name="T5" fmla="*/ 0 h 559"/>
                  <a:gd name="T6" fmla="*/ 0 w 726"/>
                  <a:gd name="T7" fmla="*/ 0 h 559"/>
                  <a:gd name="T8" fmla="*/ 0 w 726"/>
                  <a:gd name="T9" fmla="*/ 0 h 559"/>
                  <a:gd name="T10" fmla="*/ 0 w 726"/>
                  <a:gd name="T11" fmla="*/ 0 h 559"/>
                  <a:gd name="T12" fmla="*/ 0 w 726"/>
                  <a:gd name="T13" fmla="*/ 0 h 559"/>
                  <a:gd name="T14" fmla="*/ 0 w 726"/>
                  <a:gd name="T15" fmla="*/ 0 h 559"/>
                  <a:gd name="T16" fmla="*/ 0 w 726"/>
                  <a:gd name="T17" fmla="*/ 0 h 559"/>
                  <a:gd name="T18" fmla="*/ 0 w 726"/>
                  <a:gd name="T19" fmla="*/ 0 h 559"/>
                  <a:gd name="T20" fmla="*/ 0 w 726"/>
                  <a:gd name="T21" fmla="*/ 0 h 559"/>
                  <a:gd name="T22" fmla="*/ 0 w 726"/>
                  <a:gd name="T23" fmla="*/ 0 h 559"/>
                  <a:gd name="T24" fmla="*/ 0 w 726"/>
                  <a:gd name="T25" fmla="*/ 0 h 559"/>
                  <a:gd name="T26" fmla="*/ 0 w 726"/>
                  <a:gd name="T27" fmla="*/ 0 h 559"/>
                  <a:gd name="T28" fmla="*/ 0 w 726"/>
                  <a:gd name="T29" fmla="*/ 0 h 559"/>
                  <a:gd name="T30" fmla="*/ 0 w 726"/>
                  <a:gd name="T31" fmla="*/ 0 h 559"/>
                  <a:gd name="T32" fmla="*/ 0 w 726"/>
                  <a:gd name="T33" fmla="*/ 0 h 559"/>
                  <a:gd name="T34" fmla="*/ 0 w 726"/>
                  <a:gd name="T35" fmla="*/ 0 h 559"/>
                  <a:gd name="T36" fmla="*/ 0 w 726"/>
                  <a:gd name="T37" fmla="*/ 0 h 559"/>
                  <a:gd name="T38" fmla="*/ 0 w 726"/>
                  <a:gd name="T39" fmla="*/ 0 h 559"/>
                  <a:gd name="T40" fmla="*/ 0 w 726"/>
                  <a:gd name="T41" fmla="*/ 0 h 559"/>
                  <a:gd name="T42" fmla="*/ 0 w 726"/>
                  <a:gd name="T43" fmla="*/ 0 h 559"/>
                  <a:gd name="T44" fmla="*/ 0 w 726"/>
                  <a:gd name="T45" fmla="*/ 0 h 559"/>
                  <a:gd name="T46" fmla="*/ 0 w 726"/>
                  <a:gd name="T47" fmla="*/ 0 h 559"/>
                  <a:gd name="T48" fmla="*/ 0 w 726"/>
                  <a:gd name="T49" fmla="*/ 0 h 559"/>
                  <a:gd name="T50" fmla="*/ 0 w 726"/>
                  <a:gd name="T51" fmla="*/ 0 h 559"/>
                  <a:gd name="T52" fmla="*/ 0 w 726"/>
                  <a:gd name="T53" fmla="*/ 0 h 559"/>
                  <a:gd name="T54" fmla="*/ 0 w 726"/>
                  <a:gd name="T55" fmla="*/ 0 h 559"/>
                  <a:gd name="T56" fmla="*/ 0 w 726"/>
                  <a:gd name="T57" fmla="*/ 0 h 559"/>
                  <a:gd name="T58" fmla="*/ 0 w 726"/>
                  <a:gd name="T59" fmla="*/ 0 h 559"/>
                  <a:gd name="T60" fmla="*/ 0 w 726"/>
                  <a:gd name="T61" fmla="*/ 0 h 559"/>
                  <a:gd name="T62" fmla="*/ 0 w 726"/>
                  <a:gd name="T63" fmla="*/ 0 h 559"/>
                  <a:gd name="T64" fmla="*/ 0 w 726"/>
                  <a:gd name="T65" fmla="*/ 0 h 559"/>
                  <a:gd name="T66" fmla="*/ 0 w 726"/>
                  <a:gd name="T67" fmla="*/ 0 h 559"/>
                  <a:gd name="T68" fmla="*/ 0 w 726"/>
                  <a:gd name="T69" fmla="*/ 0 h 559"/>
                  <a:gd name="T70" fmla="*/ 0 w 726"/>
                  <a:gd name="T71" fmla="*/ 0 h 559"/>
                  <a:gd name="T72" fmla="*/ 0 w 726"/>
                  <a:gd name="T73" fmla="*/ 0 h 559"/>
                  <a:gd name="T74" fmla="*/ 0 w 726"/>
                  <a:gd name="T75" fmla="*/ 0 h 559"/>
                  <a:gd name="T76" fmla="*/ 0 w 726"/>
                  <a:gd name="T77" fmla="*/ 0 h 559"/>
                  <a:gd name="T78" fmla="*/ 0 w 726"/>
                  <a:gd name="T79" fmla="*/ 0 h 559"/>
                  <a:gd name="T80" fmla="*/ 0 w 726"/>
                  <a:gd name="T81" fmla="*/ 0 h 559"/>
                  <a:gd name="T82" fmla="*/ 0 w 726"/>
                  <a:gd name="T83" fmla="*/ 0 h 559"/>
                  <a:gd name="T84" fmla="*/ 0 w 726"/>
                  <a:gd name="T85" fmla="*/ 0 h 559"/>
                  <a:gd name="T86" fmla="*/ 0 w 726"/>
                  <a:gd name="T87" fmla="*/ 0 h 559"/>
                  <a:gd name="T88" fmla="*/ 0 w 726"/>
                  <a:gd name="T89" fmla="*/ 0 h 559"/>
                  <a:gd name="T90" fmla="*/ 0 w 726"/>
                  <a:gd name="T91" fmla="*/ 0 h 559"/>
                  <a:gd name="T92" fmla="*/ 0 w 726"/>
                  <a:gd name="T93" fmla="*/ 0 h 559"/>
                  <a:gd name="T94" fmla="*/ 0 w 726"/>
                  <a:gd name="T95" fmla="*/ 0 h 559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26"/>
                  <a:gd name="T145" fmla="*/ 0 h 559"/>
                  <a:gd name="T146" fmla="*/ 726 w 726"/>
                  <a:gd name="T147" fmla="*/ 559 h 559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26" h="559">
                    <a:moveTo>
                      <a:pt x="623" y="178"/>
                    </a:moveTo>
                    <a:lnTo>
                      <a:pt x="611" y="176"/>
                    </a:lnTo>
                    <a:lnTo>
                      <a:pt x="599" y="174"/>
                    </a:lnTo>
                    <a:lnTo>
                      <a:pt x="587" y="174"/>
                    </a:lnTo>
                    <a:lnTo>
                      <a:pt x="575" y="174"/>
                    </a:lnTo>
                    <a:lnTo>
                      <a:pt x="563" y="176"/>
                    </a:lnTo>
                    <a:lnTo>
                      <a:pt x="552" y="177"/>
                    </a:lnTo>
                    <a:lnTo>
                      <a:pt x="540" y="180"/>
                    </a:lnTo>
                    <a:lnTo>
                      <a:pt x="530" y="183"/>
                    </a:lnTo>
                    <a:lnTo>
                      <a:pt x="519" y="186"/>
                    </a:lnTo>
                    <a:lnTo>
                      <a:pt x="508" y="190"/>
                    </a:lnTo>
                    <a:lnTo>
                      <a:pt x="499" y="196"/>
                    </a:lnTo>
                    <a:lnTo>
                      <a:pt x="489" y="201"/>
                    </a:lnTo>
                    <a:lnTo>
                      <a:pt x="471" y="211"/>
                    </a:lnTo>
                    <a:lnTo>
                      <a:pt x="455" y="223"/>
                    </a:lnTo>
                    <a:lnTo>
                      <a:pt x="447" y="231"/>
                    </a:lnTo>
                    <a:lnTo>
                      <a:pt x="439" y="240"/>
                    </a:lnTo>
                    <a:lnTo>
                      <a:pt x="430" y="252"/>
                    </a:lnTo>
                    <a:lnTo>
                      <a:pt x="422" y="267"/>
                    </a:lnTo>
                    <a:lnTo>
                      <a:pt x="402" y="299"/>
                    </a:lnTo>
                    <a:lnTo>
                      <a:pt x="383" y="334"/>
                    </a:lnTo>
                    <a:lnTo>
                      <a:pt x="366" y="370"/>
                    </a:lnTo>
                    <a:lnTo>
                      <a:pt x="350" y="403"/>
                    </a:lnTo>
                    <a:lnTo>
                      <a:pt x="338" y="431"/>
                    </a:lnTo>
                    <a:lnTo>
                      <a:pt x="330" y="451"/>
                    </a:lnTo>
                    <a:lnTo>
                      <a:pt x="324" y="464"/>
                    </a:lnTo>
                    <a:lnTo>
                      <a:pt x="320" y="475"/>
                    </a:lnTo>
                    <a:lnTo>
                      <a:pt x="315" y="485"/>
                    </a:lnTo>
                    <a:lnTo>
                      <a:pt x="310" y="493"/>
                    </a:lnTo>
                    <a:lnTo>
                      <a:pt x="304" y="502"/>
                    </a:lnTo>
                    <a:lnTo>
                      <a:pt x="295" y="510"/>
                    </a:lnTo>
                    <a:lnTo>
                      <a:pt x="284" y="517"/>
                    </a:lnTo>
                    <a:lnTo>
                      <a:pt x="271" y="524"/>
                    </a:lnTo>
                    <a:lnTo>
                      <a:pt x="264" y="526"/>
                    </a:lnTo>
                    <a:lnTo>
                      <a:pt x="257" y="527"/>
                    </a:lnTo>
                    <a:lnTo>
                      <a:pt x="251" y="529"/>
                    </a:lnTo>
                    <a:lnTo>
                      <a:pt x="244" y="526"/>
                    </a:lnTo>
                    <a:lnTo>
                      <a:pt x="238" y="525"/>
                    </a:lnTo>
                    <a:lnTo>
                      <a:pt x="231" y="522"/>
                    </a:lnTo>
                    <a:lnTo>
                      <a:pt x="225" y="518"/>
                    </a:lnTo>
                    <a:lnTo>
                      <a:pt x="219" y="514"/>
                    </a:lnTo>
                    <a:lnTo>
                      <a:pt x="213" y="509"/>
                    </a:lnTo>
                    <a:lnTo>
                      <a:pt x="209" y="504"/>
                    </a:lnTo>
                    <a:lnTo>
                      <a:pt x="203" y="498"/>
                    </a:lnTo>
                    <a:lnTo>
                      <a:pt x="199" y="491"/>
                    </a:lnTo>
                    <a:lnTo>
                      <a:pt x="196" y="485"/>
                    </a:lnTo>
                    <a:lnTo>
                      <a:pt x="193" y="478"/>
                    </a:lnTo>
                    <a:lnTo>
                      <a:pt x="191" y="472"/>
                    </a:lnTo>
                    <a:lnTo>
                      <a:pt x="190" y="464"/>
                    </a:lnTo>
                    <a:lnTo>
                      <a:pt x="190" y="450"/>
                    </a:lnTo>
                    <a:lnTo>
                      <a:pt x="192" y="435"/>
                    </a:lnTo>
                    <a:lnTo>
                      <a:pt x="195" y="420"/>
                    </a:lnTo>
                    <a:lnTo>
                      <a:pt x="200" y="405"/>
                    </a:lnTo>
                    <a:lnTo>
                      <a:pt x="211" y="378"/>
                    </a:lnTo>
                    <a:lnTo>
                      <a:pt x="220" y="350"/>
                    </a:lnTo>
                    <a:lnTo>
                      <a:pt x="225" y="332"/>
                    </a:lnTo>
                    <a:lnTo>
                      <a:pt x="230" y="316"/>
                    </a:lnTo>
                    <a:lnTo>
                      <a:pt x="234" y="298"/>
                    </a:lnTo>
                    <a:lnTo>
                      <a:pt x="238" y="281"/>
                    </a:lnTo>
                    <a:lnTo>
                      <a:pt x="240" y="265"/>
                    </a:lnTo>
                    <a:lnTo>
                      <a:pt x="241" y="247"/>
                    </a:lnTo>
                    <a:lnTo>
                      <a:pt x="242" y="230"/>
                    </a:lnTo>
                    <a:lnTo>
                      <a:pt x="241" y="211"/>
                    </a:lnTo>
                    <a:lnTo>
                      <a:pt x="238" y="185"/>
                    </a:lnTo>
                    <a:lnTo>
                      <a:pt x="232" y="159"/>
                    </a:lnTo>
                    <a:lnTo>
                      <a:pt x="229" y="148"/>
                    </a:lnTo>
                    <a:lnTo>
                      <a:pt x="225" y="136"/>
                    </a:lnTo>
                    <a:lnTo>
                      <a:pt x="220" y="123"/>
                    </a:lnTo>
                    <a:lnTo>
                      <a:pt x="215" y="112"/>
                    </a:lnTo>
                    <a:lnTo>
                      <a:pt x="210" y="100"/>
                    </a:lnTo>
                    <a:lnTo>
                      <a:pt x="202" y="89"/>
                    </a:lnTo>
                    <a:lnTo>
                      <a:pt x="195" y="78"/>
                    </a:lnTo>
                    <a:lnTo>
                      <a:pt x="187" y="66"/>
                    </a:lnTo>
                    <a:lnTo>
                      <a:pt x="178" y="56"/>
                    </a:lnTo>
                    <a:lnTo>
                      <a:pt x="167" y="46"/>
                    </a:lnTo>
                    <a:lnTo>
                      <a:pt x="156" y="36"/>
                    </a:lnTo>
                    <a:lnTo>
                      <a:pt x="144" y="26"/>
                    </a:lnTo>
                    <a:lnTo>
                      <a:pt x="134" y="19"/>
                    </a:lnTo>
                    <a:lnTo>
                      <a:pt x="124" y="14"/>
                    </a:lnTo>
                    <a:lnTo>
                      <a:pt x="113" y="8"/>
                    </a:lnTo>
                    <a:lnTo>
                      <a:pt x="102" y="4"/>
                    </a:lnTo>
                    <a:lnTo>
                      <a:pt x="92" y="2"/>
                    </a:lnTo>
                    <a:lnTo>
                      <a:pt x="82" y="0"/>
                    </a:lnTo>
                    <a:lnTo>
                      <a:pt x="70" y="0"/>
                    </a:lnTo>
                    <a:lnTo>
                      <a:pt x="61" y="1"/>
                    </a:lnTo>
                    <a:lnTo>
                      <a:pt x="51" y="2"/>
                    </a:lnTo>
                    <a:lnTo>
                      <a:pt x="41" y="5"/>
                    </a:lnTo>
                    <a:lnTo>
                      <a:pt x="33" y="9"/>
                    </a:lnTo>
                    <a:lnTo>
                      <a:pt x="25" y="15"/>
                    </a:lnTo>
                    <a:lnTo>
                      <a:pt x="17" y="20"/>
                    </a:lnTo>
                    <a:lnTo>
                      <a:pt x="10" y="27"/>
                    </a:lnTo>
                    <a:lnTo>
                      <a:pt x="5" y="35"/>
                    </a:lnTo>
                    <a:lnTo>
                      <a:pt x="0" y="45"/>
                    </a:lnTo>
                    <a:lnTo>
                      <a:pt x="3" y="44"/>
                    </a:lnTo>
                    <a:lnTo>
                      <a:pt x="10" y="41"/>
                    </a:lnTo>
                    <a:lnTo>
                      <a:pt x="23" y="38"/>
                    </a:lnTo>
                    <a:lnTo>
                      <a:pt x="38" y="36"/>
                    </a:lnTo>
                    <a:lnTo>
                      <a:pt x="46" y="36"/>
                    </a:lnTo>
                    <a:lnTo>
                      <a:pt x="56" y="36"/>
                    </a:lnTo>
                    <a:lnTo>
                      <a:pt x="65" y="37"/>
                    </a:lnTo>
                    <a:lnTo>
                      <a:pt x="74" y="39"/>
                    </a:lnTo>
                    <a:lnTo>
                      <a:pt x="85" y="43"/>
                    </a:lnTo>
                    <a:lnTo>
                      <a:pt x="95" y="47"/>
                    </a:lnTo>
                    <a:lnTo>
                      <a:pt x="105" y="52"/>
                    </a:lnTo>
                    <a:lnTo>
                      <a:pt x="115" y="58"/>
                    </a:lnTo>
                    <a:lnTo>
                      <a:pt x="125" y="66"/>
                    </a:lnTo>
                    <a:lnTo>
                      <a:pt x="134" y="77"/>
                    </a:lnTo>
                    <a:lnTo>
                      <a:pt x="142" y="89"/>
                    </a:lnTo>
                    <a:lnTo>
                      <a:pt x="151" y="103"/>
                    </a:lnTo>
                    <a:lnTo>
                      <a:pt x="159" y="119"/>
                    </a:lnTo>
                    <a:lnTo>
                      <a:pt x="166" y="137"/>
                    </a:lnTo>
                    <a:lnTo>
                      <a:pt x="172" y="157"/>
                    </a:lnTo>
                    <a:lnTo>
                      <a:pt x="178" y="180"/>
                    </a:lnTo>
                    <a:lnTo>
                      <a:pt x="181" y="206"/>
                    </a:lnTo>
                    <a:lnTo>
                      <a:pt x="184" y="235"/>
                    </a:lnTo>
                    <a:lnTo>
                      <a:pt x="186" y="267"/>
                    </a:lnTo>
                    <a:lnTo>
                      <a:pt x="186" y="301"/>
                    </a:lnTo>
                    <a:lnTo>
                      <a:pt x="184" y="339"/>
                    </a:lnTo>
                    <a:lnTo>
                      <a:pt x="181" y="380"/>
                    </a:lnTo>
                    <a:lnTo>
                      <a:pt x="177" y="425"/>
                    </a:lnTo>
                    <a:lnTo>
                      <a:pt x="170" y="473"/>
                    </a:lnTo>
                    <a:lnTo>
                      <a:pt x="169" y="481"/>
                    </a:lnTo>
                    <a:lnTo>
                      <a:pt x="169" y="487"/>
                    </a:lnTo>
                    <a:lnTo>
                      <a:pt x="170" y="494"/>
                    </a:lnTo>
                    <a:lnTo>
                      <a:pt x="171" y="501"/>
                    </a:lnTo>
                    <a:lnTo>
                      <a:pt x="173" y="507"/>
                    </a:lnTo>
                    <a:lnTo>
                      <a:pt x="177" y="513"/>
                    </a:lnTo>
                    <a:lnTo>
                      <a:pt x="180" y="518"/>
                    </a:lnTo>
                    <a:lnTo>
                      <a:pt x="184" y="523"/>
                    </a:lnTo>
                    <a:lnTo>
                      <a:pt x="188" y="529"/>
                    </a:lnTo>
                    <a:lnTo>
                      <a:pt x="193" y="533"/>
                    </a:lnTo>
                    <a:lnTo>
                      <a:pt x="198" y="537"/>
                    </a:lnTo>
                    <a:lnTo>
                      <a:pt x="203" y="541"/>
                    </a:lnTo>
                    <a:lnTo>
                      <a:pt x="216" y="547"/>
                    </a:lnTo>
                    <a:lnTo>
                      <a:pt x="228" y="552"/>
                    </a:lnTo>
                    <a:lnTo>
                      <a:pt x="242" y="555"/>
                    </a:lnTo>
                    <a:lnTo>
                      <a:pt x="254" y="557"/>
                    </a:lnTo>
                    <a:lnTo>
                      <a:pt x="268" y="559"/>
                    </a:lnTo>
                    <a:lnTo>
                      <a:pt x="279" y="557"/>
                    </a:lnTo>
                    <a:lnTo>
                      <a:pt x="289" y="555"/>
                    </a:lnTo>
                    <a:lnTo>
                      <a:pt x="299" y="551"/>
                    </a:lnTo>
                    <a:lnTo>
                      <a:pt x="303" y="548"/>
                    </a:lnTo>
                    <a:lnTo>
                      <a:pt x="307" y="546"/>
                    </a:lnTo>
                    <a:lnTo>
                      <a:pt x="309" y="542"/>
                    </a:lnTo>
                    <a:lnTo>
                      <a:pt x="312" y="538"/>
                    </a:lnTo>
                    <a:lnTo>
                      <a:pt x="331" y="502"/>
                    </a:lnTo>
                    <a:lnTo>
                      <a:pt x="349" y="468"/>
                    </a:lnTo>
                    <a:lnTo>
                      <a:pt x="367" y="436"/>
                    </a:lnTo>
                    <a:lnTo>
                      <a:pt x="385" y="409"/>
                    </a:lnTo>
                    <a:lnTo>
                      <a:pt x="404" y="383"/>
                    </a:lnTo>
                    <a:lnTo>
                      <a:pt x="422" y="359"/>
                    </a:lnTo>
                    <a:lnTo>
                      <a:pt x="439" y="338"/>
                    </a:lnTo>
                    <a:lnTo>
                      <a:pt x="457" y="319"/>
                    </a:lnTo>
                    <a:lnTo>
                      <a:pt x="474" y="302"/>
                    </a:lnTo>
                    <a:lnTo>
                      <a:pt x="491" y="288"/>
                    </a:lnTo>
                    <a:lnTo>
                      <a:pt x="507" y="275"/>
                    </a:lnTo>
                    <a:lnTo>
                      <a:pt x="524" y="265"/>
                    </a:lnTo>
                    <a:lnTo>
                      <a:pt x="539" y="256"/>
                    </a:lnTo>
                    <a:lnTo>
                      <a:pt x="555" y="248"/>
                    </a:lnTo>
                    <a:lnTo>
                      <a:pt x="569" y="242"/>
                    </a:lnTo>
                    <a:lnTo>
                      <a:pt x="584" y="238"/>
                    </a:lnTo>
                    <a:lnTo>
                      <a:pt x="597" y="235"/>
                    </a:lnTo>
                    <a:lnTo>
                      <a:pt x="611" y="233"/>
                    </a:lnTo>
                    <a:lnTo>
                      <a:pt x="623" y="232"/>
                    </a:lnTo>
                    <a:lnTo>
                      <a:pt x="635" y="232"/>
                    </a:lnTo>
                    <a:lnTo>
                      <a:pt x="646" y="234"/>
                    </a:lnTo>
                    <a:lnTo>
                      <a:pt x="657" y="235"/>
                    </a:lnTo>
                    <a:lnTo>
                      <a:pt x="666" y="238"/>
                    </a:lnTo>
                    <a:lnTo>
                      <a:pt x="676" y="241"/>
                    </a:lnTo>
                    <a:lnTo>
                      <a:pt x="684" y="245"/>
                    </a:lnTo>
                    <a:lnTo>
                      <a:pt x="691" y="249"/>
                    </a:lnTo>
                    <a:lnTo>
                      <a:pt x="697" y="253"/>
                    </a:lnTo>
                    <a:lnTo>
                      <a:pt x="704" y="259"/>
                    </a:lnTo>
                    <a:lnTo>
                      <a:pt x="708" y="263"/>
                    </a:lnTo>
                    <a:lnTo>
                      <a:pt x="712" y="268"/>
                    </a:lnTo>
                    <a:lnTo>
                      <a:pt x="714" y="272"/>
                    </a:lnTo>
                    <a:lnTo>
                      <a:pt x="716" y="277"/>
                    </a:lnTo>
                    <a:lnTo>
                      <a:pt x="721" y="268"/>
                    </a:lnTo>
                    <a:lnTo>
                      <a:pt x="725" y="260"/>
                    </a:lnTo>
                    <a:lnTo>
                      <a:pt x="726" y="251"/>
                    </a:lnTo>
                    <a:lnTo>
                      <a:pt x="725" y="243"/>
                    </a:lnTo>
                    <a:lnTo>
                      <a:pt x="723" y="235"/>
                    </a:lnTo>
                    <a:lnTo>
                      <a:pt x="719" y="228"/>
                    </a:lnTo>
                    <a:lnTo>
                      <a:pt x="713" y="220"/>
                    </a:lnTo>
                    <a:lnTo>
                      <a:pt x="706" y="214"/>
                    </a:lnTo>
                    <a:lnTo>
                      <a:pt x="697" y="208"/>
                    </a:lnTo>
                    <a:lnTo>
                      <a:pt x="689" y="202"/>
                    </a:lnTo>
                    <a:lnTo>
                      <a:pt x="679" y="197"/>
                    </a:lnTo>
                    <a:lnTo>
                      <a:pt x="668" y="191"/>
                    </a:lnTo>
                    <a:lnTo>
                      <a:pt x="657" y="187"/>
                    </a:lnTo>
                    <a:lnTo>
                      <a:pt x="646" y="183"/>
                    </a:lnTo>
                    <a:lnTo>
                      <a:pt x="634" y="180"/>
                    </a:lnTo>
                    <a:lnTo>
                      <a:pt x="623" y="178"/>
                    </a:lnTo>
                    <a:close/>
                  </a:path>
                </a:pathLst>
              </a:custGeom>
              <a:solidFill>
                <a:srgbClr val="F1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11" name="Freeform 126"/>
              <p:cNvSpPr>
                <a:spLocks/>
              </p:cNvSpPr>
              <p:nvPr/>
            </p:nvSpPr>
            <p:spPr bwMode="auto">
              <a:xfrm>
                <a:off x="3177" y="1827"/>
                <a:ext cx="104" cy="60"/>
              </a:xfrm>
              <a:custGeom>
                <a:avLst/>
                <a:gdLst>
                  <a:gd name="T0" fmla="*/ 0 w 730"/>
                  <a:gd name="T1" fmla="*/ 0 h 417"/>
                  <a:gd name="T2" fmla="*/ 0 w 730"/>
                  <a:gd name="T3" fmla="*/ 0 h 417"/>
                  <a:gd name="T4" fmla="*/ 0 w 730"/>
                  <a:gd name="T5" fmla="*/ 0 h 417"/>
                  <a:gd name="T6" fmla="*/ 0 w 730"/>
                  <a:gd name="T7" fmla="*/ 0 h 417"/>
                  <a:gd name="T8" fmla="*/ 0 w 730"/>
                  <a:gd name="T9" fmla="*/ 0 h 417"/>
                  <a:gd name="T10" fmla="*/ 0 w 730"/>
                  <a:gd name="T11" fmla="*/ 0 h 417"/>
                  <a:gd name="T12" fmla="*/ 0 w 730"/>
                  <a:gd name="T13" fmla="*/ 0 h 417"/>
                  <a:gd name="T14" fmla="*/ 0 w 730"/>
                  <a:gd name="T15" fmla="*/ 0 h 417"/>
                  <a:gd name="T16" fmla="*/ 0 w 730"/>
                  <a:gd name="T17" fmla="*/ 0 h 417"/>
                  <a:gd name="T18" fmla="*/ 0 w 730"/>
                  <a:gd name="T19" fmla="*/ 0 h 417"/>
                  <a:gd name="T20" fmla="*/ 0 w 730"/>
                  <a:gd name="T21" fmla="*/ 0 h 417"/>
                  <a:gd name="T22" fmla="*/ 0 w 730"/>
                  <a:gd name="T23" fmla="*/ 0 h 417"/>
                  <a:gd name="T24" fmla="*/ 0 w 730"/>
                  <a:gd name="T25" fmla="*/ 0 h 417"/>
                  <a:gd name="T26" fmla="*/ 0 w 730"/>
                  <a:gd name="T27" fmla="*/ 0 h 417"/>
                  <a:gd name="T28" fmla="*/ 0 w 730"/>
                  <a:gd name="T29" fmla="*/ 0 h 417"/>
                  <a:gd name="T30" fmla="*/ 0 w 730"/>
                  <a:gd name="T31" fmla="*/ 0 h 417"/>
                  <a:gd name="T32" fmla="*/ 0 w 730"/>
                  <a:gd name="T33" fmla="*/ 0 h 417"/>
                  <a:gd name="T34" fmla="*/ 0 w 730"/>
                  <a:gd name="T35" fmla="*/ 0 h 417"/>
                  <a:gd name="T36" fmla="*/ 0 w 730"/>
                  <a:gd name="T37" fmla="*/ 0 h 417"/>
                  <a:gd name="T38" fmla="*/ 0 w 730"/>
                  <a:gd name="T39" fmla="*/ 0 h 417"/>
                  <a:gd name="T40" fmla="*/ 0 w 730"/>
                  <a:gd name="T41" fmla="*/ 0 h 417"/>
                  <a:gd name="T42" fmla="*/ 0 w 730"/>
                  <a:gd name="T43" fmla="*/ 0 h 417"/>
                  <a:gd name="T44" fmla="*/ 0 w 730"/>
                  <a:gd name="T45" fmla="*/ 0 h 417"/>
                  <a:gd name="T46" fmla="*/ 0 w 730"/>
                  <a:gd name="T47" fmla="*/ 0 h 417"/>
                  <a:gd name="T48" fmla="*/ 0 w 730"/>
                  <a:gd name="T49" fmla="*/ 0 h 417"/>
                  <a:gd name="T50" fmla="*/ 0 w 730"/>
                  <a:gd name="T51" fmla="*/ 0 h 417"/>
                  <a:gd name="T52" fmla="*/ 0 w 730"/>
                  <a:gd name="T53" fmla="*/ 0 h 417"/>
                  <a:gd name="T54" fmla="*/ 0 w 730"/>
                  <a:gd name="T55" fmla="*/ 0 h 417"/>
                  <a:gd name="T56" fmla="*/ 0 w 730"/>
                  <a:gd name="T57" fmla="*/ 0 h 417"/>
                  <a:gd name="T58" fmla="*/ 0 w 730"/>
                  <a:gd name="T59" fmla="*/ 0 h 417"/>
                  <a:gd name="T60" fmla="*/ 0 w 730"/>
                  <a:gd name="T61" fmla="*/ 0 h 417"/>
                  <a:gd name="T62" fmla="*/ 0 w 730"/>
                  <a:gd name="T63" fmla="*/ 0 h 417"/>
                  <a:gd name="T64" fmla="*/ 0 w 730"/>
                  <a:gd name="T65" fmla="*/ 0 h 417"/>
                  <a:gd name="T66" fmla="*/ 0 w 730"/>
                  <a:gd name="T67" fmla="*/ 0 h 417"/>
                  <a:gd name="T68" fmla="*/ 0 w 730"/>
                  <a:gd name="T69" fmla="*/ 0 h 417"/>
                  <a:gd name="T70" fmla="*/ 0 w 730"/>
                  <a:gd name="T71" fmla="*/ 0 h 417"/>
                  <a:gd name="T72" fmla="*/ 0 w 730"/>
                  <a:gd name="T73" fmla="*/ 0 h 417"/>
                  <a:gd name="T74" fmla="*/ 0 w 730"/>
                  <a:gd name="T75" fmla="*/ 0 h 417"/>
                  <a:gd name="T76" fmla="*/ 0 w 730"/>
                  <a:gd name="T77" fmla="*/ 0 h 417"/>
                  <a:gd name="T78" fmla="*/ 0 w 730"/>
                  <a:gd name="T79" fmla="*/ 0 h 417"/>
                  <a:gd name="T80" fmla="*/ 0 w 730"/>
                  <a:gd name="T81" fmla="*/ 0 h 417"/>
                  <a:gd name="T82" fmla="*/ 0 w 730"/>
                  <a:gd name="T83" fmla="*/ 0 h 417"/>
                  <a:gd name="T84" fmla="*/ 0 w 730"/>
                  <a:gd name="T85" fmla="*/ 0 h 417"/>
                  <a:gd name="T86" fmla="*/ 0 w 730"/>
                  <a:gd name="T87" fmla="*/ 0 h 417"/>
                  <a:gd name="T88" fmla="*/ 0 w 730"/>
                  <a:gd name="T89" fmla="*/ 0 h 417"/>
                  <a:gd name="T90" fmla="*/ 0 w 730"/>
                  <a:gd name="T91" fmla="*/ 0 h 417"/>
                  <a:gd name="T92" fmla="*/ 0 w 730"/>
                  <a:gd name="T93" fmla="*/ 0 h 417"/>
                  <a:gd name="T94" fmla="*/ 0 w 730"/>
                  <a:gd name="T95" fmla="*/ 0 h 417"/>
                  <a:gd name="T96" fmla="*/ 0 w 730"/>
                  <a:gd name="T97" fmla="*/ 0 h 417"/>
                  <a:gd name="T98" fmla="*/ 0 w 730"/>
                  <a:gd name="T99" fmla="*/ 0 h 417"/>
                  <a:gd name="T100" fmla="*/ 0 w 730"/>
                  <a:gd name="T101" fmla="*/ 0 h 417"/>
                  <a:gd name="T102" fmla="*/ 0 w 730"/>
                  <a:gd name="T103" fmla="*/ 0 h 417"/>
                  <a:gd name="T104" fmla="*/ 0 w 730"/>
                  <a:gd name="T105" fmla="*/ 0 h 417"/>
                  <a:gd name="T106" fmla="*/ 0 w 730"/>
                  <a:gd name="T107" fmla="*/ 0 h 417"/>
                  <a:gd name="T108" fmla="*/ 0 w 730"/>
                  <a:gd name="T109" fmla="*/ 0 h 417"/>
                  <a:gd name="T110" fmla="*/ 0 w 730"/>
                  <a:gd name="T111" fmla="*/ 0 h 417"/>
                  <a:gd name="T112" fmla="*/ 0 w 730"/>
                  <a:gd name="T113" fmla="*/ 0 h 417"/>
                  <a:gd name="T114" fmla="*/ 0 w 730"/>
                  <a:gd name="T115" fmla="*/ 0 h 417"/>
                  <a:gd name="T116" fmla="*/ 0 w 730"/>
                  <a:gd name="T117" fmla="*/ 0 h 417"/>
                  <a:gd name="T118" fmla="*/ 0 w 730"/>
                  <a:gd name="T119" fmla="*/ 0 h 417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30"/>
                  <a:gd name="T181" fmla="*/ 0 h 417"/>
                  <a:gd name="T182" fmla="*/ 730 w 730"/>
                  <a:gd name="T183" fmla="*/ 417 h 417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30" h="417">
                    <a:moveTo>
                      <a:pt x="564" y="163"/>
                    </a:moveTo>
                    <a:lnTo>
                      <a:pt x="557" y="164"/>
                    </a:lnTo>
                    <a:lnTo>
                      <a:pt x="548" y="166"/>
                    </a:lnTo>
                    <a:lnTo>
                      <a:pt x="539" y="169"/>
                    </a:lnTo>
                    <a:lnTo>
                      <a:pt x="530" y="173"/>
                    </a:lnTo>
                    <a:lnTo>
                      <a:pt x="522" y="179"/>
                    </a:lnTo>
                    <a:lnTo>
                      <a:pt x="515" y="185"/>
                    </a:lnTo>
                    <a:lnTo>
                      <a:pt x="508" y="191"/>
                    </a:lnTo>
                    <a:lnTo>
                      <a:pt x="502" y="198"/>
                    </a:lnTo>
                    <a:lnTo>
                      <a:pt x="498" y="205"/>
                    </a:lnTo>
                    <a:lnTo>
                      <a:pt x="495" y="213"/>
                    </a:lnTo>
                    <a:lnTo>
                      <a:pt x="493" y="219"/>
                    </a:lnTo>
                    <a:lnTo>
                      <a:pt x="492" y="225"/>
                    </a:lnTo>
                    <a:lnTo>
                      <a:pt x="492" y="231"/>
                    </a:lnTo>
                    <a:lnTo>
                      <a:pt x="493" y="238"/>
                    </a:lnTo>
                    <a:lnTo>
                      <a:pt x="495" y="245"/>
                    </a:lnTo>
                    <a:lnTo>
                      <a:pt x="497" y="251"/>
                    </a:lnTo>
                    <a:lnTo>
                      <a:pt x="501" y="257"/>
                    </a:lnTo>
                    <a:lnTo>
                      <a:pt x="507" y="264"/>
                    </a:lnTo>
                    <a:lnTo>
                      <a:pt x="514" y="271"/>
                    </a:lnTo>
                    <a:lnTo>
                      <a:pt x="522" y="277"/>
                    </a:lnTo>
                    <a:lnTo>
                      <a:pt x="531" y="282"/>
                    </a:lnTo>
                    <a:lnTo>
                      <a:pt x="542" y="286"/>
                    </a:lnTo>
                    <a:lnTo>
                      <a:pt x="552" y="289"/>
                    </a:lnTo>
                    <a:lnTo>
                      <a:pt x="562" y="291"/>
                    </a:lnTo>
                    <a:lnTo>
                      <a:pt x="573" y="292"/>
                    </a:lnTo>
                    <a:lnTo>
                      <a:pt x="582" y="292"/>
                    </a:lnTo>
                    <a:lnTo>
                      <a:pt x="589" y="291"/>
                    </a:lnTo>
                    <a:lnTo>
                      <a:pt x="596" y="289"/>
                    </a:lnTo>
                    <a:lnTo>
                      <a:pt x="603" y="287"/>
                    </a:lnTo>
                    <a:lnTo>
                      <a:pt x="608" y="283"/>
                    </a:lnTo>
                    <a:lnTo>
                      <a:pt x="613" y="279"/>
                    </a:lnTo>
                    <a:lnTo>
                      <a:pt x="617" y="274"/>
                    </a:lnTo>
                    <a:lnTo>
                      <a:pt x="620" y="268"/>
                    </a:lnTo>
                    <a:lnTo>
                      <a:pt x="621" y="263"/>
                    </a:lnTo>
                    <a:lnTo>
                      <a:pt x="622" y="257"/>
                    </a:lnTo>
                    <a:lnTo>
                      <a:pt x="622" y="252"/>
                    </a:lnTo>
                    <a:lnTo>
                      <a:pt x="620" y="247"/>
                    </a:lnTo>
                    <a:lnTo>
                      <a:pt x="618" y="242"/>
                    </a:lnTo>
                    <a:lnTo>
                      <a:pt x="615" y="236"/>
                    </a:lnTo>
                    <a:lnTo>
                      <a:pt x="611" y="231"/>
                    </a:lnTo>
                    <a:lnTo>
                      <a:pt x="607" y="226"/>
                    </a:lnTo>
                    <a:lnTo>
                      <a:pt x="602" y="223"/>
                    </a:lnTo>
                    <a:lnTo>
                      <a:pt x="596" y="219"/>
                    </a:lnTo>
                    <a:lnTo>
                      <a:pt x="590" y="217"/>
                    </a:lnTo>
                    <a:lnTo>
                      <a:pt x="585" y="214"/>
                    </a:lnTo>
                    <a:lnTo>
                      <a:pt x="579" y="213"/>
                    </a:lnTo>
                    <a:lnTo>
                      <a:pt x="574" y="212"/>
                    </a:lnTo>
                    <a:lnTo>
                      <a:pt x="568" y="212"/>
                    </a:lnTo>
                    <a:lnTo>
                      <a:pt x="562" y="212"/>
                    </a:lnTo>
                    <a:lnTo>
                      <a:pt x="558" y="213"/>
                    </a:lnTo>
                    <a:lnTo>
                      <a:pt x="555" y="215"/>
                    </a:lnTo>
                    <a:lnTo>
                      <a:pt x="552" y="217"/>
                    </a:lnTo>
                    <a:lnTo>
                      <a:pt x="549" y="219"/>
                    </a:lnTo>
                    <a:lnTo>
                      <a:pt x="547" y="222"/>
                    </a:lnTo>
                    <a:lnTo>
                      <a:pt x="545" y="225"/>
                    </a:lnTo>
                    <a:lnTo>
                      <a:pt x="544" y="228"/>
                    </a:lnTo>
                    <a:lnTo>
                      <a:pt x="543" y="232"/>
                    </a:lnTo>
                    <a:lnTo>
                      <a:pt x="563" y="236"/>
                    </a:lnTo>
                    <a:lnTo>
                      <a:pt x="564" y="233"/>
                    </a:lnTo>
                    <a:lnTo>
                      <a:pt x="565" y="230"/>
                    </a:lnTo>
                    <a:lnTo>
                      <a:pt x="568" y="229"/>
                    </a:lnTo>
                    <a:lnTo>
                      <a:pt x="571" y="228"/>
                    </a:lnTo>
                    <a:lnTo>
                      <a:pt x="576" y="228"/>
                    </a:lnTo>
                    <a:lnTo>
                      <a:pt x="581" y="229"/>
                    </a:lnTo>
                    <a:lnTo>
                      <a:pt x="587" y="232"/>
                    </a:lnTo>
                    <a:lnTo>
                      <a:pt x="592" y="236"/>
                    </a:lnTo>
                    <a:lnTo>
                      <a:pt x="596" y="241"/>
                    </a:lnTo>
                    <a:lnTo>
                      <a:pt x="600" y="246"/>
                    </a:lnTo>
                    <a:lnTo>
                      <a:pt x="601" y="250"/>
                    </a:lnTo>
                    <a:lnTo>
                      <a:pt x="602" y="253"/>
                    </a:lnTo>
                    <a:lnTo>
                      <a:pt x="602" y="257"/>
                    </a:lnTo>
                    <a:lnTo>
                      <a:pt x="601" y="261"/>
                    </a:lnTo>
                    <a:lnTo>
                      <a:pt x="597" y="265"/>
                    </a:lnTo>
                    <a:lnTo>
                      <a:pt x="594" y="268"/>
                    </a:lnTo>
                    <a:lnTo>
                      <a:pt x="591" y="272"/>
                    </a:lnTo>
                    <a:lnTo>
                      <a:pt x="587" y="274"/>
                    </a:lnTo>
                    <a:lnTo>
                      <a:pt x="579" y="276"/>
                    </a:lnTo>
                    <a:lnTo>
                      <a:pt x="571" y="276"/>
                    </a:lnTo>
                    <a:lnTo>
                      <a:pt x="563" y="276"/>
                    </a:lnTo>
                    <a:lnTo>
                      <a:pt x="555" y="274"/>
                    </a:lnTo>
                    <a:lnTo>
                      <a:pt x="548" y="272"/>
                    </a:lnTo>
                    <a:lnTo>
                      <a:pt x="541" y="268"/>
                    </a:lnTo>
                    <a:lnTo>
                      <a:pt x="534" y="264"/>
                    </a:lnTo>
                    <a:lnTo>
                      <a:pt x="528" y="260"/>
                    </a:lnTo>
                    <a:lnTo>
                      <a:pt x="523" y="256"/>
                    </a:lnTo>
                    <a:lnTo>
                      <a:pt x="519" y="251"/>
                    </a:lnTo>
                    <a:lnTo>
                      <a:pt x="516" y="246"/>
                    </a:lnTo>
                    <a:lnTo>
                      <a:pt x="514" y="241"/>
                    </a:lnTo>
                    <a:lnTo>
                      <a:pt x="513" y="235"/>
                    </a:lnTo>
                    <a:lnTo>
                      <a:pt x="513" y="230"/>
                    </a:lnTo>
                    <a:lnTo>
                      <a:pt x="514" y="222"/>
                    </a:lnTo>
                    <a:lnTo>
                      <a:pt x="517" y="214"/>
                    </a:lnTo>
                    <a:lnTo>
                      <a:pt x="521" y="207"/>
                    </a:lnTo>
                    <a:lnTo>
                      <a:pt x="525" y="202"/>
                    </a:lnTo>
                    <a:lnTo>
                      <a:pt x="530" y="197"/>
                    </a:lnTo>
                    <a:lnTo>
                      <a:pt x="537" y="192"/>
                    </a:lnTo>
                    <a:lnTo>
                      <a:pt x="543" y="188"/>
                    </a:lnTo>
                    <a:lnTo>
                      <a:pt x="550" y="185"/>
                    </a:lnTo>
                    <a:lnTo>
                      <a:pt x="556" y="182"/>
                    </a:lnTo>
                    <a:lnTo>
                      <a:pt x="563" y="181"/>
                    </a:lnTo>
                    <a:lnTo>
                      <a:pt x="572" y="180"/>
                    </a:lnTo>
                    <a:lnTo>
                      <a:pt x="584" y="177"/>
                    </a:lnTo>
                    <a:lnTo>
                      <a:pt x="596" y="176"/>
                    </a:lnTo>
                    <a:lnTo>
                      <a:pt x="609" y="175"/>
                    </a:lnTo>
                    <a:lnTo>
                      <a:pt x="619" y="175"/>
                    </a:lnTo>
                    <a:lnTo>
                      <a:pt x="631" y="176"/>
                    </a:lnTo>
                    <a:lnTo>
                      <a:pt x="641" y="179"/>
                    </a:lnTo>
                    <a:lnTo>
                      <a:pt x="652" y="183"/>
                    </a:lnTo>
                    <a:lnTo>
                      <a:pt x="665" y="188"/>
                    </a:lnTo>
                    <a:lnTo>
                      <a:pt x="673" y="193"/>
                    </a:lnTo>
                    <a:lnTo>
                      <a:pt x="680" y="199"/>
                    </a:lnTo>
                    <a:lnTo>
                      <a:pt x="687" y="205"/>
                    </a:lnTo>
                    <a:lnTo>
                      <a:pt x="694" y="212"/>
                    </a:lnTo>
                    <a:lnTo>
                      <a:pt x="698" y="219"/>
                    </a:lnTo>
                    <a:lnTo>
                      <a:pt x="702" y="227"/>
                    </a:lnTo>
                    <a:lnTo>
                      <a:pt x="705" y="234"/>
                    </a:lnTo>
                    <a:lnTo>
                      <a:pt x="708" y="243"/>
                    </a:lnTo>
                    <a:lnTo>
                      <a:pt x="708" y="250"/>
                    </a:lnTo>
                    <a:lnTo>
                      <a:pt x="709" y="257"/>
                    </a:lnTo>
                    <a:lnTo>
                      <a:pt x="709" y="264"/>
                    </a:lnTo>
                    <a:lnTo>
                      <a:pt x="708" y="272"/>
                    </a:lnTo>
                    <a:lnTo>
                      <a:pt x="706" y="280"/>
                    </a:lnTo>
                    <a:lnTo>
                      <a:pt x="705" y="287"/>
                    </a:lnTo>
                    <a:lnTo>
                      <a:pt x="702" y="294"/>
                    </a:lnTo>
                    <a:lnTo>
                      <a:pt x="699" y="302"/>
                    </a:lnTo>
                    <a:lnTo>
                      <a:pt x="692" y="315"/>
                    </a:lnTo>
                    <a:lnTo>
                      <a:pt x="681" y="328"/>
                    </a:lnTo>
                    <a:lnTo>
                      <a:pt x="676" y="335"/>
                    </a:lnTo>
                    <a:lnTo>
                      <a:pt x="670" y="341"/>
                    </a:lnTo>
                    <a:lnTo>
                      <a:pt x="664" y="346"/>
                    </a:lnTo>
                    <a:lnTo>
                      <a:pt x="657" y="351"/>
                    </a:lnTo>
                    <a:lnTo>
                      <a:pt x="647" y="358"/>
                    </a:lnTo>
                    <a:lnTo>
                      <a:pt x="636" y="365"/>
                    </a:lnTo>
                    <a:lnTo>
                      <a:pt x="624" y="371"/>
                    </a:lnTo>
                    <a:lnTo>
                      <a:pt x="613" y="376"/>
                    </a:lnTo>
                    <a:lnTo>
                      <a:pt x="601" y="381"/>
                    </a:lnTo>
                    <a:lnTo>
                      <a:pt x="587" y="385"/>
                    </a:lnTo>
                    <a:lnTo>
                      <a:pt x="574" y="389"/>
                    </a:lnTo>
                    <a:lnTo>
                      <a:pt x="560" y="393"/>
                    </a:lnTo>
                    <a:lnTo>
                      <a:pt x="547" y="396"/>
                    </a:lnTo>
                    <a:lnTo>
                      <a:pt x="532" y="398"/>
                    </a:lnTo>
                    <a:lnTo>
                      <a:pt x="519" y="400"/>
                    </a:lnTo>
                    <a:lnTo>
                      <a:pt x="504" y="401"/>
                    </a:lnTo>
                    <a:lnTo>
                      <a:pt x="491" y="401"/>
                    </a:lnTo>
                    <a:lnTo>
                      <a:pt x="477" y="401"/>
                    </a:lnTo>
                    <a:lnTo>
                      <a:pt x="463" y="400"/>
                    </a:lnTo>
                    <a:lnTo>
                      <a:pt x="451" y="399"/>
                    </a:lnTo>
                    <a:lnTo>
                      <a:pt x="425" y="395"/>
                    </a:lnTo>
                    <a:lnTo>
                      <a:pt x="402" y="390"/>
                    </a:lnTo>
                    <a:lnTo>
                      <a:pt x="379" y="387"/>
                    </a:lnTo>
                    <a:lnTo>
                      <a:pt x="359" y="382"/>
                    </a:lnTo>
                    <a:lnTo>
                      <a:pt x="339" y="378"/>
                    </a:lnTo>
                    <a:lnTo>
                      <a:pt x="321" y="373"/>
                    </a:lnTo>
                    <a:lnTo>
                      <a:pt x="302" y="367"/>
                    </a:lnTo>
                    <a:lnTo>
                      <a:pt x="284" y="360"/>
                    </a:lnTo>
                    <a:lnTo>
                      <a:pt x="268" y="354"/>
                    </a:lnTo>
                    <a:lnTo>
                      <a:pt x="250" y="347"/>
                    </a:lnTo>
                    <a:lnTo>
                      <a:pt x="233" y="339"/>
                    </a:lnTo>
                    <a:lnTo>
                      <a:pt x="215" y="331"/>
                    </a:lnTo>
                    <a:lnTo>
                      <a:pt x="179" y="310"/>
                    </a:lnTo>
                    <a:lnTo>
                      <a:pt x="139" y="287"/>
                    </a:lnTo>
                    <a:lnTo>
                      <a:pt x="129" y="281"/>
                    </a:lnTo>
                    <a:lnTo>
                      <a:pt x="119" y="274"/>
                    </a:lnTo>
                    <a:lnTo>
                      <a:pt x="110" y="265"/>
                    </a:lnTo>
                    <a:lnTo>
                      <a:pt x="100" y="257"/>
                    </a:lnTo>
                    <a:lnTo>
                      <a:pt x="90" y="247"/>
                    </a:lnTo>
                    <a:lnTo>
                      <a:pt x="81" y="237"/>
                    </a:lnTo>
                    <a:lnTo>
                      <a:pt x="71" y="226"/>
                    </a:lnTo>
                    <a:lnTo>
                      <a:pt x="63" y="216"/>
                    </a:lnTo>
                    <a:lnTo>
                      <a:pt x="55" y="204"/>
                    </a:lnTo>
                    <a:lnTo>
                      <a:pt x="48" y="193"/>
                    </a:lnTo>
                    <a:lnTo>
                      <a:pt x="40" y="182"/>
                    </a:lnTo>
                    <a:lnTo>
                      <a:pt x="34" y="169"/>
                    </a:lnTo>
                    <a:lnTo>
                      <a:pt x="29" y="158"/>
                    </a:lnTo>
                    <a:lnTo>
                      <a:pt x="25" y="146"/>
                    </a:lnTo>
                    <a:lnTo>
                      <a:pt x="23" y="136"/>
                    </a:lnTo>
                    <a:lnTo>
                      <a:pt x="21" y="126"/>
                    </a:lnTo>
                    <a:lnTo>
                      <a:pt x="20" y="109"/>
                    </a:lnTo>
                    <a:lnTo>
                      <a:pt x="22" y="93"/>
                    </a:lnTo>
                    <a:lnTo>
                      <a:pt x="23" y="84"/>
                    </a:lnTo>
                    <a:lnTo>
                      <a:pt x="25" y="76"/>
                    </a:lnTo>
                    <a:lnTo>
                      <a:pt x="27" y="68"/>
                    </a:lnTo>
                    <a:lnTo>
                      <a:pt x="30" y="61"/>
                    </a:lnTo>
                    <a:lnTo>
                      <a:pt x="33" y="52"/>
                    </a:lnTo>
                    <a:lnTo>
                      <a:pt x="37" y="46"/>
                    </a:lnTo>
                    <a:lnTo>
                      <a:pt x="43" y="40"/>
                    </a:lnTo>
                    <a:lnTo>
                      <a:pt x="49" y="34"/>
                    </a:lnTo>
                    <a:lnTo>
                      <a:pt x="55" y="29"/>
                    </a:lnTo>
                    <a:lnTo>
                      <a:pt x="62" y="24"/>
                    </a:lnTo>
                    <a:lnTo>
                      <a:pt x="70" y="20"/>
                    </a:lnTo>
                    <a:lnTo>
                      <a:pt x="79" y="18"/>
                    </a:lnTo>
                    <a:lnTo>
                      <a:pt x="90" y="16"/>
                    </a:lnTo>
                    <a:lnTo>
                      <a:pt x="102" y="16"/>
                    </a:lnTo>
                    <a:lnTo>
                      <a:pt x="116" y="17"/>
                    </a:lnTo>
                    <a:lnTo>
                      <a:pt x="129" y="19"/>
                    </a:lnTo>
                    <a:lnTo>
                      <a:pt x="143" y="22"/>
                    </a:lnTo>
                    <a:lnTo>
                      <a:pt x="156" y="28"/>
                    </a:lnTo>
                    <a:lnTo>
                      <a:pt x="169" y="33"/>
                    </a:lnTo>
                    <a:lnTo>
                      <a:pt x="180" y="40"/>
                    </a:lnTo>
                    <a:lnTo>
                      <a:pt x="185" y="43"/>
                    </a:lnTo>
                    <a:lnTo>
                      <a:pt x="190" y="47"/>
                    </a:lnTo>
                    <a:lnTo>
                      <a:pt x="194" y="52"/>
                    </a:lnTo>
                    <a:lnTo>
                      <a:pt x="200" y="58"/>
                    </a:lnTo>
                    <a:lnTo>
                      <a:pt x="203" y="64"/>
                    </a:lnTo>
                    <a:lnTo>
                      <a:pt x="206" y="71"/>
                    </a:lnTo>
                    <a:lnTo>
                      <a:pt x="207" y="78"/>
                    </a:lnTo>
                    <a:lnTo>
                      <a:pt x="207" y="85"/>
                    </a:lnTo>
                    <a:lnTo>
                      <a:pt x="206" y="93"/>
                    </a:lnTo>
                    <a:lnTo>
                      <a:pt x="204" y="100"/>
                    </a:lnTo>
                    <a:lnTo>
                      <a:pt x="201" y="105"/>
                    </a:lnTo>
                    <a:lnTo>
                      <a:pt x="197" y="110"/>
                    </a:lnTo>
                    <a:lnTo>
                      <a:pt x="192" y="115"/>
                    </a:lnTo>
                    <a:lnTo>
                      <a:pt x="186" y="119"/>
                    </a:lnTo>
                    <a:lnTo>
                      <a:pt x="179" y="122"/>
                    </a:lnTo>
                    <a:lnTo>
                      <a:pt x="172" y="124"/>
                    </a:lnTo>
                    <a:lnTo>
                      <a:pt x="166" y="125"/>
                    </a:lnTo>
                    <a:lnTo>
                      <a:pt x="158" y="125"/>
                    </a:lnTo>
                    <a:lnTo>
                      <a:pt x="152" y="125"/>
                    </a:lnTo>
                    <a:lnTo>
                      <a:pt x="146" y="124"/>
                    </a:lnTo>
                    <a:lnTo>
                      <a:pt x="140" y="123"/>
                    </a:lnTo>
                    <a:lnTo>
                      <a:pt x="133" y="121"/>
                    </a:lnTo>
                    <a:lnTo>
                      <a:pt x="128" y="118"/>
                    </a:lnTo>
                    <a:lnTo>
                      <a:pt x="124" y="114"/>
                    </a:lnTo>
                    <a:lnTo>
                      <a:pt x="121" y="111"/>
                    </a:lnTo>
                    <a:lnTo>
                      <a:pt x="119" y="108"/>
                    </a:lnTo>
                    <a:lnTo>
                      <a:pt x="117" y="104"/>
                    </a:lnTo>
                    <a:lnTo>
                      <a:pt x="117" y="101"/>
                    </a:lnTo>
                    <a:lnTo>
                      <a:pt x="117" y="95"/>
                    </a:lnTo>
                    <a:lnTo>
                      <a:pt x="118" y="89"/>
                    </a:lnTo>
                    <a:lnTo>
                      <a:pt x="98" y="82"/>
                    </a:lnTo>
                    <a:lnTo>
                      <a:pt x="96" y="88"/>
                    </a:lnTo>
                    <a:lnTo>
                      <a:pt x="96" y="94"/>
                    </a:lnTo>
                    <a:lnTo>
                      <a:pt x="96" y="100"/>
                    </a:lnTo>
                    <a:lnTo>
                      <a:pt x="97" y="105"/>
                    </a:lnTo>
                    <a:lnTo>
                      <a:pt x="99" y="110"/>
                    </a:lnTo>
                    <a:lnTo>
                      <a:pt x="101" y="115"/>
                    </a:lnTo>
                    <a:lnTo>
                      <a:pt x="106" y="121"/>
                    </a:lnTo>
                    <a:lnTo>
                      <a:pt x="111" y="125"/>
                    </a:lnTo>
                    <a:lnTo>
                      <a:pt x="117" y="130"/>
                    </a:lnTo>
                    <a:lnTo>
                      <a:pt x="125" y="134"/>
                    </a:lnTo>
                    <a:lnTo>
                      <a:pt x="133" y="137"/>
                    </a:lnTo>
                    <a:lnTo>
                      <a:pt x="142" y="139"/>
                    </a:lnTo>
                    <a:lnTo>
                      <a:pt x="151" y="141"/>
                    </a:lnTo>
                    <a:lnTo>
                      <a:pt x="160" y="141"/>
                    </a:lnTo>
                    <a:lnTo>
                      <a:pt x="171" y="141"/>
                    </a:lnTo>
                    <a:lnTo>
                      <a:pt x="180" y="140"/>
                    </a:lnTo>
                    <a:lnTo>
                      <a:pt x="190" y="137"/>
                    </a:lnTo>
                    <a:lnTo>
                      <a:pt x="199" y="133"/>
                    </a:lnTo>
                    <a:lnTo>
                      <a:pt x="207" y="128"/>
                    </a:lnTo>
                    <a:lnTo>
                      <a:pt x="214" y="123"/>
                    </a:lnTo>
                    <a:lnTo>
                      <a:pt x="219" y="115"/>
                    </a:lnTo>
                    <a:lnTo>
                      <a:pt x="223" y="107"/>
                    </a:lnTo>
                    <a:lnTo>
                      <a:pt x="226" y="99"/>
                    </a:lnTo>
                    <a:lnTo>
                      <a:pt x="228" y="90"/>
                    </a:lnTo>
                    <a:lnTo>
                      <a:pt x="228" y="80"/>
                    </a:lnTo>
                    <a:lnTo>
                      <a:pt x="226" y="72"/>
                    </a:lnTo>
                    <a:lnTo>
                      <a:pt x="223" y="64"/>
                    </a:lnTo>
                    <a:lnTo>
                      <a:pt x="219" y="56"/>
                    </a:lnTo>
                    <a:lnTo>
                      <a:pt x="214" y="48"/>
                    </a:lnTo>
                    <a:lnTo>
                      <a:pt x="208" y="41"/>
                    </a:lnTo>
                    <a:lnTo>
                      <a:pt x="201" y="34"/>
                    </a:lnTo>
                    <a:lnTo>
                      <a:pt x="191" y="28"/>
                    </a:lnTo>
                    <a:lnTo>
                      <a:pt x="178" y="19"/>
                    </a:lnTo>
                    <a:lnTo>
                      <a:pt x="163" y="13"/>
                    </a:lnTo>
                    <a:lnTo>
                      <a:pt x="148" y="8"/>
                    </a:lnTo>
                    <a:lnTo>
                      <a:pt x="131" y="3"/>
                    </a:lnTo>
                    <a:lnTo>
                      <a:pt x="115" y="1"/>
                    </a:lnTo>
                    <a:lnTo>
                      <a:pt x="99" y="0"/>
                    </a:lnTo>
                    <a:lnTo>
                      <a:pt x="84" y="0"/>
                    </a:lnTo>
                    <a:lnTo>
                      <a:pt x="70" y="2"/>
                    </a:lnTo>
                    <a:lnTo>
                      <a:pt x="60" y="5"/>
                    </a:lnTo>
                    <a:lnTo>
                      <a:pt x="50" y="9"/>
                    </a:lnTo>
                    <a:lnTo>
                      <a:pt x="42" y="14"/>
                    </a:lnTo>
                    <a:lnTo>
                      <a:pt x="34" y="20"/>
                    </a:lnTo>
                    <a:lnTo>
                      <a:pt x="27" y="27"/>
                    </a:lnTo>
                    <a:lnTo>
                      <a:pt x="21" y="34"/>
                    </a:lnTo>
                    <a:lnTo>
                      <a:pt x="16" y="42"/>
                    </a:lnTo>
                    <a:lnTo>
                      <a:pt x="12" y="50"/>
                    </a:lnTo>
                    <a:lnTo>
                      <a:pt x="7" y="60"/>
                    </a:lnTo>
                    <a:lnTo>
                      <a:pt x="5" y="68"/>
                    </a:lnTo>
                    <a:lnTo>
                      <a:pt x="2" y="77"/>
                    </a:lnTo>
                    <a:lnTo>
                      <a:pt x="1" y="86"/>
                    </a:lnTo>
                    <a:lnTo>
                      <a:pt x="0" y="97"/>
                    </a:lnTo>
                    <a:lnTo>
                      <a:pt x="0" y="106"/>
                    </a:lnTo>
                    <a:lnTo>
                      <a:pt x="0" y="115"/>
                    </a:lnTo>
                    <a:lnTo>
                      <a:pt x="0" y="125"/>
                    </a:lnTo>
                    <a:lnTo>
                      <a:pt x="2" y="136"/>
                    </a:lnTo>
                    <a:lnTo>
                      <a:pt x="5" y="147"/>
                    </a:lnTo>
                    <a:lnTo>
                      <a:pt x="9" y="160"/>
                    </a:lnTo>
                    <a:lnTo>
                      <a:pt x="15" y="172"/>
                    </a:lnTo>
                    <a:lnTo>
                      <a:pt x="22" y="185"/>
                    </a:lnTo>
                    <a:lnTo>
                      <a:pt x="29" y="197"/>
                    </a:lnTo>
                    <a:lnTo>
                      <a:pt x="37" y="210"/>
                    </a:lnTo>
                    <a:lnTo>
                      <a:pt x="46" y="222"/>
                    </a:lnTo>
                    <a:lnTo>
                      <a:pt x="55" y="234"/>
                    </a:lnTo>
                    <a:lnTo>
                      <a:pt x="65" y="246"/>
                    </a:lnTo>
                    <a:lnTo>
                      <a:pt x="76" y="256"/>
                    </a:lnTo>
                    <a:lnTo>
                      <a:pt x="86" y="266"/>
                    </a:lnTo>
                    <a:lnTo>
                      <a:pt x="96" y="277"/>
                    </a:lnTo>
                    <a:lnTo>
                      <a:pt x="107" y="285"/>
                    </a:lnTo>
                    <a:lnTo>
                      <a:pt x="118" y="293"/>
                    </a:lnTo>
                    <a:lnTo>
                      <a:pt x="128" y="299"/>
                    </a:lnTo>
                    <a:lnTo>
                      <a:pt x="170" y="324"/>
                    </a:lnTo>
                    <a:lnTo>
                      <a:pt x="207" y="344"/>
                    </a:lnTo>
                    <a:lnTo>
                      <a:pt x="225" y="353"/>
                    </a:lnTo>
                    <a:lnTo>
                      <a:pt x="243" y="362"/>
                    </a:lnTo>
                    <a:lnTo>
                      <a:pt x="261" y="369"/>
                    </a:lnTo>
                    <a:lnTo>
                      <a:pt x="279" y="376"/>
                    </a:lnTo>
                    <a:lnTo>
                      <a:pt x="297" y="382"/>
                    </a:lnTo>
                    <a:lnTo>
                      <a:pt x="316" y="388"/>
                    </a:lnTo>
                    <a:lnTo>
                      <a:pt x="335" y="394"/>
                    </a:lnTo>
                    <a:lnTo>
                      <a:pt x="356" y="399"/>
                    </a:lnTo>
                    <a:lnTo>
                      <a:pt x="377" y="403"/>
                    </a:lnTo>
                    <a:lnTo>
                      <a:pt x="400" y="407"/>
                    </a:lnTo>
                    <a:lnTo>
                      <a:pt x="424" y="411"/>
                    </a:lnTo>
                    <a:lnTo>
                      <a:pt x="450" y="414"/>
                    </a:lnTo>
                    <a:lnTo>
                      <a:pt x="464" y="416"/>
                    </a:lnTo>
                    <a:lnTo>
                      <a:pt x="479" y="417"/>
                    </a:lnTo>
                    <a:lnTo>
                      <a:pt x="494" y="417"/>
                    </a:lnTo>
                    <a:lnTo>
                      <a:pt x="509" y="417"/>
                    </a:lnTo>
                    <a:lnTo>
                      <a:pt x="524" y="415"/>
                    </a:lnTo>
                    <a:lnTo>
                      <a:pt x="539" y="414"/>
                    </a:lnTo>
                    <a:lnTo>
                      <a:pt x="554" y="411"/>
                    </a:lnTo>
                    <a:lnTo>
                      <a:pt x="569" y="408"/>
                    </a:lnTo>
                    <a:lnTo>
                      <a:pt x="583" y="405"/>
                    </a:lnTo>
                    <a:lnTo>
                      <a:pt x="597" y="401"/>
                    </a:lnTo>
                    <a:lnTo>
                      <a:pt x="611" y="396"/>
                    </a:lnTo>
                    <a:lnTo>
                      <a:pt x="624" y="390"/>
                    </a:lnTo>
                    <a:lnTo>
                      <a:pt x="638" y="385"/>
                    </a:lnTo>
                    <a:lnTo>
                      <a:pt x="649" y="379"/>
                    </a:lnTo>
                    <a:lnTo>
                      <a:pt x="662" y="372"/>
                    </a:lnTo>
                    <a:lnTo>
                      <a:pt x="672" y="365"/>
                    </a:lnTo>
                    <a:lnTo>
                      <a:pt x="679" y="359"/>
                    </a:lnTo>
                    <a:lnTo>
                      <a:pt x="686" y="352"/>
                    </a:lnTo>
                    <a:lnTo>
                      <a:pt x="693" y="346"/>
                    </a:lnTo>
                    <a:lnTo>
                      <a:pt x="699" y="339"/>
                    </a:lnTo>
                    <a:lnTo>
                      <a:pt x="705" y="332"/>
                    </a:lnTo>
                    <a:lnTo>
                      <a:pt x="710" y="324"/>
                    </a:lnTo>
                    <a:lnTo>
                      <a:pt x="714" y="316"/>
                    </a:lnTo>
                    <a:lnTo>
                      <a:pt x="718" y="309"/>
                    </a:lnTo>
                    <a:lnTo>
                      <a:pt x="721" y="301"/>
                    </a:lnTo>
                    <a:lnTo>
                      <a:pt x="725" y="292"/>
                    </a:lnTo>
                    <a:lnTo>
                      <a:pt x="727" y="284"/>
                    </a:lnTo>
                    <a:lnTo>
                      <a:pt x="729" y="276"/>
                    </a:lnTo>
                    <a:lnTo>
                      <a:pt x="730" y="267"/>
                    </a:lnTo>
                    <a:lnTo>
                      <a:pt x="730" y="259"/>
                    </a:lnTo>
                    <a:lnTo>
                      <a:pt x="729" y="251"/>
                    </a:lnTo>
                    <a:lnTo>
                      <a:pt x="728" y="243"/>
                    </a:lnTo>
                    <a:lnTo>
                      <a:pt x="726" y="232"/>
                    </a:lnTo>
                    <a:lnTo>
                      <a:pt x="721" y="223"/>
                    </a:lnTo>
                    <a:lnTo>
                      <a:pt x="716" y="214"/>
                    </a:lnTo>
                    <a:lnTo>
                      <a:pt x="710" y="204"/>
                    </a:lnTo>
                    <a:lnTo>
                      <a:pt x="703" y="196"/>
                    </a:lnTo>
                    <a:lnTo>
                      <a:pt x="694" y="189"/>
                    </a:lnTo>
                    <a:lnTo>
                      <a:pt x="684" y="182"/>
                    </a:lnTo>
                    <a:lnTo>
                      <a:pt x="674" y="175"/>
                    </a:lnTo>
                    <a:lnTo>
                      <a:pt x="659" y="168"/>
                    </a:lnTo>
                    <a:lnTo>
                      <a:pt x="645" y="163"/>
                    </a:lnTo>
                    <a:lnTo>
                      <a:pt x="632" y="160"/>
                    </a:lnTo>
                    <a:lnTo>
                      <a:pt x="618" y="159"/>
                    </a:lnTo>
                    <a:lnTo>
                      <a:pt x="605" y="159"/>
                    </a:lnTo>
                    <a:lnTo>
                      <a:pt x="591" y="160"/>
                    </a:lnTo>
                    <a:lnTo>
                      <a:pt x="578" y="161"/>
                    </a:lnTo>
                    <a:lnTo>
                      <a:pt x="564" y="163"/>
                    </a:lnTo>
                    <a:close/>
                  </a:path>
                </a:pathLst>
              </a:custGeom>
              <a:solidFill>
                <a:srgbClr val="F1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12" name="Freeform 127"/>
              <p:cNvSpPr>
                <a:spLocks/>
              </p:cNvSpPr>
              <p:nvPr/>
            </p:nvSpPr>
            <p:spPr bwMode="auto">
              <a:xfrm>
                <a:off x="3331" y="1833"/>
                <a:ext cx="21" cy="63"/>
              </a:xfrm>
              <a:custGeom>
                <a:avLst/>
                <a:gdLst>
                  <a:gd name="T0" fmla="*/ 0 w 148"/>
                  <a:gd name="T1" fmla="*/ 0 h 444"/>
                  <a:gd name="T2" fmla="*/ 0 w 148"/>
                  <a:gd name="T3" fmla="*/ 0 h 444"/>
                  <a:gd name="T4" fmla="*/ 0 w 148"/>
                  <a:gd name="T5" fmla="*/ 0 h 444"/>
                  <a:gd name="T6" fmla="*/ 0 w 148"/>
                  <a:gd name="T7" fmla="*/ 0 h 444"/>
                  <a:gd name="T8" fmla="*/ 0 w 148"/>
                  <a:gd name="T9" fmla="*/ 0 h 444"/>
                  <a:gd name="T10" fmla="*/ 0 w 148"/>
                  <a:gd name="T11" fmla="*/ 0 h 444"/>
                  <a:gd name="T12" fmla="*/ 0 w 148"/>
                  <a:gd name="T13" fmla="*/ 0 h 444"/>
                  <a:gd name="T14" fmla="*/ 0 w 148"/>
                  <a:gd name="T15" fmla="*/ 0 h 444"/>
                  <a:gd name="T16" fmla="*/ 0 w 148"/>
                  <a:gd name="T17" fmla="*/ 0 h 444"/>
                  <a:gd name="T18" fmla="*/ 0 w 148"/>
                  <a:gd name="T19" fmla="*/ 0 h 444"/>
                  <a:gd name="T20" fmla="*/ 0 w 148"/>
                  <a:gd name="T21" fmla="*/ 0 h 444"/>
                  <a:gd name="T22" fmla="*/ 0 w 148"/>
                  <a:gd name="T23" fmla="*/ 0 h 444"/>
                  <a:gd name="T24" fmla="*/ 0 w 148"/>
                  <a:gd name="T25" fmla="*/ 0 h 444"/>
                  <a:gd name="T26" fmla="*/ 0 w 148"/>
                  <a:gd name="T27" fmla="*/ 0 h 444"/>
                  <a:gd name="T28" fmla="*/ 0 w 148"/>
                  <a:gd name="T29" fmla="*/ 0 h 444"/>
                  <a:gd name="T30" fmla="*/ 0 w 148"/>
                  <a:gd name="T31" fmla="*/ 0 h 444"/>
                  <a:gd name="T32" fmla="*/ 0 w 148"/>
                  <a:gd name="T33" fmla="*/ 0 h 444"/>
                  <a:gd name="T34" fmla="*/ 0 w 148"/>
                  <a:gd name="T35" fmla="*/ 0 h 444"/>
                  <a:gd name="T36" fmla="*/ 0 w 148"/>
                  <a:gd name="T37" fmla="*/ 0 h 444"/>
                  <a:gd name="T38" fmla="*/ 0 w 148"/>
                  <a:gd name="T39" fmla="*/ 0 h 444"/>
                  <a:gd name="T40" fmla="*/ 0 w 148"/>
                  <a:gd name="T41" fmla="*/ 0 h 444"/>
                  <a:gd name="T42" fmla="*/ 0 w 148"/>
                  <a:gd name="T43" fmla="*/ 0 h 444"/>
                  <a:gd name="T44" fmla="*/ 0 w 148"/>
                  <a:gd name="T45" fmla="*/ 0 h 444"/>
                  <a:gd name="T46" fmla="*/ 0 w 148"/>
                  <a:gd name="T47" fmla="*/ 0 h 444"/>
                  <a:gd name="T48" fmla="*/ 0 w 148"/>
                  <a:gd name="T49" fmla="*/ 0 h 444"/>
                  <a:gd name="T50" fmla="*/ 0 w 148"/>
                  <a:gd name="T51" fmla="*/ 0 h 444"/>
                  <a:gd name="T52" fmla="*/ 0 w 148"/>
                  <a:gd name="T53" fmla="*/ 0 h 444"/>
                  <a:gd name="T54" fmla="*/ 0 w 148"/>
                  <a:gd name="T55" fmla="*/ 0 h 444"/>
                  <a:gd name="T56" fmla="*/ 0 w 148"/>
                  <a:gd name="T57" fmla="*/ 0 h 444"/>
                  <a:gd name="T58" fmla="*/ 0 w 148"/>
                  <a:gd name="T59" fmla="*/ 0 h 444"/>
                  <a:gd name="T60" fmla="*/ 0 w 148"/>
                  <a:gd name="T61" fmla="*/ 0 h 444"/>
                  <a:gd name="T62" fmla="*/ 0 w 148"/>
                  <a:gd name="T63" fmla="*/ 0 h 444"/>
                  <a:gd name="T64" fmla="*/ 0 w 148"/>
                  <a:gd name="T65" fmla="*/ 0 h 444"/>
                  <a:gd name="T66" fmla="*/ 0 w 148"/>
                  <a:gd name="T67" fmla="*/ 0 h 444"/>
                  <a:gd name="T68" fmla="*/ 0 w 148"/>
                  <a:gd name="T69" fmla="*/ 0 h 444"/>
                  <a:gd name="T70" fmla="*/ 0 w 148"/>
                  <a:gd name="T71" fmla="*/ 0 h 444"/>
                  <a:gd name="T72" fmla="*/ 0 w 148"/>
                  <a:gd name="T73" fmla="*/ 0 h 444"/>
                  <a:gd name="T74" fmla="*/ 0 w 148"/>
                  <a:gd name="T75" fmla="*/ 0 h 444"/>
                  <a:gd name="T76" fmla="*/ 0 w 148"/>
                  <a:gd name="T77" fmla="*/ 0 h 444"/>
                  <a:gd name="T78" fmla="*/ 0 w 148"/>
                  <a:gd name="T79" fmla="*/ 0 h 444"/>
                  <a:gd name="T80" fmla="*/ 0 w 148"/>
                  <a:gd name="T81" fmla="*/ 0 h 444"/>
                  <a:gd name="T82" fmla="*/ 0 w 148"/>
                  <a:gd name="T83" fmla="*/ 0 h 444"/>
                  <a:gd name="T84" fmla="*/ 0 w 148"/>
                  <a:gd name="T85" fmla="*/ 0 h 444"/>
                  <a:gd name="T86" fmla="*/ 0 w 148"/>
                  <a:gd name="T87" fmla="*/ 0 h 444"/>
                  <a:gd name="T88" fmla="*/ 0 w 148"/>
                  <a:gd name="T89" fmla="*/ 0 h 444"/>
                  <a:gd name="T90" fmla="*/ 0 w 148"/>
                  <a:gd name="T91" fmla="*/ 0 h 444"/>
                  <a:gd name="T92" fmla="*/ 0 w 148"/>
                  <a:gd name="T93" fmla="*/ 0 h 444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48"/>
                  <a:gd name="T142" fmla="*/ 0 h 444"/>
                  <a:gd name="T143" fmla="*/ 148 w 148"/>
                  <a:gd name="T144" fmla="*/ 444 h 444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48" h="444">
                    <a:moveTo>
                      <a:pt x="143" y="0"/>
                    </a:moveTo>
                    <a:lnTo>
                      <a:pt x="126" y="1"/>
                    </a:lnTo>
                    <a:lnTo>
                      <a:pt x="112" y="4"/>
                    </a:lnTo>
                    <a:lnTo>
                      <a:pt x="97" y="8"/>
                    </a:lnTo>
                    <a:lnTo>
                      <a:pt x="85" y="14"/>
                    </a:lnTo>
                    <a:lnTo>
                      <a:pt x="73" y="22"/>
                    </a:lnTo>
                    <a:lnTo>
                      <a:pt x="62" y="31"/>
                    </a:lnTo>
                    <a:lnTo>
                      <a:pt x="53" y="41"/>
                    </a:lnTo>
                    <a:lnTo>
                      <a:pt x="44" y="54"/>
                    </a:lnTo>
                    <a:lnTo>
                      <a:pt x="37" y="66"/>
                    </a:lnTo>
                    <a:lnTo>
                      <a:pt x="30" y="81"/>
                    </a:lnTo>
                    <a:lnTo>
                      <a:pt x="24" y="95"/>
                    </a:lnTo>
                    <a:lnTo>
                      <a:pt x="19" y="111"/>
                    </a:lnTo>
                    <a:lnTo>
                      <a:pt x="14" y="127"/>
                    </a:lnTo>
                    <a:lnTo>
                      <a:pt x="10" y="145"/>
                    </a:lnTo>
                    <a:lnTo>
                      <a:pt x="7" y="162"/>
                    </a:lnTo>
                    <a:lnTo>
                      <a:pt x="5" y="180"/>
                    </a:lnTo>
                    <a:lnTo>
                      <a:pt x="2" y="217"/>
                    </a:lnTo>
                    <a:lnTo>
                      <a:pt x="0" y="255"/>
                    </a:lnTo>
                    <a:lnTo>
                      <a:pt x="0" y="293"/>
                    </a:lnTo>
                    <a:lnTo>
                      <a:pt x="1" y="328"/>
                    </a:lnTo>
                    <a:lnTo>
                      <a:pt x="3" y="393"/>
                    </a:lnTo>
                    <a:lnTo>
                      <a:pt x="6" y="444"/>
                    </a:lnTo>
                    <a:lnTo>
                      <a:pt x="17" y="436"/>
                    </a:lnTo>
                    <a:lnTo>
                      <a:pt x="28" y="427"/>
                    </a:lnTo>
                    <a:lnTo>
                      <a:pt x="37" y="417"/>
                    </a:lnTo>
                    <a:lnTo>
                      <a:pt x="45" y="404"/>
                    </a:lnTo>
                    <a:lnTo>
                      <a:pt x="54" y="391"/>
                    </a:lnTo>
                    <a:lnTo>
                      <a:pt x="61" y="377"/>
                    </a:lnTo>
                    <a:lnTo>
                      <a:pt x="68" y="362"/>
                    </a:lnTo>
                    <a:lnTo>
                      <a:pt x="74" y="347"/>
                    </a:lnTo>
                    <a:lnTo>
                      <a:pt x="86" y="316"/>
                    </a:lnTo>
                    <a:lnTo>
                      <a:pt x="96" y="285"/>
                    </a:lnTo>
                    <a:lnTo>
                      <a:pt x="105" y="257"/>
                    </a:lnTo>
                    <a:lnTo>
                      <a:pt x="115" y="234"/>
                    </a:lnTo>
                    <a:lnTo>
                      <a:pt x="121" y="219"/>
                    </a:lnTo>
                    <a:lnTo>
                      <a:pt x="127" y="205"/>
                    </a:lnTo>
                    <a:lnTo>
                      <a:pt x="131" y="190"/>
                    </a:lnTo>
                    <a:lnTo>
                      <a:pt x="135" y="176"/>
                    </a:lnTo>
                    <a:lnTo>
                      <a:pt x="139" y="161"/>
                    </a:lnTo>
                    <a:lnTo>
                      <a:pt x="141" y="148"/>
                    </a:lnTo>
                    <a:lnTo>
                      <a:pt x="145" y="133"/>
                    </a:lnTo>
                    <a:lnTo>
                      <a:pt x="146" y="119"/>
                    </a:lnTo>
                    <a:lnTo>
                      <a:pt x="148" y="91"/>
                    </a:lnTo>
                    <a:lnTo>
                      <a:pt x="148" y="62"/>
                    </a:lnTo>
                    <a:lnTo>
                      <a:pt x="146" y="32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F1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13" name="Freeform 128"/>
              <p:cNvSpPr>
                <a:spLocks/>
              </p:cNvSpPr>
              <p:nvPr/>
            </p:nvSpPr>
            <p:spPr bwMode="auto">
              <a:xfrm>
                <a:off x="3293" y="1826"/>
                <a:ext cx="105" cy="81"/>
              </a:xfrm>
              <a:custGeom>
                <a:avLst/>
                <a:gdLst>
                  <a:gd name="T0" fmla="*/ 0 w 739"/>
                  <a:gd name="T1" fmla="*/ 0 h 566"/>
                  <a:gd name="T2" fmla="*/ 0 w 739"/>
                  <a:gd name="T3" fmla="*/ 0 h 566"/>
                  <a:gd name="T4" fmla="*/ 0 w 739"/>
                  <a:gd name="T5" fmla="*/ 0 h 566"/>
                  <a:gd name="T6" fmla="*/ 0 w 739"/>
                  <a:gd name="T7" fmla="*/ 0 h 566"/>
                  <a:gd name="T8" fmla="*/ 0 w 739"/>
                  <a:gd name="T9" fmla="*/ 0 h 566"/>
                  <a:gd name="T10" fmla="*/ 0 w 739"/>
                  <a:gd name="T11" fmla="*/ 0 h 566"/>
                  <a:gd name="T12" fmla="*/ 0 w 739"/>
                  <a:gd name="T13" fmla="*/ 0 h 566"/>
                  <a:gd name="T14" fmla="*/ 0 w 739"/>
                  <a:gd name="T15" fmla="*/ 0 h 566"/>
                  <a:gd name="T16" fmla="*/ 0 w 739"/>
                  <a:gd name="T17" fmla="*/ 0 h 566"/>
                  <a:gd name="T18" fmla="*/ 0 w 739"/>
                  <a:gd name="T19" fmla="*/ 0 h 566"/>
                  <a:gd name="T20" fmla="*/ 0 w 739"/>
                  <a:gd name="T21" fmla="*/ 0 h 566"/>
                  <a:gd name="T22" fmla="*/ 0 w 739"/>
                  <a:gd name="T23" fmla="*/ 0 h 566"/>
                  <a:gd name="T24" fmla="*/ 0 w 739"/>
                  <a:gd name="T25" fmla="*/ 0 h 566"/>
                  <a:gd name="T26" fmla="*/ 0 w 739"/>
                  <a:gd name="T27" fmla="*/ 0 h 566"/>
                  <a:gd name="T28" fmla="*/ 0 w 739"/>
                  <a:gd name="T29" fmla="*/ 0 h 566"/>
                  <a:gd name="T30" fmla="*/ 0 w 739"/>
                  <a:gd name="T31" fmla="*/ 0 h 566"/>
                  <a:gd name="T32" fmla="*/ 0 w 739"/>
                  <a:gd name="T33" fmla="*/ 0 h 566"/>
                  <a:gd name="T34" fmla="*/ 0 w 739"/>
                  <a:gd name="T35" fmla="*/ 0 h 566"/>
                  <a:gd name="T36" fmla="*/ 0 w 739"/>
                  <a:gd name="T37" fmla="*/ 0 h 566"/>
                  <a:gd name="T38" fmla="*/ 0 w 739"/>
                  <a:gd name="T39" fmla="*/ 0 h 566"/>
                  <a:gd name="T40" fmla="*/ 0 w 739"/>
                  <a:gd name="T41" fmla="*/ 0 h 566"/>
                  <a:gd name="T42" fmla="*/ 0 w 739"/>
                  <a:gd name="T43" fmla="*/ 0 h 566"/>
                  <a:gd name="T44" fmla="*/ 0 w 739"/>
                  <a:gd name="T45" fmla="*/ 0 h 566"/>
                  <a:gd name="T46" fmla="*/ 0 w 739"/>
                  <a:gd name="T47" fmla="*/ 0 h 566"/>
                  <a:gd name="T48" fmla="*/ 0 w 739"/>
                  <a:gd name="T49" fmla="*/ 0 h 566"/>
                  <a:gd name="T50" fmla="*/ 0 w 739"/>
                  <a:gd name="T51" fmla="*/ 0 h 566"/>
                  <a:gd name="T52" fmla="*/ 0 w 739"/>
                  <a:gd name="T53" fmla="*/ 0 h 566"/>
                  <a:gd name="T54" fmla="*/ 0 w 739"/>
                  <a:gd name="T55" fmla="*/ 0 h 566"/>
                  <a:gd name="T56" fmla="*/ 0 w 739"/>
                  <a:gd name="T57" fmla="*/ 0 h 566"/>
                  <a:gd name="T58" fmla="*/ 0 w 739"/>
                  <a:gd name="T59" fmla="*/ 0 h 566"/>
                  <a:gd name="T60" fmla="*/ 0 w 739"/>
                  <a:gd name="T61" fmla="*/ 0 h 566"/>
                  <a:gd name="T62" fmla="*/ 0 w 739"/>
                  <a:gd name="T63" fmla="*/ 0 h 566"/>
                  <a:gd name="T64" fmla="*/ 0 w 739"/>
                  <a:gd name="T65" fmla="*/ 0 h 566"/>
                  <a:gd name="T66" fmla="*/ 0 w 739"/>
                  <a:gd name="T67" fmla="*/ 0 h 566"/>
                  <a:gd name="T68" fmla="*/ 0 w 739"/>
                  <a:gd name="T69" fmla="*/ 0 h 566"/>
                  <a:gd name="T70" fmla="*/ 0 w 739"/>
                  <a:gd name="T71" fmla="*/ 0 h 566"/>
                  <a:gd name="T72" fmla="*/ 0 w 739"/>
                  <a:gd name="T73" fmla="*/ 0 h 566"/>
                  <a:gd name="T74" fmla="*/ 0 w 739"/>
                  <a:gd name="T75" fmla="*/ 0 h 566"/>
                  <a:gd name="T76" fmla="*/ 0 w 739"/>
                  <a:gd name="T77" fmla="*/ 0 h 566"/>
                  <a:gd name="T78" fmla="*/ 0 w 739"/>
                  <a:gd name="T79" fmla="*/ 0 h 566"/>
                  <a:gd name="T80" fmla="*/ 0 w 739"/>
                  <a:gd name="T81" fmla="*/ 0 h 566"/>
                  <a:gd name="T82" fmla="*/ 0 w 739"/>
                  <a:gd name="T83" fmla="*/ 0 h 566"/>
                  <a:gd name="T84" fmla="*/ 0 w 739"/>
                  <a:gd name="T85" fmla="*/ 0 h 566"/>
                  <a:gd name="T86" fmla="*/ 0 w 739"/>
                  <a:gd name="T87" fmla="*/ 0 h 566"/>
                  <a:gd name="T88" fmla="*/ 0 w 739"/>
                  <a:gd name="T89" fmla="*/ 0 h 566"/>
                  <a:gd name="T90" fmla="*/ 0 w 739"/>
                  <a:gd name="T91" fmla="*/ 0 h 566"/>
                  <a:gd name="T92" fmla="*/ 0 w 739"/>
                  <a:gd name="T93" fmla="*/ 0 h 566"/>
                  <a:gd name="T94" fmla="*/ 0 w 739"/>
                  <a:gd name="T95" fmla="*/ 0 h 56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39"/>
                  <a:gd name="T145" fmla="*/ 0 h 566"/>
                  <a:gd name="T146" fmla="*/ 739 w 739"/>
                  <a:gd name="T147" fmla="*/ 566 h 56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39" h="566">
                    <a:moveTo>
                      <a:pt x="632" y="142"/>
                    </a:moveTo>
                    <a:lnTo>
                      <a:pt x="619" y="141"/>
                    </a:lnTo>
                    <a:lnTo>
                      <a:pt x="607" y="141"/>
                    </a:lnTo>
                    <a:lnTo>
                      <a:pt x="596" y="141"/>
                    </a:lnTo>
                    <a:lnTo>
                      <a:pt x="583" y="143"/>
                    </a:lnTo>
                    <a:lnTo>
                      <a:pt x="572" y="145"/>
                    </a:lnTo>
                    <a:lnTo>
                      <a:pt x="560" y="147"/>
                    </a:lnTo>
                    <a:lnTo>
                      <a:pt x="549" y="151"/>
                    </a:lnTo>
                    <a:lnTo>
                      <a:pt x="539" y="156"/>
                    </a:lnTo>
                    <a:lnTo>
                      <a:pt x="528" y="160"/>
                    </a:lnTo>
                    <a:lnTo>
                      <a:pt x="518" y="165"/>
                    </a:lnTo>
                    <a:lnTo>
                      <a:pt x="508" y="171"/>
                    </a:lnTo>
                    <a:lnTo>
                      <a:pt x="498" y="176"/>
                    </a:lnTo>
                    <a:lnTo>
                      <a:pt x="481" y="190"/>
                    </a:lnTo>
                    <a:lnTo>
                      <a:pt x="465" y="203"/>
                    </a:lnTo>
                    <a:lnTo>
                      <a:pt x="458" y="211"/>
                    </a:lnTo>
                    <a:lnTo>
                      <a:pt x="451" y="222"/>
                    </a:lnTo>
                    <a:lnTo>
                      <a:pt x="443" y="235"/>
                    </a:lnTo>
                    <a:lnTo>
                      <a:pt x="434" y="251"/>
                    </a:lnTo>
                    <a:lnTo>
                      <a:pt x="417" y="286"/>
                    </a:lnTo>
                    <a:lnTo>
                      <a:pt x="400" y="324"/>
                    </a:lnTo>
                    <a:lnTo>
                      <a:pt x="384" y="362"/>
                    </a:lnTo>
                    <a:lnTo>
                      <a:pt x="370" y="399"/>
                    </a:lnTo>
                    <a:lnTo>
                      <a:pt x="359" y="429"/>
                    </a:lnTo>
                    <a:lnTo>
                      <a:pt x="352" y="450"/>
                    </a:lnTo>
                    <a:lnTo>
                      <a:pt x="348" y="464"/>
                    </a:lnTo>
                    <a:lnTo>
                      <a:pt x="343" y="475"/>
                    </a:lnTo>
                    <a:lnTo>
                      <a:pt x="339" y="485"/>
                    </a:lnTo>
                    <a:lnTo>
                      <a:pt x="335" y="496"/>
                    </a:lnTo>
                    <a:lnTo>
                      <a:pt x="329" y="504"/>
                    </a:lnTo>
                    <a:lnTo>
                      <a:pt x="321" y="513"/>
                    </a:lnTo>
                    <a:lnTo>
                      <a:pt x="310" y="522"/>
                    </a:lnTo>
                    <a:lnTo>
                      <a:pt x="297" y="530"/>
                    </a:lnTo>
                    <a:lnTo>
                      <a:pt x="291" y="533"/>
                    </a:lnTo>
                    <a:lnTo>
                      <a:pt x="283" y="535"/>
                    </a:lnTo>
                    <a:lnTo>
                      <a:pt x="277" y="536"/>
                    </a:lnTo>
                    <a:lnTo>
                      <a:pt x="271" y="535"/>
                    </a:lnTo>
                    <a:lnTo>
                      <a:pt x="264" y="534"/>
                    </a:lnTo>
                    <a:lnTo>
                      <a:pt x="258" y="531"/>
                    </a:lnTo>
                    <a:lnTo>
                      <a:pt x="250" y="528"/>
                    </a:lnTo>
                    <a:lnTo>
                      <a:pt x="244" y="524"/>
                    </a:lnTo>
                    <a:lnTo>
                      <a:pt x="239" y="519"/>
                    </a:lnTo>
                    <a:lnTo>
                      <a:pt x="234" y="513"/>
                    </a:lnTo>
                    <a:lnTo>
                      <a:pt x="229" y="507"/>
                    </a:lnTo>
                    <a:lnTo>
                      <a:pt x="224" y="501"/>
                    </a:lnTo>
                    <a:lnTo>
                      <a:pt x="220" y="495"/>
                    </a:lnTo>
                    <a:lnTo>
                      <a:pt x="217" y="488"/>
                    </a:lnTo>
                    <a:lnTo>
                      <a:pt x="215" y="481"/>
                    </a:lnTo>
                    <a:lnTo>
                      <a:pt x="214" y="474"/>
                    </a:lnTo>
                    <a:lnTo>
                      <a:pt x="213" y="459"/>
                    </a:lnTo>
                    <a:lnTo>
                      <a:pt x="214" y="443"/>
                    </a:lnTo>
                    <a:lnTo>
                      <a:pt x="216" y="428"/>
                    </a:lnTo>
                    <a:lnTo>
                      <a:pt x="220" y="412"/>
                    </a:lnTo>
                    <a:lnTo>
                      <a:pt x="229" y="382"/>
                    </a:lnTo>
                    <a:lnTo>
                      <a:pt x="238" y="352"/>
                    </a:lnTo>
                    <a:lnTo>
                      <a:pt x="242" y="333"/>
                    </a:lnTo>
                    <a:lnTo>
                      <a:pt x="246" y="316"/>
                    </a:lnTo>
                    <a:lnTo>
                      <a:pt x="249" y="298"/>
                    </a:lnTo>
                    <a:lnTo>
                      <a:pt x="251" y="281"/>
                    </a:lnTo>
                    <a:lnTo>
                      <a:pt x="252" y="263"/>
                    </a:lnTo>
                    <a:lnTo>
                      <a:pt x="252" y="245"/>
                    </a:lnTo>
                    <a:lnTo>
                      <a:pt x="252" y="226"/>
                    </a:lnTo>
                    <a:lnTo>
                      <a:pt x="250" y="206"/>
                    </a:lnTo>
                    <a:lnTo>
                      <a:pt x="245" y="180"/>
                    </a:lnTo>
                    <a:lnTo>
                      <a:pt x="239" y="155"/>
                    </a:lnTo>
                    <a:lnTo>
                      <a:pt x="235" y="142"/>
                    </a:lnTo>
                    <a:lnTo>
                      <a:pt x="231" y="130"/>
                    </a:lnTo>
                    <a:lnTo>
                      <a:pt x="226" y="117"/>
                    </a:lnTo>
                    <a:lnTo>
                      <a:pt x="219" y="105"/>
                    </a:lnTo>
                    <a:lnTo>
                      <a:pt x="213" y="94"/>
                    </a:lnTo>
                    <a:lnTo>
                      <a:pt x="206" y="82"/>
                    </a:lnTo>
                    <a:lnTo>
                      <a:pt x="198" y="72"/>
                    </a:lnTo>
                    <a:lnTo>
                      <a:pt x="188" y="61"/>
                    </a:lnTo>
                    <a:lnTo>
                      <a:pt x="179" y="51"/>
                    </a:lnTo>
                    <a:lnTo>
                      <a:pt x="168" y="41"/>
                    </a:lnTo>
                    <a:lnTo>
                      <a:pt x="156" y="32"/>
                    </a:lnTo>
                    <a:lnTo>
                      <a:pt x="144" y="22"/>
                    </a:lnTo>
                    <a:lnTo>
                      <a:pt x="134" y="15"/>
                    </a:lnTo>
                    <a:lnTo>
                      <a:pt x="122" y="10"/>
                    </a:lnTo>
                    <a:lnTo>
                      <a:pt x="112" y="6"/>
                    </a:lnTo>
                    <a:lnTo>
                      <a:pt x="101" y="3"/>
                    </a:lnTo>
                    <a:lnTo>
                      <a:pt x="90" y="2"/>
                    </a:lnTo>
                    <a:lnTo>
                      <a:pt x="80" y="0"/>
                    </a:lnTo>
                    <a:lnTo>
                      <a:pt x="70" y="0"/>
                    </a:lnTo>
                    <a:lnTo>
                      <a:pt x="59" y="3"/>
                    </a:lnTo>
                    <a:lnTo>
                      <a:pt x="49" y="5"/>
                    </a:lnTo>
                    <a:lnTo>
                      <a:pt x="41" y="9"/>
                    </a:lnTo>
                    <a:lnTo>
                      <a:pt x="31" y="13"/>
                    </a:lnTo>
                    <a:lnTo>
                      <a:pt x="24" y="19"/>
                    </a:lnTo>
                    <a:lnTo>
                      <a:pt x="17" y="25"/>
                    </a:lnTo>
                    <a:lnTo>
                      <a:pt x="11" y="34"/>
                    </a:lnTo>
                    <a:lnTo>
                      <a:pt x="4" y="42"/>
                    </a:lnTo>
                    <a:lnTo>
                      <a:pt x="0" y="52"/>
                    </a:lnTo>
                    <a:lnTo>
                      <a:pt x="3" y="51"/>
                    </a:lnTo>
                    <a:lnTo>
                      <a:pt x="11" y="48"/>
                    </a:lnTo>
                    <a:lnTo>
                      <a:pt x="23" y="44"/>
                    </a:lnTo>
                    <a:lnTo>
                      <a:pt x="38" y="41"/>
                    </a:lnTo>
                    <a:lnTo>
                      <a:pt x="47" y="40"/>
                    </a:lnTo>
                    <a:lnTo>
                      <a:pt x="56" y="40"/>
                    </a:lnTo>
                    <a:lnTo>
                      <a:pt x="65" y="40"/>
                    </a:lnTo>
                    <a:lnTo>
                      <a:pt x="76" y="41"/>
                    </a:lnTo>
                    <a:lnTo>
                      <a:pt x="85" y="43"/>
                    </a:lnTo>
                    <a:lnTo>
                      <a:pt x="95" y="47"/>
                    </a:lnTo>
                    <a:lnTo>
                      <a:pt x="106" y="51"/>
                    </a:lnTo>
                    <a:lnTo>
                      <a:pt x="116" y="57"/>
                    </a:lnTo>
                    <a:lnTo>
                      <a:pt x="126" y="66"/>
                    </a:lnTo>
                    <a:lnTo>
                      <a:pt x="137" y="75"/>
                    </a:lnTo>
                    <a:lnTo>
                      <a:pt x="146" y="87"/>
                    </a:lnTo>
                    <a:lnTo>
                      <a:pt x="155" y="101"/>
                    </a:lnTo>
                    <a:lnTo>
                      <a:pt x="164" y="117"/>
                    </a:lnTo>
                    <a:lnTo>
                      <a:pt x="172" y="135"/>
                    </a:lnTo>
                    <a:lnTo>
                      <a:pt x="179" y="157"/>
                    </a:lnTo>
                    <a:lnTo>
                      <a:pt x="185" y="180"/>
                    </a:lnTo>
                    <a:lnTo>
                      <a:pt x="190" y="206"/>
                    </a:lnTo>
                    <a:lnTo>
                      <a:pt x="195" y="236"/>
                    </a:lnTo>
                    <a:lnTo>
                      <a:pt x="198" y="269"/>
                    </a:lnTo>
                    <a:lnTo>
                      <a:pt x="200" y="304"/>
                    </a:lnTo>
                    <a:lnTo>
                      <a:pt x="201" y="344"/>
                    </a:lnTo>
                    <a:lnTo>
                      <a:pt x="200" y="387"/>
                    </a:lnTo>
                    <a:lnTo>
                      <a:pt x="198" y="434"/>
                    </a:lnTo>
                    <a:lnTo>
                      <a:pt x="194" y="484"/>
                    </a:lnTo>
                    <a:lnTo>
                      <a:pt x="194" y="493"/>
                    </a:lnTo>
                    <a:lnTo>
                      <a:pt x="194" y="500"/>
                    </a:lnTo>
                    <a:lnTo>
                      <a:pt x="195" y="507"/>
                    </a:lnTo>
                    <a:lnTo>
                      <a:pt x="197" y="513"/>
                    </a:lnTo>
                    <a:lnTo>
                      <a:pt x="200" y="520"/>
                    </a:lnTo>
                    <a:lnTo>
                      <a:pt x="203" y="526"/>
                    </a:lnTo>
                    <a:lnTo>
                      <a:pt x="206" y="531"/>
                    </a:lnTo>
                    <a:lnTo>
                      <a:pt x="210" y="536"/>
                    </a:lnTo>
                    <a:lnTo>
                      <a:pt x="215" y="541"/>
                    </a:lnTo>
                    <a:lnTo>
                      <a:pt x="220" y="545"/>
                    </a:lnTo>
                    <a:lnTo>
                      <a:pt x="226" y="549"/>
                    </a:lnTo>
                    <a:lnTo>
                      <a:pt x="231" y="553"/>
                    </a:lnTo>
                    <a:lnTo>
                      <a:pt x="243" y="558"/>
                    </a:lnTo>
                    <a:lnTo>
                      <a:pt x="257" y="563"/>
                    </a:lnTo>
                    <a:lnTo>
                      <a:pt x="269" y="565"/>
                    </a:lnTo>
                    <a:lnTo>
                      <a:pt x="282" y="566"/>
                    </a:lnTo>
                    <a:lnTo>
                      <a:pt x="295" y="566"/>
                    </a:lnTo>
                    <a:lnTo>
                      <a:pt x="307" y="564"/>
                    </a:lnTo>
                    <a:lnTo>
                      <a:pt x="312" y="563"/>
                    </a:lnTo>
                    <a:lnTo>
                      <a:pt x="318" y="561"/>
                    </a:lnTo>
                    <a:lnTo>
                      <a:pt x="323" y="559"/>
                    </a:lnTo>
                    <a:lnTo>
                      <a:pt x="327" y="556"/>
                    </a:lnTo>
                    <a:lnTo>
                      <a:pt x="331" y="553"/>
                    </a:lnTo>
                    <a:lnTo>
                      <a:pt x="334" y="550"/>
                    </a:lnTo>
                    <a:lnTo>
                      <a:pt x="337" y="545"/>
                    </a:lnTo>
                    <a:lnTo>
                      <a:pt x="339" y="541"/>
                    </a:lnTo>
                    <a:lnTo>
                      <a:pt x="356" y="502"/>
                    </a:lnTo>
                    <a:lnTo>
                      <a:pt x="372" y="466"/>
                    </a:lnTo>
                    <a:lnTo>
                      <a:pt x="389" y="432"/>
                    </a:lnTo>
                    <a:lnTo>
                      <a:pt x="406" y="401"/>
                    </a:lnTo>
                    <a:lnTo>
                      <a:pt x="423" y="373"/>
                    </a:lnTo>
                    <a:lnTo>
                      <a:pt x="440" y="347"/>
                    </a:lnTo>
                    <a:lnTo>
                      <a:pt x="456" y="323"/>
                    </a:lnTo>
                    <a:lnTo>
                      <a:pt x="473" y="302"/>
                    </a:lnTo>
                    <a:lnTo>
                      <a:pt x="489" y="284"/>
                    </a:lnTo>
                    <a:lnTo>
                      <a:pt x="506" y="267"/>
                    </a:lnTo>
                    <a:lnTo>
                      <a:pt x="521" y="253"/>
                    </a:lnTo>
                    <a:lnTo>
                      <a:pt x="537" y="240"/>
                    </a:lnTo>
                    <a:lnTo>
                      <a:pt x="552" y="230"/>
                    </a:lnTo>
                    <a:lnTo>
                      <a:pt x="567" y="221"/>
                    </a:lnTo>
                    <a:lnTo>
                      <a:pt x="581" y="213"/>
                    </a:lnTo>
                    <a:lnTo>
                      <a:pt x="596" y="208"/>
                    </a:lnTo>
                    <a:lnTo>
                      <a:pt x="609" y="204"/>
                    </a:lnTo>
                    <a:lnTo>
                      <a:pt x="622" y="201"/>
                    </a:lnTo>
                    <a:lnTo>
                      <a:pt x="635" y="199"/>
                    </a:lnTo>
                    <a:lnTo>
                      <a:pt x="646" y="198"/>
                    </a:lnTo>
                    <a:lnTo>
                      <a:pt x="658" y="199"/>
                    </a:lnTo>
                    <a:lnTo>
                      <a:pt x="669" y="200"/>
                    </a:lnTo>
                    <a:lnTo>
                      <a:pt x="678" y="202"/>
                    </a:lnTo>
                    <a:lnTo>
                      <a:pt x="688" y="204"/>
                    </a:lnTo>
                    <a:lnTo>
                      <a:pt x="696" y="208"/>
                    </a:lnTo>
                    <a:lnTo>
                      <a:pt x="704" y="211"/>
                    </a:lnTo>
                    <a:lnTo>
                      <a:pt x="710" y="216"/>
                    </a:lnTo>
                    <a:lnTo>
                      <a:pt x="716" y="221"/>
                    </a:lnTo>
                    <a:lnTo>
                      <a:pt x="721" y="225"/>
                    </a:lnTo>
                    <a:lnTo>
                      <a:pt x="725" y="230"/>
                    </a:lnTo>
                    <a:lnTo>
                      <a:pt x="728" y="234"/>
                    </a:lnTo>
                    <a:lnTo>
                      <a:pt x="730" y="238"/>
                    </a:lnTo>
                    <a:lnTo>
                      <a:pt x="735" y="229"/>
                    </a:lnTo>
                    <a:lnTo>
                      <a:pt x="738" y="220"/>
                    </a:lnTo>
                    <a:lnTo>
                      <a:pt x="739" y="210"/>
                    </a:lnTo>
                    <a:lnTo>
                      <a:pt x="738" y="202"/>
                    </a:lnTo>
                    <a:lnTo>
                      <a:pt x="735" y="195"/>
                    </a:lnTo>
                    <a:lnTo>
                      <a:pt x="730" y="188"/>
                    </a:lnTo>
                    <a:lnTo>
                      <a:pt x="724" y="180"/>
                    </a:lnTo>
                    <a:lnTo>
                      <a:pt x="716" y="174"/>
                    </a:lnTo>
                    <a:lnTo>
                      <a:pt x="708" y="168"/>
                    </a:lnTo>
                    <a:lnTo>
                      <a:pt x="699" y="163"/>
                    </a:lnTo>
                    <a:lnTo>
                      <a:pt x="689" y="158"/>
                    </a:lnTo>
                    <a:lnTo>
                      <a:pt x="677" y="154"/>
                    </a:lnTo>
                    <a:lnTo>
                      <a:pt x="666" y="150"/>
                    </a:lnTo>
                    <a:lnTo>
                      <a:pt x="654" y="147"/>
                    </a:lnTo>
                    <a:lnTo>
                      <a:pt x="643" y="144"/>
                    </a:lnTo>
                    <a:lnTo>
                      <a:pt x="632" y="142"/>
                    </a:lnTo>
                    <a:close/>
                  </a:path>
                </a:pathLst>
              </a:custGeom>
              <a:solidFill>
                <a:srgbClr val="F1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14" name="Freeform 129"/>
              <p:cNvSpPr>
                <a:spLocks/>
              </p:cNvSpPr>
              <p:nvPr/>
            </p:nvSpPr>
            <p:spPr bwMode="auto">
              <a:xfrm>
                <a:off x="3283" y="1861"/>
                <a:ext cx="106" cy="58"/>
              </a:xfrm>
              <a:custGeom>
                <a:avLst/>
                <a:gdLst>
                  <a:gd name="T0" fmla="*/ 0 w 740"/>
                  <a:gd name="T1" fmla="*/ 0 h 406"/>
                  <a:gd name="T2" fmla="*/ 0 w 740"/>
                  <a:gd name="T3" fmla="*/ 0 h 406"/>
                  <a:gd name="T4" fmla="*/ 0 w 740"/>
                  <a:gd name="T5" fmla="*/ 0 h 406"/>
                  <a:gd name="T6" fmla="*/ 0 w 740"/>
                  <a:gd name="T7" fmla="*/ 0 h 406"/>
                  <a:gd name="T8" fmla="*/ 0 w 740"/>
                  <a:gd name="T9" fmla="*/ 0 h 406"/>
                  <a:gd name="T10" fmla="*/ 0 w 740"/>
                  <a:gd name="T11" fmla="*/ 0 h 406"/>
                  <a:gd name="T12" fmla="*/ 0 w 740"/>
                  <a:gd name="T13" fmla="*/ 0 h 406"/>
                  <a:gd name="T14" fmla="*/ 0 w 740"/>
                  <a:gd name="T15" fmla="*/ 0 h 406"/>
                  <a:gd name="T16" fmla="*/ 0 w 740"/>
                  <a:gd name="T17" fmla="*/ 0 h 406"/>
                  <a:gd name="T18" fmla="*/ 0 w 740"/>
                  <a:gd name="T19" fmla="*/ 0 h 406"/>
                  <a:gd name="T20" fmla="*/ 0 w 740"/>
                  <a:gd name="T21" fmla="*/ 0 h 406"/>
                  <a:gd name="T22" fmla="*/ 0 w 740"/>
                  <a:gd name="T23" fmla="*/ 0 h 406"/>
                  <a:gd name="T24" fmla="*/ 0 w 740"/>
                  <a:gd name="T25" fmla="*/ 0 h 406"/>
                  <a:gd name="T26" fmla="*/ 0 w 740"/>
                  <a:gd name="T27" fmla="*/ 0 h 406"/>
                  <a:gd name="T28" fmla="*/ 0 w 740"/>
                  <a:gd name="T29" fmla="*/ 0 h 406"/>
                  <a:gd name="T30" fmla="*/ 0 w 740"/>
                  <a:gd name="T31" fmla="*/ 0 h 406"/>
                  <a:gd name="T32" fmla="*/ 0 w 740"/>
                  <a:gd name="T33" fmla="*/ 0 h 406"/>
                  <a:gd name="T34" fmla="*/ 0 w 740"/>
                  <a:gd name="T35" fmla="*/ 0 h 406"/>
                  <a:gd name="T36" fmla="*/ 0 w 740"/>
                  <a:gd name="T37" fmla="*/ 0 h 406"/>
                  <a:gd name="T38" fmla="*/ 0 w 740"/>
                  <a:gd name="T39" fmla="*/ 0 h 406"/>
                  <a:gd name="T40" fmla="*/ 0 w 740"/>
                  <a:gd name="T41" fmla="*/ 0 h 406"/>
                  <a:gd name="T42" fmla="*/ 0 w 740"/>
                  <a:gd name="T43" fmla="*/ 0 h 406"/>
                  <a:gd name="T44" fmla="*/ 0 w 740"/>
                  <a:gd name="T45" fmla="*/ 0 h 406"/>
                  <a:gd name="T46" fmla="*/ 0 w 740"/>
                  <a:gd name="T47" fmla="*/ 0 h 406"/>
                  <a:gd name="T48" fmla="*/ 0 w 740"/>
                  <a:gd name="T49" fmla="*/ 0 h 406"/>
                  <a:gd name="T50" fmla="*/ 0 w 740"/>
                  <a:gd name="T51" fmla="*/ 0 h 406"/>
                  <a:gd name="T52" fmla="*/ 0 w 740"/>
                  <a:gd name="T53" fmla="*/ 0 h 406"/>
                  <a:gd name="T54" fmla="*/ 0 w 740"/>
                  <a:gd name="T55" fmla="*/ 0 h 406"/>
                  <a:gd name="T56" fmla="*/ 0 w 740"/>
                  <a:gd name="T57" fmla="*/ 0 h 406"/>
                  <a:gd name="T58" fmla="*/ 0 w 740"/>
                  <a:gd name="T59" fmla="*/ 0 h 406"/>
                  <a:gd name="T60" fmla="*/ 0 w 740"/>
                  <a:gd name="T61" fmla="*/ 0 h 406"/>
                  <a:gd name="T62" fmla="*/ 0 w 740"/>
                  <a:gd name="T63" fmla="*/ 0 h 406"/>
                  <a:gd name="T64" fmla="*/ 0 w 740"/>
                  <a:gd name="T65" fmla="*/ 0 h 406"/>
                  <a:gd name="T66" fmla="*/ 0 w 740"/>
                  <a:gd name="T67" fmla="*/ 0 h 406"/>
                  <a:gd name="T68" fmla="*/ 0 w 740"/>
                  <a:gd name="T69" fmla="*/ 0 h 406"/>
                  <a:gd name="T70" fmla="*/ 0 w 740"/>
                  <a:gd name="T71" fmla="*/ 0 h 406"/>
                  <a:gd name="T72" fmla="*/ 0 w 740"/>
                  <a:gd name="T73" fmla="*/ 0 h 406"/>
                  <a:gd name="T74" fmla="*/ 0 w 740"/>
                  <a:gd name="T75" fmla="*/ 0 h 406"/>
                  <a:gd name="T76" fmla="*/ 0 w 740"/>
                  <a:gd name="T77" fmla="*/ 0 h 406"/>
                  <a:gd name="T78" fmla="*/ 0 w 740"/>
                  <a:gd name="T79" fmla="*/ 0 h 406"/>
                  <a:gd name="T80" fmla="*/ 0 w 740"/>
                  <a:gd name="T81" fmla="*/ 0 h 406"/>
                  <a:gd name="T82" fmla="*/ 0 w 740"/>
                  <a:gd name="T83" fmla="*/ 0 h 406"/>
                  <a:gd name="T84" fmla="*/ 0 w 740"/>
                  <a:gd name="T85" fmla="*/ 0 h 406"/>
                  <a:gd name="T86" fmla="*/ 0 w 740"/>
                  <a:gd name="T87" fmla="*/ 0 h 406"/>
                  <a:gd name="T88" fmla="*/ 0 w 740"/>
                  <a:gd name="T89" fmla="*/ 0 h 406"/>
                  <a:gd name="T90" fmla="*/ 0 w 740"/>
                  <a:gd name="T91" fmla="*/ 0 h 406"/>
                  <a:gd name="T92" fmla="*/ 0 w 740"/>
                  <a:gd name="T93" fmla="*/ 0 h 406"/>
                  <a:gd name="T94" fmla="*/ 0 w 740"/>
                  <a:gd name="T95" fmla="*/ 0 h 406"/>
                  <a:gd name="T96" fmla="*/ 0 w 740"/>
                  <a:gd name="T97" fmla="*/ 0 h 406"/>
                  <a:gd name="T98" fmla="*/ 0 w 740"/>
                  <a:gd name="T99" fmla="*/ 0 h 406"/>
                  <a:gd name="T100" fmla="*/ 0 w 740"/>
                  <a:gd name="T101" fmla="*/ 0 h 406"/>
                  <a:gd name="T102" fmla="*/ 0 w 740"/>
                  <a:gd name="T103" fmla="*/ 0 h 406"/>
                  <a:gd name="T104" fmla="*/ 0 w 740"/>
                  <a:gd name="T105" fmla="*/ 0 h 406"/>
                  <a:gd name="T106" fmla="*/ 0 w 740"/>
                  <a:gd name="T107" fmla="*/ 0 h 406"/>
                  <a:gd name="T108" fmla="*/ 0 w 740"/>
                  <a:gd name="T109" fmla="*/ 0 h 406"/>
                  <a:gd name="T110" fmla="*/ 0 w 740"/>
                  <a:gd name="T111" fmla="*/ 0 h 406"/>
                  <a:gd name="T112" fmla="*/ 0 w 740"/>
                  <a:gd name="T113" fmla="*/ 0 h 406"/>
                  <a:gd name="T114" fmla="*/ 0 w 740"/>
                  <a:gd name="T115" fmla="*/ 0 h 406"/>
                  <a:gd name="T116" fmla="*/ 0 w 740"/>
                  <a:gd name="T117" fmla="*/ 0 h 406"/>
                  <a:gd name="T118" fmla="*/ 0 w 740"/>
                  <a:gd name="T119" fmla="*/ 0 h 40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40"/>
                  <a:gd name="T181" fmla="*/ 0 h 406"/>
                  <a:gd name="T182" fmla="*/ 740 w 740"/>
                  <a:gd name="T183" fmla="*/ 406 h 40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40" h="406">
                    <a:moveTo>
                      <a:pt x="570" y="135"/>
                    </a:moveTo>
                    <a:lnTo>
                      <a:pt x="562" y="136"/>
                    </a:lnTo>
                    <a:lnTo>
                      <a:pt x="553" y="139"/>
                    </a:lnTo>
                    <a:lnTo>
                      <a:pt x="544" y="143"/>
                    </a:lnTo>
                    <a:lnTo>
                      <a:pt x="535" y="148"/>
                    </a:lnTo>
                    <a:lnTo>
                      <a:pt x="528" y="153"/>
                    </a:lnTo>
                    <a:lnTo>
                      <a:pt x="521" y="161"/>
                    </a:lnTo>
                    <a:lnTo>
                      <a:pt x="515" y="168"/>
                    </a:lnTo>
                    <a:lnTo>
                      <a:pt x="509" y="176"/>
                    </a:lnTo>
                    <a:lnTo>
                      <a:pt x="504" y="184"/>
                    </a:lnTo>
                    <a:lnTo>
                      <a:pt x="502" y="191"/>
                    </a:lnTo>
                    <a:lnTo>
                      <a:pt x="501" y="198"/>
                    </a:lnTo>
                    <a:lnTo>
                      <a:pt x="500" y="205"/>
                    </a:lnTo>
                    <a:lnTo>
                      <a:pt x="500" y="211"/>
                    </a:lnTo>
                    <a:lnTo>
                      <a:pt x="502" y="219"/>
                    </a:lnTo>
                    <a:lnTo>
                      <a:pt x="504" y="225"/>
                    </a:lnTo>
                    <a:lnTo>
                      <a:pt x="506" y="231"/>
                    </a:lnTo>
                    <a:lnTo>
                      <a:pt x="511" y="237"/>
                    </a:lnTo>
                    <a:lnTo>
                      <a:pt x="517" y="243"/>
                    </a:lnTo>
                    <a:lnTo>
                      <a:pt x="524" y="251"/>
                    </a:lnTo>
                    <a:lnTo>
                      <a:pt x="533" y="256"/>
                    </a:lnTo>
                    <a:lnTo>
                      <a:pt x="543" y="260"/>
                    </a:lnTo>
                    <a:lnTo>
                      <a:pt x="553" y="264"/>
                    </a:lnTo>
                    <a:lnTo>
                      <a:pt x="563" y="267"/>
                    </a:lnTo>
                    <a:lnTo>
                      <a:pt x="574" y="268"/>
                    </a:lnTo>
                    <a:lnTo>
                      <a:pt x="585" y="268"/>
                    </a:lnTo>
                    <a:lnTo>
                      <a:pt x="593" y="268"/>
                    </a:lnTo>
                    <a:lnTo>
                      <a:pt x="601" y="266"/>
                    </a:lnTo>
                    <a:lnTo>
                      <a:pt x="608" y="264"/>
                    </a:lnTo>
                    <a:lnTo>
                      <a:pt x="614" y="260"/>
                    </a:lnTo>
                    <a:lnTo>
                      <a:pt x="619" y="256"/>
                    </a:lnTo>
                    <a:lnTo>
                      <a:pt x="624" y="252"/>
                    </a:lnTo>
                    <a:lnTo>
                      <a:pt x="627" y="247"/>
                    </a:lnTo>
                    <a:lnTo>
                      <a:pt x="630" y="239"/>
                    </a:lnTo>
                    <a:lnTo>
                      <a:pt x="632" y="234"/>
                    </a:lnTo>
                    <a:lnTo>
                      <a:pt x="632" y="228"/>
                    </a:lnTo>
                    <a:lnTo>
                      <a:pt x="632" y="223"/>
                    </a:lnTo>
                    <a:lnTo>
                      <a:pt x="629" y="218"/>
                    </a:lnTo>
                    <a:lnTo>
                      <a:pt x="627" y="211"/>
                    </a:lnTo>
                    <a:lnTo>
                      <a:pt x="624" y="206"/>
                    </a:lnTo>
                    <a:lnTo>
                      <a:pt x="620" y="202"/>
                    </a:lnTo>
                    <a:lnTo>
                      <a:pt x="615" y="197"/>
                    </a:lnTo>
                    <a:lnTo>
                      <a:pt x="610" y="194"/>
                    </a:lnTo>
                    <a:lnTo>
                      <a:pt x="604" y="191"/>
                    </a:lnTo>
                    <a:lnTo>
                      <a:pt x="598" y="188"/>
                    </a:lnTo>
                    <a:lnTo>
                      <a:pt x="592" y="186"/>
                    </a:lnTo>
                    <a:lnTo>
                      <a:pt x="586" y="184"/>
                    </a:lnTo>
                    <a:lnTo>
                      <a:pt x="581" y="184"/>
                    </a:lnTo>
                    <a:lnTo>
                      <a:pt x="576" y="184"/>
                    </a:lnTo>
                    <a:lnTo>
                      <a:pt x="571" y="186"/>
                    </a:lnTo>
                    <a:lnTo>
                      <a:pt x="566" y="187"/>
                    </a:lnTo>
                    <a:lnTo>
                      <a:pt x="562" y="189"/>
                    </a:lnTo>
                    <a:lnTo>
                      <a:pt x="559" y="191"/>
                    </a:lnTo>
                    <a:lnTo>
                      <a:pt x="557" y="194"/>
                    </a:lnTo>
                    <a:lnTo>
                      <a:pt x="555" y="197"/>
                    </a:lnTo>
                    <a:lnTo>
                      <a:pt x="553" y="200"/>
                    </a:lnTo>
                    <a:lnTo>
                      <a:pt x="552" y="204"/>
                    </a:lnTo>
                    <a:lnTo>
                      <a:pt x="552" y="208"/>
                    </a:lnTo>
                    <a:lnTo>
                      <a:pt x="573" y="210"/>
                    </a:lnTo>
                    <a:lnTo>
                      <a:pt x="573" y="207"/>
                    </a:lnTo>
                    <a:lnTo>
                      <a:pt x="574" y="205"/>
                    </a:lnTo>
                    <a:lnTo>
                      <a:pt x="576" y="203"/>
                    </a:lnTo>
                    <a:lnTo>
                      <a:pt x="579" y="202"/>
                    </a:lnTo>
                    <a:lnTo>
                      <a:pt x="584" y="201"/>
                    </a:lnTo>
                    <a:lnTo>
                      <a:pt x="589" y="202"/>
                    </a:lnTo>
                    <a:lnTo>
                      <a:pt x="595" y="205"/>
                    </a:lnTo>
                    <a:lnTo>
                      <a:pt x="602" y="208"/>
                    </a:lnTo>
                    <a:lnTo>
                      <a:pt x="606" y="212"/>
                    </a:lnTo>
                    <a:lnTo>
                      <a:pt x="609" y="219"/>
                    </a:lnTo>
                    <a:lnTo>
                      <a:pt x="611" y="222"/>
                    </a:lnTo>
                    <a:lnTo>
                      <a:pt x="611" y="225"/>
                    </a:lnTo>
                    <a:lnTo>
                      <a:pt x="611" y="229"/>
                    </a:lnTo>
                    <a:lnTo>
                      <a:pt x="610" y="234"/>
                    </a:lnTo>
                    <a:lnTo>
                      <a:pt x="608" y="238"/>
                    </a:lnTo>
                    <a:lnTo>
                      <a:pt x="606" y="242"/>
                    </a:lnTo>
                    <a:lnTo>
                      <a:pt x="602" y="245"/>
                    </a:lnTo>
                    <a:lnTo>
                      <a:pt x="598" y="248"/>
                    </a:lnTo>
                    <a:lnTo>
                      <a:pt x="590" y="251"/>
                    </a:lnTo>
                    <a:lnTo>
                      <a:pt x="582" y="252"/>
                    </a:lnTo>
                    <a:lnTo>
                      <a:pt x="574" y="252"/>
                    </a:lnTo>
                    <a:lnTo>
                      <a:pt x="566" y="251"/>
                    </a:lnTo>
                    <a:lnTo>
                      <a:pt x="558" y="249"/>
                    </a:lnTo>
                    <a:lnTo>
                      <a:pt x="551" y="245"/>
                    </a:lnTo>
                    <a:lnTo>
                      <a:pt x="544" y="242"/>
                    </a:lnTo>
                    <a:lnTo>
                      <a:pt x="537" y="238"/>
                    </a:lnTo>
                    <a:lnTo>
                      <a:pt x="532" y="234"/>
                    </a:lnTo>
                    <a:lnTo>
                      <a:pt x="528" y="229"/>
                    </a:lnTo>
                    <a:lnTo>
                      <a:pt x="525" y="224"/>
                    </a:lnTo>
                    <a:lnTo>
                      <a:pt x="523" y="219"/>
                    </a:lnTo>
                    <a:lnTo>
                      <a:pt x="522" y="213"/>
                    </a:lnTo>
                    <a:lnTo>
                      <a:pt x="521" y="208"/>
                    </a:lnTo>
                    <a:lnTo>
                      <a:pt x="522" y="199"/>
                    </a:lnTo>
                    <a:lnTo>
                      <a:pt x="525" y="192"/>
                    </a:lnTo>
                    <a:lnTo>
                      <a:pt x="528" y="184"/>
                    </a:lnTo>
                    <a:lnTo>
                      <a:pt x="532" y="178"/>
                    </a:lnTo>
                    <a:lnTo>
                      <a:pt x="537" y="172"/>
                    </a:lnTo>
                    <a:lnTo>
                      <a:pt x="543" y="167"/>
                    </a:lnTo>
                    <a:lnTo>
                      <a:pt x="549" y="162"/>
                    </a:lnTo>
                    <a:lnTo>
                      <a:pt x="556" y="158"/>
                    </a:lnTo>
                    <a:lnTo>
                      <a:pt x="562" y="154"/>
                    </a:lnTo>
                    <a:lnTo>
                      <a:pt x="570" y="152"/>
                    </a:lnTo>
                    <a:lnTo>
                      <a:pt x="577" y="151"/>
                    </a:lnTo>
                    <a:lnTo>
                      <a:pt x="590" y="148"/>
                    </a:lnTo>
                    <a:lnTo>
                      <a:pt x="603" y="145"/>
                    </a:lnTo>
                    <a:lnTo>
                      <a:pt x="614" y="144"/>
                    </a:lnTo>
                    <a:lnTo>
                      <a:pt x="625" y="143"/>
                    </a:lnTo>
                    <a:lnTo>
                      <a:pt x="636" y="143"/>
                    </a:lnTo>
                    <a:lnTo>
                      <a:pt x="647" y="144"/>
                    </a:lnTo>
                    <a:lnTo>
                      <a:pt x="658" y="148"/>
                    </a:lnTo>
                    <a:lnTo>
                      <a:pt x="670" y="152"/>
                    </a:lnTo>
                    <a:lnTo>
                      <a:pt x="679" y="158"/>
                    </a:lnTo>
                    <a:lnTo>
                      <a:pt x="687" y="163"/>
                    </a:lnTo>
                    <a:lnTo>
                      <a:pt x="695" y="169"/>
                    </a:lnTo>
                    <a:lnTo>
                      <a:pt x="701" y="175"/>
                    </a:lnTo>
                    <a:lnTo>
                      <a:pt x="706" y="182"/>
                    </a:lnTo>
                    <a:lnTo>
                      <a:pt x="711" y="190"/>
                    </a:lnTo>
                    <a:lnTo>
                      <a:pt x="714" y="198"/>
                    </a:lnTo>
                    <a:lnTo>
                      <a:pt x="716" y="207"/>
                    </a:lnTo>
                    <a:lnTo>
                      <a:pt x="718" y="214"/>
                    </a:lnTo>
                    <a:lnTo>
                      <a:pt x="719" y="222"/>
                    </a:lnTo>
                    <a:lnTo>
                      <a:pt x="719" y="229"/>
                    </a:lnTo>
                    <a:lnTo>
                      <a:pt x="718" y="237"/>
                    </a:lnTo>
                    <a:lnTo>
                      <a:pt x="717" y="244"/>
                    </a:lnTo>
                    <a:lnTo>
                      <a:pt x="716" y="253"/>
                    </a:lnTo>
                    <a:lnTo>
                      <a:pt x="714" y="260"/>
                    </a:lnTo>
                    <a:lnTo>
                      <a:pt x="711" y="268"/>
                    </a:lnTo>
                    <a:lnTo>
                      <a:pt x="704" y="283"/>
                    </a:lnTo>
                    <a:lnTo>
                      <a:pt x="696" y="298"/>
                    </a:lnTo>
                    <a:lnTo>
                      <a:pt x="690" y="304"/>
                    </a:lnTo>
                    <a:lnTo>
                      <a:pt x="684" y="312"/>
                    </a:lnTo>
                    <a:lnTo>
                      <a:pt x="678" y="318"/>
                    </a:lnTo>
                    <a:lnTo>
                      <a:pt x="672" y="323"/>
                    </a:lnTo>
                    <a:lnTo>
                      <a:pt x="663" y="331"/>
                    </a:lnTo>
                    <a:lnTo>
                      <a:pt x="651" y="339"/>
                    </a:lnTo>
                    <a:lnTo>
                      <a:pt x="641" y="346"/>
                    </a:lnTo>
                    <a:lnTo>
                      <a:pt x="628" y="352"/>
                    </a:lnTo>
                    <a:lnTo>
                      <a:pt x="616" y="358"/>
                    </a:lnTo>
                    <a:lnTo>
                      <a:pt x="604" y="364"/>
                    </a:lnTo>
                    <a:lnTo>
                      <a:pt x="591" y="369"/>
                    </a:lnTo>
                    <a:lnTo>
                      <a:pt x="578" y="374"/>
                    </a:lnTo>
                    <a:lnTo>
                      <a:pt x="563" y="378"/>
                    </a:lnTo>
                    <a:lnTo>
                      <a:pt x="550" y="381"/>
                    </a:lnTo>
                    <a:lnTo>
                      <a:pt x="535" y="384"/>
                    </a:lnTo>
                    <a:lnTo>
                      <a:pt x="522" y="386"/>
                    </a:lnTo>
                    <a:lnTo>
                      <a:pt x="508" y="387"/>
                    </a:lnTo>
                    <a:lnTo>
                      <a:pt x="494" y="388"/>
                    </a:lnTo>
                    <a:lnTo>
                      <a:pt x="481" y="388"/>
                    </a:lnTo>
                    <a:lnTo>
                      <a:pt x="467" y="388"/>
                    </a:lnTo>
                    <a:lnTo>
                      <a:pt x="442" y="386"/>
                    </a:lnTo>
                    <a:lnTo>
                      <a:pt x="419" y="384"/>
                    </a:lnTo>
                    <a:lnTo>
                      <a:pt x="396" y="382"/>
                    </a:lnTo>
                    <a:lnTo>
                      <a:pt x="375" y="379"/>
                    </a:lnTo>
                    <a:lnTo>
                      <a:pt x="356" y="375"/>
                    </a:lnTo>
                    <a:lnTo>
                      <a:pt x="336" y="372"/>
                    </a:lnTo>
                    <a:lnTo>
                      <a:pt x="317" y="366"/>
                    </a:lnTo>
                    <a:lnTo>
                      <a:pt x="300" y="361"/>
                    </a:lnTo>
                    <a:lnTo>
                      <a:pt x="282" y="356"/>
                    </a:lnTo>
                    <a:lnTo>
                      <a:pt x="265" y="350"/>
                    </a:lnTo>
                    <a:lnTo>
                      <a:pt x="246" y="343"/>
                    </a:lnTo>
                    <a:lnTo>
                      <a:pt x="228" y="335"/>
                    </a:lnTo>
                    <a:lnTo>
                      <a:pt x="191" y="317"/>
                    </a:lnTo>
                    <a:lnTo>
                      <a:pt x="150" y="296"/>
                    </a:lnTo>
                    <a:lnTo>
                      <a:pt x="140" y="291"/>
                    </a:lnTo>
                    <a:lnTo>
                      <a:pt x="129" y="284"/>
                    </a:lnTo>
                    <a:lnTo>
                      <a:pt x="119" y="277"/>
                    </a:lnTo>
                    <a:lnTo>
                      <a:pt x="109" y="268"/>
                    </a:lnTo>
                    <a:lnTo>
                      <a:pt x="99" y="259"/>
                    </a:lnTo>
                    <a:lnTo>
                      <a:pt x="89" y="249"/>
                    </a:lnTo>
                    <a:lnTo>
                      <a:pt x="79" y="238"/>
                    </a:lnTo>
                    <a:lnTo>
                      <a:pt x="70" y="228"/>
                    </a:lnTo>
                    <a:lnTo>
                      <a:pt x="61" y="217"/>
                    </a:lnTo>
                    <a:lnTo>
                      <a:pt x="53" y="205"/>
                    </a:lnTo>
                    <a:lnTo>
                      <a:pt x="46" y="194"/>
                    </a:lnTo>
                    <a:lnTo>
                      <a:pt x="39" y="182"/>
                    </a:lnTo>
                    <a:lnTo>
                      <a:pt x="33" y="171"/>
                    </a:lnTo>
                    <a:lnTo>
                      <a:pt x="29" y="160"/>
                    </a:lnTo>
                    <a:lnTo>
                      <a:pt x="25" y="148"/>
                    </a:lnTo>
                    <a:lnTo>
                      <a:pt x="23" y="138"/>
                    </a:lnTo>
                    <a:lnTo>
                      <a:pt x="22" y="120"/>
                    </a:lnTo>
                    <a:lnTo>
                      <a:pt x="22" y="103"/>
                    </a:lnTo>
                    <a:lnTo>
                      <a:pt x="23" y="95"/>
                    </a:lnTo>
                    <a:lnTo>
                      <a:pt x="24" y="85"/>
                    </a:lnTo>
                    <a:lnTo>
                      <a:pt x="26" y="77"/>
                    </a:lnTo>
                    <a:lnTo>
                      <a:pt x="28" y="69"/>
                    </a:lnTo>
                    <a:lnTo>
                      <a:pt x="32" y="60"/>
                    </a:lnTo>
                    <a:lnTo>
                      <a:pt x="35" y="53"/>
                    </a:lnTo>
                    <a:lnTo>
                      <a:pt x="40" y="46"/>
                    </a:lnTo>
                    <a:lnTo>
                      <a:pt x="46" y="40"/>
                    </a:lnTo>
                    <a:lnTo>
                      <a:pt x="52" y="34"/>
                    </a:lnTo>
                    <a:lnTo>
                      <a:pt x="59" y="28"/>
                    </a:lnTo>
                    <a:lnTo>
                      <a:pt x="66" y="24"/>
                    </a:lnTo>
                    <a:lnTo>
                      <a:pt x="76" y="21"/>
                    </a:lnTo>
                    <a:lnTo>
                      <a:pt x="87" y="18"/>
                    </a:lnTo>
                    <a:lnTo>
                      <a:pt x="99" y="17"/>
                    </a:lnTo>
                    <a:lnTo>
                      <a:pt x="113" y="17"/>
                    </a:lnTo>
                    <a:lnTo>
                      <a:pt x="126" y="19"/>
                    </a:lnTo>
                    <a:lnTo>
                      <a:pt x="140" y="21"/>
                    </a:lnTo>
                    <a:lnTo>
                      <a:pt x="153" y="25"/>
                    </a:lnTo>
                    <a:lnTo>
                      <a:pt x="166" y="30"/>
                    </a:lnTo>
                    <a:lnTo>
                      <a:pt x="178" y="36"/>
                    </a:lnTo>
                    <a:lnTo>
                      <a:pt x="183" y="40"/>
                    </a:lnTo>
                    <a:lnTo>
                      <a:pt x="188" y="44"/>
                    </a:lnTo>
                    <a:lnTo>
                      <a:pt x="193" y="48"/>
                    </a:lnTo>
                    <a:lnTo>
                      <a:pt x="197" y="53"/>
                    </a:lnTo>
                    <a:lnTo>
                      <a:pt x="202" y="59"/>
                    </a:lnTo>
                    <a:lnTo>
                      <a:pt x="205" y="66"/>
                    </a:lnTo>
                    <a:lnTo>
                      <a:pt x="207" y="74"/>
                    </a:lnTo>
                    <a:lnTo>
                      <a:pt x="208" y="82"/>
                    </a:lnTo>
                    <a:lnTo>
                      <a:pt x="207" y="89"/>
                    </a:lnTo>
                    <a:lnTo>
                      <a:pt x="205" y="97"/>
                    </a:lnTo>
                    <a:lnTo>
                      <a:pt x="203" y="103"/>
                    </a:lnTo>
                    <a:lnTo>
                      <a:pt x="199" y="108"/>
                    </a:lnTo>
                    <a:lnTo>
                      <a:pt x="193" y="113"/>
                    </a:lnTo>
                    <a:lnTo>
                      <a:pt x="188" y="117"/>
                    </a:lnTo>
                    <a:lnTo>
                      <a:pt x="181" y="121"/>
                    </a:lnTo>
                    <a:lnTo>
                      <a:pt x="174" y="123"/>
                    </a:lnTo>
                    <a:lnTo>
                      <a:pt x="168" y="126"/>
                    </a:lnTo>
                    <a:lnTo>
                      <a:pt x="160" y="127"/>
                    </a:lnTo>
                    <a:lnTo>
                      <a:pt x="154" y="127"/>
                    </a:lnTo>
                    <a:lnTo>
                      <a:pt x="148" y="126"/>
                    </a:lnTo>
                    <a:lnTo>
                      <a:pt x="142" y="124"/>
                    </a:lnTo>
                    <a:lnTo>
                      <a:pt x="135" y="123"/>
                    </a:lnTo>
                    <a:lnTo>
                      <a:pt x="130" y="120"/>
                    </a:lnTo>
                    <a:lnTo>
                      <a:pt x="126" y="117"/>
                    </a:lnTo>
                    <a:lnTo>
                      <a:pt x="122" y="115"/>
                    </a:lnTo>
                    <a:lnTo>
                      <a:pt x="120" y="111"/>
                    </a:lnTo>
                    <a:lnTo>
                      <a:pt x="118" y="108"/>
                    </a:lnTo>
                    <a:lnTo>
                      <a:pt x="118" y="105"/>
                    </a:lnTo>
                    <a:lnTo>
                      <a:pt x="117" y="98"/>
                    </a:lnTo>
                    <a:lnTo>
                      <a:pt x="119" y="91"/>
                    </a:lnTo>
                    <a:lnTo>
                      <a:pt x="98" y="86"/>
                    </a:lnTo>
                    <a:lnTo>
                      <a:pt x="97" y="92"/>
                    </a:lnTo>
                    <a:lnTo>
                      <a:pt x="96" y="99"/>
                    </a:lnTo>
                    <a:lnTo>
                      <a:pt x="96" y="105"/>
                    </a:lnTo>
                    <a:lnTo>
                      <a:pt x="98" y="110"/>
                    </a:lnTo>
                    <a:lnTo>
                      <a:pt x="100" y="115"/>
                    </a:lnTo>
                    <a:lnTo>
                      <a:pt x="103" y="120"/>
                    </a:lnTo>
                    <a:lnTo>
                      <a:pt x="108" y="126"/>
                    </a:lnTo>
                    <a:lnTo>
                      <a:pt x="113" y="130"/>
                    </a:lnTo>
                    <a:lnTo>
                      <a:pt x="119" y="134"/>
                    </a:lnTo>
                    <a:lnTo>
                      <a:pt x="127" y="138"/>
                    </a:lnTo>
                    <a:lnTo>
                      <a:pt x="135" y="141"/>
                    </a:lnTo>
                    <a:lnTo>
                      <a:pt x="145" y="142"/>
                    </a:lnTo>
                    <a:lnTo>
                      <a:pt x="154" y="143"/>
                    </a:lnTo>
                    <a:lnTo>
                      <a:pt x="163" y="143"/>
                    </a:lnTo>
                    <a:lnTo>
                      <a:pt x="174" y="142"/>
                    </a:lnTo>
                    <a:lnTo>
                      <a:pt x="183" y="140"/>
                    </a:lnTo>
                    <a:lnTo>
                      <a:pt x="192" y="137"/>
                    </a:lnTo>
                    <a:lnTo>
                      <a:pt x="202" y="132"/>
                    </a:lnTo>
                    <a:lnTo>
                      <a:pt x="209" y="126"/>
                    </a:lnTo>
                    <a:lnTo>
                      <a:pt x="216" y="119"/>
                    </a:lnTo>
                    <a:lnTo>
                      <a:pt x="221" y="111"/>
                    </a:lnTo>
                    <a:lnTo>
                      <a:pt x="224" y="103"/>
                    </a:lnTo>
                    <a:lnTo>
                      <a:pt x="227" y="93"/>
                    </a:lnTo>
                    <a:lnTo>
                      <a:pt x="228" y="83"/>
                    </a:lnTo>
                    <a:lnTo>
                      <a:pt x="227" y="75"/>
                    </a:lnTo>
                    <a:lnTo>
                      <a:pt x="225" y="67"/>
                    </a:lnTo>
                    <a:lnTo>
                      <a:pt x="222" y="58"/>
                    </a:lnTo>
                    <a:lnTo>
                      <a:pt x="218" y="50"/>
                    </a:lnTo>
                    <a:lnTo>
                      <a:pt x="213" y="43"/>
                    </a:lnTo>
                    <a:lnTo>
                      <a:pt x="206" y="36"/>
                    </a:lnTo>
                    <a:lnTo>
                      <a:pt x="197" y="28"/>
                    </a:lnTo>
                    <a:lnTo>
                      <a:pt x="188" y="22"/>
                    </a:lnTo>
                    <a:lnTo>
                      <a:pt x="175" y="15"/>
                    </a:lnTo>
                    <a:lnTo>
                      <a:pt x="159" y="10"/>
                    </a:lnTo>
                    <a:lnTo>
                      <a:pt x="144" y="5"/>
                    </a:lnTo>
                    <a:lnTo>
                      <a:pt x="127" y="1"/>
                    </a:lnTo>
                    <a:lnTo>
                      <a:pt x="111" y="0"/>
                    </a:lnTo>
                    <a:lnTo>
                      <a:pt x="95" y="0"/>
                    </a:lnTo>
                    <a:lnTo>
                      <a:pt x="80" y="1"/>
                    </a:lnTo>
                    <a:lnTo>
                      <a:pt x="66" y="6"/>
                    </a:lnTo>
                    <a:lnTo>
                      <a:pt x="56" y="9"/>
                    </a:lnTo>
                    <a:lnTo>
                      <a:pt x="47" y="14"/>
                    </a:lnTo>
                    <a:lnTo>
                      <a:pt x="37" y="20"/>
                    </a:lnTo>
                    <a:lnTo>
                      <a:pt x="30" y="27"/>
                    </a:lnTo>
                    <a:lnTo>
                      <a:pt x="24" y="35"/>
                    </a:lnTo>
                    <a:lnTo>
                      <a:pt x="19" y="43"/>
                    </a:lnTo>
                    <a:lnTo>
                      <a:pt x="14" y="51"/>
                    </a:lnTo>
                    <a:lnTo>
                      <a:pt x="9" y="60"/>
                    </a:lnTo>
                    <a:lnTo>
                      <a:pt x="6" y="70"/>
                    </a:lnTo>
                    <a:lnTo>
                      <a:pt x="4" y="79"/>
                    </a:lnTo>
                    <a:lnTo>
                      <a:pt x="2" y="89"/>
                    </a:lnTo>
                    <a:lnTo>
                      <a:pt x="1" y="99"/>
                    </a:lnTo>
                    <a:lnTo>
                      <a:pt x="0" y="109"/>
                    </a:lnTo>
                    <a:lnTo>
                      <a:pt x="0" y="118"/>
                    </a:lnTo>
                    <a:lnTo>
                      <a:pt x="1" y="129"/>
                    </a:lnTo>
                    <a:lnTo>
                      <a:pt x="2" y="138"/>
                    </a:lnTo>
                    <a:lnTo>
                      <a:pt x="4" y="149"/>
                    </a:lnTo>
                    <a:lnTo>
                      <a:pt x="8" y="162"/>
                    </a:lnTo>
                    <a:lnTo>
                      <a:pt x="14" y="174"/>
                    </a:lnTo>
                    <a:lnTo>
                      <a:pt x="20" y="187"/>
                    </a:lnTo>
                    <a:lnTo>
                      <a:pt x="27" y="199"/>
                    </a:lnTo>
                    <a:lnTo>
                      <a:pt x="34" y="211"/>
                    </a:lnTo>
                    <a:lnTo>
                      <a:pt x="44" y="224"/>
                    </a:lnTo>
                    <a:lnTo>
                      <a:pt x="53" y="236"/>
                    </a:lnTo>
                    <a:lnTo>
                      <a:pt x="63" y="248"/>
                    </a:lnTo>
                    <a:lnTo>
                      <a:pt x="73" y="259"/>
                    </a:lnTo>
                    <a:lnTo>
                      <a:pt x="84" y="269"/>
                    </a:lnTo>
                    <a:lnTo>
                      <a:pt x="95" y="280"/>
                    </a:lnTo>
                    <a:lnTo>
                      <a:pt x="107" y="288"/>
                    </a:lnTo>
                    <a:lnTo>
                      <a:pt x="118" y="296"/>
                    </a:lnTo>
                    <a:lnTo>
                      <a:pt x="129" y="304"/>
                    </a:lnTo>
                    <a:lnTo>
                      <a:pt x="140" y="311"/>
                    </a:lnTo>
                    <a:lnTo>
                      <a:pt x="182" y="332"/>
                    </a:lnTo>
                    <a:lnTo>
                      <a:pt x="221" y="350"/>
                    </a:lnTo>
                    <a:lnTo>
                      <a:pt x="240" y="358"/>
                    </a:lnTo>
                    <a:lnTo>
                      <a:pt x="258" y="365"/>
                    </a:lnTo>
                    <a:lnTo>
                      <a:pt x="276" y="372"/>
                    </a:lnTo>
                    <a:lnTo>
                      <a:pt x="295" y="378"/>
                    </a:lnTo>
                    <a:lnTo>
                      <a:pt x="313" y="383"/>
                    </a:lnTo>
                    <a:lnTo>
                      <a:pt x="332" y="388"/>
                    </a:lnTo>
                    <a:lnTo>
                      <a:pt x="351" y="392"/>
                    </a:lnTo>
                    <a:lnTo>
                      <a:pt x="372" y="395"/>
                    </a:lnTo>
                    <a:lnTo>
                      <a:pt x="394" y="399"/>
                    </a:lnTo>
                    <a:lnTo>
                      <a:pt x="418" y="401"/>
                    </a:lnTo>
                    <a:lnTo>
                      <a:pt x="441" y="404"/>
                    </a:lnTo>
                    <a:lnTo>
                      <a:pt x="468" y="405"/>
                    </a:lnTo>
                    <a:lnTo>
                      <a:pt x="483" y="406"/>
                    </a:lnTo>
                    <a:lnTo>
                      <a:pt x="497" y="406"/>
                    </a:lnTo>
                    <a:lnTo>
                      <a:pt x="512" y="405"/>
                    </a:lnTo>
                    <a:lnTo>
                      <a:pt x="527" y="403"/>
                    </a:lnTo>
                    <a:lnTo>
                      <a:pt x="542" y="401"/>
                    </a:lnTo>
                    <a:lnTo>
                      <a:pt x="557" y="397"/>
                    </a:lnTo>
                    <a:lnTo>
                      <a:pt x="572" y="393"/>
                    </a:lnTo>
                    <a:lnTo>
                      <a:pt x="586" y="389"/>
                    </a:lnTo>
                    <a:lnTo>
                      <a:pt x="601" y="385"/>
                    </a:lnTo>
                    <a:lnTo>
                      <a:pt x="615" y="379"/>
                    </a:lnTo>
                    <a:lnTo>
                      <a:pt x="628" y="374"/>
                    </a:lnTo>
                    <a:lnTo>
                      <a:pt x="642" y="366"/>
                    </a:lnTo>
                    <a:lnTo>
                      <a:pt x="654" y="360"/>
                    </a:lnTo>
                    <a:lnTo>
                      <a:pt x="666" y="352"/>
                    </a:lnTo>
                    <a:lnTo>
                      <a:pt x="677" y="345"/>
                    </a:lnTo>
                    <a:lnTo>
                      <a:pt x="687" y="335"/>
                    </a:lnTo>
                    <a:lnTo>
                      <a:pt x="695" y="329"/>
                    </a:lnTo>
                    <a:lnTo>
                      <a:pt x="702" y="322"/>
                    </a:lnTo>
                    <a:lnTo>
                      <a:pt x="708" y="315"/>
                    </a:lnTo>
                    <a:lnTo>
                      <a:pt x="713" y="308"/>
                    </a:lnTo>
                    <a:lnTo>
                      <a:pt x="718" y="299"/>
                    </a:lnTo>
                    <a:lnTo>
                      <a:pt x="723" y="291"/>
                    </a:lnTo>
                    <a:lnTo>
                      <a:pt x="728" y="283"/>
                    </a:lnTo>
                    <a:lnTo>
                      <a:pt x="731" y="273"/>
                    </a:lnTo>
                    <a:lnTo>
                      <a:pt x="734" y="265"/>
                    </a:lnTo>
                    <a:lnTo>
                      <a:pt x="737" y="257"/>
                    </a:lnTo>
                    <a:lnTo>
                      <a:pt x="738" y="248"/>
                    </a:lnTo>
                    <a:lnTo>
                      <a:pt x="739" y="239"/>
                    </a:lnTo>
                    <a:lnTo>
                      <a:pt x="740" y="230"/>
                    </a:lnTo>
                    <a:lnTo>
                      <a:pt x="740" y="222"/>
                    </a:lnTo>
                    <a:lnTo>
                      <a:pt x="739" y="213"/>
                    </a:lnTo>
                    <a:lnTo>
                      <a:pt x="737" y="205"/>
                    </a:lnTo>
                    <a:lnTo>
                      <a:pt x="734" y="195"/>
                    </a:lnTo>
                    <a:lnTo>
                      <a:pt x="730" y="184"/>
                    </a:lnTo>
                    <a:lnTo>
                      <a:pt x="723" y="175"/>
                    </a:lnTo>
                    <a:lnTo>
                      <a:pt x="717" y="167"/>
                    </a:lnTo>
                    <a:lnTo>
                      <a:pt x="709" y="159"/>
                    </a:lnTo>
                    <a:lnTo>
                      <a:pt x="701" y="151"/>
                    </a:lnTo>
                    <a:lnTo>
                      <a:pt x="690" y="144"/>
                    </a:lnTo>
                    <a:lnTo>
                      <a:pt x="679" y="138"/>
                    </a:lnTo>
                    <a:lnTo>
                      <a:pt x="665" y="132"/>
                    </a:lnTo>
                    <a:lnTo>
                      <a:pt x="650" y="129"/>
                    </a:lnTo>
                    <a:lnTo>
                      <a:pt x="637" y="127"/>
                    </a:lnTo>
                    <a:lnTo>
                      <a:pt x="623" y="126"/>
                    </a:lnTo>
                    <a:lnTo>
                      <a:pt x="610" y="127"/>
                    </a:lnTo>
                    <a:lnTo>
                      <a:pt x="596" y="129"/>
                    </a:lnTo>
                    <a:lnTo>
                      <a:pt x="583" y="132"/>
                    </a:lnTo>
                    <a:lnTo>
                      <a:pt x="570" y="135"/>
                    </a:lnTo>
                    <a:close/>
                  </a:path>
                </a:pathLst>
              </a:custGeom>
              <a:solidFill>
                <a:srgbClr val="F1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15" name="Freeform 130"/>
              <p:cNvSpPr>
                <a:spLocks/>
              </p:cNvSpPr>
              <p:nvPr/>
            </p:nvSpPr>
            <p:spPr bwMode="auto">
              <a:xfrm>
                <a:off x="3441" y="1850"/>
                <a:ext cx="18" cy="66"/>
              </a:xfrm>
              <a:custGeom>
                <a:avLst/>
                <a:gdLst>
                  <a:gd name="T0" fmla="*/ 0 w 129"/>
                  <a:gd name="T1" fmla="*/ 0 h 459"/>
                  <a:gd name="T2" fmla="*/ 0 w 129"/>
                  <a:gd name="T3" fmla="*/ 0 h 459"/>
                  <a:gd name="T4" fmla="*/ 0 w 129"/>
                  <a:gd name="T5" fmla="*/ 0 h 459"/>
                  <a:gd name="T6" fmla="*/ 0 w 129"/>
                  <a:gd name="T7" fmla="*/ 0 h 459"/>
                  <a:gd name="T8" fmla="*/ 0 w 129"/>
                  <a:gd name="T9" fmla="*/ 0 h 459"/>
                  <a:gd name="T10" fmla="*/ 0 w 129"/>
                  <a:gd name="T11" fmla="*/ 0 h 459"/>
                  <a:gd name="T12" fmla="*/ 0 w 129"/>
                  <a:gd name="T13" fmla="*/ 0 h 459"/>
                  <a:gd name="T14" fmla="*/ 0 w 129"/>
                  <a:gd name="T15" fmla="*/ 0 h 459"/>
                  <a:gd name="T16" fmla="*/ 0 w 129"/>
                  <a:gd name="T17" fmla="*/ 0 h 459"/>
                  <a:gd name="T18" fmla="*/ 0 w 129"/>
                  <a:gd name="T19" fmla="*/ 0 h 459"/>
                  <a:gd name="T20" fmla="*/ 0 w 129"/>
                  <a:gd name="T21" fmla="*/ 0 h 459"/>
                  <a:gd name="T22" fmla="*/ 0 w 129"/>
                  <a:gd name="T23" fmla="*/ 0 h 459"/>
                  <a:gd name="T24" fmla="*/ 0 w 129"/>
                  <a:gd name="T25" fmla="*/ 0 h 459"/>
                  <a:gd name="T26" fmla="*/ 0 w 129"/>
                  <a:gd name="T27" fmla="*/ 0 h 459"/>
                  <a:gd name="T28" fmla="*/ 0 w 129"/>
                  <a:gd name="T29" fmla="*/ 0 h 459"/>
                  <a:gd name="T30" fmla="*/ 0 w 129"/>
                  <a:gd name="T31" fmla="*/ 0 h 459"/>
                  <a:gd name="T32" fmla="*/ 0 w 129"/>
                  <a:gd name="T33" fmla="*/ 0 h 459"/>
                  <a:gd name="T34" fmla="*/ 0 w 129"/>
                  <a:gd name="T35" fmla="*/ 0 h 459"/>
                  <a:gd name="T36" fmla="*/ 0 w 129"/>
                  <a:gd name="T37" fmla="*/ 0 h 459"/>
                  <a:gd name="T38" fmla="*/ 0 w 129"/>
                  <a:gd name="T39" fmla="*/ 0 h 459"/>
                  <a:gd name="T40" fmla="*/ 0 w 129"/>
                  <a:gd name="T41" fmla="*/ 0 h 459"/>
                  <a:gd name="T42" fmla="*/ 0 w 129"/>
                  <a:gd name="T43" fmla="*/ 0 h 459"/>
                  <a:gd name="T44" fmla="*/ 0 w 129"/>
                  <a:gd name="T45" fmla="*/ 0 h 459"/>
                  <a:gd name="T46" fmla="*/ 0 w 129"/>
                  <a:gd name="T47" fmla="*/ 0 h 459"/>
                  <a:gd name="T48" fmla="*/ 0 w 129"/>
                  <a:gd name="T49" fmla="*/ 0 h 459"/>
                  <a:gd name="T50" fmla="*/ 0 w 129"/>
                  <a:gd name="T51" fmla="*/ 0 h 459"/>
                  <a:gd name="T52" fmla="*/ 0 w 129"/>
                  <a:gd name="T53" fmla="*/ 0 h 459"/>
                  <a:gd name="T54" fmla="*/ 0 w 129"/>
                  <a:gd name="T55" fmla="*/ 0 h 459"/>
                  <a:gd name="T56" fmla="*/ 0 w 129"/>
                  <a:gd name="T57" fmla="*/ 0 h 459"/>
                  <a:gd name="T58" fmla="*/ 0 w 129"/>
                  <a:gd name="T59" fmla="*/ 0 h 459"/>
                  <a:gd name="T60" fmla="*/ 0 w 129"/>
                  <a:gd name="T61" fmla="*/ 0 h 459"/>
                  <a:gd name="T62" fmla="*/ 0 w 129"/>
                  <a:gd name="T63" fmla="*/ 0 h 459"/>
                  <a:gd name="T64" fmla="*/ 0 w 129"/>
                  <a:gd name="T65" fmla="*/ 0 h 459"/>
                  <a:gd name="T66" fmla="*/ 0 w 129"/>
                  <a:gd name="T67" fmla="*/ 0 h 459"/>
                  <a:gd name="T68" fmla="*/ 0 w 129"/>
                  <a:gd name="T69" fmla="*/ 0 h 459"/>
                  <a:gd name="T70" fmla="*/ 0 w 129"/>
                  <a:gd name="T71" fmla="*/ 0 h 459"/>
                  <a:gd name="T72" fmla="*/ 0 w 129"/>
                  <a:gd name="T73" fmla="*/ 0 h 459"/>
                  <a:gd name="T74" fmla="*/ 0 w 129"/>
                  <a:gd name="T75" fmla="*/ 0 h 459"/>
                  <a:gd name="T76" fmla="*/ 0 w 129"/>
                  <a:gd name="T77" fmla="*/ 0 h 459"/>
                  <a:gd name="T78" fmla="*/ 0 w 129"/>
                  <a:gd name="T79" fmla="*/ 0 h 459"/>
                  <a:gd name="T80" fmla="*/ 0 w 129"/>
                  <a:gd name="T81" fmla="*/ 0 h 459"/>
                  <a:gd name="T82" fmla="*/ 0 w 129"/>
                  <a:gd name="T83" fmla="*/ 0 h 459"/>
                  <a:gd name="T84" fmla="*/ 0 w 129"/>
                  <a:gd name="T85" fmla="*/ 0 h 459"/>
                  <a:gd name="T86" fmla="*/ 0 w 129"/>
                  <a:gd name="T87" fmla="*/ 0 h 459"/>
                  <a:gd name="T88" fmla="*/ 0 w 129"/>
                  <a:gd name="T89" fmla="*/ 0 h 459"/>
                  <a:gd name="T90" fmla="*/ 0 w 129"/>
                  <a:gd name="T91" fmla="*/ 0 h 459"/>
                  <a:gd name="T92" fmla="*/ 0 w 129"/>
                  <a:gd name="T93" fmla="*/ 0 h 459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29"/>
                  <a:gd name="T142" fmla="*/ 0 h 459"/>
                  <a:gd name="T143" fmla="*/ 129 w 129"/>
                  <a:gd name="T144" fmla="*/ 459 h 459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29" h="459">
                    <a:moveTo>
                      <a:pt x="100" y="0"/>
                    </a:moveTo>
                    <a:lnTo>
                      <a:pt x="84" y="4"/>
                    </a:lnTo>
                    <a:lnTo>
                      <a:pt x="70" y="10"/>
                    </a:lnTo>
                    <a:lnTo>
                      <a:pt x="57" y="16"/>
                    </a:lnTo>
                    <a:lnTo>
                      <a:pt x="45" y="26"/>
                    </a:lnTo>
                    <a:lnTo>
                      <a:pt x="36" y="35"/>
                    </a:lnTo>
                    <a:lnTo>
                      <a:pt x="28" y="46"/>
                    </a:lnTo>
                    <a:lnTo>
                      <a:pt x="20" y="59"/>
                    </a:lnTo>
                    <a:lnTo>
                      <a:pt x="14" y="71"/>
                    </a:lnTo>
                    <a:lnTo>
                      <a:pt x="9" y="86"/>
                    </a:lnTo>
                    <a:lnTo>
                      <a:pt x="6" y="101"/>
                    </a:lnTo>
                    <a:lnTo>
                      <a:pt x="3" y="117"/>
                    </a:lnTo>
                    <a:lnTo>
                      <a:pt x="1" y="133"/>
                    </a:lnTo>
                    <a:lnTo>
                      <a:pt x="0" y="150"/>
                    </a:lnTo>
                    <a:lnTo>
                      <a:pt x="0" y="167"/>
                    </a:lnTo>
                    <a:lnTo>
                      <a:pt x="1" y="185"/>
                    </a:lnTo>
                    <a:lnTo>
                      <a:pt x="2" y="204"/>
                    </a:lnTo>
                    <a:lnTo>
                      <a:pt x="6" y="240"/>
                    </a:lnTo>
                    <a:lnTo>
                      <a:pt x="12" y="277"/>
                    </a:lnTo>
                    <a:lnTo>
                      <a:pt x="19" y="313"/>
                    </a:lnTo>
                    <a:lnTo>
                      <a:pt x="28" y="348"/>
                    </a:lnTo>
                    <a:lnTo>
                      <a:pt x="43" y="411"/>
                    </a:lnTo>
                    <a:lnTo>
                      <a:pt x="56" y="459"/>
                    </a:lnTo>
                    <a:lnTo>
                      <a:pt x="66" y="450"/>
                    </a:lnTo>
                    <a:lnTo>
                      <a:pt x="74" y="439"/>
                    </a:lnTo>
                    <a:lnTo>
                      <a:pt x="80" y="427"/>
                    </a:lnTo>
                    <a:lnTo>
                      <a:pt x="87" y="414"/>
                    </a:lnTo>
                    <a:lnTo>
                      <a:pt x="92" y="399"/>
                    </a:lnTo>
                    <a:lnTo>
                      <a:pt x="97" y="384"/>
                    </a:lnTo>
                    <a:lnTo>
                      <a:pt x="100" y="368"/>
                    </a:lnTo>
                    <a:lnTo>
                      <a:pt x="103" y="352"/>
                    </a:lnTo>
                    <a:lnTo>
                      <a:pt x="108" y="319"/>
                    </a:lnTo>
                    <a:lnTo>
                      <a:pt x="112" y="287"/>
                    </a:lnTo>
                    <a:lnTo>
                      <a:pt x="115" y="258"/>
                    </a:lnTo>
                    <a:lnTo>
                      <a:pt x="120" y="234"/>
                    </a:lnTo>
                    <a:lnTo>
                      <a:pt x="123" y="217"/>
                    </a:lnTo>
                    <a:lnTo>
                      <a:pt x="126" y="203"/>
                    </a:lnTo>
                    <a:lnTo>
                      <a:pt x="128" y="187"/>
                    </a:lnTo>
                    <a:lnTo>
                      <a:pt x="129" y="173"/>
                    </a:lnTo>
                    <a:lnTo>
                      <a:pt x="129" y="158"/>
                    </a:lnTo>
                    <a:lnTo>
                      <a:pt x="129" y="144"/>
                    </a:lnTo>
                    <a:lnTo>
                      <a:pt x="128" y="129"/>
                    </a:lnTo>
                    <a:lnTo>
                      <a:pt x="127" y="116"/>
                    </a:lnTo>
                    <a:lnTo>
                      <a:pt x="123" y="88"/>
                    </a:lnTo>
                    <a:lnTo>
                      <a:pt x="117" y="59"/>
                    </a:lnTo>
                    <a:lnTo>
                      <a:pt x="109" y="30"/>
                    </a:lnTo>
                    <a:lnTo>
                      <a:pt x="100" y="0"/>
                    </a:lnTo>
                    <a:close/>
                  </a:path>
                </a:pathLst>
              </a:custGeom>
              <a:solidFill>
                <a:srgbClr val="F1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16" name="Freeform 131"/>
              <p:cNvSpPr>
                <a:spLocks/>
              </p:cNvSpPr>
              <p:nvPr/>
            </p:nvSpPr>
            <p:spPr bwMode="auto">
              <a:xfrm>
                <a:off x="3398" y="1853"/>
                <a:ext cx="108" cy="74"/>
              </a:xfrm>
              <a:custGeom>
                <a:avLst/>
                <a:gdLst>
                  <a:gd name="T0" fmla="*/ 0 w 757"/>
                  <a:gd name="T1" fmla="*/ 0 h 513"/>
                  <a:gd name="T2" fmla="*/ 0 w 757"/>
                  <a:gd name="T3" fmla="*/ 0 h 513"/>
                  <a:gd name="T4" fmla="*/ 0 w 757"/>
                  <a:gd name="T5" fmla="*/ 0 h 513"/>
                  <a:gd name="T6" fmla="*/ 0 w 757"/>
                  <a:gd name="T7" fmla="*/ 0 h 513"/>
                  <a:gd name="T8" fmla="*/ 0 w 757"/>
                  <a:gd name="T9" fmla="*/ 0 h 513"/>
                  <a:gd name="T10" fmla="*/ 0 w 757"/>
                  <a:gd name="T11" fmla="*/ 0 h 513"/>
                  <a:gd name="T12" fmla="*/ 0 w 757"/>
                  <a:gd name="T13" fmla="*/ 0 h 513"/>
                  <a:gd name="T14" fmla="*/ 0 w 757"/>
                  <a:gd name="T15" fmla="*/ 0 h 513"/>
                  <a:gd name="T16" fmla="*/ 0 w 757"/>
                  <a:gd name="T17" fmla="*/ 0 h 513"/>
                  <a:gd name="T18" fmla="*/ 0 w 757"/>
                  <a:gd name="T19" fmla="*/ 0 h 513"/>
                  <a:gd name="T20" fmla="*/ 0 w 757"/>
                  <a:gd name="T21" fmla="*/ 0 h 513"/>
                  <a:gd name="T22" fmla="*/ 0 w 757"/>
                  <a:gd name="T23" fmla="*/ 0 h 513"/>
                  <a:gd name="T24" fmla="*/ 0 w 757"/>
                  <a:gd name="T25" fmla="*/ 0 h 513"/>
                  <a:gd name="T26" fmla="*/ 0 w 757"/>
                  <a:gd name="T27" fmla="*/ 0 h 513"/>
                  <a:gd name="T28" fmla="*/ 0 w 757"/>
                  <a:gd name="T29" fmla="*/ 0 h 513"/>
                  <a:gd name="T30" fmla="*/ 0 w 757"/>
                  <a:gd name="T31" fmla="*/ 0 h 513"/>
                  <a:gd name="T32" fmla="*/ 0 w 757"/>
                  <a:gd name="T33" fmla="*/ 0 h 513"/>
                  <a:gd name="T34" fmla="*/ 0 w 757"/>
                  <a:gd name="T35" fmla="*/ 0 h 513"/>
                  <a:gd name="T36" fmla="*/ 0 w 757"/>
                  <a:gd name="T37" fmla="*/ 0 h 513"/>
                  <a:gd name="T38" fmla="*/ 0 w 757"/>
                  <a:gd name="T39" fmla="*/ 0 h 513"/>
                  <a:gd name="T40" fmla="*/ 0 w 757"/>
                  <a:gd name="T41" fmla="*/ 0 h 513"/>
                  <a:gd name="T42" fmla="*/ 0 w 757"/>
                  <a:gd name="T43" fmla="*/ 0 h 513"/>
                  <a:gd name="T44" fmla="*/ 0 w 757"/>
                  <a:gd name="T45" fmla="*/ 0 h 513"/>
                  <a:gd name="T46" fmla="*/ 0 w 757"/>
                  <a:gd name="T47" fmla="*/ 0 h 513"/>
                  <a:gd name="T48" fmla="*/ 0 w 757"/>
                  <a:gd name="T49" fmla="*/ 0 h 513"/>
                  <a:gd name="T50" fmla="*/ 0 w 757"/>
                  <a:gd name="T51" fmla="*/ 0 h 513"/>
                  <a:gd name="T52" fmla="*/ 0 w 757"/>
                  <a:gd name="T53" fmla="*/ 0 h 513"/>
                  <a:gd name="T54" fmla="*/ 0 w 757"/>
                  <a:gd name="T55" fmla="*/ 0 h 513"/>
                  <a:gd name="T56" fmla="*/ 0 w 757"/>
                  <a:gd name="T57" fmla="*/ 0 h 513"/>
                  <a:gd name="T58" fmla="*/ 0 w 757"/>
                  <a:gd name="T59" fmla="*/ 0 h 513"/>
                  <a:gd name="T60" fmla="*/ 0 w 757"/>
                  <a:gd name="T61" fmla="*/ 0 h 513"/>
                  <a:gd name="T62" fmla="*/ 0 w 757"/>
                  <a:gd name="T63" fmla="*/ 0 h 513"/>
                  <a:gd name="T64" fmla="*/ 0 w 757"/>
                  <a:gd name="T65" fmla="*/ 0 h 513"/>
                  <a:gd name="T66" fmla="*/ 0 w 757"/>
                  <a:gd name="T67" fmla="*/ 0 h 513"/>
                  <a:gd name="T68" fmla="*/ 0 w 757"/>
                  <a:gd name="T69" fmla="*/ 0 h 513"/>
                  <a:gd name="T70" fmla="*/ 0 w 757"/>
                  <a:gd name="T71" fmla="*/ 0 h 513"/>
                  <a:gd name="T72" fmla="*/ 0 w 757"/>
                  <a:gd name="T73" fmla="*/ 0 h 513"/>
                  <a:gd name="T74" fmla="*/ 0 w 757"/>
                  <a:gd name="T75" fmla="*/ 0 h 513"/>
                  <a:gd name="T76" fmla="*/ 0 w 757"/>
                  <a:gd name="T77" fmla="*/ 0 h 513"/>
                  <a:gd name="T78" fmla="*/ 0 w 757"/>
                  <a:gd name="T79" fmla="*/ 0 h 513"/>
                  <a:gd name="T80" fmla="*/ 0 w 757"/>
                  <a:gd name="T81" fmla="*/ 0 h 513"/>
                  <a:gd name="T82" fmla="*/ 0 w 757"/>
                  <a:gd name="T83" fmla="*/ 0 h 513"/>
                  <a:gd name="T84" fmla="*/ 0 w 757"/>
                  <a:gd name="T85" fmla="*/ 0 h 513"/>
                  <a:gd name="T86" fmla="*/ 0 w 757"/>
                  <a:gd name="T87" fmla="*/ 0 h 513"/>
                  <a:gd name="T88" fmla="*/ 0 w 757"/>
                  <a:gd name="T89" fmla="*/ 0 h 513"/>
                  <a:gd name="T90" fmla="*/ 0 w 757"/>
                  <a:gd name="T91" fmla="*/ 0 h 513"/>
                  <a:gd name="T92" fmla="*/ 0 w 757"/>
                  <a:gd name="T93" fmla="*/ 0 h 513"/>
                  <a:gd name="T94" fmla="*/ 0 w 757"/>
                  <a:gd name="T95" fmla="*/ 0 h 513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57"/>
                  <a:gd name="T145" fmla="*/ 0 h 513"/>
                  <a:gd name="T146" fmla="*/ 757 w 757"/>
                  <a:gd name="T147" fmla="*/ 513 h 513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57" h="513">
                    <a:moveTo>
                      <a:pt x="637" y="28"/>
                    </a:moveTo>
                    <a:lnTo>
                      <a:pt x="624" y="30"/>
                    </a:lnTo>
                    <a:lnTo>
                      <a:pt x="613" y="32"/>
                    </a:lnTo>
                    <a:lnTo>
                      <a:pt x="601" y="34"/>
                    </a:lnTo>
                    <a:lnTo>
                      <a:pt x="589" y="38"/>
                    </a:lnTo>
                    <a:lnTo>
                      <a:pt x="579" y="42"/>
                    </a:lnTo>
                    <a:lnTo>
                      <a:pt x="568" y="47"/>
                    </a:lnTo>
                    <a:lnTo>
                      <a:pt x="558" y="53"/>
                    </a:lnTo>
                    <a:lnTo>
                      <a:pt x="548" y="60"/>
                    </a:lnTo>
                    <a:lnTo>
                      <a:pt x="539" y="66"/>
                    </a:lnTo>
                    <a:lnTo>
                      <a:pt x="530" y="73"/>
                    </a:lnTo>
                    <a:lnTo>
                      <a:pt x="521" y="80"/>
                    </a:lnTo>
                    <a:lnTo>
                      <a:pt x="514" y="88"/>
                    </a:lnTo>
                    <a:lnTo>
                      <a:pt x="499" y="104"/>
                    </a:lnTo>
                    <a:lnTo>
                      <a:pt x="487" y="121"/>
                    </a:lnTo>
                    <a:lnTo>
                      <a:pt x="481" y="130"/>
                    </a:lnTo>
                    <a:lnTo>
                      <a:pt x="475" y="142"/>
                    </a:lnTo>
                    <a:lnTo>
                      <a:pt x="470" y="157"/>
                    </a:lnTo>
                    <a:lnTo>
                      <a:pt x="465" y="173"/>
                    </a:lnTo>
                    <a:lnTo>
                      <a:pt x="456" y="211"/>
                    </a:lnTo>
                    <a:lnTo>
                      <a:pt x="447" y="252"/>
                    </a:lnTo>
                    <a:lnTo>
                      <a:pt x="439" y="292"/>
                    </a:lnTo>
                    <a:lnTo>
                      <a:pt x="433" y="331"/>
                    </a:lnTo>
                    <a:lnTo>
                      <a:pt x="428" y="362"/>
                    </a:lnTo>
                    <a:lnTo>
                      <a:pt x="426" y="383"/>
                    </a:lnTo>
                    <a:lnTo>
                      <a:pt x="424" y="398"/>
                    </a:lnTo>
                    <a:lnTo>
                      <a:pt x="423" y="410"/>
                    </a:lnTo>
                    <a:lnTo>
                      <a:pt x="421" y="422"/>
                    </a:lnTo>
                    <a:lnTo>
                      <a:pt x="419" y="432"/>
                    </a:lnTo>
                    <a:lnTo>
                      <a:pt x="414" y="441"/>
                    </a:lnTo>
                    <a:lnTo>
                      <a:pt x="408" y="452"/>
                    </a:lnTo>
                    <a:lnTo>
                      <a:pt x="400" y="462"/>
                    </a:lnTo>
                    <a:lnTo>
                      <a:pt x="388" y="473"/>
                    </a:lnTo>
                    <a:lnTo>
                      <a:pt x="382" y="477"/>
                    </a:lnTo>
                    <a:lnTo>
                      <a:pt x="376" y="480"/>
                    </a:lnTo>
                    <a:lnTo>
                      <a:pt x="370" y="483"/>
                    </a:lnTo>
                    <a:lnTo>
                      <a:pt x="363" y="484"/>
                    </a:lnTo>
                    <a:lnTo>
                      <a:pt x="357" y="484"/>
                    </a:lnTo>
                    <a:lnTo>
                      <a:pt x="349" y="483"/>
                    </a:lnTo>
                    <a:lnTo>
                      <a:pt x="342" y="480"/>
                    </a:lnTo>
                    <a:lnTo>
                      <a:pt x="336" y="477"/>
                    </a:lnTo>
                    <a:lnTo>
                      <a:pt x="329" y="474"/>
                    </a:lnTo>
                    <a:lnTo>
                      <a:pt x="323" y="470"/>
                    </a:lnTo>
                    <a:lnTo>
                      <a:pt x="316" y="465"/>
                    </a:lnTo>
                    <a:lnTo>
                      <a:pt x="311" y="460"/>
                    </a:lnTo>
                    <a:lnTo>
                      <a:pt x="306" y="455"/>
                    </a:lnTo>
                    <a:lnTo>
                      <a:pt x="302" y="448"/>
                    </a:lnTo>
                    <a:lnTo>
                      <a:pt x="298" y="442"/>
                    </a:lnTo>
                    <a:lnTo>
                      <a:pt x="295" y="435"/>
                    </a:lnTo>
                    <a:lnTo>
                      <a:pt x="292" y="420"/>
                    </a:lnTo>
                    <a:lnTo>
                      <a:pt x="289" y="406"/>
                    </a:lnTo>
                    <a:lnTo>
                      <a:pt x="288" y="389"/>
                    </a:lnTo>
                    <a:lnTo>
                      <a:pt x="288" y="374"/>
                    </a:lnTo>
                    <a:lnTo>
                      <a:pt x="292" y="342"/>
                    </a:lnTo>
                    <a:lnTo>
                      <a:pt x="294" y="312"/>
                    </a:lnTo>
                    <a:lnTo>
                      <a:pt x="295" y="293"/>
                    </a:lnTo>
                    <a:lnTo>
                      <a:pt x="295" y="275"/>
                    </a:lnTo>
                    <a:lnTo>
                      <a:pt x="294" y="257"/>
                    </a:lnTo>
                    <a:lnTo>
                      <a:pt x="293" y="240"/>
                    </a:lnTo>
                    <a:lnTo>
                      <a:pt x="290" y="222"/>
                    </a:lnTo>
                    <a:lnTo>
                      <a:pt x="286" y="204"/>
                    </a:lnTo>
                    <a:lnTo>
                      <a:pt x="282" y="186"/>
                    </a:lnTo>
                    <a:lnTo>
                      <a:pt x="276" y="167"/>
                    </a:lnTo>
                    <a:lnTo>
                      <a:pt x="267" y="142"/>
                    </a:lnTo>
                    <a:lnTo>
                      <a:pt x="255" y="119"/>
                    </a:lnTo>
                    <a:lnTo>
                      <a:pt x="249" y="107"/>
                    </a:lnTo>
                    <a:lnTo>
                      <a:pt x="242" y="96"/>
                    </a:lnTo>
                    <a:lnTo>
                      <a:pt x="234" y="85"/>
                    </a:lnTo>
                    <a:lnTo>
                      <a:pt x="226" y="75"/>
                    </a:lnTo>
                    <a:lnTo>
                      <a:pt x="217" y="65"/>
                    </a:lnTo>
                    <a:lnTo>
                      <a:pt x="208" y="55"/>
                    </a:lnTo>
                    <a:lnTo>
                      <a:pt x="197" y="46"/>
                    </a:lnTo>
                    <a:lnTo>
                      <a:pt x="186" y="38"/>
                    </a:lnTo>
                    <a:lnTo>
                      <a:pt x="175" y="30"/>
                    </a:lnTo>
                    <a:lnTo>
                      <a:pt x="162" y="22"/>
                    </a:lnTo>
                    <a:lnTo>
                      <a:pt x="149" y="15"/>
                    </a:lnTo>
                    <a:lnTo>
                      <a:pt x="134" y="9"/>
                    </a:lnTo>
                    <a:lnTo>
                      <a:pt x="123" y="5"/>
                    </a:lnTo>
                    <a:lnTo>
                      <a:pt x="112" y="2"/>
                    </a:lnTo>
                    <a:lnTo>
                      <a:pt x="100" y="0"/>
                    </a:lnTo>
                    <a:lnTo>
                      <a:pt x="89" y="0"/>
                    </a:lnTo>
                    <a:lnTo>
                      <a:pt x="78" y="0"/>
                    </a:lnTo>
                    <a:lnTo>
                      <a:pt x="67" y="1"/>
                    </a:lnTo>
                    <a:lnTo>
                      <a:pt x="57" y="4"/>
                    </a:lnTo>
                    <a:lnTo>
                      <a:pt x="48" y="7"/>
                    </a:lnTo>
                    <a:lnTo>
                      <a:pt x="38" y="11"/>
                    </a:lnTo>
                    <a:lnTo>
                      <a:pt x="30" y="17"/>
                    </a:lnTo>
                    <a:lnTo>
                      <a:pt x="23" y="23"/>
                    </a:lnTo>
                    <a:lnTo>
                      <a:pt x="17" y="31"/>
                    </a:lnTo>
                    <a:lnTo>
                      <a:pt x="10" y="39"/>
                    </a:lnTo>
                    <a:lnTo>
                      <a:pt x="6" y="47"/>
                    </a:lnTo>
                    <a:lnTo>
                      <a:pt x="3" y="58"/>
                    </a:lnTo>
                    <a:lnTo>
                      <a:pt x="0" y="68"/>
                    </a:lnTo>
                    <a:lnTo>
                      <a:pt x="3" y="66"/>
                    </a:lnTo>
                    <a:lnTo>
                      <a:pt x="9" y="61"/>
                    </a:lnTo>
                    <a:lnTo>
                      <a:pt x="21" y="55"/>
                    </a:lnTo>
                    <a:lnTo>
                      <a:pt x="35" y="49"/>
                    </a:lnTo>
                    <a:lnTo>
                      <a:pt x="44" y="46"/>
                    </a:lnTo>
                    <a:lnTo>
                      <a:pt x="52" y="44"/>
                    </a:lnTo>
                    <a:lnTo>
                      <a:pt x="61" y="42"/>
                    </a:lnTo>
                    <a:lnTo>
                      <a:pt x="71" y="41"/>
                    </a:lnTo>
                    <a:lnTo>
                      <a:pt x="82" y="42"/>
                    </a:lnTo>
                    <a:lnTo>
                      <a:pt x="92" y="43"/>
                    </a:lnTo>
                    <a:lnTo>
                      <a:pt x="103" y="45"/>
                    </a:lnTo>
                    <a:lnTo>
                      <a:pt x="115" y="49"/>
                    </a:lnTo>
                    <a:lnTo>
                      <a:pt x="126" y="55"/>
                    </a:lnTo>
                    <a:lnTo>
                      <a:pt x="139" y="63"/>
                    </a:lnTo>
                    <a:lnTo>
                      <a:pt x="150" y="72"/>
                    </a:lnTo>
                    <a:lnTo>
                      <a:pt x="162" y="83"/>
                    </a:lnTo>
                    <a:lnTo>
                      <a:pt x="174" y="98"/>
                    </a:lnTo>
                    <a:lnTo>
                      <a:pt x="185" y="114"/>
                    </a:lnTo>
                    <a:lnTo>
                      <a:pt x="196" y="133"/>
                    </a:lnTo>
                    <a:lnTo>
                      <a:pt x="208" y="155"/>
                    </a:lnTo>
                    <a:lnTo>
                      <a:pt x="218" y="180"/>
                    </a:lnTo>
                    <a:lnTo>
                      <a:pt x="228" y="207"/>
                    </a:lnTo>
                    <a:lnTo>
                      <a:pt x="238" y="239"/>
                    </a:lnTo>
                    <a:lnTo>
                      <a:pt x="247" y="274"/>
                    </a:lnTo>
                    <a:lnTo>
                      <a:pt x="256" y="312"/>
                    </a:lnTo>
                    <a:lnTo>
                      <a:pt x="264" y="353"/>
                    </a:lnTo>
                    <a:lnTo>
                      <a:pt x="271" y="400"/>
                    </a:lnTo>
                    <a:lnTo>
                      <a:pt x="278" y="449"/>
                    </a:lnTo>
                    <a:lnTo>
                      <a:pt x="279" y="458"/>
                    </a:lnTo>
                    <a:lnTo>
                      <a:pt x="281" y="465"/>
                    </a:lnTo>
                    <a:lnTo>
                      <a:pt x="283" y="471"/>
                    </a:lnTo>
                    <a:lnTo>
                      <a:pt x="286" y="477"/>
                    </a:lnTo>
                    <a:lnTo>
                      <a:pt x="290" y="483"/>
                    </a:lnTo>
                    <a:lnTo>
                      <a:pt x="295" y="488"/>
                    </a:lnTo>
                    <a:lnTo>
                      <a:pt x="300" y="493"/>
                    </a:lnTo>
                    <a:lnTo>
                      <a:pt x="305" y="497"/>
                    </a:lnTo>
                    <a:lnTo>
                      <a:pt x="310" y="500"/>
                    </a:lnTo>
                    <a:lnTo>
                      <a:pt x="315" y="503"/>
                    </a:lnTo>
                    <a:lnTo>
                      <a:pt x="321" y="506"/>
                    </a:lnTo>
                    <a:lnTo>
                      <a:pt x="328" y="508"/>
                    </a:lnTo>
                    <a:lnTo>
                      <a:pt x="341" y="511"/>
                    </a:lnTo>
                    <a:lnTo>
                      <a:pt x="355" y="513"/>
                    </a:lnTo>
                    <a:lnTo>
                      <a:pt x="368" y="513"/>
                    </a:lnTo>
                    <a:lnTo>
                      <a:pt x="381" y="511"/>
                    </a:lnTo>
                    <a:lnTo>
                      <a:pt x="394" y="508"/>
                    </a:lnTo>
                    <a:lnTo>
                      <a:pt x="405" y="504"/>
                    </a:lnTo>
                    <a:lnTo>
                      <a:pt x="410" y="502"/>
                    </a:lnTo>
                    <a:lnTo>
                      <a:pt x="414" y="499"/>
                    </a:lnTo>
                    <a:lnTo>
                      <a:pt x="419" y="496"/>
                    </a:lnTo>
                    <a:lnTo>
                      <a:pt x="423" y="492"/>
                    </a:lnTo>
                    <a:lnTo>
                      <a:pt x="426" y="489"/>
                    </a:lnTo>
                    <a:lnTo>
                      <a:pt x="428" y="485"/>
                    </a:lnTo>
                    <a:lnTo>
                      <a:pt x="430" y="480"/>
                    </a:lnTo>
                    <a:lnTo>
                      <a:pt x="431" y="476"/>
                    </a:lnTo>
                    <a:lnTo>
                      <a:pt x="439" y="434"/>
                    </a:lnTo>
                    <a:lnTo>
                      <a:pt x="449" y="395"/>
                    </a:lnTo>
                    <a:lnTo>
                      <a:pt x="458" y="358"/>
                    </a:lnTo>
                    <a:lnTo>
                      <a:pt x="468" y="325"/>
                    </a:lnTo>
                    <a:lnTo>
                      <a:pt x="479" y="294"/>
                    </a:lnTo>
                    <a:lnTo>
                      <a:pt x="490" y="265"/>
                    </a:lnTo>
                    <a:lnTo>
                      <a:pt x="502" y="240"/>
                    </a:lnTo>
                    <a:lnTo>
                      <a:pt x="514" y="216"/>
                    </a:lnTo>
                    <a:lnTo>
                      <a:pt x="526" y="194"/>
                    </a:lnTo>
                    <a:lnTo>
                      <a:pt x="539" y="175"/>
                    </a:lnTo>
                    <a:lnTo>
                      <a:pt x="551" y="158"/>
                    </a:lnTo>
                    <a:lnTo>
                      <a:pt x="563" y="142"/>
                    </a:lnTo>
                    <a:lnTo>
                      <a:pt x="577" y="129"/>
                    </a:lnTo>
                    <a:lnTo>
                      <a:pt x="589" y="118"/>
                    </a:lnTo>
                    <a:lnTo>
                      <a:pt x="603" y="107"/>
                    </a:lnTo>
                    <a:lnTo>
                      <a:pt x="615" y="99"/>
                    </a:lnTo>
                    <a:lnTo>
                      <a:pt x="627" y="92"/>
                    </a:lnTo>
                    <a:lnTo>
                      <a:pt x="640" y="87"/>
                    </a:lnTo>
                    <a:lnTo>
                      <a:pt x="651" y="82"/>
                    </a:lnTo>
                    <a:lnTo>
                      <a:pt x="663" y="79"/>
                    </a:lnTo>
                    <a:lnTo>
                      <a:pt x="674" y="77"/>
                    </a:lnTo>
                    <a:lnTo>
                      <a:pt x="684" y="76"/>
                    </a:lnTo>
                    <a:lnTo>
                      <a:pt x="695" y="76"/>
                    </a:lnTo>
                    <a:lnTo>
                      <a:pt x="704" y="77"/>
                    </a:lnTo>
                    <a:lnTo>
                      <a:pt x="713" y="78"/>
                    </a:lnTo>
                    <a:lnTo>
                      <a:pt x="721" y="81"/>
                    </a:lnTo>
                    <a:lnTo>
                      <a:pt x="729" y="83"/>
                    </a:lnTo>
                    <a:lnTo>
                      <a:pt x="736" y="87"/>
                    </a:lnTo>
                    <a:lnTo>
                      <a:pt x="741" y="91"/>
                    </a:lnTo>
                    <a:lnTo>
                      <a:pt x="746" y="94"/>
                    </a:lnTo>
                    <a:lnTo>
                      <a:pt x="749" y="98"/>
                    </a:lnTo>
                    <a:lnTo>
                      <a:pt x="752" y="102"/>
                    </a:lnTo>
                    <a:lnTo>
                      <a:pt x="756" y="92"/>
                    </a:lnTo>
                    <a:lnTo>
                      <a:pt x="757" y="81"/>
                    </a:lnTo>
                    <a:lnTo>
                      <a:pt x="756" y="73"/>
                    </a:lnTo>
                    <a:lnTo>
                      <a:pt x="752" y="65"/>
                    </a:lnTo>
                    <a:lnTo>
                      <a:pt x="748" y="58"/>
                    </a:lnTo>
                    <a:lnTo>
                      <a:pt x="742" y="51"/>
                    </a:lnTo>
                    <a:lnTo>
                      <a:pt x="735" y="46"/>
                    </a:lnTo>
                    <a:lnTo>
                      <a:pt x="727" y="41"/>
                    </a:lnTo>
                    <a:lnTo>
                      <a:pt x="717" y="37"/>
                    </a:lnTo>
                    <a:lnTo>
                      <a:pt x="707" y="34"/>
                    </a:lnTo>
                    <a:lnTo>
                      <a:pt x="696" y="32"/>
                    </a:lnTo>
                    <a:lnTo>
                      <a:pt x="684" y="30"/>
                    </a:lnTo>
                    <a:lnTo>
                      <a:pt x="673" y="29"/>
                    </a:lnTo>
                    <a:lnTo>
                      <a:pt x="660" y="28"/>
                    </a:lnTo>
                    <a:lnTo>
                      <a:pt x="649" y="28"/>
                    </a:lnTo>
                    <a:lnTo>
                      <a:pt x="637" y="28"/>
                    </a:lnTo>
                    <a:close/>
                  </a:path>
                </a:pathLst>
              </a:custGeom>
              <a:solidFill>
                <a:srgbClr val="F1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17" name="Freeform 132"/>
              <p:cNvSpPr>
                <a:spLocks/>
              </p:cNvSpPr>
              <p:nvPr/>
            </p:nvSpPr>
            <p:spPr bwMode="auto">
              <a:xfrm>
                <a:off x="3397" y="1888"/>
                <a:ext cx="107" cy="48"/>
              </a:xfrm>
              <a:custGeom>
                <a:avLst/>
                <a:gdLst>
                  <a:gd name="T0" fmla="*/ 0 w 753"/>
                  <a:gd name="T1" fmla="*/ 0 h 334"/>
                  <a:gd name="T2" fmla="*/ 0 w 753"/>
                  <a:gd name="T3" fmla="*/ 0 h 334"/>
                  <a:gd name="T4" fmla="*/ 0 w 753"/>
                  <a:gd name="T5" fmla="*/ 0 h 334"/>
                  <a:gd name="T6" fmla="*/ 0 w 753"/>
                  <a:gd name="T7" fmla="*/ 0 h 334"/>
                  <a:gd name="T8" fmla="*/ 0 w 753"/>
                  <a:gd name="T9" fmla="*/ 0 h 334"/>
                  <a:gd name="T10" fmla="*/ 0 w 753"/>
                  <a:gd name="T11" fmla="*/ 0 h 334"/>
                  <a:gd name="T12" fmla="*/ 0 w 753"/>
                  <a:gd name="T13" fmla="*/ 0 h 334"/>
                  <a:gd name="T14" fmla="*/ 0 w 753"/>
                  <a:gd name="T15" fmla="*/ 0 h 334"/>
                  <a:gd name="T16" fmla="*/ 0 w 753"/>
                  <a:gd name="T17" fmla="*/ 0 h 334"/>
                  <a:gd name="T18" fmla="*/ 0 w 753"/>
                  <a:gd name="T19" fmla="*/ 0 h 334"/>
                  <a:gd name="T20" fmla="*/ 0 w 753"/>
                  <a:gd name="T21" fmla="*/ 0 h 334"/>
                  <a:gd name="T22" fmla="*/ 0 w 753"/>
                  <a:gd name="T23" fmla="*/ 0 h 334"/>
                  <a:gd name="T24" fmla="*/ 0 w 753"/>
                  <a:gd name="T25" fmla="*/ 0 h 334"/>
                  <a:gd name="T26" fmla="*/ 0 w 753"/>
                  <a:gd name="T27" fmla="*/ 0 h 334"/>
                  <a:gd name="T28" fmla="*/ 0 w 753"/>
                  <a:gd name="T29" fmla="*/ 0 h 334"/>
                  <a:gd name="T30" fmla="*/ 0 w 753"/>
                  <a:gd name="T31" fmla="*/ 0 h 334"/>
                  <a:gd name="T32" fmla="*/ 0 w 753"/>
                  <a:gd name="T33" fmla="*/ 0 h 334"/>
                  <a:gd name="T34" fmla="*/ 0 w 753"/>
                  <a:gd name="T35" fmla="*/ 0 h 334"/>
                  <a:gd name="T36" fmla="*/ 0 w 753"/>
                  <a:gd name="T37" fmla="*/ 0 h 334"/>
                  <a:gd name="T38" fmla="*/ 0 w 753"/>
                  <a:gd name="T39" fmla="*/ 0 h 334"/>
                  <a:gd name="T40" fmla="*/ 0 w 753"/>
                  <a:gd name="T41" fmla="*/ 0 h 334"/>
                  <a:gd name="T42" fmla="*/ 0 w 753"/>
                  <a:gd name="T43" fmla="*/ 0 h 334"/>
                  <a:gd name="T44" fmla="*/ 0 w 753"/>
                  <a:gd name="T45" fmla="*/ 0 h 334"/>
                  <a:gd name="T46" fmla="*/ 0 w 753"/>
                  <a:gd name="T47" fmla="*/ 0 h 334"/>
                  <a:gd name="T48" fmla="*/ 0 w 753"/>
                  <a:gd name="T49" fmla="*/ 0 h 334"/>
                  <a:gd name="T50" fmla="*/ 0 w 753"/>
                  <a:gd name="T51" fmla="*/ 0 h 334"/>
                  <a:gd name="T52" fmla="*/ 0 w 753"/>
                  <a:gd name="T53" fmla="*/ 0 h 334"/>
                  <a:gd name="T54" fmla="*/ 0 w 753"/>
                  <a:gd name="T55" fmla="*/ 0 h 334"/>
                  <a:gd name="T56" fmla="*/ 0 w 753"/>
                  <a:gd name="T57" fmla="*/ 0 h 334"/>
                  <a:gd name="T58" fmla="*/ 0 w 753"/>
                  <a:gd name="T59" fmla="*/ 0 h 334"/>
                  <a:gd name="T60" fmla="*/ 0 w 753"/>
                  <a:gd name="T61" fmla="*/ 0 h 334"/>
                  <a:gd name="T62" fmla="*/ 0 w 753"/>
                  <a:gd name="T63" fmla="*/ 0 h 334"/>
                  <a:gd name="T64" fmla="*/ 0 w 753"/>
                  <a:gd name="T65" fmla="*/ 0 h 334"/>
                  <a:gd name="T66" fmla="*/ 0 w 753"/>
                  <a:gd name="T67" fmla="*/ 0 h 334"/>
                  <a:gd name="T68" fmla="*/ 0 w 753"/>
                  <a:gd name="T69" fmla="*/ 0 h 334"/>
                  <a:gd name="T70" fmla="*/ 0 w 753"/>
                  <a:gd name="T71" fmla="*/ 0 h 334"/>
                  <a:gd name="T72" fmla="*/ 0 w 753"/>
                  <a:gd name="T73" fmla="*/ 0 h 334"/>
                  <a:gd name="T74" fmla="*/ 0 w 753"/>
                  <a:gd name="T75" fmla="*/ 0 h 334"/>
                  <a:gd name="T76" fmla="*/ 0 w 753"/>
                  <a:gd name="T77" fmla="*/ 0 h 334"/>
                  <a:gd name="T78" fmla="*/ 0 w 753"/>
                  <a:gd name="T79" fmla="*/ 0 h 334"/>
                  <a:gd name="T80" fmla="*/ 0 w 753"/>
                  <a:gd name="T81" fmla="*/ 0 h 334"/>
                  <a:gd name="T82" fmla="*/ 0 w 753"/>
                  <a:gd name="T83" fmla="*/ 0 h 334"/>
                  <a:gd name="T84" fmla="*/ 0 w 753"/>
                  <a:gd name="T85" fmla="*/ 0 h 334"/>
                  <a:gd name="T86" fmla="*/ 0 w 753"/>
                  <a:gd name="T87" fmla="*/ 0 h 334"/>
                  <a:gd name="T88" fmla="*/ 0 w 753"/>
                  <a:gd name="T89" fmla="*/ 0 h 334"/>
                  <a:gd name="T90" fmla="*/ 0 w 753"/>
                  <a:gd name="T91" fmla="*/ 0 h 334"/>
                  <a:gd name="T92" fmla="*/ 0 w 753"/>
                  <a:gd name="T93" fmla="*/ 0 h 334"/>
                  <a:gd name="T94" fmla="*/ 0 w 753"/>
                  <a:gd name="T95" fmla="*/ 0 h 334"/>
                  <a:gd name="T96" fmla="*/ 0 w 753"/>
                  <a:gd name="T97" fmla="*/ 0 h 334"/>
                  <a:gd name="T98" fmla="*/ 0 w 753"/>
                  <a:gd name="T99" fmla="*/ 0 h 334"/>
                  <a:gd name="T100" fmla="*/ 0 w 753"/>
                  <a:gd name="T101" fmla="*/ 0 h 334"/>
                  <a:gd name="T102" fmla="*/ 0 w 753"/>
                  <a:gd name="T103" fmla="*/ 0 h 334"/>
                  <a:gd name="T104" fmla="*/ 0 w 753"/>
                  <a:gd name="T105" fmla="*/ 0 h 334"/>
                  <a:gd name="T106" fmla="*/ 0 w 753"/>
                  <a:gd name="T107" fmla="*/ 0 h 334"/>
                  <a:gd name="T108" fmla="*/ 0 w 753"/>
                  <a:gd name="T109" fmla="*/ 0 h 334"/>
                  <a:gd name="T110" fmla="*/ 0 w 753"/>
                  <a:gd name="T111" fmla="*/ 0 h 334"/>
                  <a:gd name="T112" fmla="*/ 0 w 753"/>
                  <a:gd name="T113" fmla="*/ 0 h 334"/>
                  <a:gd name="T114" fmla="*/ 0 w 753"/>
                  <a:gd name="T115" fmla="*/ 0 h 334"/>
                  <a:gd name="T116" fmla="*/ 0 w 753"/>
                  <a:gd name="T117" fmla="*/ 0 h 334"/>
                  <a:gd name="T118" fmla="*/ 0 w 753"/>
                  <a:gd name="T119" fmla="*/ 0 h 334"/>
                  <a:gd name="T120" fmla="*/ 0 w 753"/>
                  <a:gd name="T121" fmla="*/ 0 h 33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753"/>
                  <a:gd name="T184" fmla="*/ 0 h 334"/>
                  <a:gd name="T185" fmla="*/ 753 w 753"/>
                  <a:gd name="T186" fmla="*/ 334 h 334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753" h="334">
                    <a:moveTo>
                      <a:pt x="565" y="39"/>
                    </a:moveTo>
                    <a:lnTo>
                      <a:pt x="558" y="43"/>
                    </a:lnTo>
                    <a:lnTo>
                      <a:pt x="550" y="47"/>
                    </a:lnTo>
                    <a:lnTo>
                      <a:pt x="541" y="52"/>
                    </a:lnTo>
                    <a:lnTo>
                      <a:pt x="534" y="60"/>
                    </a:lnTo>
                    <a:lnTo>
                      <a:pt x="528" y="67"/>
                    </a:lnTo>
                    <a:lnTo>
                      <a:pt x="523" y="75"/>
                    </a:lnTo>
                    <a:lnTo>
                      <a:pt x="518" y="83"/>
                    </a:lnTo>
                    <a:lnTo>
                      <a:pt x="514" y="92"/>
                    </a:lnTo>
                    <a:lnTo>
                      <a:pt x="511" y="101"/>
                    </a:lnTo>
                    <a:lnTo>
                      <a:pt x="510" y="108"/>
                    </a:lnTo>
                    <a:lnTo>
                      <a:pt x="510" y="115"/>
                    </a:lnTo>
                    <a:lnTo>
                      <a:pt x="511" y="122"/>
                    </a:lnTo>
                    <a:lnTo>
                      <a:pt x="513" y="128"/>
                    </a:lnTo>
                    <a:lnTo>
                      <a:pt x="515" y="134"/>
                    </a:lnTo>
                    <a:lnTo>
                      <a:pt x="519" y="140"/>
                    </a:lnTo>
                    <a:lnTo>
                      <a:pt x="523" y="146"/>
                    </a:lnTo>
                    <a:lnTo>
                      <a:pt x="528" y="151"/>
                    </a:lnTo>
                    <a:lnTo>
                      <a:pt x="536" y="157"/>
                    </a:lnTo>
                    <a:lnTo>
                      <a:pt x="544" y="161"/>
                    </a:lnTo>
                    <a:lnTo>
                      <a:pt x="554" y="165"/>
                    </a:lnTo>
                    <a:lnTo>
                      <a:pt x="564" y="167"/>
                    </a:lnTo>
                    <a:lnTo>
                      <a:pt x="574" y="169"/>
                    </a:lnTo>
                    <a:lnTo>
                      <a:pt x="586" y="169"/>
                    </a:lnTo>
                    <a:lnTo>
                      <a:pt x="596" y="169"/>
                    </a:lnTo>
                    <a:lnTo>
                      <a:pt x="607" y="167"/>
                    </a:lnTo>
                    <a:lnTo>
                      <a:pt x="615" y="164"/>
                    </a:lnTo>
                    <a:lnTo>
                      <a:pt x="622" y="161"/>
                    </a:lnTo>
                    <a:lnTo>
                      <a:pt x="628" y="158"/>
                    </a:lnTo>
                    <a:lnTo>
                      <a:pt x="634" y="153"/>
                    </a:lnTo>
                    <a:lnTo>
                      <a:pt x="638" y="147"/>
                    </a:lnTo>
                    <a:lnTo>
                      <a:pt x="642" y="142"/>
                    </a:lnTo>
                    <a:lnTo>
                      <a:pt x="645" y="136"/>
                    </a:lnTo>
                    <a:lnTo>
                      <a:pt x="646" y="130"/>
                    </a:lnTo>
                    <a:lnTo>
                      <a:pt x="646" y="124"/>
                    </a:lnTo>
                    <a:lnTo>
                      <a:pt x="645" y="119"/>
                    </a:lnTo>
                    <a:lnTo>
                      <a:pt x="644" y="112"/>
                    </a:lnTo>
                    <a:lnTo>
                      <a:pt x="641" y="107"/>
                    </a:lnTo>
                    <a:lnTo>
                      <a:pt x="637" y="103"/>
                    </a:lnTo>
                    <a:lnTo>
                      <a:pt x="633" y="99"/>
                    </a:lnTo>
                    <a:lnTo>
                      <a:pt x="628" y="95"/>
                    </a:lnTo>
                    <a:lnTo>
                      <a:pt x="622" y="92"/>
                    </a:lnTo>
                    <a:lnTo>
                      <a:pt x="616" y="89"/>
                    </a:lnTo>
                    <a:lnTo>
                      <a:pt x="610" y="86"/>
                    </a:lnTo>
                    <a:lnTo>
                      <a:pt x="604" y="85"/>
                    </a:lnTo>
                    <a:lnTo>
                      <a:pt x="598" y="84"/>
                    </a:lnTo>
                    <a:lnTo>
                      <a:pt x="592" y="84"/>
                    </a:lnTo>
                    <a:lnTo>
                      <a:pt x="586" y="85"/>
                    </a:lnTo>
                    <a:lnTo>
                      <a:pt x="581" y="86"/>
                    </a:lnTo>
                    <a:lnTo>
                      <a:pt x="575" y="89"/>
                    </a:lnTo>
                    <a:lnTo>
                      <a:pt x="572" y="91"/>
                    </a:lnTo>
                    <a:lnTo>
                      <a:pt x="569" y="94"/>
                    </a:lnTo>
                    <a:lnTo>
                      <a:pt x="566" y="97"/>
                    </a:lnTo>
                    <a:lnTo>
                      <a:pt x="564" y="100"/>
                    </a:lnTo>
                    <a:lnTo>
                      <a:pt x="563" y="103"/>
                    </a:lnTo>
                    <a:lnTo>
                      <a:pt x="562" y="107"/>
                    </a:lnTo>
                    <a:lnTo>
                      <a:pt x="562" y="110"/>
                    </a:lnTo>
                    <a:lnTo>
                      <a:pt x="562" y="114"/>
                    </a:lnTo>
                    <a:lnTo>
                      <a:pt x="583" y="113"/>
                    </a:lnTo>
                    <a:lnTo>
                      <a:pt x="583" y="110"/>
                    </a:lnTo>
                    <a:lnTo>
                      <a:pt x="584" y="107"/>
                    </a:lnTo>
                    <a:lnTo>
                      <a:pt x="585" y="105"/>
                    </a:lnTo>
                    <a:lnTo>
                      <a:pt x="587" y="103"/>
                    </a:lnTo>
                    <a:lnTo>
                      <a:pt x="592" y="102"/>
                    </a:lnTo>
                    <a:lnTo>
                      <a:pt x="598" y="102"/>
                    </a:lnTo>
                    <a:lnTo>
                      <a:pt x="604" y="103"/>
                    </a:lnTo>
                    <a:lnTo>
                      <a:pt x="611" y="105"/>
                    </a:lnTo>
                    <a:lnTo>
                      <a:pt x="616" y="108"/>
                    </a:lnTo>
                    <a:lnTo>
                      <a:pt x="621" y="113"/>
                    </a:lnTo>
                    <a:lnTo>
                      <a:pt x="623" y="115"/>
                    </a:lnTo>
                    <a:lnTo>
                      <a:pt x="624" y="120"/>
                    </a:lnTo>
                    <a:lnTo>
                      <a:pt x="625" y="124"/>
                    </a:lnTo>
                    <a:lnTo>
                      <a:pt x="625" y="128"/>
                    </a:lnTo>
                    <a:lnTo>
                      <a:pt x="624" y="133"/>
                    </a:lnTo>
                    <a:lnTo>
                      <a:pt x="622" y="137"/>
                    </a:lnTo>
                    <a:lnTo>
                      <a:pt x="619" y="141"/>
                    </a:lnTo>
                    <a:lnTo>
                      <a:pt x="616" y="143"/>
                    </a:lnTo>
                    <a:lnTo>
                      <a:pt x="608" y="149"/>
                    </a:lnTo>
                    <a:lnTo>
                      <a:pt x="600" y="151"/>
                    </a:lnTo>
                    <a:lnTo>
                      <a:pt x="593" y="153"/>
                    </a:lnTo>
                    <a:lnTo>
                      <a:pt x="585" y="153"/>
                    </a:lnTo>
                    <a:lnTo>
                      <a:pt x="577" y="153"/>
                    </a:lnTo>
                    <a:lnTo>
                      <a:pt x="569" y="152"/>
                    </a:lnTo>
                    <a:lnTo>
                      <a:pt x="562" y="150"/>
                    </a:lnTo>
                    <a:lnTo>
                      <a:pt x="555" y="147"/>
                    </a:lnTo>
                    <a:lnTo>
                      <a:pt x="549" y="143"/>
                    </a:lnTo>
                    <a:lnTo>
                      <a:pt x="543" y="140"/>
                    </a:lnTo>
                    <a:lnTo>
                      <a:pt x="539" y="135"/>
                    </a:lnTo>
                    <a:lnTo>
                      <a:pt x="536" y="131"/>
                    </a:lnTo>
                    <a:lnTo>
                      <a:pt x="534" y="126"/>
                    </a:lnTo>
                    <a:lnTo>
                      <a:pt x="533" y="122"/>
                    </a:lnTo>
                    <a:lnTo>
                      <a:pt x="532" y="112"/>
                    </a:lnTo>
                    <a:lnTo>
                      <a:pt x="532" y="104"/>
                    </a:lnTo>
                    <a:lnTo>
                      <a:pt x="534" y="97"/>
                    </a:lnTo>
                    <a:lnTo>
                      <a:pt x="537" y="90"/>
                    </a:lnTo>
                    <a:lnTo>
                      <a:pt x="540" y="82"/>
                    </a:lnTo>
                    <a:lnTo>
                      <a:pt x="545" y="76"/>
                    </a:lnTo>
                    <a:lnTo>
                      <a:pt x="551" y="70"/>
                    </a:lnTo>
                    <a:lnTo>
                      <a:pt x="556" y="65"/>
                    </a:lnTo>
                    <a:lnTo>
                      <a:pt x="562" y="61"/>
                    </a:lnTo>
                    <a:lnTo>
                      <a:pt x="568" y="58"/>
                    </a:lnTo>
                    <a:lnTo>
                      <a:pt x="575" y="54"/>
                    </a:lnTo>
                    <a:lnTo>
                      <a:pt x="588" y="48"/>
                    </a:lnTo>
                    <a:lnTo>
                      <a:pt x="599" y="43"/>
                    </a:lnTo>
                    <a:lnTo>
                      <a:pt x="610" y="39"/>
                    </a:lnTo>
                    <a:lnTo>
                      <a:pt x="621" y="36"/>
                    </a:lnTo>
                    <a:lnTo>
                      <a:pt x="631" y="35"/>
                    </a:lnTo>
                    <a:lnTo>
                      <a:pt x="643" y="34"/>
                    </a:lnTo>
                    <a:lnTo>
                      <a:pt x="655" y="35"/>
                    </a:lnTo>
                    <a:lnTo>
                      <a:pt x="667" y="37"/>
                    </a:lnTo>
                    <a:lnTo>
                      <a:pt x="677" y="40"/>
                    </a:lnTo>
                    <a:lnTo>
                      <a:pt x="686" y="43"/>
                    </a:lnTo>
                    <a:lnTo>
                      <a:pt x="694" y="48"/>
                    </a:lnTo>
                    <a:lnTo>
                      <a:pt x="701" y="52"/>
                    </a:lnTo>
                    <a:lnTo>
                      <a:pt x="709" y="59"/>
                    </a:lnTo>
                    <a:lnTo>
                      <a:pt x="714" y="65"/>
                    </a:lnTo>
                    <a:lnTo>
                      <a:pt x="719" y="72"/>
                    </a:lnTo>
                    <a:lnTo>
                      <a:pt x="723" y="80"/>
                    </a:lnTo>
                    <a:lnTo>
                      <a:pt x="726" y="86"/>
                    </a:lnTo>
                    <a:lnTo>
                      <a:pt x="728" y="94"/>
                    </a:lnTo>
                    <a:lnTo>
                      <a:pt x="730" y="101"/>
                    </a:lnTo>
                    <a:lnTo>
                      <a:pt x="731" y="109"/>
                    </a:lnTo>
                    <a:lnTo>
                      <a:pt x="732" y="116"/>
                    </a:lnTo>
                    <a:lnTo>
                      <a:pt x="732" y="125"/>
                    </a:lnTo>
                    <a:lnTo>
                      <a:pt x="731" y="133"/>
                    </a:lnTo>
                    <a:lnTo>
                      <a:pt x="730" y="140"/>
                    </a:lnTo>
                    <a:lnTo>
                      <a:pt x="729" y="149"/>
                    </a:lnTo>
                    <a:lnTo>
                      <a:pt x="727" y="157"/>
                    </a:lnTo>
                    <a:lnTo>
                      <a:pt x="724" y="165"/>
                    </a:lnTo>
                    <a:lnTo>
                      <a:pt x="721" y="173"/>
                    </a:lnTo>
                    <a:lnTo>
                      <a:pt x="717" y="181"/>
                    </a:lnTo>
                    <a:lnTo>
                      <a:pt x="713" y="188"/>
                    </a:lnTo>
                    <a:lnTo>
                      <a:pt x="709" y="196"/>
                    </a:lnTo>
                    <a:lnTo>
                      <a:pt x="704" y="202"/>
                    </a:lnTo>
                    <a:lnTo>
                      <a:pt x="695" y="213"/>
                    </a:lnTo>
                    <a:lnTo>
                      <a:pt x="687" y="222"/>
                    </a:lnTo>
                    <a:lnTo>
                      <a:pt x="678" y="230"/>
                    </a:lnTo>
                    <a:lnTo>
                      <a:pt x="667" y="240"/>
                    </a:lnTo>
                    <a:lnTo>
                      <a:pt x="656" y="248"/>
                    </a:lnTo>
                    <a:lnTo>
                      <a:pt x="645" y="256"/>
                    </a:lnTo>
                    <a:lnTo>
                      <a:pt x="633" y="263"/>
                    </a:lnTo>
                    <a:lnTo>
                      <a:pt x="621" y="271"/>
                    </a:lnTo>
                    <a:lnTo>
                      <a:pt x="608" y="278"/>
                    </a:lnTo>
                    <a:lnTo>
                      <a:pt x="596" y="283"/>
                    </a:lnTo>
                    <a:lnTo>
                      <a:pt x="583" y="289"/>
                    </a:lnTo>
                    <a:lnTo>
                      <a:pt x="569" y="294"/>
                    </a:lnTo>
                    <a:lnTo>
                      <a:pt x="556" y="298"/>
                    </a:lnTo>
                    <a:lnTo>
                      <a:pt x="542" y="302"/>
                    </a:lnTo>
                    <a:lnTo>
                      <a:pt x="530" y="305"/>
                    </a:lnTo>
                    <a:lnTo>
                      <a:pt x="517" y="307"/>
                    </a:lnTo>
                    <a:lnTo>
                      <a:pt x="491" y="311"/>
                    </a:lnTo>
                    <a:lnTo>
                      <a:pt x="468" y="313"/>
                    </a:lnTo>
                    <a:lnTo>
                      <a:pt x="445" y="315"/>
                    </a:lnTo>
                    <a:lnTo>
                      <a:pt x="425" y="316"/>
                    </a:lnTo>
                    <a:lnTo>
                      <a:pt x="404" y="317"/>
                    </a:lnTo>
                    <a:lnTo>
                      <a:pt x="384" y="317"/>
                    </a:lnTo>
                    <a:lnTo>
                      <a:pt x="366" y="317"/>
                    </a:lnTo>
                    <a:lnTo>
                      <a:pt x="347" y="315"/>
                    </a:lnTo>
                    <a:lnTo>
                      <a:pt x="328" y="313"/>
                    </a:lnTo>
                    <a:lnTo>
                      <a:pt x="310" y="311"/>
                    </a:lnTo>
                    <a:lnTo>
                      <a:pt x="291" y="308"/>
                    </a:lnTo>
                    <a:lnTo>
                      <a:pt x="272" y="304"/>
                    </a:lnTo>
                    <a:lnTo>
                      <a:pt x="231" y="294"/>
                    </a:lnTo>
                    <a:lnTo>
                      <a:pt x="187" y="282"/>
                    </a:lnTo>
                    <a:lnTo>
                      <a:pt x="175" y="279"/>
                    </a:lnTo>
                    <a:lnTo>
                      <a:pt x="164" y="274"/>
                    </a:lnTo>
                    <a:lnTo>
                      <a:pt x="153" y="268"/>
                    </a:lnTo>
                    <a:lnTo>
                      <a:pt x="141" y="262"/>
                    </a:lnTo>
                    <a:lnTo>
                      <a:pt x="129" y="255"/>
                    </a:lnTo>
                    <a:lnTo>
                      <a:pt x="118" y="248"/>
                    </a:lnTo>
                    <a:lnTo>
                      <a:pt x="106" y="240"/>
                    </a:lnTo>
                    <a:lnTo>
                      <a:pt x="95" y="231"/>
                    </a:lnTo>
                    <a:lnTo>
                      <a:pt x="84" y="222"/>
                    </a:lnTo>
                    <a:lnTo>
                      <a:pt x="73" y="213"/>
                    </a:lnTo>
                    <a:lnTo>
                      <a:pt x="64" y="203"/>
                    </a:lnTo>
                    <a:lnTo>
                      <a:pt x="55" y="193"/>
                    </a:lnTo>
                    <a:lnTo>
                      <a:pt x="47" y="183"/>
                    </a:lnTo>
                    <a:lnTo>
                      <a:pt x="40" y="173"/>
                    </a:lnTo>
                    <a:lnTo>
                      <a:pt x="35" y="163"/>
                    </a:lnTo>
                    <a:lnTo>
                      <a:pt x="31" y="153"/>
                    </a:lnTo>
                    <a:lnTo>
                      <a:pt x="26" y="137"/>
                    </a:lnTo>
                    <a:lnTo>
                      <a:pt x="23" y="120"/>
                    </a:lnTo>
                    <a:lnTo>
                      <a:pt x="22" y="111"/>
                    </a:lnTo>
                    <a:lnTo>
                      <a:pt x="20" y="102"/>
                    </a:lnTo>
                    <a:lnTo>
                      <a:pt x="20" y="94"/>
                    </a:lnTo>
                    <a:lnTo>
                      <a:pt x="22" y="84"/>
                    </a:lnTo>
                    <a:lnTo>
                      <a:pt x="24" y="76"/>
                    </a:lnTo>
                    <a:lnTo>
                      <a:pt x="26" y="68"/>
                    </a:lnTo>
                    <a:lnTo>
                      <a:pt x="29" y="61"/>
                    </a:lnTo>
                    <a:lnTo>
                      <a:pt x="33" y="53"/>
                    </a:lnTo>
                    <a:lnTo>
                      <a:pt x="37" y="46"/>
                    </a:lnTo>
                    <a:lnTo>
                      <a:pt x="43" y="40"/>
                    </a:lnTo>
                    <a:lnTo>
                      <a:pt x="50" y="34"/>
                    </a:lnTo>
                    <a:lnTo>
                      <a:pt x="58" y="29"/>
                    </a:lnTo>
                    <a:lnTo>
                      <a:pt x="68" y="24"/>
                    </a:lnTo>
                    <a:lnTo>
                      <a:pt x="80" y="20"/>
                    </a:lnTo>
                    <a:lnTo>
                      <a:pt x="94" y="17"/>
                    </a:lnTo>
                    <a:lnTo>
                      <a:pt x="107" y="16"/>
                    </a:lnTo>
                    <a:lnTo>
                      <a:pt x="121" y="16"/>
                    </a:lnTo>
                    <a:lnTo>
                      <a:pt x="135" y="17"/>
                    </a:lnTo>
                    <a:lnTo>
                      <a:pt x="149" y="19"/>
                    </a:lnTo>
                    <a:lnTo>
                      <a:pt x="161" y="22"/>
                    </a:lnTo>
                    <a:lnTo>
                      <a:pt x="167" y="24"/>
                    </a:lnTo>
                    <a:lnTo>
                      <a:pt x="173" y="28"/>
                    </a:lnTo>
                    <a:lnTo>
                      <a:pt x="179" y="32"/>
                    </a:lnTo>
                    <a:lnTo>
                      <a:pt x="185" y="36"/>
                    </a:lnTo>
                    <a:lnTo>
                      <a:pt x="190" y="41"/>
                    </a:lnTo>
                    <a:lnTo>
                      <a:pt x="194" y="46"/>
                    </a:lnTo>
                    <a:lnTo>
                      <a:pt x="197" y="53"/>
                    </a:lnTo>
                    <a:lnTo>
                      <a:pt x="199" y="61"/>
                    </a:lnTo>
                    <a:lnTo>
                      <a:pt x="200" y="69"/>
                    </a:lnTo>
                    <a:lnTo>
                      <a:pt x="200" y="76"/>
                    </a:lnTo>
                    <a:lnTo>
                      <a:pt x="198" y="82"/>
                    </a:lnTo>
                    <a:lnTo>
                      <a:pt x="196" y="89"/>
                    </a:lnTo>
                    <a:lnTo>
                      <a:pt x="192" y="95"/>
                    </a:lnTo>
                    <a:lnTo>
                      <a:pt x="188" y="100"/>
                    </a:lnTo>
                    <a:lnTo>
                      <a:pt x="182" y="105"/>
                    </a:lnTo>
                    <a:lnTo>
                      <a:pt x="175" y="109"/>
                    </a:lnTo>
                    <a:lnTo>
                      <a:pt x="169" y="112"/>
                    </a:lnTo>
                    <a:lnTo>
                      <a:pt x="163" y="114"/>
                    </a:lnTo>
                    <a:lnTo>
                      <a:pt x="157" y="115"/>
                    </a:lnTo>
                    <a:lnTo>
                      <a:pt x="150" y="116"/>
                    </a:lnTo>
                    <a:lnTo>
                      <a:pt x="143" y="116"/>
                    </a:lnTo>
                    <a:lnTo>
                      <a:pt x="137" y="116"/>
                    </a:lnTo>
                    <a:lnTo>
                      <a:pt x="132" y="114"/>
                    </a:lnTo>
                    <a:lnTo>
                      <a:pt x="127" y="112"/>
                    </a:lnTo>
                    <a:lnTo>
                      <a:pt x="123" y="110"/>
                    </a:lnTo>
                    <a:lnTo>
                      <a:pt x="120" y="108"/>
                    </a:lnTo>
                    <a:lnTo>
                      <a:pt x="118" y="105"/>
                    </a:lnTo>
                    <a:lnTo>
                      <a:pt x="117" y="102"/>
                    </a:lnTo>
                    <a:lnTo>
                      <a:pt x="115" y="96"/>
                    </a:lnTo>
                    <a:lnTo>
                      <a:pt x="115" y="90"/>
                    </a:lnTo>
                    <a:lnTo>
                      <a:pt x="94" y="88"/>
                    </a:lnTo>
                    <a:lnTo>
                      <a:pt x="94" y="94"/>
                    </a:lnTo>
                    <a:lnTo>
                      <a:pt x="94" y="100"/>
                    </a:lnTo>
                    <a:lnTo>
                      <a:pt x="96" y="106"/>
                    </a:lnTo>
                    <a:lnTo>
                      <a:pt x="98" y="111"/>
                    </a:lnTo>
                    <a:lnTo>
                      <a:pt x="101" y="115"/>
                    </a:lnTo>
                    <a:lnTo>
                      <a:pt x="105" y="121"/>
                    </a:lnTo>
                    <a:lnTo>
                      <a:pt x="110" y="124"/>
                    </a:lnTo>
                    <a:lnTo>
                      <a:pt x="117" y="127"/>
                    </a:lnTo>
                    <a:lnTo>
                      <a:pt x="124" y="130"/>
                    </a:lnTo>
                    <a:lnTo>
                      <a:pt x="132" y="132"/>
                    </a:lnTo>
                    <a:lnTo>
                      <a:pt x="141" y="133"/>
                    </a:lnTo>
                    <a:lnTo>
                      <a:pt x="151" y="133"/>
                    </a:lnTo>
                    <a:lnTo>
                      <a:pt x="160" y="132"/>
                    </a:lnTo>
                    <a:lnTo>
                      <a:pt x="169" y="130"/>
                    </a:lnTo>
                    <a:lnTo>
                      <a:pt x="179" y="127"/>
                    </a:lnTo>
                    <a:lnTo>
                      <a:pt x="187" y="123"/>
                    </a:lnTo>
                    <a:lnTo>
                      <a:pt x="196" y="117"/>
                    </a:lnTo>
                    <a:lnTo>
                      <a:pt x="204" y="111"/>
                    </a:lnTo>
                    <a:lnTo>
                      <a:pt x="211" y="104"/>
                    </a:lnTo>
                    <a:lnTo>
                      <a:pt x="216" y="96"/>
                    </a:lnTo>
                    <a:lnTo>
                      <a:pt x="219" y="88"/>
                    </a:lnTo>
                    <a:lnTo>
                      <a:pt x="221" y="78"/>
                    </a:lnTo>
                    <a:lnTo>
                      <a:pt x="221" y="69"/>
                    </a:lnTo>
                    <a:lnTo>
                      <a:pt x="220" y="59"/>
                    </a:lnTo>
                    <a:lnTo>
                      <a:pt x="218" y="50"/>
                    </a:lnTo>
                    <a:lnTo>
                      <a:pt x="215" y="42"/>
                    </a:lnTo>
                    <a:lnTo>
                      <a:pt x="210" y="35"/>
                    </a:lnTo>
                    <a:lnTo>
                      <a:pt x="203" y="28"/>
                    </a:lnTo>
                    <a:lnTo>
                      <a:pt x="197" y="22"/>
                    </a:lnTo>
                    <a:lnTo>
                      <a:pt x="189" y="16"/>
                    </a:lnTo>
                    <a:lnTo>
                      <a:pt x="180" y="11"/>
                    </a:lnTo>
                    <a:lnTo>
                      <a:pt x="169" y="7"/>
                    </a:lnTo>
                    <a:lnTo>
                      <a:pt x="154" y="3"/>
                    </a:lnTo>
                    <a:lnTo>
                      <a:pt x="138" y="1"/>
                    </a:lnTo>
                    <a:lnTo>
                      <a:pt x="122" y="0"/>
                    </a:lnTo>
                    <a:lnTo>
                      <a:pt x="105" y="0"/>
                    </a:lnTo>
                    <a:lnTo>
                      <a:pt x="89" y="2"/>
                    </a:lnTo>
                    <a:lnTo>
                      <a:pt x="73" y="5"/>
                    </a:lnTo>
                    <a:lnTo>
                      <a:pt x="59" y="9"/>
                    </a:lnTo>
                    <a:lnTo>
                      <a:pt x="45" y="15"/>
                    </a:lnTo>
                    <a:lnTo>
                      <a:pt x="36" y="21"/>
                    </a:lnTo>
                    <a:lnTo>
                      <a:pt x="28" y="28"/>
                    </a:lnTo>
                    <a:lnTo>
                      <a:pt x="20" y="36"/>
                    </a:lnTo>
                    <a:lnTo>
                      <a:pt x="15" y="43"/>
                    </a:lnTo>
                    <a:lnTo>
                      <a:pt x="10" y="52"/>
                    </a:lnTo>
                    <a:lnTo>
                      <a:pt x="6" y="61"/>
                    </a:lnTo>
                    <a:lnTo>
                      <a:pt x="4" y="71"/>
                    </a:lnTo>
                    <a:lnTo>
                      <a:pt x="2" y="80"/>
                    </a:lnTo>
                    <a:lnTo>
                      <a:pt x="0" y="90"/>
                    </a:lnTo>
                    <a:lnTo>
                      <a:pt x="0" y="100"/>
                    </a:lnTo>
                    <a:lnTo>
                      <a:pt x="0" y="109"/>
                    </a:lnTo>
                    <a:lnTo>
                      <a:pt x="1" y="120"/>
                    </a:lnTo>
                    <a:lnTo>
                      <a:pt x="3" y="129"/>
                    </a:lnTo>
                    <a:lnTo>
                      <a:pt x="5" y="139"/>
                    </a:lnTo>
                    <a:lnTo>
                      <a:pt x="7" y="149"/>
                    </a:lnTo>
                    <a:lnTo>
                      <a:pt x="10" y="157"/>
                    </a:lnTo>
                    <a:lnTo>
                      <a:pt x="15" y="168"/>
                    </a:lnTo>
                    <a:lnTo>
                      <a:pt x="22" y="180"/>
                    </a:lnTo>
                    <a:lnTo>
                      <a:pt x="29" y="191"/>
                    </a:lnTo>
                    <a:lnTo>
                      <a:pt x="37" y="201"/>
                    </a:lnTo>
                    <a:lnTo>
                      <a:pt x="46" y="213"/>
                    </a:lnTo>
                    <a:lnTo>
                      <a:pt x="57" y="223"/>
                    </a:lnTo>
                    <a:lnTo>
                      <a:pt x="68" y="233"/>
                    </a:lnTo>
                    <a:lnTo>
                      <a:pt x="79" y="243"/>
                    </a:lnTo>
                    <a:lnTo>
                      <a:pt x="92" y="252"/>
                    </a:lnTo>
                    <a:lnTo>
                      <a:pt x="104" y="261"/>
                    </a:lnTo>
                    <a:lnTo>
                      <a:pt x="117" y="268"/>
                    </a:lnTo>
                    <a:lnTo>
                      <a:pt x="130" y="277"/>
                    </a:lnTo>
                    <a:lnTo>
                      <a:pt x="142" y="283"/>
                    </a:lnTo>
                    <a:lnTo>
                      <a:pt x="156" y="289"/>
                    </a:lnTo>
                    <a:lnTo>
                      <a:pt x="168" y="293"/>
                    </a:lnTo>
                    <a:lnTo>
                      <a:pt x="180" y="297"/>
                    </a:lnTo>
                    <a:lnTo>
                      <a:pt x="226" y="310"/>
                    </a:lnTo>
                    <a:lnTo>
                      <a:pt x="267" y="320"/>
                    </a:lnTo>
                    <a:lnTo>
                      <a:pt x="287" y="324"/>
                    </a:lnTo>
                    <a:lnTo>
                      <a:pt x="307" y="327"/>
                    </a:lnTo>
                    <a:lnTo>
                      <a:pt x="326" y="330"/>
                    </a:lnTo>
                    <a:lnTo>
                      <a:pt x="345" y="333"/>
                    </a:lnTo>
                    <a:lnTo>
                      <a:pt x="365" y="334"/>
                    </a:lnTo>
                    <a:lnTo>
                      <a:pt x="384" y="334"/>
                    </a:lnTo>
                    <a:lnTo>
                      <a:pt x="404" y="334"/>
                    </a:lnTo>
                    <a:lnTo>
                      <a:pt x="426" y="334"/>
                    </a:lnTo>
                    <a:lnTo>
                      <a:pt x="447" y="332"/>
                    </a:lnTo>
                    <a:lnTo>
                      <a:pt x="470" y="329"/>
                    </a:lnTo>
                    <a:lnTo>
                      <a:pt x="495" y="327"/>
                    </a:lnTo>
                    <a:lnTo>
                      <a:pt x="521" y="323"/>
                    </a:lnTo>
                    <a:lnTo>
                      <a:pt x="534" y="321"/>
                    </a:lnTo>
                    <a:lnTo>
                      <a:pt x="549" y="318"/>
                    </a:lnTo>
                    <a:lnTo>
                      <a:pt x="563" y="314"/>
                    </a:lnTo>
                    <a:lnTo>
                      <a:pt x="577" y="310"/>
                    </a:lnTo>
                    <a:lnTo>
                      <a:pt x="592" y="305"/>
                    </a:lnTo>
                    <a:lnTo>
                      <a:pt x="605" y="298"/>
                    </a:lnTo>
                    <a:lnTo>
                      <a:pt x="620" y="291"/>
                    </a:lnTo>
                    <a:lnTo>
                      <a:pt x="633" y="284"/>
                    </a:lnTo>
                    <a:lnTo>
                      <a:pt x="646" y="277"/>
                    </a:lnTo>
                    <a:lnTo>
                      <a:pt x="659" y="268"/>
                    </a:lnTo>
                    <a:lnTo>
                      <a:pt x="670" y="260"/>
                    </a:lnTo>
                    <a:lnTo>
                      <a:pt x="683" y="251"/>
                    </a:lnTo>
                    <a:lnTo>
                      <a:pt x="693" y="242"/>
                    </a:lnTo>
                    <a:lnTo>
                      <a:pt x="704" y="232"/>
                    </a:lnTo>
                    <a:lnTo>
                      <a:pt x="713" y="222"/>
                    </a:lnTo>
                    <a:lnTo>
                      <a:pt x="721" y="212"/>
                    </a:lnTo>
                    <a:lnTo>
                      <a:pt x="727" y="204"/>
                    </a:lnTo>
                    <a:lnTo>
                      <a:pt x="732" y="196"/>
                    </a:lnTo>
                    <a:lnTo>
                      <a:pt x="737" y="187"/>
                    </a:lnTo>
                    <a:lnTo>
                      <a:pt x="741" y="178"/>
                    </a:lnTo>
                    <a:lnTo>
                      <a:pt x="744" y="169"/>
                    </a:lnTo>
                    <a:lnTo>
                      <a:pt x="747" y="161"/>
                    </a:lnTo>
                    <a:lnTo>
                      <a:pt x="750" y="152"/>
                    </a:lnTo>
                    <a:lnTo>
                      <a:pt x="751" y="142"/>
                    </a:lnTo>
                    <a:lnTo>
                      <a:pt x="752" y="133"/>
                    </a:lnTo>
                    <a:lnTo>
                      <a:pt x="753" y="125"/>
                    </a:lnTo>
                    <a:lnTo>
                      <a:pt x="753" y="115"/>
                    </a:lnTo>
                    <a:lnTo>
                      <a:pt x="752" y="107"/>
                    </a:lnTo>
                    <a:lnTo>
                      <a:pt x="751" y="98"/>
                    </a:lnTo>
                    <a:lnTo>
                      <a:pt x="749" y="90"/>
                    </a:lnTo>
                    <a:lnTo>
                      <a:pt x="747" y="82"/>
                    </a:lnTo>
                    <a:lnTo>
                      <a:pt x="744" y="74"/>
                    </a:lnTo>
                    <a:lnTo>
                      <a:pt x="738" y="65"/>
                    </a:lnTo>
                    <a:lnTo>
                      <a:pt x="731" y="55"/>
                    </a:lnTo>
                    <a:lnTo>
                      <a:pt x="724" y="48"/>
                    </a:lnTo>
                    <a:lnTo>
                      <a:pt x="716" y="41"/>
                    </a:lnTo>
                    <a:lnTo>
                      <a:pt x="707" y="35"/>
                    </a:lnTo>
                    <a:lnTo>
                      <a:pt x="696" y="30"/>
                    </a:lnTo>
                    <a:lnTo>
                      <a:pt x="685" y="24"/>
                    </a:lnTo>
                    <a:lnTo>
                      <a:pt x="674" y="21"/>
                    </a:lnTo>
                    <a:lnTo>
                      <a:pt x="657" y="18"/>
                    </a:lnTo>
                    <a:lnTo>
                      <a:pt x="643" y="17"/>
                    </a:lnTo>
                    <a:lnTo>
                      <a:pt x="628" y="18"/>
                    </a:lnTo>
                    <a:lnTo>
                      <a:pt x="616" y="20"/>
                    </a:lnTo>
                    <a:lnTo>
                      <a:pt x="602" y="23"/>
                    </a:lnTo>
                    <a:lnTo>
                      <a:pt x="590" y="29"/>
                    </a:lnTo>
                    <a:lnTo>
                      <a:pt x="577" y="34"/>
                    </a:lnTo>
                    <a:lnTo>
                      <a:pt x="565" y="39"/>
                    </a:lnTo>
                    <a:close/>
                  </a:path>
                </a:pathLst>
              </a:custGeom>
              <a:solidFill>
                <a:srgbClr val="F1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18" name="Freeform 133"/>
              <p:cNvSpPr>
                <a:spLocks/>
              </p:cNvSpPr>
              <p:nvPr/>
            </p:nvSpPr>
            <p:spPr bwMode="auto">
              <a:xfrm>
                <a:off x="3552" y="1852"/>
                <a:ext cx="19" cy="67"/>
              </a:xfrm>
              <a:custGeom>
                <a:avLst/>
                <a:gdLst>
                  <a:gd name="T0" fmla="*/ 0 w 131"/>
                  <a:gd name="T1" fmla="*/ 0 h 465"/>
                  <a:gd name="T2" fmla="*/ 0 w 131"/>
                  <a:gd name="T3" fmla="*/ 0 h 465"/>
                  <a:gd name="T4" fmla="*/ 0 w 131"/>
                  <a:gd name="T5" fmla="*/ 0 h 465"/>
                  <a:gd name="T6" fmla="*/ 0 w 131"/>
                  <a:gd name="T7" fmla="*/ 0 h 465"/>
                  <a:gd name="T8" fmla="*/ 0 w 131"/>
                  <a:gd name="T9" fmla="*/ 0 h 465"/>
                  <a:gd name="T10" fmla="*/ 0 w 131"/>
                  <a:gd name="T11" fmla="*/ 0 h 465"/>
                  <a:gd name="T12" fmla="*/ 0 w 131"/>
                  <a:gd name="T13" fmla="*/ 0 h 465"/>
                  <a:gd name="T14" fmla="*/ 0 w 131"/>
                  <a:gd name="T15" fmla="*/ 0 h 465"/>
                  <a:gd name="T16" fmla="*/ 0 w 131"/>
                  <a:gd name="T17" fmla="*/ 0 h 465"/>
                  <a:gd name="T18" fmla="*/ 0 w 131"/>
                  <a:gd name="T19" fmla="*/ 0 h 465"/>
                  <a:gd name="T20" fmla="*/ 0 w 131"/>
                  <a:gd name="T21" fmla="*/ 0 h 465"/>
                  <a:gd name="T22" fmla="*/ 0 w 131"/>
                  <a:gd name="T23" fmla="*/ 0 h 465"/>
                  <a:gd name="T24" fmla="*/ 0 w 131"/>
                  <a:gd name="T25" fmla="*/ 0 h 465"/>
                  <a:gd name="T26" fmla="*/ 0 w 131"/>
                  <a:gd name="T27" fmla="*/ 0 h 465"/>
                  <a:gd name="T28" fmla="*/ 0 w 131"/>
                  <a:gd name="T29" fmla="*/ 0 h 465"/>
                  <a:gd name="T30" fmla="*/ 0 w 131"/>
                  <a:gd name="T31" fmla="*/ 0 h 465"/>
                  <a:gd name="T32" fmla="*/ 0 w 131"/>
                  <a:gd name="T33" fmla="*/ 0 h 465"/>
                  <a:gd name="T34" fmla="*/ 0 w 131"/>
                  <a:gd name="T35" fmla="*/ 0 h 465"/>
                  <a:gd name="T36" fmla="*/ 0 w 131"/>
                  <a:gd name="T37" fmla="*/ 0 h 465"/>
                  <a:gd name="T38" fmla="*/ 0 w 131"/>
                  <a:gd name="T39" fmla="*/ 0 h 465"/>
                  <a:gd name="T40" fmla="*/ 0 w 131"/>
                  <a:gd name="T41" fmla="*/ 0 h 465"/>
                  <a:gd name="T42" fmla="*/ 0 w 131"/>
                  <a:gd name="T43" fmla="*/ 0 h 465"/>
                  <a:gd name="T44" fmla="*/ 0 w 131"/>
                  <a:gd name="T45" fmla="*/ 0 h 465"/>
                  <a:gd name="T46" fmla="*/ 0 w 131"/>
                  <a:gd name="T47" fmla="*/ 0 h 465"/>
                  <a:gd name="T48" fmla="*/ 0 w 131"/>
                  <a:gd name="T49" fmla="*/ 0 h 465"/>
                  <a:gd name="T50" fmla="*/ 0 w 131"/>
                  <a:gd name="T51" fmla="*/ 0 h 465"/>
                  <a:gd name="T52" fmla="*/ 0 w 131"/>
                  <a:gd name="T53" fmla="*/ 0 h 465"/>
                  <a:gd name="T54" fmla="*/ 0 w 131"/>
                  <a:gd name="T55" fmla="*/ 0 h 465"/>
                  <a:gd name="T56" fmla="*/ 0 w 131"/>
                  <a:gd name="T57" fmla="*/ 0 h 465"/>
                  <a:gd name="T58" fmla="*/ 0 w 131"/>
                  <a:gd name="T59" fmla="*/ 0 h 465"/>
                  <a:gd name="T60" fmla="*/ 0 w 131"/>
                  <a:gd name="T61" fmla="*/ 0 h 465"/>
                  <a:gd name="T62" fmla="*/ 0 w 131"/>
                  <a:gd name="T63" fmla="*/ 0 h 465"/>
                  <a:gd name="T64" fmla="*/ 0 w 131"/>
                  <a:gd name="T65" fmla="*/ 0 h 465"/>
                  <a:gd name="T66" fmla="*/ 0 w 131"/>
                  <a:gd name="T67" fmla="*/ 0 h 465"/>
                  <a:gd name="T68" fmla="*/ 0 w 131"/>
                  <a:gd name="T69" fmla="*/ 0 h 465"/>
                  <a:gd name="T70" fmla="*/ 0 w 131"/>
                  <a:gd name="T71" fmla="*/ 0 h 465"/>
                  <a:gd name="T72" fmla="*/ 0 w 131"/>
                  <a:gd name="T73" fmla="*/ 0 h 465"/>
                  <a:gd name="T74" fmla="*/ 0 w 131"/>
                  <a:gd name="T75" fmla="*/ 0 h 465"/>
                  <a:gd name="T76" fmla="*/ 0 w 131"/>
                  <a:gd name="T77" fmla="*/ 0 h 465"/>
                  <a:gd name="T78" fmla="*/ 0 w 131"/>
                  <a:gd name="T79" fmla="*/ 0 h 465"/>
                  <a:gd name="T80" fmla="*/ 0 w 131"/>
                  <a:gd name="T81" fmla="*/ 0 h 465"/>
                  <a:gd name="T82" fmla="*/ 0 w 131"/>
                  <a:gd name="T83" fmla="*/ 0 h 465"/>
                  <a:gd name="T84" fmla="*/ 0 w 131"/>
                  <a:gd name="T85" fmla="*/ 0 h 465"/>
                  <a:gd name="T86" fmla="*/ 0 w 131"/>
                  <a:gd name="T87" fmla="*/ 0 h 465"/>
                  <a:gd name="T88" fmla="*/ 0 w 131"/>
                  <a:gd name="T89" fmla="*/ 0 h 465"/>
                  <a:gd name="T90" fmla="*/ 0 w 131"/>
                  <a:gd name="T91" fmla="*/ 0 h 465"/>
                  <a:gd name="T92" fmla="*/ 0 w 131"/>
                  <a:gd name="T93" fmla="*/ 0 h 465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31"/>
                  <a:gd name="T142" fmla="*/ 0 h 465"/>
                  <a:gd name="T143" fmla="*/ 131 w 131"/>
                  <a:gd name="T144" fmla="*/ 465 h 465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31" h="465">
                    <a:moveTo>
                      <a:pt x="85" y="0"/>
                    </a:moveTo>
                    <a:lnTo>
                      <a:pt x="69" y="7"/>
                    </a:lnTo>
                    <a:lnTo>
                      <a:pt x="56" y="14"/>
                    </a:lnTo>
                    <a:lnTo>
                      <a:pt x="44" y="22"/>
                    </a:lnTo>
                    <a:lnTo>
                      <a:pt x="34" y="31"/>
                    </a:lnTo>
                    <a:lnTo>
                      <a:pt x="25" y="43"/>
                    </a:lnTo>
                    <a:lnTo>
                      <a:pt x="17" y="54"/>
                    </a:lnTo>
                    <a:lnTo>
                      <a:pt x="11" y="68"/>
                    </a:lnTo>
                    <a:lnTo>
                      <a:pt x="7" y="81"/>
                    </a:lnTo>
                    <a:lnTo>
                      <a:pt x="3" y="96"/>
                    </a:lnTo>
                    <a:lnTo>
                      <a:pt x="1" y="111"/>
                    </a:lnTo>
                    <a:lnTo>
                      <a:pt x="0" y="128"/>
                    </a:lnTo>
                    <a:lnTo>
                      <a:pt x="0" y="144"/>
                    </a:lnTo>
                    <a:lnTo>
                      <a:pt x="1" y="161"/>
                    </a:lnTo>
                    <a:lnTo>
                      <a:pt x="2" y="178"/>
                    </a:lnTo>
                    <a:lnTo>
                      <a:pt x="5" y="196"/>
                    </a:lnTo>
                    <a:lnTo>
                      <a:pt x="8" y="214"/>
                    </a:lnTo>
                    <a:lnTo>
                      <a:pt x="15" y="251"/>
                    </a:lnTo>
                    <a:lnTo>
                      <a:pt x="26" y="287"/>
                    </a:lnTo>
                    <a:lnTo>
                      <a:pt x="37" y="323"/>
                    </a:lnTo>
                    <a:lnTo>
                      <a:pt x="48" y="357"/>
                    </a:lnTo>
                    <a:lnTo>
                      <a:pt x="71" y="418"/>
                    </a:lnTo>
                    <a:lnTo>
                      <a:pt x="88" y="465"/>
                    </a:lnTo>
                    <a:lnTo>
                      <a:pt x="96" y="454"/>
                    </a:lnTo>
                    <a:lnTo>
                      <a:pt x="103" y="443"/>
                    </a:lnTo>
                    <a:lnTo>
                      <a:pt x="109" y="430"/>
                    </a:lnTo>
                    <a:lnTo>
                      <a:pt x="115" y="416"/>
                    </a:lnTo>
                    <a:lnTo>
                      <a:pt x="118" y="401"/>
                    </a:lnTo>
                    <a:lnTo>
                      <a:pt x="121" y="385"/>
                    </a:lnTo>
                    <a:lnTo>
                      <a:pt x="123" y="369"/>
                    </a:lnTo>
                    <a:lnTo>
                      <a:pt x="124" y="352"/>
                    </a:lnTo>
                    <a:lnTo>
                      <a:pt x="126" y="319"/>
                    </a:lnTo>
                    <a:lnTo>
                      <a:pt x="126" y="287"/>
                    </a:lnTo>
                    <a:lnTo>
                      <a:pt x="127" y="258"/>
                    </a:lnTo>
                    <a:lnTo>
                      <a:pt x="129" y="232"/>
                    </a:lnTo>
                    <a:lnTo>
                      <a:pt x="130" y="216"/>
                    </a:lnTo>
                    <a:lnTo>
                      <a:pt x="131" y="200"/>
                    </a:lnTo>
                    <a:lnTo>
                      <a:pt x="131" y="186"/>
                    </a:lnTo>
                    <a:lnTo>
                      <a:pt x="131" y="170"/>
                    </a:lnTo>
                    <a:lnTo>
                      <a:pt x="130" y="156"/>
                    </a:lnTo>
                    <a:lnTo>
                      <a:pt x="128" y="141"/>
                    </a:lnTo>
                    <a:lnTo>
                      <a:pt x="126" y="128"/>
                    </a:lnTo>
                    <a:lnTo>
                      <a:pt x="124" y="113"/>
                    </a:lnTo>
                    <a:lnTo>
                      <a:pt x="117" y="86"/>
                    </a:lnTo>
                    <a:lnTo>
                      <a:pt x="107" y="58"/>
                    </a:lnTo>
                    <a:lnTo>
                      <a:pt x="97" y="30"/>
                    </a:lnTo>
                    <a:lnTo>
                      <a:pt x="85" y="0"/>
                    </a:lnTo>
                    <a:close/>
                  </a:path>
                </a:pathLst>
              </a:custGeom>
              <a:solidFill>
                <a:srgbClr val="F1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19" name="Freeform 134"/>
              <p:cNvSpPr>
                <a:spLocks/>
              </p:cNvSpPr>
              <p:nvPr/>
            </p:nvSpPr>
            <p:spPr bwMode="auto">
              <a:xfrm>
                <a:off x="3509" y="1856"/>
                <a:ext cx="107" cy="73"/>
              </a:xfrm>
              <a:custGeom>
                <a:avLst/>
                <a:gdLst>
                  <a:gd name="T0" fmla="*/ 0 w 753"/>
                  <a:gd name="T1" fmla="*/ 0 h 517"/>
                  <a:gd name="T2" fmla="*/ 0 w 753"/>
                  <a:gd name="T3" fmla="*/ 0 h 517"/>
                  <a:gd name="T4" fmla="*/ 0 w 753"/>
                  <a:gd name="T5" fmla="*/ 0 h 517"/>
                  <a:gd name="T6" fmla="*/ 0 w 753"/>
                  <a:gd name="T7" fmla="*/ 0 h 517"/>
                  <a:gd name="T8" fmla="*/ 0 w 753"/>
                  <a:gd name="T9" fmla="*/ 0 h 517"/>
                  <a:gd name="T10" fmla="*/ 0 w 753"/>
                  <a:gd name="T11" fmla="*/ 0 h 517"/>
                  <a:gd name="T12" fmla="*/ 0 w 753"/>
                  <a:gd name="T13" fmla="*/ 0 h 517"/>
                  <a:gd name="T14" fmla="*/ 0 w 753"/>
                  <a:gd name="T15" fmla="*/ 0 h 517"/>
                  <a:gd name="T16" fmla="*/ 0 w 753"/>
                  <a:gd name="T17" fmla="*/ 0 h 517"/>
                  <a:gd name="T18" fmla="*/ 0 w 753"/>
                  <a:gd name="T19" fmla="*/ 0 h 517"/>
                  <a:gd name="T20" fmla="*/ 0 w 753"/>
                  <a:gd name="T21" fmla="*/ 0 h 517"/>
                  <a:gd name="T22" fmla="*/ 0 w 753"/>
                  <a:gd name="T23" fmla="*/ 0 h 517"/>
                  <a:gd name="T24" fmla="*/ 0 w 753"/>
                  <a:gd name="T25" fmla="*/ 0 h 517"/>
                  <a:gd name="T26" fmla="*/ 0 w 753"/>
                  <a:gd name="T27" fmla="*/ 0 h 517"/>
                  <a:gd name="T28" fmla="*/ 0 w 753"/>
                  <a:gd name="T29" fmla="*/ 0 h 517"/>
                  <a:gd name="T30" fmla="*/ 0 w 753"/>
                  <a:gd name="T31" fmla="*/ 0 h 517"/>
                  <a:gd name="T32" fmla="*/ 0 w 753"/>
                  <a:gd name="T33" fmla="*/ 0 h 517"/>
                  <a:gd name="T34" fmla="*/ 0 w 753"/>
                  <a:gd name="T35" fmla="*/ 0 h 517"/>
                  <a:gd name="T36" fmla="*/ 0 w 753"/>
                  <a:gd name="T37" fmla="*/ 0 h 517"/>
                  <a:gd name="T38" fmla="*/ 0 w 753"/>
                  <a:gd name="T39" fmla="*/ 0 h 517"/>
                  <a:gd name="T40" fmla="*/ 0 w 753"/>
                  <a:gd name="T41" fmla="*/ 0 h 517"/>
                  <a:gd name="T42" fmla="*/ 0 w 753"/>
                  <a:gd name="T43" fmla="*/ 0 h 517"/>
                  <a:gd name="T44" fmla="*/ 0 w 753"/>
                  <a:gd name="T45" fmla="*/ 0 h 517"/>
                  <a:gd name="T46" fmla="*/ 0 w 753"/>
                  <a:gd name="T47" fmla="*/ 0 h 517"/>
                  <a:gd name="T48" fmla="*/ 0 w 753"/>
                  <a:gd name="T49" fmla="*/ 0 h 517"/>
                  <a:gd name="T50" fmla="*/ 0 w 753"/>
                  <a:gd name="T51" fmla="*/ 0 h 517"/>
                  <a:gd name="T52" fmla="*/ 0 w 753"/>
                  <a:gd name="T53" fmla="*/ 0 h 517"/>
                  <a:gd name="T54" fmla="*/ 0 w 753"/>
                  <a:gd name="T55" fmla="*/ 0 h 517"/>
                  <a:gd name="T56" fmla="*/ 0 w 753"/>
                  <a:gd name="T57" fmla="*/ 0 h 517"/>
                  <a:gd name="T58" fmla="*/ 0 w 753"/>
                  <a:gd name="T59" fmla="*/ 0 h 517"/>
                  <a:gd name="T60" fmla="*/ 0 w 753"/>
                  <a:gd name="T61" fmla="*/ 0 h 517"/>
                  <a:gd name="T62" fmla="*/ 0 w 753"/>
                  <a:gd name="T63" fmla="*/ 0 h 517"/>
                  <a:gd name="T64" fmla="*/ 0 w 753"/>
                  <a:gd name="T65" fmla="*/ 0 h 517"/>
                  <a:gd name="T66" fmla="*/ 0 w 753"/>
                  <a:gd name="T67" fmla="*/ 0 h 517"/>
                  <a:gd name="T68" fmla="*/ 0 w 753"/>
                  <a:gd name="T69" fmla="*/ 0 h 517"/>
                  <a:gd name="T70" fmla="*/ 0 w 753"/>
                  <a:gd name="T71" fmla="*/ 0 h 517"/>
                  <a:gd name="T72" fmla="*/ 0 w 753"/>
                  <a:gd name="T73" fmla="*/ 0 h 517"/>
                  <a:gd name="T74" fmla="*/ 0 w 753"/>
                  <a:gd name="T75" fmla="*/ 0 h 517"/>
                  <a:gd name="T76" fmla="*/ 0 w 753"/>
                  <a:gd name="T77" fmla="*/ 0 h 517"/>
                  <a:gd name="T78" fmla="*/ 0 w 753"/>
                  <a:gd name="T79" fmla="*/ 0 h 517"/>
                  <a:gd name="T80" fmla="*/ 0 w 753"/>
                  <a:gd name="T81" fmla="*/ 0 h 517"/>
                  <a:gd name="T82" fmla="*/ 0 w 753"/>
                  <a:gd name="T83" fmla="*/ 0 h 517"/>
                  <a:gd name="T84" fmla="*/ 0 w 753"/>
                  <a:gd name="T85" fmla="*/ 0 h 517"/>
                  <a:gd name="T86" fmla="*/ 0 w 753"/>
                  <a:gd name="T87" fmla="*/ 0 h 517"/>
                  <a:gd name="T88" fmla="*/ 0 w 753"/>
                  <a:gd name="T89" fmla="*/ 0 h 517"/>
                  <a:gd name="T90" fmla="*/ 0 w 753"/>
                  <a:gd name="T91" fmla="*/ 0 h 517"/>
                  <a:gd name="T92" fmla="*/ 0 w 753"/>
                  <a:gd name="T93" fmla="*/ 0 h 517"/>
                  <a:gd name="T94" fmla="*/ 0 w 753"/>
                  <a:gd name="T95" fmla="*/ 0 h 517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53"/>
                  <a:gd name="T145" fmla="*/ 0 h 517"/>
                  <a:gd name="T146" fmla="*/ 753 w 753"/>
                  <a:gd name="T147" fmla="*/ 517 h 517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53" h="517">
                    <a:moveTo>
                      <a:pt x="628" y="3"/>
                    </a:moveTo>
                    <a:lnTo>
                      <a:pt x="616" y="5"/>
                    </a:lnTo>
                    <a:lnTo>
                      <a:pt x="605" y="9"/>
                    </a:lnTo>
                    <a:lnTo>
                      <a:pt x="593" y="14"/>
                    </a:lnTo>
                    <a:lnTo>
                      <a:pt x="583" y="18"/>
                    </a:lnTo>
                    <a:lnTo>
                      <a:pt x="573" y="24"/>
                    </a:lnTo>
                    <a:lnTo>
                      <a:pt x="562" y="30"/>
                    </a:lnTo>
                    <a:lnTo>
                      <a:pt x="553" y="36"/>
                    </a:lnTo>
                    <a:lnTo>
                      <a:pt x="544" y="44"/>
                    </a:lnTo>
                    <a:lnTo>
                      <a:pt x="534" y="51"/>
                    </a:lnTo>
                    <a:lnTo>
                      <a:pt x="527" y="59"/>
                    </a:lnTo>
                    <a:lnTo>
                      <a:pt x="519" y="67"/>
                    </a:lnTo>
                    <a:lnTo>
                      <a:pt x="512" y="76"/>
                    </a:lnTo>
                    <a:lnTo>
                      <a:pt x="499" y="93"/>
                    </a:lnTo>
                    <a:lnTo>
                      <a:pt x="488" y="111"/>
                    </a:lnTo>
                    <a:lnTo>
                      <a:pt x="484" y="121"/>
                    </a:lnTo>
                    <a:lnTo>
                      <a:pt x="480" y="134"/>
                    </a:lnTo>
                    <a:lnTo>
                      <a:pt x="477" y="149"/>
                    </a:lnTo>
                    <a:lnTo>
                      <a:pt x="472" y="166"/>
                    </a:lnTo>
                    <a:lnTo>
                      <a:pt x="467" y="205"/>
                    </a:lnTo>
                    <a:lnTo>
                      <a:pt x="463" y="246"/>
                    </a:lnTo>
                    <a:lnTo>
                      <a:pt x="459" y="289"/>
                    </a:lnTo>
                    <a:lnTo>
                      <a:pt x="457" y="327"/>
                    </a:lnTo>
                    <a:lnTo>
                      <a:pt x="455" y="359"/>
                    </a:lnTo>
                    <a:lnTo>
                      <a:pt x="455" y="381"/>
                    </a:lnTo>
                    <a:lnTo>
                      <a:pt x="455" y="395"/>
                    </a:lnTo>
                    <a:lnTo>
                      <a:pt x="455" y="408"/>
                    </a:lnTo>
                    <a:lnTo>
                      <a:pt x="454" y="419"/>
                    </a:lnTo>
                    <a:lnTo>
                      <a:pt x="453" y="429"/>
                    </a:lnTo>
                    <a:lnTo>
                      <a:pt x="450" y="440"/>
                    </a:lnTo>
                    <a:lnTo>
                      <a:pt x="444" y="451"/>
                    </a:lnTo>
                    <a:lnTo>
                      <a:pt x="437" y="462"/>
                    </a:lnTo>
                    <a:lnTo>
                      <a:pt x="427" y="475"/>
                    </a:lnTo>
                    <a:lnTo>
                      <a:pt x="422" y="479"/>
                    </a:lnTo>
                    <a:lnTo>
                      <a:pt x="416" y="483"/>
                    </a:lnTo>
                    <a:lnTo>
                      <a:pt x="409" y="485"/>
                    </a:lnTo>
                    <a:lnTo>
                      <a:pt x="403" y="487"/>
                    </a:lnTo>
                    <a:lnTo>
                      <a:pt x="396" y="487"/>
                    </a:lnTo>
                    <a:lnTo>
                      <a:pt x="389" y="487"/>
                    </a:lnTo>
                    <a:lnTo>
                      <a:pt x="381" y="486"/>
                    </a:lnTo>
                    <a:lnTo>
                      <a:pt x="375" y="484"/>
                    </a:lnTo>
                    <a:lnTo>
                      <a:pt x="368" y="481"/>
                    </a:lnTo>
                    <a:lnTo>
                      <a:pt x="361" y="478"/>
                    </a:lnTo>
                    <a:lnTo>
                      <a:pt x="355" y="474"/>
                    </a:lnTo>
                    <a:lnTo>
                      <a:pt x="348" y="469"/>
                    </a:lnTo>
                    <a:lnTo>
                      <a:pt x="343" y="463"/>
                    </a:lnTo>
                    <a:lnTo>
                      <a:pt x="338" y="458"/>
                    </a:lnTo>
                    <a:lnTo>
                      <a:pt x="334" y="452"/>
                    </a:lnTo>
                    <a:lnTo>
                      <a:pt x="331" y="446"/>
                    </a:lnTo>
                    <a:lnTo>
                      <a:pt x="325" y="431"/>
                    </a:lnTo>
                    <a:lnTo>
                      <a:pt x="322" y="417"/>
                    </a:lnTo>
                    <a:lnTo>
                      <a:pt x="319" y="401"/>
                    </a:lnTo>
                    <a:lnTo>
                      <a:pt x="317" y="385"/>
                    </a:lnTo>
                    <a:lnTo>
                      <a:pt x="317" y="354"/>
                    </a:lnTo>
                    <a:lnTo>
                      <a:pt x="316" y="323"/>
                    </a:lnTo>
                    <a:lnTo>
                      <a:pt x="315" y="304"/>
                    </a:lnTo>
                    <a:lnTo>
                      <a:pt x="313" y="286"/>
                    </a:lnTo>
                    <a:lnTo>
                      <a:pt x="311" y="268"/>
                    </a:lnTo>
                    <a:lnTo>
                      <a:pt x="308" y="250"/>
                    </a:lnTo>
                    <a:lnTo>
                      <a:pt x="304" y="233"/>
                    </a:lnTo>
                    <a:lnTo>
                      <a:pt x="299" y="215"/>
                    </a:lnTo>
                    <a:lnTo>
                      <a:pt x="292" y="198"/>
                    </a:lnTo>
                    <a:lnTo>
                      <a:pt x="284" y="180"/>
                    </a:lnTo>
                    <a:lnTo>
                      <a:pt x="272" y="155"/>
                    </a:lnTo>
                    <a:lnTo>
                      <a:pt x="258" y="133"/>
                    </a:lnTo>
                    <a:lnTo>
                      <a:pt x="250" y="122"/>
                    </a:lnTo>
                    <a:lnTo>
                      <a:pt x="242" y="112"/>
                    </a:lnTo>
                    <a:lnTo>
                      <a:pt x="234" y="102"/>
                    </a:lnTo>
                    <a:lnTo>
                      <a:pt x="224" y="92"/>
                    </a:lnTo>
                    <a:lnTo>
                      <a:pt x="215" y="83"/>
                    </a:lnTo>
                    <a:lnTo>
                      <a:pt x="205" y="75"/>
                    </a:lnTo>
                    <a:lnTo>
                      <a:pt x="193" y="67"/>
                    </a:lnTo>
                    <a:lnTo>
                      <a:pt x="182" y="59"/>
                    </a:lnTo>
                    <a:lnTo>
                      <a:pt x="170" y="53"/>
                    </a:lnTo>
                    <a:lnTo>
                      <a:pt x="156" y="47"/>
                    </a:lnTo>
                    <a:lnTo>
                      <a:pt x="142" y="41"/>
                    </a:lnTo>
                    <a:lnTo>
                      <a:pt x="127" y="35"/>
                    </a:lnTo>
                    <a:lnTo>
                      <a:pt x="115" y="32"/>
                    </a:lnTo>
                    <a:lnTo>
                      <a:pt x="103" y="31"/>
                    </a:lnTo>
                    <a:lnTo>
                      <a:pt x="92" y="30"/>
                    </a:lnTo>
                    <a:lnTo>
                      <a:pt x="81" y="30"/>
                    </a:lnTo>
                    <a:lnTo>
                      <a:pt x="69" y="32"/>
                    </a:lnTo>
                    <a:lnTo>
                      <a:pt x="59" y="34"/>
                    </a:lnTo>
                    <a:lnTo>
                      <a:pt x="50" y="38"/>
                    </a:lnTo>
                    <a:lnTo>
                      <a:pt x="40" y="43"/>
                    </a:lnTo>
                    <a:lnTo>
                      <a:pt x="32" y="48"/>
                    </a:lnTo>
                    <a:lnTo>
                      <a:pt x="24" y="54"/>
                    </a:lnTo>
                    <a:lnTo>
                      <a:pt x="18" y="61"/>
                    </a:lnTo>
                    <a:lnTo>
                      <a:pt x="12" y="69"/>
                    </a:lnTo>
                    <a:lnTo>
                      <a:pt x="6" y="78"/>
                    </a:lnTo>
                    <a:lnTo>
                      <a:pt x="3" y="87"/>
                    </a:lnTo>
                    <a:lnTo>
                      <a:pt x="1" y="97"/>
                    </a:lnTo>
                    <a:lnTo>
                      <a:pt x="0" y="108"/>
                    </a:lnTo>
                    <a:lnTo>
                      <a:pt x="2" y="106"/>
                    </a:lnTo>
                    <a:lnTo>
                      <a:pt x="8" y="100"/>
                    </a:lnTo>
                    <a:lnTo>
                      <a:pt x="19" y="93"/>
                    </a:lnTo>
                    <a:lnTo>
                      <a:pt x="32" y="86"/>
                    </a:lnTo>
                    <a:lnTo>
                      <a:pt x="39" y="82"/>
                    </a:lnTo>
                    <a:lnTo>
                      <a:pt x="49" y="79"/>
                    </a:lnTo>
                    <a:lnTo>
                      <a:pt x="58" y="77"/>
                    </a:lnTo>
                    <a:lnTo>
                      <a:pt x="67" y="75"/>
                    </a:lnTo>
                    <a:lnTo>
                      <a:pt x="78" y="74"/>
                    </a:lnTo>
                    <a:lnTo>
                      <a:pt x="89" y="74"/>
                    </a:lnTo>
                    <a:lnTo>
                      <a:pt x="100" y="76"/>
                    </a:lnTo>
                    <a:lnTo>
                      <a:pt x="112" y="78"/>
                    </a:lnTo>
                    <a:lnTo>
                      <a:pt x="124" y="83"/>
                    </a:lnTo>
                    <a:lnTo>
                      <a:pt x="137" y="89"/>
                    </a:lnTo>
                    <a:lnTo>
                      <a:pt x="149" y="97"/>
                    </a:lnTo>
                    <a:lnTo>
                      <a:pt x="161" y="108"/>
                    </a:lnTo>
                    <a:lnTo>
                      <a:pt x="175" y="120"/>
                    </a:lnTo>
                    <a:lnTo>
                      <a:pt x="188" y="136"/>
                    </a:lnTo>
                    <a:lnTo>
                      <a:pt x="201" y="153"/>
                    </a:lnTo>
                    <a:lnTo>
                      <a:pt x="214" y="174"/>
                    </a:lnTo>
                    <a:lnTo>
                      <a:pt x="227" y="198"/>
                    </a:lnTo>
                    <a:lnTo>
                      <a:pt x="241" y="225"/>
                    </a:lnTo>
                    <a:lnTo>
                      <a:pt x="253" y="255"/>
                    </a:lnTo>
                    <a:lnTo>
                      <a:pt x="266" y="289"/>
                    </a:lnTo>
                    <a:lnTo>
                      <a:pt x="279" y="326"/>
                    </a:lnTo>
                    <a:lnTo>
                      <a:pt x="291" y="367"/>
                    </a:lnTo>
                    <a:lnTo>
                      <a:pt x="303" y="413"/>
                    </a:lnTo>
                    <a:lnTo>
                      <a:pt x="314" y="462"/>
                    </a:lnTo>
                    <a:lnTo>
                      <a:pt x="316" y="470"/>
                    </a:lnTo>
                    <a:lnTo>
                      <a:pt x="319" y="477"/>
                    </a:lnTo>
                    <a:lnTo>
                      <a:pt x="323" y="483"/>
                    </a:lnTo>
                    <a:lnTo>
                      <a:pt x="326" y="489"/>
                    </a:lnTo>
                    <a:lnTo>
                      <a:pt x="331" y="494"/>
                    </a:lnTo>
                    <a:lnTo>
                      <a:pt x="335" y="499"/>
                    </a:lnTo>
                    <a:lnTo>
                      <a:pt x="340" y="503"/>
                    </a:lnTo>
                    <a:lnTo>
                      <a:pt x="346" y="506"/>
                    </a:lnTo>
                    <a:lnTo>
                      <a:pt x="351" y="509"/>
                    </a:lnTo>
                    <a:lnTo>
                      <a:pt x="358" y="512"/>
                    </a:lnTo>
                    <a:lnTo>
                      <a:pt x="364" y="514"/>
                    </a:lnTo>
                    <a:lnTo>
                      <a:pt x="371" y="515"/>
                    </a:lnTo>
                    <a:lnTo>
                      <a:pt x="384" y="517"/>
                    </a:lnTo>
                    <a:lnTo>
                      <a:pt x="398" y="517"/>
                    </a:lnTo>
                    <a:lnTo>
                      <a:pt x="411" y="516"/>
                    </a:lnTo>
                    <a:lnTo>
                      <a:pt x="424" y="513"/>
                    </a:lnTo>
                    <a:lnTo>
                      <a:pt x="436" y="509"/>
                    </a:lnTo>
                    <a:lnTo>
                      <a:pt x="447" y="504"/>
                    </a:lnTo>
                    <a:lnTo>
                      <a:pt x="456" y="498"/>
                    </a:lnTo>
                    <a:lnTo>
                      <a:pt x="463" y="490"/>
                    </a:lnTo>
                    <a:lnTo>
                      <a:pt x="466" y="486"/>
                    </a:lnTo>
                    <a:lnTo>
                      <a:pt x="468" y="482"/>
                    </a:lnTo>
                    <a:lnTo>
                      <a:pt x="469" y="477"/>
                    </a:lnTo>
                    <a:lnTo>
                      <a:pt x="470" y="473"/>
                    </a:lnTo>
                    <a:lnTo>
                      <a:pt x="473" y="429"/>
                    </a:lnTo>
                    <a:lnTo>
                      <a:pt x="479" y="390"/>
                    </a:lnTo>
                    <a:lnTo>
                      <a:pt x="485" y="353"/>
                    </a:lnTo>
                    <a:lnTo>
                      <a:pt x="491" y="318"/>
                    </a:lnTo>
                    <a:lnTo>
                      <a:pt x="499" y="286"/>
                    </a:lnTo>
                    <a:lnTo>
                      <a:pt x="508" y="256"/>
                    </a:lnTo>
                    <a:lnTo>
                      <a:pt x="516" y="229"/>
                    </a:lnTo>
                    <a:lnTo>
                      <a:pt x="525" y="204"/>
                    </a:lnTo>
                    <a:lnTo>
                      <a:pt x="535" y="181"/>
                    </a:lnTo>
                    <a:lnTo>
                      <a:pt x="546" y="160"/>
                    </a:lnTo>
                    <a:lnTo>
                      <a:pt x="556" y="142"/>
                    </a:lnTo>
                    <a:lnTo>
                      <a:pt x="567" y="125"/>
                    </a:lnTo>
                    <a:lnTo>
                      <a:pt x="579" y="111"/>
                    </a:lnTo>
                    <a:lnTo>
                      <a:pt x="590" y="97"/>
                    </a:lnTo>
                    <a:lnTo>
                      <a:pt x="602" y="86"/>
                    </a:lnTo>
                    <a:lnTo>
                      <a:pt x="614" y="77"/>
                    </a:lnTo>
                    <a:lnTo>
                      <a:pt x="625" y="68"/>
                    </a:lnTo>
                    <a:lnTo>
                      <a:pt x="637" y="61"/>
                    </a:lnTo>
                    <a:lnTo>
                      <a:pt x="648" y="56"/>
                    </a:lnTo>
                    <a:lnTo>
                      <a:pt x="659" y="52"/>
                    </a:lnTo>
                    <a:lnTo>
                      <a:pt x="671" y="49"/>
                    </a:lnTo>
                    <a:lnTo>
                      <a:pt x="681" y="47"/>
                    </a:lnTo>
                    <a:lnTo>
                      <a:pt x="690" y="46"/>
                    </a:lnTo>
                    <a:lnTo>
                      <a:pt x="701" y="46"/>
                    </a:lnTo>
                    <a:lnTo>
                      <a:pt x="709" y="46"/>
                    </a:lnTo>
                    <a:lnTo>
                      <a:pt x="718" y="48"/>
                    </a:lnTo>
                    <a:lnTo>
                      <a:pt x="726" y="50"/>
                    </a:lnTo>
                    <a:lnTo>
                      <a:pt x="733" y="52"/>
                    </a:lnTo>
                    <a:lnTo>
                      <a:pt x="739" y="55"/>
                    </a:lnTo>
                    <a:lnTo>
                      <a:pt x="744" y="58"/>
                    </a:lnTo>
                    <a:lnTo>
                      <a:pt x="748" y="61"/>
                    </a:lnTo>
                    <a:lnTo>
                      <a:pt x="751" y="65"/>
                    </a:lnTo>
                    <a:lnTo>
                      <a:pt x="753" y="54"/>
                    </a:lnTo>
                    <a:lnTo>
                      <a:pt x="753" y="45"/>
                    </a:lnTo>
                    <a:lnTo>
                      <a:pt x="751" y="35"/>
                    </a:lnTo>
                    <a:lnTo>
                      <a:pt x="747" y="28"/>
                    </a:lnTo>
                    <a:lnTo>
                      <a:pt x="742" y="22"/>
                    </a:lnTo>
                    <a:lnTo>
                      <a:pt x="736" y="16"/>
                    </a:lnTo>
                    <a:lnTo>
                      <a:pt x="728" y="12"/>
                    </a:lnTo>
                    <a:lnTo>
                      <a:pt x="719" y="7"/>
                    </a:lnTo>
                    <a:lnTo>
                      <a:pt x="709" y="4"/>
                    </a:lnTo>
                    <a:lnTo>
                      <a:pt x="699" y="2"/>
                    </a:lnTo>
                    <a:lnTo>
                      <a:pt x="687" y="1"/>
                    </a:lnTo>
                    <a:lnTo>
                      <a:pt x="676" y="0"/>
                    </a:lnTo>
                    <a:lnTo>
                      <a:pt x="664" y="0"/>
                    </a:lnTo>
                    <a:lnTo>
                      <a:pt x="652" y="0"/>
                    </a:lnTo>
                    <a:lnTo>
                      <a:pt x="640" y="1"/>
                    </a:lnTo>
                    <a:lnTo>
                      <a:pt x="628" y="3"/>
                    </a:lnTo>
                    <a:close/>
                  </a:path>
                </a:pathLst>
              </a:custGeom>
              <a:solidFill>
                <a:srgbClr val="F1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20" name="Freeform 135"/>
              <p:cNvSpPr>
                <a:spLocks/>
              </p:cNvSpPr>
              <p:nvPr/>
            </p:nvSpPr>
            <p:spPr bwMode="auto">
              <a:xfrm>
                <a:off x="3511" y="1895"/>
                <a:ext cx="108" cy="50"/>
              </a:xfrm>
              <a:custGeom>
                <a:avLst/>
                <a:gdLst>
                  <a:gd name="T0" fmla="*/ 0 w 752"/>
                  <a:gd name="T1" fmla="*/ 0 h 347"/>
                  <a:gd name="T2" fmla="*/ 0 w 752"/>
                  <a:gd name="T3" fmla="*/ 0 h 347"/>
                  <a:gd name="T4" fmla="*/ 0 w 752"/>
                  <a:gd name="T5" fmla="*/ 0 h 347"/>
                  <a:gd name="T6" fmla="*/ 0 w 752"/>
                  <a:gd name="T7" fmla="*/ 0 h 347"/>
                  <a:gd name="T8" fmla="*/ 0 w 752"/>
                  <a:gd name="T9" fmla="*/ 0 h 347"/>
                  <a:gd name="T10" fmla="*/ 0 w 752"/>
                  <a:gd name="T11" fmla="*/ 0 h 347"/>
                  <a:gd name="T12" fmla="*/ 0 w 752"/>
                  <a:gd name="T13" fmla="*/ 0 h 347"/>
                  <a:gd name="T14" fmla="*/ 0 w 752"/>
                  <a:gd name="T15" fmla="*/ 0 h 347"/>
                  <a:gd name="T16" fmla="*/ 0 w 752"/>
                  <a:gd name="T17" fmla="*/ 0 h 347"/>
                  <a:gd name="T18" fmla="*/ 0 w 752"/>
                  <a:gd name="T19" fmla="*/ 0 h 347"/>
                  <a:gd name="T20" fmla="*/ 0 w 752"/>
                  <a:gd name="T21" fmla="*/ 0 h 347"/>
                  <a:gd name="T22" fmla="*/ 0 w 752"/>
                  <a:gd name="T23" fmla="*/ 0 h 347"/>
                  <a:gd name="T24" fmla="*/ 0 w 752"/>
                  <a:gd name="T25" fmla="*/ 0 h 347"/>
                  <a:gd name="T26" fmla="*/ 0 w 752"/>
                  <a:gd name="T27" fmla="*/ 0 h 347"/>
                  <a:gd name="T28" fmla="*/ 0 w 752"/>
                  <a:gd name="T29" fmla="*/ 0 h 347"/>
                  <a:gd name="T30" fmla="*/ 0 w 752"/>
                  <a:gd name="T31" fmla="*/ 0 h 347"/>
                  <a:gd name="T32" fmla="*/ 0 w 752"/>
                  <a:gd name="T33" fmla="*/ 0 h 347"/>
                  <a:gd name="T34" fmla="*/ 0 w 752"/>
                  <a:gd name="T35" fmla="*/ 0 h 347"/>
                  <a:gd name="T36" fmla="*/ 0 w 752"/>
                  <a:gd name="T37" fmla="*/ 0 h 347"/>
                  <a:gd name="T38" fmla="*/ 0 w 752"/>
                  <a:gd name="T39" fmla="*/ 0 h 347"/>
                  <a:gd name="T40" fmla="*/ 0 w 752"/>
                  <a:gd name="T41" fmla="*/ 0 h 347"/>
                  <a:gd name="T42" fmla="*/ 0 w 752"/>
                  <a:gd name="T43" fmla="*/ 0 h 347"/>
                  <a:gd name="T44" fmla="*/ 0 w 752"/>
                  <a:gd name="T45" fmla="*/ 0 h 347"/>
                  <a:gd name="T46" fmla="*/ 0 w 752"/>
                  <a:gd name="T47" fmla="*/ 0 h 347"/>
                  <a:gd name="T48" fmla="*/ 0 w 752"/>
                  <a:gd name="T49" fmla="*/ 0 h 347"/>
                  <a:gd name="T50" fmla="*/ 0 w 752"/>
                  <a:gd name="T51" fmla="*/ 0 h 347"/>
                  <a:gd name="T52" fmla="*/ 0 w 752"/>
                  <a:gd name="T53" fmla="*/ 0 h 347"/>
                  <a:gd name="T54" fmla="*/ 0 w 752"/>
                  <a:gd name="T55" fmla="*/ 0 h 347"/>
                  <a:gd name="T56" fmla="*/ 0 w 752"/>
                  <a:gd name="T57" fmla="*/ 0 h 347"/>
                  <a:gd name="T58" fmla="*/ 0 w 752"/>
                  <a:gd name="T59" fmla="*/ 0 h 347"/>
                  <a:gd name="T60" fmla="*/ 0 w 752"/>
                  <a:gd name="T61" fmla="*/ 0 h 347"/>
                  <a:gd name="T62" fmla="*/ 0 w 752"/>
                  <a:gd name="T63" fmla="*/ 0 h 347"/>
                  <a:gd name="T64" fmla="*/ 0 w 752"/>
                  <a:gd name="T65" fmla="*/ 0 h 347"/>
                  <a:gd name="T66" fmla="*/ 0 w 752"/>
                  <a:gd name="T67" fmla="*/ 0 h 347"/>
                  <a:gd name="T68" fmla="*/ 0 w 752"/>
                  <a:gd name="T69" fmla="*/ 0 h 347"/>
                  <a:gd name="T70" fmla="*/ 0 w 752"/>
                  <a:gd name="T71" fmla="*/ 0 h 347"/>
                  <a:gd name="T72" fmla="*/ 0 w 752"/>
                  <a:gd name="T73" fmla="*/ 0 h 347"/>
                  <a:gd name="T74" fmla="*/ 0 w 752"/>
                  <a:gd name="T75" fmla="*/ 0 h 347"/>
                  <a:gd name="T76" fmla="*/ 0 w 752"/>
                  <a:gd name="T77" fmla="*/ 0 h 347"/>
                  <a:gd name="T78" fmla="*/ 0 w 752"/>
                  <a:gd name="T79" fmla="*/ 0 h 347"/>
                  <a:gd name="T80" fmla="*/ 0 w 752"/>
                  <a:gd name="T81" fmla="*/ 0 h 347"/>
                  <a:gd name="T82" fmla="*/ 0 w 752"/>
                  <a:gd name="T83" fmla="*/ 0 h 347"/>
                  <a:gd name="T84" fmla="*/ 0 w 752"/>
                  <a:gd name="T85" fmla="*/ 0 h 347"/>
                  <a:gd name="T86" fmla="*/ 0 w 752"/>
                  <a:gd name="T87" fmla="*/ 0 h 347"/>
                  <a:gd name="T88" fmla="*/ 0 w 752"/>
                  <a:gd name="T89" fmla="*/ 0 h 347"/>
                  <a:gd name="T90" fmla="*/ 0 w 752"/>
                  <a:gd name="T91" fmla="*/ 0 h 347"/>
                  <a:gd name="T92" fmla="*/ 0 w 752"/>
                  <a:gd name="T93" fmla="*/ 0 h 347"/>
                  <a:gd name="T94" fmla="*/ 0 w 752"/>
                  <a:gd name="T95" fmla="*/ 0 h 347"/>
                  <a:gd name="T96" fmla="*/ 0 w 752"/>
                  <a:gd name="T97" fmla="*/ 0 h 347"/>
                  <a:gd name="T98" fmla="*/ 0 w 752"/>
                  <a:gd name="T99" fmla="*/ 0 h 347"/>
                  <a:gd name="T100" fmla="*/ 0 w 752"/>
                  <a:gd name="T101" fmla="*/ 0 h 347"/>
                  <a:gd name="T102" fmla="*/ 0 w 752"/>
                  <a:gd name="T103" fmla="*/ 0 h 347"/>
                  <a:gd name="T104" fmla="*/ 0 w 752"/>
                  <a:gd name="T105" fmla="*/ 0 h 347"/>
                  <a:gd name="T106" fmla="*/ 0 w 752"/>
                  <a:gd name="T107" fmla="*/ 0 h 347"/>
                  <a:gd name="T108" fmla="*/ 0 w 752"/>
                  <a:gd name="T109" fmla="*/ 0 h 347"/>
                  <a:gd name="T110" fmla="*/ 0 w 752"/>
                  <a:gd name="T111" fmla="*/ 0 h 347"/>
                  <a:gd name="T112" fmla="*/ 0 w 752"/>
                  <a:gd name="T113" fmla="*/ 0 h 347"/>
                  <a:gd name="T114" fmla="*/ 0 w 752"/>
                  <a:gd name="T115" fmla="*/ 0 h 347"/>
                  <a:gd name="T116" fmla="*/ 0 w 752"/>
                  <a:gd name="T117" fmla="*/ 0 h 347"/>
                  <a:gd name="T118" fmla="*/ 0 w 752"/>
                  <a:gd name="T119" fmla="*/ 0 h 347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52"/>
                  <a:gd name="T181" fmla="*/ 0 h 347"/>
                  <a:gd name="T182" fmla="*/ 752 w 752"/>
                  <a:gd name="T183" fmla="*/ 347 h 347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52" h="347">
                    <a:moveTo>
                      <a:pt x="556" y="31"/>
                    </a:moveTo>
                    <a:lnTo>
                      <a:pt x="549" y="36"/>
                    </a:lnTo>
                    <a:lnTo>
                      <a:pt x="541" y="41"/>
                    </a:lnTo>
                    <a:lnTo>
                      <a:pt x="534" y="47"/>
                    </a:lnTo>
                    <a:lnTo>
                      <a:pt x="528" y="54"/>
                    </a:lnTo>
                    <a:lnTo>
                      <a:pt x="522" y="62"/>
                    </a:lnTo>
                    <a:lnTo>
                      <a:pt x="517" y="71"/>
                    </a:lnTo>
                    <a:lnTo>
                      <a:pt x="513" y="80"/>
                    </a:lnTo>
                    <a:lnTo>
                      <a:pt x="510" y="89"/>
                    </a:lnTo>
                    <a:lnTo>
                      <a:pt x="509" y="98"/>
                    </a:lnTo>
                    <a:lnTo>
                      <a:pt x="509" y="105"/>
                    </a:lnTo>
                    <a:lnTo>
                      <a:pt x="509" y="112"/>
                    </a:lnTo>
                    <a:lnTo>
                      <a:pt x="511" y="119"/>
                    </a:lnTo>
                    <a:lnTo>
                      <a:pt x="513" y="125"/>
                    </a:lnTo>
                    <a:lnTo>
                      <a:pt x="516" y="132"/>
                    </a:lnTo>
                    <a:lnTo>
                      <a:pt x="521" y="137"/>
                    </a:lnTo>
                    <a:lnTo>
                      <a:pt x="526" y="142"/>
                    </a:lnTo>
                    <a:lnTo>
                      <a:pt x="531" y="146"/>
                    </a:lnTo>
                    <a:lnTo>
                      <a:pt x="539" y="151"/>
                    </a:lnTo>
                    <a:lnTo>
                      <a:pt x="547" y="155"/>
                    </a:lnTo>
                    <a:lnTo>
                      <a:pt x="558" y="158"/>
                    </a:lnTo>
                    <a:lnTo>
                      <a:pt x="568" y="160"/>
                    </a:lnTo>
                    <a:lnTo>
                      <a:pt x="579" y="160"/>
                    </a:lnTo>
                    <a:lnTo>
                      <a:pt x="590" y="160"/>
                    </a:lnTo>
                    <a:lnTo>
                      <a:pt x="600" y="158"/>
                    </a:lnTo>
                    <a:lnTo>
                      <a:pt x="610" y="154"/>
                    </a:lnTo>
                    <a:lnTo>
                      <a:pt x="619" y="151"/>
                    </a:lnTo>
                    <a:lnTo>
                      <a:pt x="626" y="147"/>
                    </a:lnTo>
                    <a:lnTo>
                      <a:pt x="631" y="143"/>
                    </a:lnTo>
                    <a:lnTo>
                      <a:pt x="636" y="138"/>
                    </a:lnTo>
                    <a:lnTo>
                      <a:pt x="640" y="132"/>
                    </a:lnTo>
                    <a:lnTo>
                      <a:pt x="644" y="127"/>
                    </a:lnTo>
                    <a:lnTo>
                      <a:pt x="645" y="120"/>
                    </a:lnTo>
                    <a:lnTo>
                      <a:pt x="646" y="113"/>
                    </a:lnTo>
                    <a:lnTo>
                      <a:pt x="646" y="107"/>
                    </a:lnTo>
                    <a:lnTo>
                      <a:pt x="644" y="102"/>
                    </a:lnTo>
                    <a:lnTo>
                      <a:pt x="641" y="97"/>
                    </a:lnTo>
                    <a:lnTo>
                      <a:pt x="638" y="91"/>
                    </a:lnTo>
                    <a:lnTo>
                      <a:pt x="634" y="87"/>
                    </a:lnTo>
                    <a:lnTo>
                      <a:pt x="630" y="83"/>
                    </a:lnTo>
                    <a:lnTo>
                      <a:pt x="624" y="80"/>
                    </a:lnTo>
                    <a:lnTo>
                      <a:pt x="618" y="77"/>
                    </a:lnTo>
                    <a:lnTo>
                      <a:pt x="611" y="75"/>
                    </a:lnTo>
                    <a:lnTo>
                      <a:pt x="605" y="74"/>
                    </a:lnTo>
                    <a:lnTo>
                      <a:pt x="599" y="73"/>
                    </a:lnTo>
                    <a:lnTo>
                      <a:pt x="593" y="73"/>
                    </a:lnTo>
                    <a:lnTo>
                      <a:pt x="588" y="74"/>
                    </a:lnTo>
                    <a:lnTo>
                      <a:pt x="582" y="75"/>
                    </a:lnTo>
                    <a:lnTo>
                      <a:pt x="576" y="77"/>
                    </a:lnTo>
                    <a:lnTo>
                      <a:pt x="572" y="79"/>
                    </a:lnTo>
                    <a:lnTo>
                      <a:pt x="568" y="82"/>
                    </a:lnTo>
                    <a:lnTo>
                      <a:pt x="566" y="85"/>
                    </a:lnTo>
                    <a:lnTo>
                      <a:pt x="563" y="88"/>
                    </a:lnTo>
                    <a:lnTo>
                      <a:pt x="562" y="91"/>
                    </a:lnTo>
                    <a:lnTo>
                      <a:pt x="561" y="94"/>
                    </a:lnTo>
                    <a:lnTo>
                      <a:pt x="560" y="99"/>
                    </a:lnTo>
                    <a:lnTo>
                      <a:pt x="560" y="103"/>
                    </a:lnTo>
                    <a:lnTo>
                      <a:pt x="561" y="107"/>
                    </a:lnTo>
                    <a:lnTo>
                      <a:pt x="582" y="103"/>
                    </a:lnTo>
                    <a:lnTo>
                      <a:pt x="582" y="100"/>
                    </a:lnTo>
                    <a:lnTo>
                      <a:pt x="582" y="97"/>
                    </a:lnTo>
                    <a:lnTo>
                      <a:pt x="583" y="94"/>
                    </a:lnTo>
                    <a:lnTo>
                      <a:pt x="585" y="92"/>
                    </a:lnTo>
                    <a:lnTo>
                      <a:pt x="590" y="90"/>
                    </a:lnTo>
                    <a:lnTo>
                      <a:pt x="595" y="90"/>
                    </a:lnTo>
                    <a:lnTo>
                      <a:pt x="602" y="90"/>
                    </a:lnTo>
                    <a:lnTo>
                      <a:pt x="608" y="92"/>
                    </a:lnTo>
                    <a:lnTo>
                      <a:pt x="614" y="94"/>
                    </a:lnTo>
                    <a:lnTo>
                      <a:pt x="619" y="99"/>
                    </a:lnTo>
                    <a:lnTo>
                      <a:pt x="621" y="102"/>
                    </a:lnTo>
                    <a:lnTo>
                      <a:pt x="623" y="105"/>
                    </a:lnTo>
                    <a:lnTo>
                      <a:pt x="624" y="109"/>
                    </a:lnTo>
                    <a:lnTo>
                      <a:pt x="625" y="113"/>
                    </a:lnTo>
                    <a:lnTo>
                      <a:pt x="624" y="118"/>
                    </a:lnTo>
                    <a:lnTo>
                      <a:pt x="623" y="123"/>
                    </a:lnTo>
                    <a:lnTo>
                      <a:pt x="620" y="127"/>
                    </a:lnTo>
                    <a:lnTo>
                      <a:pt x="618" y="131"/>
                    </a:lnTo>
                    <a:lnTo>
                      <a:pt x="610" y="136"/>
                    </a:lnTo>
                    <a:lnTo>
                      <a:pt x="602" y="139"/>
                    </a:lnTo>
                    <a:lnTo>
                      <a:pt x="595" y="141"/>
                    </a:lnTo>
                    <a:lnTo>
                      <a:pt x="588" y="142"/>
                    </a:lnTo>
                    <a:lnTo>
                      <a:pt x="579" y="143"/>
                    </a:lnTo>
                    <a:lnTo>
                      <a:pt x="572" y="143"/>
                    </a:lnTo>
                    <a:lnTo>
                      <a:pt x="564" y="142"/>
                    </a:lnTo>
                    <a:lnTo>
                      <a:pt x="558" y="140"/>
                    </a:lnTo>
                    <a:lnTo>
                      <a:pt x="551" y="137"/>
                    </a:lnTo>
                    <a:lnTo>
                      <a:pt x="545" y="134"/>
                    </a:lnTo>
                    <a:lnTo>
                      <a:pt x="540" y="130"/>
                    </a:lnTo>
                    <a:lnTo>
                      <a:pt x="537" y="125"/>
                    </a:lnTo>
                    <a:lnTo>
                      <a:pt x="534" y="121"/>
                    </a:lnTo>
                    <a:lnTo>
                      <a:pt x="532" y="116"/>
                    </a:lnTo>
                    <a:lnTo>
                      <a:pt x="530" y="107"/>
                    </a:lnTo>
                    <a:lnTo>
                      <a:pt x="530" y="99"/>
                    </a:lnTo>
                    <a:lnTo>
                      <a:pt x="531" y="91"/>
                    </a:lnTo>
                    <a:lnTo>
                      <a:pt x="533" y="84"/>
                    </a:lnTo>
                    <a:lnTo>
                      <a:pt x="536" y="77"/>
                    </a:lnTo>
                    <a:lnTo>
                      <a:pt x="540" y="70"/>
                    </a:lnTo>
                    <a:lnTo>
                      <a:pt x="544" y="63"/>
                    </a:lnTo>
                    <a:lnTo>
                      <a:pt x="549" y="57"/>
                    </a:lnTo>
                    <a:lnTo>
                      <a:pt x="556" y="53"/>
                    </a:lnTo>
                    <a:lnTo>
                      <a:pt x="561" y="48"/>
                    </a:lnTo>
                    <a:lnTo>
                      <a:pt x="568" y="45"/>
                    </a:lnTo>
                    <a:lnTo>
                      <a:pt x="579" y="38"/>
                    </a:lnTo>
                    <a:lnTo>
                      <a:pt x="591" y="31"/>
                    </a:lnTo>
                    <a:lnTo>
                      <a:pt x="601" y="26"/>
                    </a:lnTo>
                    <a:lnTo>
                      <a:pt x="611" y="22"/>
                    </a:lnTo>
                    <a:lnTo>
                      <a:pt x="622" y="19"/>
                    </a:lnTo>
                    <a:lnTo>
                      <a:pt x="633" y="17"/>
                    </a:lnTo>
                    <a:lnTo>
                      <a:pt x="645" y="17"/>
                    </a:lnTo>
                    <a:lnTo>
                      <a:pt x="658" y="18"/>
                    </a:lnTo>
                    <a:lnTo>
                      <a:pt x="667" y="20"/>
                    </a:lnTo>
                    <a:lnTo>
                      <a:pt x="677" y="23"/>
                    </a:lnTo>
                    <a:lnTo>
                      <a:pt x="686" y="26"/>
                    </a:lnTo>
                    <a:lnTo>
                      <a:pt x="693" y="30"/>
                    </a:lnTo>
                    <a:lnTo>
                      <a:pt x="700" y="36"/>
                    </a:lnTo>
                    <a:lnTo>
                      <a:pt x="708" y="42"/>
                    </a:lnTo>
                    <a:lnTo>
                      <a:pt x="713" y="48"/>
                    </a:lnTo>
                    <a:lnTo>
                      <a:pt x="718" y="55"/>
                    </a:lnTo>
                    <a:lnTo>
                      <a:pt x="722" y="61"/>
                    </a:lnTo>
                    <a:lnTo>
                      <a:pt x="724" y="69"/>
                    </a:lnTo>
                    <a:lnTo>
                      <a:pt x="727" y="76"/>
                    </a:lnTo>
                    <a:lnTo>
                      <a:pt x="729" y="83"/>
                    </a:lnTo>
                    <a:lnTo>
                      <a:pt x="730" y="91"/>
                    </a:lnTo>
                    <a:lnTo>
                      <a:pt x="731" y="99"/>
                    </a:lnTo>
                    <a:lnTo>
                      <a:pt x="731" y="107"/>
                    </a:lnTo>
                    <a:lnTo>
                      <a:pt x="731" y="115"/>
                    </a:lnTo>
                    <a:lnTo>
                      <a:pt x="729" y="132"/>
                    </a:lnTo>
                    <a:lnTo>
                      <a:pt x="725" y="148"/>
                    </a:lnTo>
                    <a:lnTo>
                      <a:pt x="722" y="157"/>
                    </a:lnTo>
                    <a:lnTo>
                      <a:pt x="719" y="165"/>
                    </a:lnTo>
                    <a:lnTo>
                      <a:pt x="715" y="173"/>
                    </a:lnTo>
                    <a:lnTo>
                      <a:pt x="711" y="180"/>
                    </a:lnTo>
                    <a:lnTo>
                      <a:pt x="703" y="191"/>
                    </a:lnTo>
                    <a:lnTo>
                      <a:pt x="696" y="201"/>
                    </a:lnTo>
                    <a:lnTo>
                      <a:pt x="687" y="211"/>
                    </a:lnTo>
                    <a:lnTo>
                      <a:pt x="679" y="221"/>
                    </a:lnTo>
                    <a:lnTo>
                      <a:pt x="668" y="230"/>
                    </a:lnTo>
                    <a:lnTo>
                      <a:pt x="658" y="239"/>
                    </a:lnTo>
                    <a:lnTo>
                      <a:pt x="647" y="249"/>
                    </a:lnTo>
                    <a:lnTo>
                      <a:pt x="635" y="257"/>
                    </a:lnTo>
                    <a:lnTo>
                      <a:pt x="624" y="265"/>
                    </a:lnTo>
                    <a:lnTo>
                      <a:pt x="611" y="272"/>
                    </a:lnTo>
                    <a:lnTo>
                      <a:pt x="599" y="279"/>
                    </a:lnTo>
                    <a:lnTo>
                      <a:pt x="587" y="286"/>
                    </a:lnTo>
                    <a:lnTo>
                      <a:pt x="573" y="291"/>
                    </a:lnTo>
                    <a:lnTo>
                      <a:pt x="561" y="296"/>
                    </a:lnTo>
                    <a:lnTo>
                      <a:pt x="547" y="300"/>
                    </a:lnTo>
                    <a:lnTo>
                      <a:pt x="535" y="303"/>
                    </a:lnTo>
                    <a:lnTo>
                      <a:pt x="510" y="310"/>
                    </a:lnTo>
                    <a:lnTo>
                      <a:pt x="487" y="315"/>
                    </a:lnTo>
                    <a:lnTo>
                      <a:pt x="465" y="319"/>
                    </a:lnTo>
                    <a:lnTo>
                      <a:pt x="444" y="323"/>
                    </a:lnTo>
                    <a:lnTo>
                      <a:pt x="424" y="325"/>
                    </a:lnTo>
                    <a:lnTo>
                      <a:pt x="405" y="327"/>
                    </a:lnTo>
                    <a:lnTo>
                      <a:pt x="386" y="329"/>
                    </a:lnTo>
                    <a:lnTo>
                      <a:pt x="368" y="329"/>
                    </a:lnTo>
                    <a:lnTo>
                      <a:pt x="349" y="329"/>
                    </a:lnTo>
                    <a:lnTo>
                      <a:pt x="330" y="329"/>
                    </a:lnTo>
                    <a:lnTo>
                      <a:pt x="311" y="327"/>
                    </a:lnTo>
                    <a:lnTo>
                      <a:pt x="291" y="326"/>
                    </a:lnTo>
                    <a:lnTo>
                      <a:pt x="250" y="320"/>
                    </a:lnTo>
                    <a:lnTo>
                      <a:pt x="204" y="313"/>
                    </a:lnTo>
                    <a:lnTo>
                      <a:pt x="193" y="311"/>
                    </a:lnTo>
                    <a:lnTo>
                      <a:pt x="182" y="306"/>
                    </a:lnTo>
                    <a:lnTo>
                      <a:pt x="169" y="302"/>
                    </a:lnTo>
                    <a:lnTo>
                      <a:pt x="157" y="297"/>
                    </a:lnTo>
                    <a:lnTo>
                      <a:pt x="144" y="292"/>
                    </a:lnTo>
                    <a:lnTo>
                      <a:pt x="132" y="286"/>
                    </a:lnTo>
                    <a:lnTo>
                      <a:pt x="120" y="279"/>
                    </a:lnTo>
                    <a:lnTo>
                      <a:pt x="108" y="271"/>
                    </a:lnTo>
                    <a:lnTo>
                      <a:pt x="96" y="263"/>
                    </a:lnTo>
                    <a:lnTo>
                      <a:pt x="84" y="255"/>
                    </a:lnTo>
                    <a:lnTo>
                      <a:pt x="74" y="246"/>
                    </a:lnTo>
                    <a:lnTo>
                      <a:pt x="65" y="237"/>
                    </a:lnTo>
                    <a:lnTo>
                      <a:pt x="56" y="228"/>
                    </a:lnTo>
                    <a:lnTo>
                      <a:pt x="48" y="219"/>
                    </a:lnTo>
                    <a:lnTo>
                      <a:pt x="41" y="209"/>
                    </a:lnTo>
                    <a:lnTo>
                      <a:pt x="36" y="199"/>
                    </a:lnTo>
                    <a:lnTo>
                      <a:pt x="30" y="183"/>
                    </a:lnTo>
                    <a:lnTo>
                      <a:pt x="25" y="167"/>
                    </a:lnTo>
                    <a:lnTo>
                      <a:pt x="22" y="159"/>
                    </a:lnTo>
                    <a:lnTo>
                      <a:pt x="21" y="149"/>
                    </a:lnTo>
                    <a:lnTo>
                      <a:pt x="20" y="141"/>
                    </a:lnTo>
                    <a:lnTo>
                      <a:pt x="20" y="132"/>
                    </a:lnTo>
                    <a:lnTo>
                      <a:pt x="21" y="123"/>
                    </a:lnTo>
                    <a:lnTo>
                      <a:pt x="22" y="115"/>
                    </a:lnTo>
                    <a:lnTo>
                      <a:pt x="25" y="107"/>
                    </a:lnTo>
                    <a:lnTo>
                      <a:pt x="28" y="100"/>
                    </a:lnTo>
                    <a:lnTo>
                      <a:pt x="32" y="91"/>
                    </a:lnTo>
                    <a:lnTo>
                      <a:pt x="37" y="85"/>
                    </a:lnTo>
                    <a:lnTo>
                      <a:pt x="43" y="78"/>
                    </a:lnTo>
                    <a:lnTo>
                      <a:pt x="50" y="73"/>
                    </a:lnTo>
                    <a:lnTo>
                      <a:pt x="61" y="67"/>
                    </a:lnTo>
                    <a:lnTo>
                      <a:pt x="72" y="61"/>
                    </a:lnTo>
                    <a:lnTo>
                      <a:pt x="84" y="57"/>
                    </a:lnTo>
                    <a:lnTo>
                      <a:pt x="98" y="54"/>
                    </a:lnTo>
                    <a:lnTo>
                      <a:pt x="112" y="53"/>
                    </a:lnTo>
                    <a:lnTo>
                      <a:pt x="126" y="52"/>
                    </a:lnTo>
                    <a:lnTo>
                      <a:pt x="139" y="53"/>
                    </a:lnTo>
                    <a:lnTo>
                      <a:pt x="153" y="55"/>
                    </a:lnTo>
                    <a:lnTo>
                      <a:pt x="159" y="57"/>
                    </a:lnTo>
                    <a:lnTo>
                      <a:pt x="165" y="59"/>
                    </a:lnTo>
                    <a:lnTo>
                      <a:pt x="171" y="62"/>
                    </a:lnTo>
                    <a:lnTo>
                      <a:pt x="177" y="66"/>
                    </a:lnTo>
                    <a:lnTo>
                      <a:pt x="183" y="71"/>
                    </a:lnTo>
                    <a:lnTo>
                      <a:pt x="188" y="76"/>
                    </a:lnTo>
                    <a:lnTo>
                      <a:pt x="192" y="82"/>
                    </a:lnTo>
                    <a:lnTo>
                      <a:pt x="195" y="90"/>
                    </a:lnTo>
                    <a:lnTo>
                      <a:pt x="196" y="98"/>
                    </a:lnTo>
                    <a:lnTo>
                      <a:pt x="197" y="105"/>
                    </a:lnTo>
                    <a:lnTo>
                      <a:pt x="196" y="112"/>
                    </a:lnTo>
                    <a:lnTo>
                      <a:pt x="194" y="118"/>
                    </a:lnTo>
                    <a:lnTo>
                      <a:pt x="191" y="124"/>
                    </a:lnTo>
                    <a:lnTo>
                      <a:pt x="187" y="131"/>
                    </a:lnTo>
                    <a:lnTo>
                      <a:pt x="182" y="136"/>
                    </a:lnTo>
                    <a:lnTo>
                      <a:pt x="175" y="141"/>
                    </a:lnTo>
                    <a:lnTo>
                      <a:pt x="170" y="144"/>
                    </a:lnTo>
                    <a:lnTo>
                      <a:pt x="164" y="147"/>
                    </a:lnTo>
                    <a:lnTo>
                      <a:pt x="158" y="149"/>
                    </a:lnTo>
                    <a:lnTo>
                      <a:pt x="152" y="150"/>
                    </a:lnTo>
                    <a:lnTo>
                      <a:pt x="144" y="151"/>
                    </a:lnTo>
                    <a:lnTo>
                      <a:pt x="139" y="151"/>
                    </a:lnTo>
                    <a:lnTo>
                      <a:pt x="133" y="151"/>
                    </a:lnTo>
                    <a:lnTo>
                      <a:pt x="128" y="149"/>
                    </a:lnTo>
                    <a:lnTo>
                      <a:pt x="124" y="147"/>
                    </a:lnTo>
                    <a:lnTo>
                      <a:pt x="121" y="145"/>
                    </a:lnTo>
                    <a:lnTo>
                      <a:pt x="118" y="142"/>
                    </a:lnTo>
                    <a:lnTo>
                      <a:pt x="116" y="140"/>
                    </a:lnTo>
                    <a:lnTo>
                      <a:pt x="113" y="133"/>
                    </a:lnTo>
                    <a:lnTo>
                      <a:pt x="113" y="127"/>
                    </a:lnTo>
                    <a:lnTo>
                      <a:pt x="93" y="128"/>
                    </a:lnTo>
                    <a:lnTo>
                      <a:pt x="93" y="134"/>
                    </a:lnTo>
                    <a:lnTo>
                      <a:pt x="94" y="140"/>
                    </a:lnTo>
                    <a:lnTo>
                      <a:pt x="96" y="145"/>
                    </a:lnTo>
                    <a:lnTo>
                      <a:pt x="99" y="150"/>
                    </a:lnTo>
                    <a:lnTo>
                      <a:pt x="103" y="155"/>
                    </a:lnTo>
                    <a:lnTo>
                      <a:pt x="107" y="159"/>
                    </a:lnTo>
                    <a:lnTo>
                      <a:pt x="112" y="162"/>
                    </a:lnTo>
                    <a:lnTo>
                      <a:pt x="119" y="165"/>
                    </a:lnTo>
                    <a:lnTo>
                      <a:pt x="127" y="167"/>
                    </a:lnTo>
                    <a:lnTo>
                      <a:pt x="135" y="168"/>
                    </a:lnTo>
                    <a:lnTo>
                      <a:pt x="144" y="168"/>
                    </a:lnTo>
                    <a:lnTo>
                      <a:pt x="154" y="167"/>
                    </a:lnTo>
                    <a:lnTo>
                      <a:pt x="163" y="166"/>
                    </a:lnTo>
                    <a:lnTo>
                      <a:pt x="172" y="163"/>
                    </a:lnTo>
                    <a:lnTo>
                      <a:pt x="181" y="159"/>
                    </a:lnTo>
                    <a:lnTo>
                      <a:pt x="189" y="153"/>
                    </a:lnTo>
                    <a:lnTo>
                      <a:pt x="197" y="147"/>
                    </a:lnTo>
                    <a:lnTo>
                      <a:pt x="204" y="140"/>
                    </a:lnTo>
                    <a:lnTo>
                      <a:pt x="209" y="132"/>
                    </a:lnTo>
                    <a:lnTo>
                      <a:pt x="215" y="123"/>
                    </a:lnTo>
                    <a:lnTo>
                      <a:pt x="217" y="115"/>
                    </a:lnTo>
                    <a:lnTo>
                      <a:pt x="218" y="106"/>
                    </a:lnTo>
                    <a:lnTo>
                      <a:pt x="218" y="96"/>
                    </a:lnTo>
                    <a:lnTo>
                      <a:pt x="216" y="86"/>
                    </a:lnTo>
                    <a:lnTo>
                      <a:pt x="212" y="78"/>
                    </a:lnTo>
                    <a:lnTo>
                      <a:pt x="207" y="70"/>
                    </a:lnTo>
                    <a:lnTo>
                      <a:pt x="202" y="63"/>
                    </a:lnTo>
                    <a:lnTo>
                      <a:pt x="196" y="56"/>
                    </a:lnTo>
                    <a:lnTo>
                      <a:pt x="188" y="51"/>
                    </a:lnTo>
                    <a:lnTo>
                      <a:pt x="180" y="47"/>
                    </a:lnTo>
                    <a:lnTo>
                      <a:pt x="169" y="43"/>
                    </a:lnTo>
                    <a:lnTo>
                      <a:pt x="159" y="40"/>
                    </a:lnTo>
                    <a:lnTo>
                      <a:pt x="143" y="37"/>
                    </a:lnTo>
                    <a:lnTo>
                      <a:pt x="127" y="36"/>
                    </a:lnTo>
                    <a:lnTo>
                      <a:pt x="110" y="37"/>
                    </a:lnTo>
                    <a:lnTo>
                      <a:pt x="94" y="39"/>
                    </a:lnTo>
                    <a:lnTo>
                      <a:pt x="78" y="42"/>
                    </a:lnTo>
                    <a:lnTo>
                      <a:pt x="63" y="47"/>
                    </a:lnTo>
                    <a:lnTo>
                      <a:pt x="49" y="52"/>
                    </a:lnTo>
                    <a:lnTo>
                      <a:pt x="37" y="59"/>
                    </a:lnTo>
                    <a:lnTo>
                      <a:pt x="29" y="67"/>
                    </a:lnTo>
                    <a:lnTo>
                      <a:pt x="20" y="75"/>
                    </a:lnTo>
                    <a:lnTo>
                      <a:pt x="14" y="83"/>
                    </a:lnTo>
                    <a:lnTo>
                      <a:pt x="9" y="91"/>
                    </a:lnTo>
                    <a:lnTo>
                      <a:pt x="6" y="101"/>
                    </a:lnTo>
                    <a:lnTo>
                      <a:pt x="3" y="110"/>
                    </a:lnTo>
                    <a:lnTo>
                      <a:pt x="1" y="119"/>
                    </a:lnTo>
                    <a:lnTo>
                      <a:pt x="0" y="130"/>
                    </a:lnTo>
                    <a:lnTo>
                      <a:pt x="0" y="139"/>
                    </a:lnTo>
                    <a:lnTo>
                      <a:pt x="0" y="149"/>
                    </a:lnTo>
                    <a:lnTo>
                      <a:pt x="2" y="160"/>
                    </a:lnTo>
                    <a:lnTo>
                      <a:pt x="3" y="169"/>
                    </a:lnTo>
                    <a:lnTo>
                      <a:pt x="6" y="179"/>
                    </a:lnTo>
                    <a:lnTo>
                      <a:pt x="9" y="189"/>
                    </a:lnTo>
                    <a:lnTo>
                      <a:pt x="12" y="197"/>
                    </a:lnTo>
                    <a:lnTo>
                      <a:pt x="16" y="206"/>
                    </a:lnTo>
                    <a:lnTo>
                      <a:pt x="22" y="216"/>
                    </a:lnTo>
                    <a:lnTo>
                      <a:pt x="30" y="227"/>
                    </a:lnTo>
                    <a:lnTo>
                      <a:pt x="38" y="237"/>
                    </a:lnTo>
                    <a:lnTo>
                      <a:pt x="47" y="248"/>
                    </a:lnTo>
                    <a:lnTo>
                      <a:pt x="58" y="257"/>
                    </a:lnTo>
                    <a:lnTo>
                      <a:pt x="69" y="266"/>
                    </a:lnTo>
                    <a:lnTo>
                      <a:pt x="81" y="275"/>
                    </a:lnTo>
                    <a:lnTo>
                      <a:pt x="94" y="285"/>
                    </a:lnTo>
                    <a:lnTo>
                      <a:pt x="107" y="292"/>
                    </a:lnTo>
                    <a:lnTo>
                      <a:pt x="121" y="300"/>
                    </a:lnTo>
                    <a:lnTo>
                      <a:pt x="134" y="306"/>
                    </a:lnTo>
                    <a:lnTo>
                      <a:pt x="147" y="313"/>
                    </a:lnTo>
                    <a:lnTo>
                      <a:pt x="161" y="318"/>
                    </a:lnTo>
                    <a:lnTo>
                      <a:pt x="174" y="323"/>
                    </a:lnTo>
                    <a:lnTo>
                      <a:pt x="187" y="326"/>
                    </a:lnTo>
                    <a:lnTo>
                      <a:pt x="199" y="329"/>
                    </a:lnTo>
                    <a:lnTo>
                      <a:pt x="247" y="336"/>
                    </a:lnTo>
                    <a:lnTo>
                      <a:pt x="289" y="343"/>
                    </a:lnTo>
                    <a:lnTo>
                      <a:pt x="310" y="345"/>
                    </a:lnTo>
                    <a:lnTo>
                      <a:pt x="329" y="346"/>
                    </a:lnTo>
                    <a:lnTo>
                      <a:pt x="348" y="347"/>
                    </a:lnTo>
                    <a:lnTo>
                      <a:pt x="368" y="347"/>
                    </a:lnTo>
                    <a:lnTo>
                      <a:pt x="387" y="346"/>
                    </a:lnTo>
                    <a:lnTo>
                      <a:pt x="406" y="345"/>
                    </a:lnTo>
                    <a:lnTo>
                      <a:pt x="426" y="343"/>
                    </a:lnTo>
                    <a:lnTo>
                      <a:pt x="447" y="340"/>
                    </a:lnTo>
                    <a:lnTo>
                      <a:pt x="469" y="335"/>
                    </a:lnTo>
                    <a:lnTo>
                      <a:pt x="492" y="331"/>
                    </a:lnTo>
                    <a:lnTo>
                      <a:pt x="515" y="326"/>
                    </a:lnTo>
                    <a:lnTo>
                      <a:pt x="541" y="320"/>
                    </a:lnTo>
                    <a:lnTo>
                      <a:pt x="555" y="316"/>
                    </a:lnTo>
                    <a:lnTo>
                      <a:pt x="569" y="312"/>
                    </a:lnTo>
                    <a:lnTo>
                      <a:pt x="583" y="306"/>
                    </a:lnTo>
                    <a:lnTo>
                      <a:pt x="596" y="300"/>
                    </a:lnTo>
                    <a:lnTo>
                      <a:pt x="609" y="293"/>
                    </a:lnTo>
                    <a:lnTo>
                      <a:pt x="623" y="286"/>
                    </a:lnTo>
                    <a:lnTo>
                      <a:pt x="636" y="277"/>
                    </a:lnTo>
                    <a:lnTo>
                      <a:pt x="649" y="269"/>
                    </a:lnTo>
                    <a:lnTo>
                      <a:pt x="661" y="260"/>
                    </a:lnTo>
                    <a:lnTo>
                      <a:pt x="672" y="251"/>
                    </a:lnTo>
                    <a:lnTo>
                      <a:pt x="684" y="241"/>
                    </a:lnTo>
                    <a:lnTo>
                      <a:pt x="694" y="231"/>
                    </a:lnTo>
                    <a:lnTo>
                      <a:pt x="704" y="221"/>
                    </a:lnTo>
                    <a:lnTo>
                      <a:pt x="714" y="209"/>
                    </a:lnTo>
                    <a:lnTo>
                      <a:pt x="722" y="199"/>
                    </a:lnTo>
                    <a:lnTo>
                      <a:pt x="729" y="188"/>
                    </a:lnTo>
                    <a:lnTo>
                      <a:pt x="734" y="179"/>
                    </a:lnTo>
                    <a:lnTo>
                      <a:pt x="739" y="170"/>
                    </a:lnTo>
                    <a:lnTo>
                      <a:pt x="742" y="162"/>
                    </a:lnTo>
                    <a:lnTo>
                      <a:pt x="746" y="152"/>
                    </a:lnTo>
                    <a:lnTo>
                      <a:pt x="748" y="143"/>
                    </a:lnTo>
                    <a:lnTo>
                      <a:pt x="750" y="134"/>
                    </a:lnTo>
                    <a:lnTo>
                      <a:pt x="751" y="124"/>
                    </a:lnTo>
                    <a:lnTo>
                      <a:pt x="752" y="115"/>
                    </a:lnTo>
                    <a:lnTo>
                      <a:pt x="752" y="106"/>
                    </a:lnTo>
                    <a:lnTo>
                      <a:pt x="752" y="97"/>
                    </a:lnTo>
                    <a:lnTo>
                      <a:pt x="751" y="88"/>
                    </a:lnTo>
                    <a:lnTo>
                      <a:pt x="749" y="79"/>
                    </a:lnTo>
                    <a:lnTo>
                      <a:pt x="747" y="71"/>
                    </a:lnTo>
                    <a:lnTo>
                      <a:pt x="745" y="62"/>
                    </a:lnTo>
                    <a:lnTo>
                      <a:pt x="741" y="55"/>
                    </a:lnTo>
                    <a:lnTo>
                      <a:pt x="737" y="48"/>
                    </a:lnTo>
                    <a:lnTo>
                      <a:pt x="730" y="39"/>
                    </a:lnTo>
                    <a:lnTo>
                      <a:pt x="723" y="30"/>
                    </a:lnTo>
                    <a:lnTo>
                      <a:pt x="715" y="23"/>
                    </a:lnTo>
                    <a:lnTo>
                      <a:pt x="707" y="17"/>
                    </a:lnTo>
                    <a:lnTo>
                      <a:pt x="696" y="12"/>
                    </a:lnTo>
                    <a:lnTo>
                      <a:pt x="686" y="8"/>
                    </a:lnTo>
                    <a:lnTo>
                      <a:pt x="675" y="3"/>
                    </a:lnTo>
                    <a:lnTo>
                      <a:pt x="662" y="1"/>
                    </a:lnTo>
                    <a:lnTo>
                      <a:pt x="646" y="0"/>
                    </a:lnTo>
                    <a:lnTo>
                      <a:pt x="631" y="0"/>
                    </a:lnTo>
                    <a:lnTo>
                      <a:pt x="617" y="2"/>
                    </a:lnTo>
                    <a:lnTo>
                      <a:pt x="604" y="7"/>
                    </a:lnTo>
                    <a:lnTo>
                      <a:pt x="592" y="12"/>
                    </a:lnTo>
                    <a:lnTo>
                      <a:pt x="579" y="17"/>
                    </a:lnTo>
                    <a:lnTo>
                      <a:pt x="568" y="24"/>
                    </a:lnTo>
                    <a:lnTo>
                      <a:pt x="556" y="31"/>
                    </a:lnTo>
                    <a:close/>
                  </a:path>
                </a:pathLst>
              </a:custGeom>
              <a:solidFill>
                <a:srgbClr val="F1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21" name="Freeform 136"/>
              <p:cNvSpPr>
                <a:spLocks/>
              </p:cNvSpPr>
              <p:nvPr/>
            </p:nvSpPr>
            <p:spPr bwMode="auto">
              <a:xfrm>
                <a:off x="3657" y="1842"/>
                <a:ext cx="20" cy="68"/>
              </a:xfrm>
              <a:custGeom>
                <a:avLst/>
                <a:gdLst>
                  <a:gd name="T0" fmla="*/ 0 w 141"/>
                  <a:gd name="T1" fmla="*/ 0 h 478"/>
                  <a:gd name="T2" fmla="*/ 0 w 141"/>
                  <a:gd name="T3" fmla="*/ 0 h 478"/>
                  <a:gd name="T4" fmla="*/ 0 w 141"/>
                  <a:gd name="T5" fmla="*/ 0 h 478"/>
                  <a:gd name="T6" fmla="*/ 0 w 141"/>
                  <a:gd name="T7" fmla="*/ 0 h 478"/>
                  <a:gd name="T8" fmla="*/ 0 w 141"/>
                  <a:gd name="T9" fmla="*/ 0 h 478"/>
                  <a:gd name="T10" fmla="*/ 0 w 141"/>
                  <a:gd name="T11" fmla="*/ 0 h 478"/>
                  <a:gd name="T12" fmla="*/ 0 w 141"/>
                  <a:gd name="T13" fmla="*/ 0 h 478"/>
                  <a:gd name="T14" fmla="*/ 0 w 141"/>
                  <a:gd name="T15" fmla="*/ 0 h 478"/>
                  <a:gd name="T16" fmla="*/ 0 w 141"/>
                  <a:gd name="T17" fmla="*/ 0 h 478"/>
                  <a:gd name="T18" fmla="*/ 0 w 141"/>
                  <a:gd name="T19" fmla="*/ 0 h 478"/>
                  <a:gd name="T20" fmla="*/ 0 w 141"/>
                  <a:gd name="T21" fmla="*/ 0 h 478"/>
                  <a:gd name="T22" fmla="*/ 0 w 141"/>
                  <a:gd name="T23" fmla="*/ 0 h 478"/>
                  <a:gd name="T24" fmla="*/ 0 w 141"/>
                  <a:gd name="T25" fmla="*/ 0 h 478"/>
                  <a:gd name="T26" fmla="*/ 0 w 141"/>
                  <a:gd name="T27" fmla="*/ 0 h 478"/>
                  <a:gd name="T28" fmla="*/ 0 w 141"/>
                  <a:gd name="T29" fmla="*/ 0 h 478"/>
                  <a:gd name="T30" fmla="*/ 0 w 141"/>
                  <a:gd name="T31" fmla="*/ 0 h 478"/>
                  <a:gd name="T32" fmla="*/ 0 w 141"/>
                  <a:gd name="T33" fmla="*/ 0 h 478"/>
                  <a:gd name="T34" fmla="*/ 0 w 141"/>
                  <a:gd name="T35" fmla="*/ 0 h 478"/>
                  <a:gd name="T36" fmla="*/ 0 w 141"/>
                  <a:gd name="T37" fmla="*/ 0 h 478"/>
                  <a:gd name="T38" fmla="*/ 0 w 141"/>
                  <a:gd name="T39" fmla="*/ 0 h 478"/>
                  <a:gd name="T40" fmla="*/ 0 w 141"/>
                  <a:gd name="T41" fmla="*/ 0 h 478"/>
                  <a:gd name="T42" fmla="*/ 0 w 141"/>
                  <a:gd name="T43" fmla="*/ 0 h 478"/>
                  <a:gd name="T44" fmla="*/ 0 w 141"/>
                  <a:gd name="T45" fmla="*/ 0 h 478"/>
                  <a:gd name="T46" fmla="*/ 0 w 141"/>
                  <a:gd name="T47" fmla="*/ 0 h 478"/>
                  <a:gd name="T48" fmla="*/ 0 w 141"/>
                  <a:gd name="T49" fmla="*/ 0 h 478"/>
                  <a:gd name="T50" fmla="*/ 0 w 141"/>
                  <a:gd name="T51" fmla="*/ 0 h 478"/>
                  <a:gd name="T52" fmla="*/ 0 w 141"/>
                  <a:gd name="T53" fmla="*/ 0 h 478"/>
                  <a:gd name="T54" fmla="*/ 0 w 141"/>
                  <a:gd name="T55" fmla="*/ 0 h 478"/>
                  <a:gd name="T56" fmla="*/ 0 w 141"/>
                  <a:gd name="T57" fmla="*/ 0 h 478"/>
                  <a:gd name="T58" fmla="*/ 0 w 141"/>
                  <a:gd name="T59" fmla="*/ 0 h 478"/>
                  <a:gd name="T60" fmla="*/ 0 w 141"/>
                  <a:gd name="T61" fmla="*/ 0 h 478"/>
                  <a:gd name="T62" fmla="*/ 0 w 141"/>
                  <a:gd name="T63" fmla="*/ 0 h 478"/>
                  <a:gd name="T64" fmla="*/ 0 w 141"/>
                  <a:gd name="T65" fmla="*/ 0 h 478"/>
                  <a:gd name="T66" fmla="*/ 0 w 141"/>
                  <a:gd name="T67" fmla="*/ 0 h 478"/>
                  <a:gd name="T68" fmla="*/ 0 w 141"/>
                  <a:gd name="T69" fmla="*/ 0 h 478"/>
                  <a:gd name="T70" fmla="*/ 0 w 141"/>
                  <a:gd name="T71" fmla="*/ 0 h 478"/>
                  <a:gd name="T72" fmla="*/ 0 w 141"/>
                  <a:gd name="T73" fmla="*/ 0 h 478"/>
                  <a:gd name="T74" fmla="*/ 0 w 141"/>
                  <a:gd name="T75" fmla="*/ 0 h 478"/>
                  <a:gd name="T76" fmla="*/ 0 w 141"/>
                  <a:gd name="T77" fmla="*/ 0 h 478"/>
                  <a:gd name="T78" fmla="*/ 0 w 141"/>
                  <a:gd name="T79" fmla="*/ 0 h 478"/>
                  <a:gd name="T80" fmla="*/ 0 w 141"/>
                  <a:gd name="T81" fmla="*/ 0 h 478"/>
                  <a:gd name="T82" fmla="*/ 0 w 141"/>
                  <a:gd name="T83" fmla="*/ 0 h 478"/>
                  <a:gd name="T84" fmla="*/ 0 w 141"/>
                  <a:gd name="T85" fmla="*/ 0 h 478"/>
                  <a:gd name="T86" fmla="*/ 0 w 141"/>
                  <a:gd name="T87" fmla="*/ 0 h 478"/>
                  <a:gd name="T88" fmla="*/ 0 w 141"/>
                  <a:gd name="T89" fmla="*/ 0 h 478"/>
                  <a:gd name="T90" fmla="*/ 0 w 141"/>
                  <a:gd name="T91" fmla="*/ 0 h 478"/>
                  <a:gd name="T92" fmla="*/ 0 w 141"/>
                  <a:gd name="T93" fmla="*/ 0 h 478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41"/>
                  <a:gd name="T142" fmla="*/ 0 h 478"/>
                  <a:gd name="T143" fmla="*/ 141 w 141"/>
                  <a:gd name="T144" fmla="*/ 478 h 478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41" h="478">
                    <a:moveTo>
                      <a:pt x="75" y="0"/>
                    </a:moveTo>
                    <a:lnTo>
                      <a:pt x="61" y="6"/>
                    </a:lnTo>
                    <a:lnTo>
                      <a:pt x="47" y="15"/>
                    </a:lnTo>
                    <a:lnTo>
                      <a:pt x="36" y="25"/>
                    </a:lnTo>
                    <a:lnTo>
                      <a:pt x="26" y="35"/>
                    </a:lnTo>
                    <a:lnTo>
                      <a:pt x="18" y="47"/>
                    </a:lnTo>
                    <a:lnTo>
                      <a:pt x="12" y="60"/>
                    </a:lnTo>
                    <a:lnTo>
                      <a:pt x="7" y="73"/>
                    </a:lnTo>
                    <a:lnTo>
                      <a:pt x="4" y="88"/>
                    </a:lnTo>
                    <a:lnTo>
                      <a:pt x="1" y="103"/>
                    </a:lnTo>
                    <a:lnTo>
                      <a:pt x="0" y="119"/>
                    </a:lnTo>
                    <a:lnTo>
                      <a:pt x="0" y="135"/>
                    </a:lnTo>
                    <a:lnTo>
                      <a:pt x="1" y="153"/>
                    </a:lnTo>
                    <a:lnTo>
                      <a:pt x="3" y="171"/>
                    </a:lnTo>
                    <a:lnTo>
                      <a:pt x="6" y="188"/>
                    </a:lnTo>
                    <a:lnTo>
                      <a:pt x="10" y="207"/>
                    </a:lnTo>
                    <a:lnTo>
                      <a:pt x="14" y="224"/>
                    </a:lnTo>
                    <a:lnTo>
                      <a:pt x="24" y="262"/>
                    </a:lnTo>
                    <a:lnTo>
                      <a:pt x="38" y="299"/>
                    </a:lnTo>
                    <a:lnTo>
                      <a:pt x="51" y="335"/>
                    </a:lnTo>
                    <a:lnTo>
                      <a:pt x="65" y="369"/>
                    </a:lnTo>
                    <a:lnTo>
                      <a:pt x="92" y="430"/>
                    </a:lnTo>
                    <a:lnTo>
                      <a:pt x="113" y="478"/>
                    </a:lnTo>
                    <a:lnTo>
                      <a:pt x="121" y="466"/>
                    </a:lnTo>
                    <a:lnTo>
                      <a:pt x="127" y="454"/>
                    </a:lnTo>
                    <a:lnTo>
                      <a:pt x="132" y="441"/>
                    </a:lnTo>
                    <a:lnTo>
                      <a:pt x="135" y="425"/>
                    </a:lnTo>
                    <a:lnTo>
                      <a:pt x="138" y="410"/>
                    </a:lnTo>
                    <a:lnTo>
                      <a:pt x="139" y="393"/>
                    </a:lnTo>
                    <a:lnTo>
                      <a:pt x="140" y="376"/>
                    </a:lnTo>
                    <a:lnTo>
                      <a:pt x="141" y="359"/>
                    </a:lnTo>
                    <a:lnTo>
                      <a:pt x="140" y="325"/>
                    </a:lnTo>
                    <a:lnTo>
                      <a:pt x="138" y="292"/>
                    </a:lnTo>
                    <a:lnTo>
                      <a:pt x="136" y="262"/>
                    </a:lnTo>
                    <a:lnTo>
                      <a:pt x="136" y="235"/>
                    </a:lnTo>
                    <a:lnTo>
                      <a:pt x="136" y="218"/>
                    </a:lnTo>
                    <a:lnTo>
                      <a:pt x="136" y="202"/>
                    </a:lnTo>
                    <a:lnTo>
                      <a:pt x="135" y="186"/>
                    </a:lnTo>
                    <a:lnTo>
                      <a:pt x="134" y="171"/>
                    </a:lnTo>
                    <a:lnTo>
                      <a:pt x="132" y="156"/>
                    </a:lnTo>
                    <a:lnTo>
                      <a:pt x="129" y="142"/>
                    </a:lnTo>
                    <a:lnTo>
                      <a:pt x="126" y="127"/>
                    </a:lnTo>
                    <a:lnTo>
                      <a:pt x="123" y="113"/>
                    </a:lnTo>
                    <a:lnTo>
                      <a:pt x="113" y="85"/>
                    </a:lnTo>
                    <a:lnTo>
                      <a:pt x="102" y="57"/>
                    </a:lnTo>
                    <a:lnTo>
                      <a:pt x="90" y="29"/>
                    </a:lnTo>
                    <a:lnTo>
                      <a:pt x="75" y="0"/>
                    </a:lnTo>
                    <a:close/>
                  </a:path>
                </a:pathLst>
              </a:custGeom>
              <a:solidFill>
                <a:srgbClr val="F1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22" name="Freeform 137"/>
              <p:cNvSpPr>
                <a:spLocks/>
              </p:cNvSpPr>
              <p:nvPr/>
            </p:nvSpPr>
            <p:spPr bwMode="auto">
              <a:xfrm>
                <a:off x="3614" y="1842"/>
                <a:ext cx="107" cy="79"/>
              </a:xfrm>
              <a:custGeom>
                <a:avLst/>
                <a:gdLst>
                  <a:gd name="T0" fmla="*/ 0 w 747"/>
                  <a:gd name="T1" fmla="*/ 0 h 553"/>
                  <a:gd name="T2" fmla="*/ 0 w 747"/>
                  <a:gd name="T3" fmla="*/ 0 h 553"/>
                  <a:gd name="T4" fmla="*/ 0 w 747"/>
                  <a:gd name="T5" fmla="*/ 0 h 553"/>
                  <a:gd name="T6" fmla="*/ 0 w 747"/>
                  <a:gd name="T7" fmla="*/ 0 h 553"/>
                  <a:gd name="T8" fmla="*/ 0 w 747"/>
                  <a:gd name="T9" fmla="*/ 0 h 553"/>
                  <a:gd name="T10" fmla="*/ 0 w 747"/>
                  <a:gd name="T11" fmla="*/ 0 h 553"/>
                  <a:gd name="T12" fmla="*/ 0 w 747"/>
                  <a:gd name="T13" fmla="*/ 0 h 553"/>
                  <a:gd name="T14" fmla="*/ 0 w 747"/>
                  <a:gd name="T15" fmla="*/ 0 h 553"/>
                  <a:gd name="T16" fmla="*/ 0 w 747"/>
                  <a:gd name="T17" fmla="*/ 0 h 553"/>
                  <a:gd name="T18" fmla="*/ 0 w 747"/>
                  <a:gd name="T19" fmla="*/ 0 h 553"/>
                  <a:gd name="T20" fmla="*/ 0 w 747"/>
                  <a:gd name="T21" fmla="*/ 0 h 553"/>
                  <a:gd name="T22" fmla="*/ 0 w 747"/>
                  <a:gd name="T23" fmla="*/ 0 h 553"/>
                  <a:gd name="T24" fmla="*/ 0 w 747"/>
                  <a:gd name="T25" fmla="*/ 0 h 553"/>
                  <a:gd name="T26" fmla="*/ 0 w 747"/>
                  <a:gd name="T27" fmla="*/ 0 h 553"/>
                  <a:gd name="T28" fmla="*/ 0 w 747"/>
                  <a:gd name="T29" fmla="*/ 0 h 553"/>
                  <a:gd name="T30" fmla="*/ 0 w 747"/>
                  <a:gd name="T31" fmla="*/ 0 h 553"/>
                  <a:gd name="T32" fmla="*/ 0 w 747"/>
                  <a:gd name="T33" fmla="*/ 0 h 553"/>
                  <a:gd name="T34" fmla="*/ 0 w 747"/>
                  <a:gd name="T35" fmla="*/ 0 h 553"/>
                  <a:gd name="T36" fmla="*/ 0 w 747"/>
                  <a:gd name="T37" fmla="*/ 0 h 553"/>
                  <a:gd name="T38" fmla="*/ 0 w 747"/>
                  <a:gd name="T39" fmla="*/ 0 h 553"/>
                  <a:gd name="T40" fmla="*/ 0 w 747"/>
                  <a:gd name="T41" fmla="*/ 0 h 553"/>
                  <a:gd name="T42" fmla="*/ 0 w 747"/>
                  <a:gd name="T43" fmla="*/ 0 h 553"/>
                  <a:gd name="T44" fmla="*/ 0 w 747"/>
                  <a:gd name="T45" fmla="*/ 0 h 553"/>
                  <a:gd name="T46" fmla="*/ 0 w 747"/>
                  <a:gd name="T47" fmla="*/ 0 h 553"/>
                  <a:gd name="T48" fmla="*/ 0 w 747"/>
                  <a:gd name="T49" fmla="*/ 0 h 553"/>
                  <a:gd name="T50" fmla="*/ 0 w 747"/>
                  <a:gd name="T51" fmla="*/ 0 h 553"/>
                  <a:gd name="T52" fmla="*/ 0 w 747"/>
                  <a:gd name="T53" fmla="*/ 0 h 553"/>
                  <a:gd name="T54" fmla="*/ 0 w 747"/>
                  <a:gd name="T55" fmla="*/ 0 h 553"/>
                  <a:gd name="T56" fmla="*/ 0 w 747"/>
                  <a:gd name="T57" fmla="*/ 0 h 553"/>
                  <a:gd name="T58" fmla="*/ 0 w 747"/>
                  <a:gd name="T59" fmla="*/ 0 h 553"/>
                  <a:gd name="T60" fmla="*/ 0 w 747"/>
                  <a:gd name="T61" fmla="*/ 0 h 553"/>
                  <a:gd name="T62" fmla="*/ 0 w 747"/>
                  <a:gd name="T63" fmla="*/ 0 h 553"/>
                  <a:gd name="T64" fmla="*/ 0 w 747"/>
                  <a:gd name="T65" fmla="*/ 0 h 553"/>
                  <a:gd name="T66" fmla="*/ 0 w 747"/>
                  <a:gd name="T67" fmla="*/ 0 h 553"/>
                  <a:gd name="T68" fmla="*/ 0 w 747"/>
                  <a:gd name="T69" fmla="*/ 0 h 553"/>
                  <a:gd name="T70" fmla="*/ 0 w 747"/>
                  <a:gd name="T71" fmla="*/ 0 h 553"/>
                  <a:gd name="T72" fmla="*/ 0 w 747"/>
                  <a:gd name="T73" fmla="*/ 0 h 553"/>
                  <a:gd name="T74" fmla="*/ 0 w 747"/>
                  <a:gd name="T75" fmla="*/ 0 h 553"/>
                  <a:gd name="T76" fmla="*/ 0 w 747"/>
                  <a:gd name="T77" fmla="*/ 0 h 553"/>
                  <a:gd name="T78" fmla="*/ 0 w 747"/>
                  <a:gd name="T79" fmla="*/ 0 h 553"/>
                  <a:gd name="T80" fmla="*/ 0 w 747"/>
                  <a:gd name="T81" fmla="*/ 0 h 553"/>
                  <a:gd name="T82" fmla="*/ 0 w 747"/>
                  <a:gd name="T83" fmla="*/ 0 h 553"/>
                  <a:gd name="T84" fmla="*/ 0 w 747"/>
                  <a:gd name="T85" fmla="*/ 0 h 553"/>
                  <a:gd name="T86" fmla="*/ 0 w 747"/>
                  <a:gd name="T87" fmla="*/ 0 h 553"/>
                  <a:gd name="T88" fmla="*/ 0 w 747"/>
                  <a:gd name="T89" fmla="*/ 0 h 553"/>
                  <a:gd name="T90" fmla="*/ 0 w 747"/>
                  <a:gd name="T91" fmla="*/ 0 h 553"/>
                  <a:gd name="T92" fmla="*/ 0 w 747"/>
                  <a:gd name="T93" fmla="*/ 0 h 553"/>
                  <a:gd name="T94" fmla="*/ 0 w 747"/>
                  <a:gd name="T95" fmla="*/ 0 h 553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47"/>
                  <a:gd name="T145" fmla="*/ 0 h 553"/>
                  <a:gd name="T146" fmla="*/ 747 w 747"/>
                  <a:gd name="T147" fmla="*/ 553 h 553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47" h="553">
                    <a:moveTo>
                      <a:pt x="619" y="6"/>
                    </a:moveTo>
                    <a:lnTo>
                      <a:pt x="608" y="9"/>
                    </a:lnTo>
                    <a:lnTo>
                      <a:pt x="596" y="14"/>
                    </a:lnTo>
                    <a:lnTo>
                      <a:pt x="585" y="19"/>
                    </a:lnTo>
                    <a:lnTo>
                      <a:pt x="574" y="25"/>
                    </a:lnTo>
                    <a:lnTo>
                      <a:pt x="564" y="31"/>
                    </a:lnTo>
                    <a:lnTo>
                      <a:pt x="555" y="38"/>
                    </a:lnTo>
                    <a:lnTo>
                      <a:pt x="546" y="46"/>
                    </a:lnTo>
                    <a:lnTo>
                      <a:pt x="537" y="54"/>
                    </a:lnTo>
                    <a:lnTo>
                      <a:pt x="529" y="62"/>
                    </a:lnTo>
                    <a:lnTo>
                      <a:pt x="522" y="70"/>
                    </a:lnTo>
                    <a:lnTo>
                      <a:pt x="515" y="80"/>
                    </a:lnTo>
                    <a:lnTo>
                      <a:pt x="508" y="89"/>
                    </a:lnTo>
                    <a:lnTo>
                      <a:pt x="497" y="109"/>
                    </a:lnTo>
                    <a:lnTo>
                      <a:pt x="488" y="127"/>
                    </a:lnTo>
                    <a:lnTo>
                      <a:pt x="484" y="138"/>
                    </a:lnTo>
                    <a:lnTo>
                      <a:pt x="480" y="151"/>
                    </a:lnTo>
                    <a:lnTo>
                      <a:pt x="478" y="167"/>
                    </a:lnTo>
                    <a:lnTo>
                      <a:pt x="476" y="185"/>
                    </a:lnTo>
                    <a:lnTo>
                      <a:pt x="473" y="225"/>
                    </a:lnTo>
                    <a:lnTo>
                      <a:pt x="472" y="268"/>
                    </a:lnTo>
                    <a:lnTo>
                      <a:pt x="471" y="311"/>
                    </a:lnTo>
                    <a:lnTo>
                      <a:pt x="472" y="352"/>
                    </a:lnTo>
                    <a:lnTo>
                      <a:pt x="473" y="385"/>
                    </a:lnTo>
                    <a:lnTo>
                      <a:pt x="474" y="408"/>
                    </a:lnTo>
                    <a:lnTo>
                      <a:pt x="475" y="422"/>
                    </a:lnTo>
                    <a:lnTo>
                      <a:pt x="475" y="435"/>
                    </a:lnTo>
                    <a:lnTo>
                      <a:pt x="476" y="447"/>
                    </a:lnTo>
                    <a:lnTo>
                      <a:pt x="475" y="458"/>
                    </a:lnTo>
                    <a:lnTo>
                      <a:pt x="473" y="469"/>
                    </a:lnTo>
                    <a:lnTo>
                      <a:pt x="469" y="480"/>
                    </a:lnTo>
                    <a:lnTo>
                      <a:pt x="462" y="492"/>
                    </a:lnTo>
                    <a:lnTo>
                      <a:pt x="453" y="506"/>
                    </a:lnTo>
                    <a:lnTo>
                      <a:pt x="448" y="511"/>
                    </a:lnTo>
                    <a:lnTo>
                      <a:pt x="442" y="515"/>
                    </a:lnTo>
                    <a:lnTo>
                      <a:pt x="437" y="518"/>
                    </a:lnTo>
                    <a:lnTo>
                      <a:pt x="430" y="520"/>
                    </a:lnTo>
                    <a:lnTo>
                      <a:pt x="424" y="521"/>
                    </a:lnTo>
                    <a:lnTo>
                      <a:pt x="416" y="521"/>
                    </a:lnTo>
                    <a:lnTo>
                      <a:pt x="409" y="520"/>
                    </a:lnTo>
                    <a:lnTo>
                      <a:pt x="402" y="519"/>
                    </a:lnTo>
                    <a:lnTo>
                      <a:pt x="395" y="517"/>
                    </a:lnTo>
                    <a:lnTo>
                      <a:pt x="387" y="514"/>
                    </a:lnTo>
                    <a:lnTo>
                      <a:pt x="381" y="510"/>
                    </a:lnTo>
                    <a:lnTo>
                      <a:pt x="374" y="506"/>
                    </a:lnTo>
                    <a:lnTo>
                      <a:pt x="369" y="501"/>
                    </a:lnTo>
                    <a:lnTo>
                      <a:pt x="363" y="495"/>
                    </a:lnTo>
                    <a:lnTo>
                      <a:pt x="358" y="489"/>
                    </a:lnTo>
                    <a:lnTo>
                      <a:pt x="354" y="483"/>
                    </a:lnTo>
                    <a:lnTo>
                      <a:pt x="348" y="469"/>
                    </a:lnTo>
                    <a:lnTo>
                      <a:pt x="343" y="453"/>
                    </a:lnTo>
                    <a:lnTo>
                      <a:pt x="340" y="438"/>
                    </a:lnTo>
                    <a:lnTo>
                      <a:pt x="338" y="421"/>
                    </a:lnTo>
                    <a:lnTo>
                      <a:pt x="335" y="389"/>
                    </a:lnTo>
                    <a:lnTo>
                      <a:pt x="332" y="357"/>
                    </a:lnTo>
                    <a:lnTo>
                      <a:pt x="329" y="337"/>
                    </a:lnTo>
                    <a:lnTo>
                      <a:pt x="325" y="319"/>
                    </a:lnTo>
                    <a:lnTo>
                      <a:pt x="321" y="301"/>
                    </a:lnTo>
                    <a:lnTo>
                      <a:pt x="317" y="282"/>
                    </a:lnTo>
                    <a:lnTo>
                      <a:pt x="312" y="265"/>
                    </a:lnTo>
                    <a:lnTo>
                      <a:pt x="306" y="247"/>
                    </a:lnTo>
                    <a:lnTo>
                      <a:pt x="298" y="230"/>
                    </a:lnTo>
                    <a:lnTo>
                      <a:pt x="289" y="212"/>
                    </a:lnTo>
                    <a:lnTo>
                      <a:pt x="275" y="188"/>
                    </a:lnTo>
                    <a:lnTo>
                      <a:pt x="259" y="166"/>
                    </a:lnTo>
                    <a:lnTo>
                      <a:pt x="251" y="155"/>
                    </a:lnTo>
                    <a:lnTo>
                      <a:pt x="242" y="145"/>
                    </a:lnTo>
                    <a:lnTo>
                      <a:pt x="232" y="136"/>
                    </a:lnTo>
                    <a:lnTo>
                      <a:pt x="223" y="126"/>
                    </a:lnTo>
                    <a:lnTo>
                      <a:pt x="213" y="117"/>
                    </a:lnTo>
                    <a:lnTo>
                      <a:pt x="201" y="110"/>
                    </a:lnTo>
                    <a:lnTo>
                      <a:pt x="190" y="101"/>
                    </a:lnTo>
                    <a:lnTo>
                      <a:pt x="178" y="95"/>
                    </a:lnTo>
                    <a:lnTo>
                      <a:pt x="164" y="89"/>
                    </a:lnTo>
                    <a:lnTo>
                      <a:pt x="151" y="83"/>
                    </a:lnTo>
                    <a:lnTo>
                      <a:pt x="136" y="79"/>
                    </a:lnTo>
                    <a:lnTo>
                      <a:pt x="121" y="75"/>
                    </a:lnTo>
                    <a:lnTo>
                      <a:pt x="109" y="71"/>
                    </a:lnTo>
                    <a:lnTo>
                      <a:pt x="97" y="70"/>
                    </a:lnTo>
                    <a:lnTo>
                      <a:pt x="86" y="71"/>
                    </a:lnTo>
                    <a:lnTo>
                      <a:pt x="74" y="73"/>
                    </a:lnTo>
                    <a:lnTo>
                      <a:pt x="64" y="75"/>
                    </a:lnTo>
                    <a:lnTo>
                      <a:pt x="54" y="78"/>
                    </a:lnTo>
                    <a:lnTo>
                      <a:pt x="44" y="82"/>
                    </a:lnTo>
                    <a:lnTo>
                      <a:pt x="35" y="87"/>
                    </a:lnTo>
                    <a:lnTo>
                      <a:pt x="27" y="93"/>
                    </a:lnTo>
                    <a:lnTo>
                      <a:pt x="20" y="100"/>
                    </a:lnTo>
                    <a:lnTo>
                      <a:pt x="13" y="108"/>
                    </a:lnTo>
                    <a:lnTo>
                      <a:pt x="8" y="117"/>
                    </a:lnTo>
                    <a:lnTo>
                      <a:pt x="4" y="126"/>
                    </a:lnTo>
                    <a:lnTo>
                      <a:pt x="1" y="136"/>
                    </a:lnTo>
                    <a:lnTo>
                      <a:pt x="0" y="147"/>
                    </a:lnTo>
                    <a:lnTo>
                      <a:pt x="0" y="157"/>
                    </a:lnTo>
                    <a:lnTo>
                      <a:pt x="2" y="155"/>
                    </a:lnTo>
                    <a:lnTo>
                      <a:pt x="7" y="149"/>
                    </a:lnTo>
                    <a:lnTo>
                      <a:pt x="17" y="142"/>
                    </a:lnTo>
                    <a:lnTo>
                      <a:pt x="30" y="132"/>
                    </a:lnTo>
                    <a:lnTo>
                      <a:pt x="37" y="128"/>
                    </a:lnTo>
                    <a:lnTo>
                      <a:pt x="45" y="124"/>
                    </a:lnTo>
                    <a:lnTo>
                      <a:pt x="55" y="121"/>
                    </a:lnTo>
                    <a:lnTo>
                      <a:pt x="65" y="118"/>
                    </a:lnTo>
                    <a:lnTo>
                      <a:pt x="74" y="117"/>
                    </a:lnTo>
                    <a:lnTo>
                      <a:pt x="86" y="116"/>
                    </a:lnTo>
                    <a:lnTo>
                      <a:pt x="97" y="117"/>
                    </a:lnTo>
                    <a:lnTo>
                      <a:pt x="109" y="119"/>
                    </a:lnTo>
                    <a:lnTo>
                      <a:pt x="122" y="123"/>
                    </a:lnTo>
                    <a:lnTo>
                      <a:pt x="134" y="128"/>
                    </a:lnTo>
                    <a:lnTo>
                      <a:pt x="148" y="137"/>
                    </a:lnTo>
                    <a:lnTo>
                      <a:pt x="161" y="146"/>
                    </a:lnTo>
                    <a:lnTo>
                      <a:pt x="176" y="158"/>
                    </a:lnTo>
                    <a:lnTo>
                      <a:pt x="189" y="173"/>
                    </a:lnTo>
                    <a:lnTo>
                      <a:pt x="203" y="190"/>
                    </a:lnTo>
                    <a:lnTo>
                      <a:pt x="219" y="211"/>
                    </a:lnTo>
                    <a:lnTo>
                      <a:pt x="233" y="235"/>
                    </a:lnTo>
                    <a:lnTo>
                      <a:pt x="249" y="262"/>
                    </a:lnTo>
                    <a:lnTo>
                      <a:pt x="263" y="292"/>
                    </a:lnTo>
                    <a:lnTo>
                      <a:pt x="279" y="326"/>
                    </a:lnTo>
                    <a:lnTo>
                      <a:pt x="294" y="363"/>
                    </a:lnTo>
                    <a:lnTo>
                      <a:pt x="310" y="404"/>
                    </a:lnTo>
                    <a:lnTo>
                      <a:pt x="324" y="451"/>
                    </a:lnTo>
                    <a:lnTo>
                      <a:pt x="340" y="501"/>
                    </a:lnTo>
                    <a:lnTo>
                      <a:pt x="343" y="509"/>
                    </a:lnTo>
                    <a:lnTo>
                      <a:pt x="346" y="516"/>
                    </a:lnTo>
                    <a:lnTo>
                      <a:pt x="349" y="522"/>
                    </a:lnTo>
                    <a:lnTo>
                      <a:pt x="353" y="527"/>
                    </a:lnTo>
                    <a:lnTo>
                      <a:pt x="358" y="533"/>
                    </a:lnTo>
                    <a:lnTo>
                      <a:pt x="364" y="537"/>
                    </a:lnTo>
                    <a:lnTo>
                      <a:pt x="369" y="541"/>
                    </a:lnTo>
                    <a:lnTo>
                      <a:pt x="375" y="544"/>
                    </a:lnTo>
                    <a:lnTo>
                      <a:pt x="380" y="547"/>
                    </a:lnTo>
                    <a:lnTo>
                      <a:pt x="387" y="549"/>
                    </a:lnTo>
                    <a:lnTo>
                      <a:pt x="394" y="550"/>
                    </a:lnTo>
                    <a:lnTo>
                      <a:pt x="400" y="552"/>
                    </a:lnTo>
                    <a:lnTo>
                      <a:pt x="413" y="553"/>
                    </a:lnTo>
                    <a:lnTo>
                      <a:pt x="427" y="552"/>
                    </a:lnTo>
                    <a:lnTo>
                      <a:pt x="440" y="550"/>
                    </a:lnTo>
                    <a:lnTo>
                      <a:pt x="453" y="546"/>
                    </a:lnTo>
                    <a:lnTo>
                      <a:pt x="465" y="541"/>
                    </a:lnTo>
                    <a:lnTo>
                      <a:pt x="475" y="535"/>
                    </a:lnTo>
                    <a:lnTo>
                      <a:pt x="479" y="532"/>
                    </a:lnTo>
                    <a:lnTo>
                      <a:pt x="484" y="527"/>
                    </a:lnTo>
                    <a:lnTo>
                      <a:pt x="488" y="523"/>
                    </a:lnTo>
                    <a:lnTo>
                      <a:pt x="491" y="519"/>
                    </a:lnTo>
                    <a:lnTo>
                      <a:pt x="493" y="515"/>
                    </a:lnTo>
                    <a:lnTo>
                      <a:pt x="495" y="510"/>
                    </a:lnTo>
                    <a:lnTo>
                      <a:pt x="496" y="506"/>
                    </a:lnTo>
                    <a:lnTo>
                      <a:pt x="496" y="501"/>
                    </a:lnTo>
                    <a:lnTo>
                      <a:pt x="497" y="456"/>
                    </a:lnTo>
                    <a:lnTo>
                      <a:pt x="499" y="415"/>
                    </a:lnTo>
                    <a:lnTo>
                      <a:pt x="502" y="377"/>
                    </a:lnTo>
                    <a:lnTo>
                      <a:pt x="505" y="340"/>
                    </a:lnTo>
                    <a:lnTo>
                      <a:pt x="510" y="306"/>
                    </a:lnTo>
                    <a:lnTo>
                      <a:pt x="517" y="275"/>
                    </a:lnTo>
                    <a:lnTo>
                      <a:pt x="524" y="246"/>
                    </a:lnTo>
                    <a:lnTo>
                      <a:pt x="531" y="220"/>
                    </a:lnTo>
                    <a:lnTo>
                      <a:pt x="539" y="197"/>
                    </a:lnTo>
                    <a:lnTo>
                      <a:pt x="549" y="174"/>
                    </a:lnTo>
                    <a:lnTo>
                      <a:pt x="558" y="154"/>
                    </a:lnTo>
                    <a:lnTo>
                      <a:pt x="567" y="137"/>
                    </a:lnTo>
                    <a:lnTo>
                      <a:pt x="578" y="120"/>
                    </a:lnTo>
                    <a:lnTo>
                      <a:pt x="588" y="107"/>
                    </a:lnTo>
                    <a:lnTo>
                      <a:pt x="599" y="94"/>
                    </a:lnTo>
                    <a:lnTo>
                      <a:pt x="610" y="83"/>
                    </a:lnTo>
                    <a:lnTo>
                      <a:pt x="621" y="74"/>
                    </a:lnTo>
                    <a:lnTo>
                      <a:pt x="631" y="66"/>
                    </a:lnTo>
                    <a:lnTo>
                      <a:pt x="643" y="60"/>
                    </a:lnTo>
                    <a:lnTo>
                      <a:pt x="654" y="54"/>
                    </a:lnTo>
                    <a:lnTo>
                      <a:pt x="664" y="51"/>
                    </a:lnTo>
                    <a:lnTo>
                      <a:pt x="675" y="48"/>
                    </a:lnTo>
                    <a:lnTo>
                      <a:pt x="684" y="46"/>
                    </a:lnTo>
                    <a:lnTo>
                      <a:pt x="694" y="45"/>
                    </a:lnTo>
                    <a:lnTo>
                      <a:pt x="703" y="46"/>
                    </a:lnTo>
                    <a:lnTo>
                      <a:pt x="712" y="46"/>
                    </a:lnTo>
                    <a:lnTo>
                      <a:pt x="719" y="48"/>
                    </a:lnTo>
                    <a:lnTo>
                      <a:pt x="726" y="50"/>
                    </a:lnTo>
                    <a:lnTo>
                      <a:pt x="733" y="52"/>
                    </a:lnTo>
                    <a:lnTo>
                      <a:pt x="738" y="55"/>
                    </a:lnTo>
                    <a:lnTo>
                      <a:pt x="743" y="58"/>
                    </a:lnTo>
                    <a:lnTo>
                      <a:pt x="746" y="62"/>
                    </a:lnTo>
                    <a:lnTo>
                      <a:pt x="747" y="51"/>
                    </a:lnTo>
                    <a:lnTo>
                      <a:pt x="747" y="40"/>
                    </a:lnTo>
                    <a:lnTo>
                      <a:pt x="744" y="31"/>
                    </a:lnTo>
                    <a:lnTo>
                      <a:pt x="740" y="24"/>
                    </a:lnTo>
                    <a:lnTo>
                      <a:pt x="734" y="18"/>
                    </a:lnTo>
                    <a:lnTo>
                      <a:pt x="727" y="13"/>
                    </a:lnTo>
                    <a:lnTo>
                      <a:pt x="719" y="7"/>
                    </a:lnTo>
                    <a:lnTo>
                      <a:pt x="710" y="4"/>
                    </a:lnTo>
                    <a:lnTo>
                      <a:pt x="700" y="2"/>
                    </a:lnTo>
                    <a:lnTo>
                      <a:pt x="689" y="0"/>
                    </a:lnTo>
                    <a:lnTo>
                      <a:pt x="678" y="0"/>
                    </a:lnTo>
                    <a:lnTo>
                      <a:pt x="666" y="0"/>
                    </a:lnTo>
                    <a:lnTo>
                      <a:pt x="654" y="0"/>
                    </a:lnTo>
                    <a:lnTo>
                      <a:pt x="643" y="2"/>
                    </a:lnTo>
                    <a:lnTo>
                      <a:pt x="630" y="4"/>
                    </a:lnTo>
                    <a:lnTo>
                      <a:pt x="619" y="6"/>
                    </a:lnTo>
                    <a:close/>
                  </a:path>
                </a:pathLst>
              </a:custGeom>
              <a:solidFill>
                <a:srgbClr val="F1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23" name="Freeform 138"/>
              <p:cNvSpPr>
                <a:spLocks/>
              </p:cNvSpPr>
              <p:nvPr/>
            </p:nvSpPr>
            <p:spPr bwMode="auto">
              <a:xfrm>
                <a:off x="3619" y="1877"/>
                <a:ext cx="107" cy="54"/>
              </a:xfrm>
              <a:custGeom>
                <a:avLst/>
                <a:gdLst>
                  <a:gd name="T0" fmla="*/ 0 w 750"/>
                  <a:gd name="T1" fmla="*/ 0 h 378"/>
                  <a:gd name="T2" fmla="*/ 0 w 750"/>
                  <a:gd name="T3" fmla="*/ 0 h 378"/>
                  <a:gd name="T4" fmla="*/ 0 w 750"/>
                  <a:gd name="T5" fmla="*/ 0 h 378"/>
                  <a:gd name="T6" fmla="*/ 0 w 750"/>
                  <a:gd name="T7" fmla="*/ 0 h 378"/>
                  <a:gd name="T8" fmla="*/ 0 w 750"/>
                  <a:gd name="T9" fmla="*/ 0 h 378"/>
                  <a:gd name="T10" fmla="*/ 0 w 750"/>
                  <a:gd name="T11" fmla="*/ 0 h 378"/>
                  <a:gd name="T12" fmla="*/ 0 w 750"/>
                  <a:gd name="T13" fmla="*/ 0 h 378"/>
                  <a:gd name="T14" fmla="*/ 0 w 750"/>
                  <a:gd name="T15" fmla="*/ 0 h 378"/>
                  <a:gd name="T16" fmla="*/ 0 w 750"/>
                  <a:gd name="T17" fmla="*/ 0 h 378"/>
                  <a:gd name="T18" fmla="*/ 0 w 750"/>
                  <a:gd name="T19" fmla="*/ 0 h 378"/>
                  <a:gd name="T20" fmla="*/ 0 w 750"/>
                  <a:gd name="T21" fmla="*/ 0 h 378"/>
                  <a:gd name="T22" fmla="*/ 0 w 750"/>
                  <a:gd name="T23" fmla="*/ 0 h 378"/>
                  <a:gd name="T24" fmla="*/ 0 w 750"/>
                  <a:gd name="T25" fmla="*/ 0 h 378"/>
                  <a:gd name="T26" fmla="*/ 0 w 750"/>
                  <a:gd name="T27" fmla="*/ 0 h 378"/>
                  <a:gd name="T28" fmla="*/ 0 w 750"/>
                  <a:gd name="T29" fmla="*/ 0 h 378"/>
                  <a:gd name="T30" fmla="*/ 0 w 750"/>
                  <a:gd name="T31" fmla="*/ 0 h 378"/>
                  <a:gd name="T32" fmla="*/ 0 w 750"/>
                  <a:gd name="T33" fmla="*/ 0 h 378"/>
                  <a:gd name="T34" fmla="*/ 0 w 750"/>
                  <a:gd name="T35" fmla="*/ 0 h 378"/>
                  <a:gd name="T36" fmla="*/ 0 w 750"/>
                  <a:gd name="T37" fmla="*/ 0 h 378"/>
                  <a:gd name="T38" fmla="*/ 0 w 750"/>
                  <a:gd name="T39" fmla="*/ 0 h 378"/>
                  <a:gd name="T40" fmla="*/ 0 w 750"/>
                  <a:gd name="T41" fmla="*/ 0 h 378"/>
                  <a:gd name="T42" fmla="*/ 0 w 750"/>
                  <a:gd name="T43" fmla="*/ 0 h 378"/>
                  <a:gd name="T44" fmla="*/ 0 w 750"/>
                  <a:gd name="T45" fmla="*/ 0 h 378"/>
                  <a:gd name="T46" fmla="*/ 0 w 750"/>
                  <a:gd name="T47" fmla="*/ 0 h 378"/>
                  <a:gd name="T48" fmla="*/ 0 w 750"/>
                  <a:gd name="T49" fmla="*/ 0 h 378"/>
                  <a:gd name="T50" fmla="*/ 0 w 750"/>
                  <a:gd name="T51" fmla="*/ 0 h 378"/>
                  <a:gd name="T52" fmla="*/ 0 w 750"/>
                  <a:gd name="T53" fmla="*/ 0 h 378"/>
                  <a:gd name="T54" fmla="*/ 0 w 750"/>
                  <a:gd name="T55" fmla="*/ 0 h 378"/>
                  <a:gd name="T56" fmla="*/ 0 w 750"/>
                  <a:gd name="T57" fmla="*/ 0 h 378"/>
                  <a:gd name="T58" fmla="*/ 0 w 750"/>
                  <a:gd name="T59" fmla="*/ 0 h 378"/>
                  <a:gd name="T60" fmla="*/ 0 w 750"/>
                  <a:gd name="T61" fmla="*/ 0 h 378"/>
                  <a:gd name="T62" fmla="*/ 0 w 750"/>
                  <a:gd name="T63" fmla="*/ 0 h 378"/>
                  <a:gd name="T64" fmla="*/ 0 w 750"/>
                  <a:gd name="T65" fmla="*/ 0 h 378"/>
                  <a:gd name="T66" fmla="*/ 0 w 750"/>
                  <a:gd name="T67" fmla="*/ 0 h 378"/>
                  <a:gd name="T68" fmla="*/ 0 w 750"/>
                  <a:gd name="T69" fmla="*/ 0 h 378"/>
                  <a:gd name="T70" fmla="*/ 0 w 750"/>
                  <a:gd name="T71" fmla="*/ 0 h 378"/>
                  <a:gd name="T72" fmla="*/ 0 w 750"/>
                  <a:gd name="T73" fmla="*/ 0 h 378"/>
                  <a:gd name="T74" fmla="*/ 0 w 750"/>
                  <a:gd name="T75" fmla="*/ 0 h 378"/>
                  <a:gd name="T76" fmla="*/ 0 w 750"/>
                  <a:gd name="T77" fmla="*/ 0 h 378"/>
                  <a:gd name="T78" fmla="*/ 0 w 750"/>
                  <a:gd name="T79" fmla="*/ 0 h 378"/>
                  <a:gd name="T80" fmla="*/ 0 w 750"/>
                  <a:gd name="T81" fmla="*/ 0 h 378"/>
                  <a:gd name="T82" fmla="*/ 0 w 750"/>
                  <a:gd name="T83" fmla="*/ 0 h 378"/>
                  <a:gd name="T84" fmla="*/ 0 w 750"/>
                  <a:gd name="T85" fmla="*/ 0 h 378"/>
                  <a:gd name="T86" fmla="*/ 0 w 750"/>
                  <a:gd name="T87" fmla="*/ 0 h 378"/>
                  <a:gd name="T88" fmla="*/ 0 w 750"/>
                  <a:gd name="T89" fmla="*/ 0 h 378"/>
                  <a:gd name="T90" fmla="*/ 0 w 750"/>
                  <a:gd name="T91" fmla="*/ 0 h 378"/>
                  <a:gd name="T92" fmla="*/ 0 w 750"/>
                  <a:gd name="T93" fmla="*/ 0 h 378"/>
                  <a:gd name="T94" fmla="*/ 0 w 750"/>
                  <a:gd name="T95" fmla="*/ 0 h 378"/>
                  <a:gd name="T96" fmla="*/ 0 w 750"/>
                  <a:gd name="T97" fmla="*/ 0 h 378"/>
                  <a:gd name="T98" fmla="*/ 0 w 750"/>
                  <a:gd name="T99" fmla="*/ 0 h 378"/>
                  <a:gd name="T100" fmla="*/ 0 w 750"/>
                  <a:gd name="T101" fmla="*/ 0 h 378"/>
                  <a:gd name="T102" fmla="*/ 0 w 750"/>
                  <a:gd name="T103" fmla="*/ 0 h 378"/>
                  <a:gd name="T104" fmla="*/ 0 w 750"/>
                  <a:gd name="T105" fmla="*/ 0 h 378"/>
                  <a:gd name="T106" fmla="*/ 0 w 750"/>
                  <a:gd name="T107" fmla="*/ 0 h 378"/>
                  <a:gd name="T108" fmla="*/ 0 w 750"/>
                  <a:gd name="T109" fmla="*/ 0 h 378"/>
                  <a:gd name="T110" fmla="*/ 0 w 750"/>
                  <a:gd name="T111" fmla="*/ 0 h 378"/>
                  <a:gd name="T112" fmla="*/ 0 w 750"/>
                  <a:gd name="T113" fmla="*/ 0 h 378"/>
                  <a:gd name="T114" fmla="*/ 0 w 750"/>
                  <a:gd name="T115" fmla="*/ 0 h 378"/>
                  <a:gd name="T116" fmla="*/ 0 w 750"/>
                  <a:gd name="T117" fmla="*/ 0 h 378"/>
                  <a:gd name="T118" fmla="*/ 0 w 750"/>
                  <a:gd name="T119" fmla="*/ 0 h 37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50"/>
                  <a:gd name="T181" fmla="*/ 0 h 378"/>
                  <a:gd name="T182" fmla="*/ 750 w 750"/>
                  <a:gd name="T183" fmla="*/ 378 h 378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50" h="378">
                    <a:moveTo>
                      <a:pt x="548" y="38"/>
                    </a:moveTo>
                    <a:lnTo>
                      <a:pt x="542" y="42"/>
                    </a:lnTo>
                    <a:lnTo>
                      <a:pt x="534" y="49"/>
                    </a:lnTo>
                    <a:lnTo>
                      <a:pt x="527" y="56"/>
                    </a:lnTo>
                    <a:lnTo>
                      <a:pt x="522" y="64"/>
                    </a:lnTo>
                    <a:lnTo>
                      <a:pt x="517" y="72"/>
                    </a:lnTo>
                    <a:lnTo>
                      <a:pt x="513" y="82"/>
                    </a:lnTo>
                    <a:lnTo>
                      <a:pt x="510" y="91"/>
                    </a:lnTo>
                    <a:lnTo>
                      <a:pt x="507" y="100"/>
                    </a:lnTo>
                    <a:lnTo>
                      <a:pt x="506" y="110"/>
                    </a:lnTo>
                    <a:lnTo>
                      <a:pt x="506" y="118"/>
                    </a:lnTo>
                    <a:lnTo>
                      <a:pt x="508" y="125"/>
                    </a:lnTo>
                    <a:lnTo>
                      <a:pt x="511" y="131"/>
                    </a:lnTo>
                    <a:lnTo>
                      <a:pt x="513" y="138"/>
                    </a:lnTo>
                    <a:lnTo>
                      <a:pt x="517" y="144"/>
                    </a:lnTo>
                    <a:lnTo>
                      <a:pt x="521" y="149"/>
                    </a:lnTo>
                    <a:lnTo>
                      <a:pt x="526" y="154"/>
                    </a:lnTo>
                    <a:lnTo>
                      <a:pt x="532" y="158"/>
                    </a:lnTo>
                    <a:lnTo>
                      <a:pt x="541" y="163"/>
                    </a:lnTo>
                    <a:lnTo>
                      <a:pt x="550" y="167"/>
                    </a:lnTo>
                    <a:lnTo>
                      <a:pt x="559" y="169"/>
                    </a:lnTo>
                    <a:lnTo>
                      <a:pt x="569" y="170"/>
                    </a:lnTo>
                    <a:lnTo>
                      <a:pt x="581" y="170"/>
                    </a:lnTo>
                    <a:lnTo>
                      <a:pt x="591" y="168"/>
                    </a:lnTo>
                    <a:lnTo>
                      <a:pt x="603" y="166"/>
                    </a:lnTo>
                    <a:lnTo>
                      <a:pt x="612" y="161"/>
                    </a:lnTo>
                    <a:lnTo>
                      <a:pt x="620" y="157"/>
                    </a:lnTo>
                    <a:lnTo>
                      <a:pt x="626" y="153"/>
                    </a:lnTo>
                    <a:lnTo>
                      <a:pt x="631" y="148"/>
                    </a:lnTo>
                    <a:lnTo>
                      <a:pt x="637" y="143"/>
                    </a:lnTo>
                    <a:lnTo>
                      <a:pt x="640" y="137"/>
                    </a:lnTo>
                    <a:lnTo>
                      <a:pt x="642" y="130"/>
                    </a:lnTo>
                    <a:lnTo>
                      <a:pt x="644" y="123"/>
                    </a:lnTo>
                    <a:lnTo>
                      <a:pt x="644" y="117"/>
                    </a:lnTo>
                    <a:lnTo>
                      <a:pt x="643" y="111"/>
                    </a:lnTo>
                    <a:lnTo>
                      <a:pt x="641" y="105"/>
                    </a:lnTo>
                    <a:lnTo>
                      <a:pt x="639" y="99"/>
                    </a:lnTo>
                    <a:lnTo>
                      <a:pt x="635" y="95"/>
                    </a:lnTo>
                    <a:lnTo>
                      <a:pt x="630" y="90"/>
                    </a:lnTo>
                    <a:lnTo>
                      <a:pt x="625" y="87"/>
                    </a:lnTo>
                    <a:lnTo>
                      <a:pt x="620" y="84"/>
                    </a:lnTo>
                    <a:lnTo>
                      <a:pt x="614" y="81"/>
                    </a:lnTo>
                    <a:lnTo>
                      <a:pt x="608" y="80"/>
                    </a:lnTo>
                    <a:lnTo>
                      <a:pt x="601" y="79"/>
                    </a:lnTo>
                    <a:lnTo>
                      <a:pt x="594" y="79"/>
                    </a:lnTo>
                    <a:lnTo>
                      <a:pt x="589" y="79"/>
                    </a:lnTo>
                    <a:lnTo>
                      <a:pt x="583" y="80"/>
                    </a:lnTo>
                    <a:lnTo>
                      <a:pt x="577" y="82"/>
                    </a:lnTo>
                    <a:lnTo>
                      <a:pt x="573" y="84"/>
                    </a:lnTo>
                    <a:lnTo>
                      <a:pt x="567" y="87"/>
                    </a:lnTo>
                    <a:lnTo>
                      <a:pt x="564" y="90"/>
                    </a:lnTo>
                    <a:lnTo>
                      <a:pt x="562" y="93"/>
                    </a:lnTo>
                    <a:lnTo>
                      <a:pt x="560" y="96"/>
                    </a:lnTo>
                    <a:lnTo>
                      <a:pt x="558" y="99"/>
                    </a:lnTo>
                    <a:lnTo>
                      <a:pt x="557" y="103"/>
                    </a:lnTo>
                    <a:lnTo>
                      <a:pt x="557" y="108"/>
                    </a:lnTo>
                    <a:lnTo>
                      <a:pt x="558" y="112"/>
                    </a:lnTo>
                    <a:lnTo>
                      <a:pt x="559" y="116"/>
                    </a:lnTo>
                    <a:lnTo>
                      <a:pt x="579" y="111"/>
                    </a:lnTo>
                    <a:lnTo>
                      <a:pt x="579" y="107"/>
                    </a:lnTo>
                    <a:lnTo>
                      <a:pt x="579" y="103"/>
                    </a:lnTo>
                    <a:lnTo>
                      <a:pt x="580" y="101"/>
                    </a:lnTo>
                    <a:lnTo>
                      <a:pt x="582" y="99"/>
                    </a:lnTo>
                    <a:lnTo>
                      <a:pt x="586" y="97"/>
                    </a:lnTo>
                    <a:lnTo>
                      <a:pt x="592" y="96"/>
                    </a:lnTo>
                    <a:lnTo>
                      <a:pt x="598" y="96"/>
                    </a:lnTo>
                    <a:lnTo>
                      <a:pt x="606" y="97"/>
                    </a:lnTo>
                    <a:lnTo>
                      <a:pt x="611" y="99"/>
                    </a:lnTo>
                    <a:lnTo>
                      <a:pt x="616" y="103"/>
                    </a:lnTo>
                    <a:lnTo>
                      <a:pt x="618" y="107"/>
                    </a:lnTo>
                    <a:lnTo>
                      <a:pt x="620" y="110"/>
                    </a:lnTo>
                    <a:lnTo>
                      <a:pt x="622" y="114"/>
                    </a:lnTo>
                    <a:lnTo>
                      <a:pt x="623" y="118"/>
                    </a:lnTo>
                    <a:lnTo>
                      <a:pt x="622" y="123"/>
                    </a:lnTo>
                    <a:lnTo>
                      <a:pt x="621" y="128"/>
                    </a:lnTo>
                    <a:lnTo>
                      <a:pt x="619" y="132"/>
                    </a:lnTo>
                    <a:lnTo>
                      <a:pt x="617" y="137"/>
                    </a:lnTo>
                    <a:lnTo>
                      <a:pt x="610" y="142"/>
                    </a:lnTo>
                    <a:lnTo>
                      <a:pt x="603" y="146"/>
                    </a:lnTo>
                    <a:lnTo>
                      <a:pt x="595" y="149"/>
                    </a:lnTo>
                    <a:lnTo>
                      <a:pt x="588" y="151"/>
                    </a:lnTo>
                    <a:lnTo>
                      <a:pt x="580" y="152"/>
                    </a:lnTo>
                    <a:lnTo>
                      <a:pt x="573" y="152"/>
                    </a:lnTo>
                    <a:lnTo>
                      <a:pt x="565" y="151"/>
                    </a:lnTo>
                    <a:lnTo>
                      <a:pt x="558" y="150"/>
                    </a:lnTo>
                    <a:lnTo>
                      <a:pt x="551" y="148"/>
                    </a:lnTo>
                    <a:lnTo>
                      <a:pt x="546" y="145"/>
                    </a:lnTo>
                    <a:lnTo>
                      <a:pt x="541" y="141"/>
                    </a:lnTo>
                    <a:lnTo>
                      <a:pt x="536" y="137"/>
                    </a:lnTo>
                    <a:lnTo>
                      <a:pt x="533" y="132"/>
                    </a:lnTo>
                    <a:lnTo>
                      <a:pt x="531" y="127"/>
                    </a:lnTo>
                    <a:lnTo>
                      <a:pt x="528" y="118"/>
                    </a:lnTo>
                    <a:lnTo>
                      <a:pt x="528" y="110"/>
                    </a:lnTo>
                    <a:lnTo>
                      <a:pt x="528" y="101"/>
                    </a:lnTo>
                    <a:lnTo>
                      <a:pt x="529" y="94"/>
                    </a:lnTo>
                    <a:lnTo>
                      <a:pt x="532" y="87"/>
                    </a:lnTo>
                    <a:lnTo>
                      <a:pt x="535" y="79"/>
                    </a:lnTo>
                    <a:lnTo>
                      <a:pt x="539" y="72"/>
                    </a:lnTo>
                    <a:lnTo>
                      <a:pt x="544" y="66"/>
                    </a:lnTo>
                    <a:lnTo>
                      <a:pt x="549" y="60"/>
                    </a:lnTo>
                    <a:lnTo>
                      <a:pt x="555" y="56"/>
                    </a:lnTo>
                    <a:lnTo>
                      <a:pt x="561" y="51"/>
                    </a:lnTo>
                    <a:lnTo>
                      <a:pt x="573" y="44"/>
                    </a:lnTo>
                    <a:lnTo>
                      <a:pt x="583" y="36"/>
                    </a:lnTo>
                    <a:lnTo>
                      <a:pt x="592" y="30"/>
                    </a:lnTo>
                    <a:lnTo>
                      <a:pt x="603" y="25"/>
                    </a:lnTo>
                    <a:lnTo>
                      <a:pt x="613" y="21"/>
                    </a:lnTo>
                    <a:lnTo>
                      <a:pt x="624" y="19"/>
                    </a:lnTo>
                    <a:lnTo>
                      <a:pt x="636" y="18"/>
                    </a:lnTo>
                    <a:lnTo>
                      <a:pt x="649" y="18"/>
                    </a:lnTo>
                    <a:lnTo>
                      <a:pt x="658" y="19"/>
                    </a:lnTo>
                    <a:lnTo>
                      <a:pt x="669" y="21"/>
                    </a:lnTo>
                    <a:lnTo>
                      <a:pt x="677" y="24"/>
                    </a:lnTo>
                    <a:lnTo>
                      <a:pt x="685" y="28"/>
                    </a:lnTo>
                    <a:lnTo>
                      <a:pt x="692" y="33"/>
                    </a:lnTo>
                    <a:lnTo>
                      <a:pt x="700" y="38"/>
                    </a:lnTo>
                    <a:lnTo>
                      <a:pt x="706" y="45"/>
                    </a:lnTo>
                    <a:lnTo>
                      <a:pt x="712" y="52"/>
                    </a:lnTo>
                    <a:lnTo>
                      <a:pt x="716" y="58"/>
                    </a:lnTo>
                    <a:lnTo>
                      <a:pt x="719" y="65"/>
                    </a:lnTo>
                    <a:lnTo>
                      <a:pt x="722" y="72"/>
                    </a:lnTo>
                    <a:lnTo>
                      <a:pt x="724" y="80"/>
                    </a:lnTo>
                    <a:lnTo>
                      <a:pt x="727" y="88"/>
                    </a:lnTo>
                    <a:lnTo>
                      <a:pt x="728" y="96"/>
                    </a:lnTo>
                    <a:lnTo>
                      <a:pt x="729" y="105"/>
                    </a:lnTo>
                    <a:lnTo>
                      <a:pt x="730" y="113"/>
                    </a:lnTo>
                    <a:lnTo>
                      <a:pt x="729" y="130"/>
                    </a:lnTo>
                    <a:lnTo>
                      <a:pt x="726" y="148"/>
                    </a:lnTo>
                    <a:lnTo>
                      <a:pt x="723" y="156"/>
                    </a:lnTo>
                    <a:lnTo>
                      <a:pt x="720" y="165"/>
                    </a:lnTo>
                    <a:lnTo>
                      <a:pt x="717" y="173"/>
                    </a:lnTo>
                    <a:lnTo>
                      <a:pt x="713" y="181"/>
                    </a:lnTo>
                    <a:lnTo>
                      <a:pt x="707" y="192"/>
                    </a:lnTo>
                    <a:lnTo>
                      <a:pt x="701" y="204"/>
                    </a:lnTo>
                    <a:lnTo>
                      <a:pt x="692" y="214"/>
                    </a:lnTo>
                    <a:lnTo>
                      <a:pt x="684" y="226"/>
                    </a:lnTo>
                    <a:lnTo>
                      <a:pt x="675" y="236"/>
                    </a:lnTo>
                    <a:lnTo>
                      <a:pt x="666" y="246"/>
                    </a:lnTo>
                    <a:lnTo>
                      <a:pt x="655" y="255"/>
                    </a:lnTo>
                    <a:lnTo>
                      <a:pt x="645" y="265"/>
                    </a:lnTo>
                    <a:lnTo>
                      <a:pt x="634" y="274"/>
                    </a:lnTo>
                    <a:lnTo>
                      <a:pt x="622" y="282"/>
                    </a:lnTo>
                    <a:lnTo>
                      <a:pt x="610" y="291"/>
                    </a:lnTo>
                    <a:lnTo>
                      <a:pt x="597" y="298"/>
                    </a:lnTo>
                    <a:lnTo>
                      <a:pt x="585" y="305"/>
                    </a:lnTo>
                    <a:lnTo>
                      <a:pt x="573" y="310"/>
                    </a:lnTo>
                    <a:lnTo>
                      <a:pt x="560" y="317"/>
                    </a:lnTo>
                    <a:lnTo>
                      <a:pt x="548" y="321"/>
                    </a:lnTo>
                    <a:lnTo>
                      <a:pt x="524" y="329"/>
                    </a:lnTo>
                    <a:lnTo>
                      <a:pt x="501" y="335"/>
                    </a:lnTo>
                    <a:lnTo>
                      <a:pt x="480" y="341"/>
                    </a:lnTo>
                    <a:lnTo>
                      <a:pt x="459" y="346"/>
                    </a:lnTo>
                    <a:lnTo>
                      <a:pt x="439" y="351"/>
                    </a:lnTo>
                    <a:lnTo>
                      <a:pt x="420" y="354"/>
                    </a:lnTo>
                    <a:lnTo>
                      <a:pt x="401" y="357"/>
                    </a:lnTo>
                    <a:lnTo>
                      <a:pt x="382" y="359"/>
                    </a:lnTo>
                    <a:lnTo>
                      <a:pt x="364" y="360"/>
                    </a:lnTo>
                    <a:lnTo>
                      <a:pt x="345" y="360"/>
                    </a:lnTo>
                    <a:lnTo>
                      <a:pt x="326" y="360"/>
                    </a:lnTo>
                    <a:lnTo>
                      <a:pt x="306" y="360"/>
                    </a:lnTo>
                    <a:lnTo>
                      <a:pt x="265" y="357"/>
                    </a:lnTo>
                    <a:lnTo>
                      <a:pt x="218" y="352"/>
                    </a:lnTo>
                    <a:lnTo>
                      <a:pt x="207" y="351"/>
                    </a:lnTo>
                    <a:lnTo>
                      <a:pt x="195" y="348"/>
                    </a:lnTo>
                    <a:lnTo>
                      <a:pt x="183" y="344"/>
                    </a:lnTo>
                    <a:lnTo>
                      <a:pt x="171" y="340"/>
                    </a:lnTo>
                    <a:lnTo>
                      <a:pt x="157" y="335"/>
                    </a:lnTo>
                    <a:lnTo>
                      <a:pt x="145" y="329"/>
                    </a:lnTo>
                    <a:lnTo>
                      <a:pt x="131" y="323"/>
                    </a:lnTo>
                    <a:lnTo>
                      <a:pt x="119" y="317"/>
                    </a:lnTo>
                    <a:lnTo>
                      <a:pt x="107" y="309"/>
                    </a:lnTo>
                    <a:lnTo>
                      <a:pt x="95" y="301"/>
                    </a:lnTo>
                    <a:lnTo>
                      <a:pt x="84" y="293"/>
                    </a:lnTo>
                    <a:lnTo>
                      <a:pt x="73" y="284"/>
                    </a:lnTo>
                    <a:lnTo>
                      <a:pt x="64" y="275"/>
                    </a:lnTo>
                    <a:lnTo>
                      <a:pt x="55" y="266"/>
                    </a:lnTo>
                    <a:lnTo>
                      <a:pt x="48" y="257"/>
                    </a:lnTo>
                    <a:lnTo>
                      <a:pt x="41" y="247"/>
                    </a:lnTo>
                    <a:lnTo>
                      <a:pt x="34" y="232"/>
                    </a:lnTo>
                    <a:lnTo>
                      <a:pt x="28" y="214"/>
                    </a:lnTo>
                    <a:lnTo>
                      <a:pt x="25" y="206"/>
                    </a:lnTo>
                    <a:lnTo>
                      <a:pt x="23" y="197"/>
                    </a:lnTo>
                    <a:lnTo>
                      <a:pt x="22" y="188"/>
                    </a:lnTo>
                    <a:lnTo>
                      <a:pt x="22" y="179"/>
                    </a:lnTo>
                    <a:lnTo>
                      <a:pt x="22" y="170"/>
                    </a:lnTo>
                    <a:lnTo>
                      <a:pt x="22" y="161"/>
                    </a:lnTo>
                    <a:lnTo>
                      <a:pt x="24" y="153"/>
                    </a:lnTo>
                    <a:lnTo>
                      <a:pt x="27" y="145"/>
                    </a:lnTo>
                    <a:lnTo>
                      <a:pt x="30" y="137"/>
                    </a:lnTo>
                    <a:lnTo>
                      <a:pt x="34" y="129"/>
                    </a:lnTo>
                    <a:lnTo>
                      <a:pt x="40" y="122"/>
                    </a:lnTo>
                    <a:lnTo>
                      <a:pt x="48" y="115"/>
                    </a:lnTo>
                    <a:lnTo>
                      <a:pt x="57" y="109"/>
                    </a:lnTo>
                    <a:lnTo>
                      <a:pt x="67" y="102"/>
                    </a:lnTo>
                    <a:lnTo>
                      <a:pt x="80" y="97"/>
                    </a:lnTo>
                    <a:lnTo>
                      <a:pt x="93" y="94"/>
                    </a:lnTo>
                    <a:lnTo>
                      <a:pt x="107" y="91"/>
                    </a:lnTo>
                    <a:lnTo>
                      <a:pt x="121" y="90"/>
                    </a:lnTo>
                    <a:lnTo>
                      <a:pt x="134" y="90"/>
                    </a:lnTo>
                    <a:lnTo>
                      <a:pt x="148" y="91"/>
                    </a:lnTo>
                    <a:lnTo>
                      <a:pt x="154" y="92"/>
                    </a:lnTo>
                    <a:lnTo>
                      <a:pt x="160" y="94"/>
                    </a:lnTo>
                    <a:lnTo>
                      <a:pt x="166" y="97"/>
                    </a:lnTo>
                    <a:lnTo>
                      <a:pt x="173" y="100"/>
                    </a:lnTo>
                    <a:lnTo>
                      <a:pt x="179" y="105"/>
                    </a:lnTo>
                    <a:lnTo>
                      <a:pt x="184" y="110"/>
                    </a:lnTo>
                    <a:lnTo>
                      <a:pt x="188" y="116"/>
                    </a:lnTo>
                    <a:lnTo>
                      <a:pt x="192" y="123"/>
                    </a:lnTo>
                    <a:lnTo>
                      <a:pt x="194" y="131"/>
                    </a:lnTo>
                    <a:lnTo>
                      <a:pt x="195" y="139"/>
                    </a:lnTo>
                    <a:lnTo>
                      <a:pt x="195" y="146"/>
                    </a:lnTo>
                    <a:lnTo>
                      <a:pt x="193" y="153"/>
                    </a:lnTo>
                    <a:lnTo>
                      <a:pt x="191" y="159"/>
                    </a:lnTo>
                    <a:lnTo>
                      <a:pt x="188" y="166"/>
                    </a:lnTo>
                    <a:lnTo>
                      <a:pt x="183" y="172"/>
                    </a:lnTo>
                    <a:lnTo>
                      <a:pt x="177" y="177"/>
                    </a:lnTo>
                    <a:lnTo>
                      <a:pt x="172" y="181"/>
                    </a:lnTo>
                    <a:lnTo>
                      <a:pt x="165" y="184"/>
                    </a:lnTo>
                    <a:lnTo>
                      <a:pt x="159" y="187"/>
                    </a:lnTo>
                    <a:lnTo>
                      <a:pt x="153" y="189"/>
                    </a:lnTo>
                    <a:lnTo>
                      <a:pt x="147" y="190"/>
                    </a:lnTo>
                    <a:lnTo>
                      <a:pt x="141" y="190"/>
                    </a:lnTo>
                    <a:lnTo>
                      <a:pt x="135" y="190"/>
                    </a:lnTo>
                    <a:lnTo>
                      <a:pt x="130" y="189"/>
                    </a:lnTo>
                    <a:lnTo>
                      <a:pt x="126" y="187"/>
                    </a:lnTo>
                    <a:lnTo>
                      <a:pt x="122" y="185"/>
                    </a:lnTo>
                    <a:lnTo>
                      <a:pt x="119" y="183"/>
                    </a:lnTo>
                    <a:lnTo>
                      <a:pt x="117" y="180"/>
                    </a:lnTo>
                    <a:lnTo>
                      <a:pt x="115" y="174"/>
                    </a:lnTo>
                    <a:lnTo>
                      <a:pt x="114" y="168"/>
                    </a:lnTo>
                    <a:lnTo>
                      <a:pt x="93" y="170"/>
                    </a:lnTo>
                    <a:lnTo>
                      <a:pt x="93" y="176"/>
                    </a:lnTo>
                    <a:lnTo>
                      <a:pt x="95" y="182"/>
                    </a:lnTo>
                    <a:lnTo>
                      <a:pt x="98" y="187"/>
                    </a:lnTo>
                    <a:lnTo>
                      <a:pt x="101" y="192"/>
                    </a:lnTo>
                    <a:lnTo>
                      <a:pt x="105" y="197"/>
                    </a:lnTo>
                    <a:lnTo>
                      <a:pt x="111" y="201"/>
                    </a:lnTo>
                    <a:lnTo>
                      <a:pt x="116" y="204"/>
                    </a:lnTo>
                    <a:lnTo>
                      <a:pt x="122" y="206"/>
                    </a:lnTo>
                    <a:lnTo>
                      <a:pt x="130" y="208"/>
                    </a:lnTo>
                    <a:lnTo>
                      <a:pt x="139" y="208"/>
                    </a:lnTo>
                    <a:lnTo>
                      <a:pt x="148" y="208"/>
                    </a:lnTo>
                    <a:lnTo>
                      <a:pt x="157" y="206"/>
                    </a:lnTo>
                    <a:lnTo>
                      <a:pt x="165" y="204"/>
                    </a:lnTo>
                    <a:lnTo>
                      <a:pt x="175" y="200"/>
                    </a:lnTo>
                    <a:lnTo>
                      <a:pt x="183" y="196"/>
                    </a:lnTo>
                    <a:lnTo>
                      <a:pt x="191" y="189"/>
                    </a:lnTo>
                    <a:lnTo>
                      <a:pt x="200" y="182"/>
                    </a:lnTo>
                    <a:lnTo>
                      <a:pt x="206" y="174"/>
                    </a:lnTo>
                    <a:lnTo>
                      <a:pt x="211" y="166"/>
                    </a:lnTo>
                    <a:lnTo>
                      <a:pt x="214" y="157"/>
                    </a:lnTo>
                    <a:lnTo>
                      <a:pt x="216" y="148"/>
                    </a:lnTo>
                    <a:lnTo>
                      <a:pt x="216" y="138"/>
                    </a:lnTo>
                    <a:lnTo>
                      <a:pt x="215" y="128"/>
                    </a:lnTo>
                    <a:lnTo>
                      <a:pt x="212" y="118"/>
                    </a:lnTo>
                    <a:lnTo>
                      <a:pt x="209" y="110"/>
                    </a:lnTo>
                    <a:lnTo>
                      <a:pt x="204" y="101"/>
                    </a:lnTo>
                    <a:lnTo>
                      <a:pt x="197" y="95"/>
                    </a:lnTo>
                    <a:lnTo>
                      <a:pt x="190" y="89"/>
                    </a:lnTo>
                    <a:lnTo>
                      <a:pt x="183" y="84"/>
                    </a:lnTo>
                    <a:lnTo>
                      <a:pt x="174" y="80"/>
                    </a:lnTo>
                    <a:lnTo>
                      <a:pt x="163" y="77"/>
                    </a:lnTo>
                    <a:lnTo>
                      <a:pt x="153" y="74"/>
                    </a:lnTo>
                    <a:lnTo>
                      <a:pt x="138" y="72"/>
                    </a:lnTo>
                    <a:lnTo>
                      <a:pt x="121" y="72"/>
                    </a:lnTo>
                    <a:lnTo>
                      <a:pt x="104" y="74"/>
                    </a:lnTo>
                    <a:lnTo>
                      <a:pt x="88" y="77"/>
                    </a:lnTo>
                    <a:lnTo>
                      <a:pt x="72" y="82"/>
                    </a:lnTo>
                    <a:lnTo>
                      <a:pt x="57" y="88"/>
                    </a:lnTo>
                    <a:lnTo>
                      <a:pt x="43" y="95"/>
                    </a:lnTo>
                    <a:lnTo>
                      <a:pt x="32" y="103"/>
                    </a:lnTo>
                    <a:lnTo>
                      <a:pt x="24" y="112"/>
                    </a:lnTo>
                    <a:lnTo>
                      <a:pt x="18" y="120"/>
                    </a:lnTo>
                    <a:lnTo>
                      <a:pt x="11" y="128"/>
                    </a:lnTo>
                    <a:lnTo>
                      <a:pt x="7" y="138"/>
                    </a:lnTo>
                    <a:lnTo>
                      <a:pt x="4" y="148"/>
                    </a:lnTo>
                    <a:lnTo>
                      <a:pt x="2" y="157"/>
                    </a:lnTo>
                    <a:lnTo>
                      <a:pt x="1" y="168"/>
                    </a:lnTo>
                    <a:lnTo>
                      <a:pt x="0" y="178"/>
                    </a:lnTo>
                    <a:lnTo>
                      <a:pt x="1" y="188"/>
                    </a:lnTo>
                    <a:lnTo>
                      <a:pt x="2" y="198"/>
                    </a:lnTo>
                    <a:lnTo>
                      <a:pt x="4" y="208"/>
                    </a:lnTo>
                    <a:lnTo>
                      <a:pt x="7" y="218"/>
                    </a:lnTo>
                    <a:lnTo>
                      <a:pt x="10" y="228"/>
                    </a:lnTo>
                    <a:lnTo>
                      <a:pt x="15" y="237"/>
                    </a:lnTo>
                    <a:lnTo>
                      <a:pt x="19" y="246"/>
                    </a:lnTo>
                    <a:lnTo>
                      <a:pt x="23" y="255"/>
                    </a:lnTo>
                    <a:lnTo>
                      <a:pt x="29" y="266"/>
                    </a:lnTo>
                    <a:lnTo>
                      <a:pt x="37" y="276"/>
                    </a:lnTo>
                    <a:lnTo>
                      <a:pt x="47" y="285"/>
                    </a:lnTo>
                    <a:lnTo>
                      <a:pt x="57" y="296"/>
                    </a:lnTo>
                    <a:lnTo>
                      <a:pt x="68" y="305"/>
                    </a:lnTo>
                    <a:lnTo>
                      <a:pt x="81" y="314"/>
                    </a:lnTo>
                    <a:lnTo>
                      <a:pt x="93" y="323"/>
                    </a:lnTo>
                    <a:lnTo>
                      <a:pt x="107" y="331"/>
                    </a:lnTo>
                    <a:lnTo>
                      <a:pt x="120" y="338"/>
                    </a:lnTo>
                    <a:lnTo>
                      <a:pt x="133" y="344"/>
                    </a:lnTo>
                    <a:lnTo>
                      <a:pt x="148" y="351"/>
                    </a:lnTo>
                    <a:lnTo>
                      <a:pt x="162" y="357"/>
                    </a:lnTo>
                    <a:lnTo>
                      <a:pt x="176" y="361"/>
                    </a:lnTo>
                    <a:lnTo>
                      <a:pt x="189" y="365"/>
                    </a:lnTo>
                    <a:lnTo>
                      <a:pt x="203" y="367"/>
                    </a:lnTo>
                    <a:lnTo>
                      <a:pt x="215" y="369"/>
                    </a:lnTo>
                    <a:lnTo>
                      <a:pt x="263" y="374"/>
                    </a:lnTo>
                    <a:lnTo>
                      <a:pt x="305" y="378"/>
                    </a:lnTo>
                    <a:lnTo>
                      <a:pt x="326" y="378"/>
                    </a:lnTo>
                    <a:lnTo>
                      <a:pt x="345" y="378"/>
                    </a:lnTo>
                    <a:lnTo>
                      <a:pt x="365" y="378"/>
                    </a:lnTo>
                    <a:lnTo>
                      <a:pt x="383" y="375"/>
                    </a:lnTo>
                    <a:lnTo>
                      <a:pt x="403" y="374"/>
                    </a:lnTo>
                    <a:lnTo>
                      <a:pt x="423" y="371"/>
                    </a:lnTo>
                    <a:lnTo>
                      <a:pt x="442" y="367"/>
                    </a:lnTo>
                    <a:lnTo>
                      <a:pt x="463" y="363"/>
                    </a:lnTo>
                    <a:lnTo>
                      <a:pt x="484" y="358"/>
                    </a:lnTo>
                    <a:lnTo>
                      <a:pt x="506" y="352"/>
                    </a:lnTo>
                    <a:lnTo>
                      <a:pt x="530" y="344"/>
                    </a:lnTo>
                    <a:lnTo>
                      <a:pt x="555" y="337"/>
                    </a:lnTo>
                    <a:lnTo>
                      <a:pt x="568" y="332"/>
                    </a:lnTo>
                    <a:lnTo>
                      <a:pt x="582" y="326"/>
                    </a:lnTo>
                    <a:lnTo>
                      <a:pt x="595" y="320"/>
                    </a:lnTo>
                    <a:lnTo>
                      <a:pt x="609" y="312"/>
                    </a:lnTo>
                    <a:lnTo>
                      <a:pt x="621" y="304"/>
                    </a:lnTo>
                    <a:lnTo>
                      <a:pt x="635" y="296"/>
                    </a:lnTo>
                    <a:lnTo>
                      <a:pt x="647" y="287"/>
                    </a:lnTo>
                    <a:lnTo>
                      <a:pt x="658" y="277"/>
                    </a:lnTo>
                    <a:lnTo>
                      <a:pt x="670" y="267"/>
                    </a:lnTo>
                    <a:lnTo>
                      <a:pt x="681" y="257"/>
                    </a:lnTo>
                    <a:lnTo>
                      <a:pt x="691" y="245"/>
                    </a:lnTo>
                    <a:lnTo>
                      <a:pt x="702" y="235"/>
                    </a:lnTo>
                    <a:lnTo>
                      <a:pt x="710" y="223"/>
                    </a:lnTo>
                    <a:lnTo>
                      <a:pt x="718" y="211"/>
                    </a:lnTo>
                    <a:lnTo>
                      <a:pt x="727" y="200"/>
                    </a:lnTo>
                    <a:lnTo>
                      <a:pt x="733" y="187"/>
                    </a:lnTo>
                    <a:lnTo>
                      <a:pt x="737" y="178"/>
                    </a:lnTo>
                    <a:lnTo>
                      <a:pt x="741" y="169"/>
                    </a:lnTo>
                    <a:lnTo>
                      <a:pt x="744" y="159"/>
                    </a:lnTo>
                    <a:lnTo>
                      <a:pt x="746" y="150"/>
                    </a:lnTo>
                    <a:lnTo>
                      <a:pt x="748" y="141"/>
                    </a:lnTo>
                    <a:lnTo>
                      <a:pt x="749" y="130"/>
                    </a:lnTo>
                    <a:lnTo>
                      <a:pt x="750" y="121"/>
                    </a:lnTo>
                    <a:lnTo>
                      <a:pt x="750" y="111"/>
                    </a:lnTo>
                    <a:lnTo>
                      <a:pt x="749" y="101"/>
                    </a:lnTo>
                    <a:lnTo>
                      <a:pt x="748" y="92"/>
                    </a:lnTo>
                    <a:lnTo>
                      <a:pt x="747" y="83"/>
                    </a:lnTo>
                    <a:lnTo>
                      <a:pt x="745" y="75"/>
                    </a:lnTo>
                    <a:lnTo>
                      <a:pt x="742" y="66"/>
                    </a:lnTo>
                    <a:lnTo>
                      <a:pt x="739" y="58"/>
                    </a:lnTo>
                    <a:lnTo>
                      <a:pt x="735" y="50"/>
                    </a:lnTo>
                    <a:lnTo>
                      <a:pt x="730" y="42"/>
                    </a:lnTo>
                    <a:lnTo>
                      <a:pt x="723" y="34"/>
                    </a:lnTo>
                    <a:lnTo>
                      <a:pt x="715" y="26"/>
                    </a:lnTo>
                    <a:lnTo>
                      <a:pt x="707" y="19"/>
                    </a:lnTo>
                    <a:lnTo>
                      <a:pt x="697" y="14"/>
                    </a:lnTo>
                    <a:lnTo>
                      <a:pt x="687" y="8"/>
                    </a:lnTo>
                    <a:lnTo>
                      <a:pt x="676" y="4"/>
                    </a:lnTo>
                    <a:lnTo>
                      <a:pt x="664" y="2"/>
                    </a:lnTo>
                    <a:lnTo>
                      <a:pt x="651" y="0"/>
                    </a:lnTo>
                    <a:lnTo>
                      <a:pt x="636" y="0"/>
                    </a:lnTo>
                    <a:lnTo>
                      <a:pt x="620" y="1"/>
                    </a:lnTo>
                    <a:lnTo>
                      <a:pt x="607" y="5"/>
                    </a:lnTo>
                    <a:lnTo>
                      <a:pt x="594" y="9"/>
                    </a:lnTo>
                    <a:lnTo>
                      <a:pt x="582" y="16"/>
                    </a:lnTo>
                    <a:lnTo>
                      <a:pt x="570" y="22"/>
                    </a:lnTo>
                    <a:lnTo>
                      <a:pt x="559" y="30"/>
                    </a:lnTo>
                    <a:lnTo>
                      <a:pt x="548" y="38"/>
                    </a:lnTo>
                    <a:close/>
                  </a:path>
                </a:pathLst>
              </a:custGeom>
              <a:solidFill>
                <a:srgbClr val="F1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24" name="Freeform 139"/>
              <p:cNvSpPr>
                <a:spLocks/>
              </p:cNvSpPr>
              <p:nvPr/>
            </p:nvSpPr>
            <p:spPr bwMode="auto">
              <a:xfrm>
                <a:off x="3761" y="1827"/>
                <a:ext cx="23" cy="65"/>
              </a:xfrm>
              <a:custGeom>
                <a:avLst/>
                <a:gdLst>
                  <a:gd name="T0" fmla="*/ 0 w 160"/>
                  <a:gd name="T1" fmla="*/ 0 h 454"/>
                  <a:gd name="T2" fmla="*/ 0 w 160"/>
                  <a:gd name="T3" fmla="*/ 0 h 454"/>
                  <a:gd name="T4" fmla="*/ 0 w 160"/>
                  <a:gd name="T5" fmla="*/ 0 h 454"/>
                  <a:gd name="T6" fmla="*/ 0 w 160"/>
                  <a:gd name="T7" fmla="*/ 0 h 454"/>
                  <a:gd name="T8" fmla="*/ 0 w 160"/>
                  <a:gd name="T9" fmla="*/ 0 h 454"/>
                  <a:gd name="T10" fmla="*/ 0 w 160"/>
                  <a:gd name="T11" fmla="*/ 0 h 454"/>
                  <a:gd name="T12" fmla="*/ 0 w 160"/>
                  <a:gd name="T13" fmla="*/ 0 h 454"/>
                  <a:gd name="T14" fmla="*/ 0 w 160"/>
                  <a:gd name="T15" fmla="*/ 0 h 454"/>
                  <a:gd name="T16" fmla="*/ 0 w 160"/>
                  <a:gd name="T17" fmla="*/ 0 h 454"/>
                  <a:gd name="T18" fmla="*/ 0 w 160"/>
                  <a:gd name="T19" fmla="*/ 0 h 454"/>
                  <a:gd name="T20" fmla="*/ 0 w 160"/>
                  <a:gd name="T21" fmla="*/ 0 h 454"/>
                  <a:gd name="T22" fmla="*/ 0 w 160"/>
                  <a:gd name="T23" fmla="*/ 0 h 454"/>
                  <a:gd name="T24" fmla="*/ 0 w 160"/>
                  <a:gd name="T25" fmla="*/ 0 h 454"/>
                  <a:gd name="T26" fmla="*/ 0 w 160"/>
                  <a:gd name="T27" fmla="*/ 0 h 454"/>
                  <a:gd name="T28" fmla="*/ 0 w 160"/>
                  <a:gd name="T29" fmla="*/ 0 h 454"/>
                  <a:gd name="T30" fmla="*/ 0 w 160"/>
                  <a:gd name="T31" fmla="*/ 0 h 454"/>
                  <a:gd name="T32" fmla="*/ 0 w 160"/>
                  <a:gd name="T33" fmla="*/ 0 h 454"/>
                  <a:gd name="T34" fmla="*/ 0 w 160"/>
                  <a:gd name="T35" fmla="*/ 0 h 454"/>
                  <a:gd name="T36" fmla="*/ 0 w 160"/>
                  <a:gd name="T37" fmla="*/ 0 h 454"/>
                  <a:gd name="T38" fmla="*/ 0 w 160"/>
                  <a:gd name="T39" fmla="*/ 0 h 454"/>
                  <a:gd name="T40" fmla="*/ 0 w 160"/>
                  <a:gd name="T41" fmla="*/ 0 h 454"/>
                  <a:gd name="T42" fmla="*/ 0 w 160"/>
                  <a:gd name="T43" fmla="*/ 0 h 454"/>
                  <a:gd name="T44" fmla="*/ 0 w 160"/>
                  <a:gd name="T45" fmla="*/ 0 h 454"/>
                  <a:gd name="T46" fmla="*/ 0 w 160"/>
                  <a:gd name="T47" fmla="*/ 0 h 454"/>
                  <a:gd name="T48" fmla="*/ 0 w 160"/>
                  <a:gd name="T49" fmla="*/ 0 h 454"/>
                  <a:gd name="T50" fmla="*/ 0 w 160"/>
                  <a:gd name="T51" fmla="*/ 0 h 454"/>
                  <a:gd name="T52" fmla="*/ 0 w 160"/>
                  <a:gd name="T53" fmla="*/ 0 h 454"/>
                  <a:gd name="T54" fmla="*/ 0 w 160"/>
                  <a:gd name="T55" fmla="*/ 0 h 454"/>
                  <a:gd name="T56" fmla="*/ 0 w 160"/>
                  <a:gd name="T57" fmla="*/ 0 h 454"/>
                  <a:gd name="T58" fmla="*/ 0 w 160"/>
                  <a:gd name="T59" fmla="*/ 0 h 454"/>
                  <a:gd name="T60" fmla="*/ 0 w 160"/>
                  <a:gd name="T61" fmla="*/ 0 h 454"/>
                  <a:gd name="T62" fmla="*/ 0 w 160"/>
                  <a:gd name="T63" fmla="*/ 0 h 454"/>
                  <a:gd name="T64" fmla="*/ 0 w 160"/>
                  <a:gd name="T65" fmla="*/ 0 h 454"/>
                  <a:gd name="T66" fmla="*/ 0 w 160"/>
                  <a:gd name="T67" fmla="*/ 0 h 454"/>
                  <a:gd name="T68" fmla="*/ 0 w 160"/>
                  <a:gd name="T69" fmla="*/ 0 h 454"/>
                  <a:gd name="T70" fmla="*/ 0 w 160"/>
                  <a:gd name="T71" fmla="*/ 0 h 454"/>
                  <a:gd name="T72" fmla="*/ 0 w 160"/>
                  <a:gd name="T73" fmla="*/ 0 h 454"/>
                  <a:gd name="T74" fmla="*/ 0 w 160"/>
                  <a:gd name="T75" fmla="*/ 0 h 454"/>
                  <a:gd name="T76" fmla="*/ 0 w 160"/>
                  <a:gd name="T77" fmla="*/ 0 h 454"/>
                  <a:gd name="T78" fmla="*/ 0 w 160"/>
                  <a:gd name="T79" fmla="*/ 0 h 454"/>
                  <a:gd name="T80" fmla="*/ 0 w 160"/>
                  <a:gd name="T81" fmla="*/ 0 h 454"/>
                  <a:gd name="T82" fmla="*/ 0 w 160"/>
                  <a:gd name="T83" fmla="*/ 0 h 454"/>
                  <a:gd name="T84" fmla="*/ 0 w 160"/>
                  <a:gd name="T85" fmla="*/ 0 h 454"/>
                  <a:gd name="T86" fmla="*/ 0 w 160"/>
                  <a:gd name="T87" fmla="*/ 0 h 454"/>
                  <a:gd name="T88" fmla="*/ 0 w 160"/>
                  <a:gd name="T89" fmla="*/ 0 h 454"/>
                  <a:gd name="T90" fmla="*/ 0 w 160"/>
                  <a:gd name="T91" fmla="*/ 0 h 454"/>
                  <a:gd name="T92" fmla="*/ 0 w 160"/>
                  <a:gd name="T93" fmla="*/ 0 h 454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60"/>
                  <a:gd name="T142" fmla="*/ 0 h 454"/>
                  <a:gd name="T143" fmla="*/ 160 w 160"/>
                  <a:gd name="T144" fmla="*/ 454 h 454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60" h="454">
                    <a:moveTo>
                      <a:pt x="65" y="0"/>
                    </a:moveTo>
                    <a:lnTo>
                      <a:pt x="51" y="8"/>
                    </a:lnTo>
                    <a:lnTo>
                      <a:pt x="38" y="17"/>
                    </a:lnTo>
                    <a:lnTo>
                      <a:pt x="28" y="28"/>
                    </a:lnTo>
                    <a:lnTo>
                      <a:pt x="20" y="38"/>
                    </a:lnTo>
                    <a:lnTo>
                      <a:pt x="13" y="50"/>
                    </a:lnTo>
                    <a:lnTo>
                      <a:pt x="7" y="63"/>
                    </a:lnTo>
                    <a:lnTo>
                      <a:pt x="3" y="76"/>
                    </a:lnTo>
                    <a:lnTo>
                      <a:pt x="1" y="91"/>
                    </a:lnTo>
                    <a:lnTo>
                      <a:pt x="0" y="106"/>
                    </a:lnTo>
                    <a:lnTo>
                      <a:pt x="0" y="121"/>
                    </a:lnTo>
                    <a:lnTo>
                      <a:pt x="1" y="137"/>
                    </a:lnTo>
                    <a:lnTo>
                      <a:pt x="3" y="153"/>
                    </a:lnTo>
                    <a:lnTo>
                      <a:pt x="7" y="169"/>
                    </a:lnTo>
                    <a:lnTo>
                      <a:pt x="12" y="187"/>
                    </a:lnTo>
                    <a:lnTo>
                      <a:pt x="17" y="203"/>
                    </a:lnTo>
                    <a:lnTo>
                      <a:pt x="23" y="221"/>
                    </a:lnTo>
                    <a:lnTo>
                      <a:pt x="36" y="255"/>
                    </a:lnTo>
                    <a:lnTo>
                      <a:pt x="51" y="289"/>
                    </a:lnTo>
                    <a:lnTo>
                      <a:pt x="67" y="322"/>
                    </a:lnTo>
                    <a:lnTo>
                      <a:pt x="84" y="353"/>
                    </a:lnTo>
                    <a:lnTo>
                      <a:pt x="116" y="410"/>
                    </a:lnTo>
                    <a:lnTo>
                      <a:pt x="141" y="454"/>
                    </a:lnTo>
                    <a:lnTo>
                      <a:pt x="147" y="441"/>
                    </a:lnTo>
                    <a:lnTo>
                      <a:pt x="152" y="429"/>
                    </a:lnTo>
                    <a:lnTo>
                      <a:pt x="156" y="415"/>
                    </a:lnTo>
                    <a:lnTo>
                      <a:pt x="158" y="401"/>
                    </a:lnTo>
                    <a:lnTo>
                      <a:pt x="159" y="385"/>
                    </a:lnTo>
                    <a:lnTo>
                      <a:pt x="160" y="370"/>
                    </a:lnTo>
                    <a:lnTo>
                      <a:pt x="159" y="353"/>
                    </a:lnTo>
                    <a:lnTo>
                      <a:pt x="158" y="338"/>
                    </a:lnTo>
                    <a:lnTo>
                      <a:pt x="155" y="305"/>
                    </a:lnTo>
                    <a:lnTo>
                      <a:pt x="151" y="274"/>
                    </a:lnTo>
                    <a:lnTo>
                      <a:pt x="147" y="245"/>
                    </a:lnTo>
                    <a:lnTo>
                      <a:pt x="145" y="219"/>
                    </a:lnTo>
                    <a:lnTo>
                      <a:pt x="144" y="203"/>
                    </a:lnTo>
                    <a:lnTo>
                      <a:pt x="142" y="188"/>
                    </a:lnTo>
                    <a:lnTo>
                      <a:pt x="140" y="172"/>
                    </a:lnTo>
                    <a:lnTo>
                      <a:pt x="138" y="158"/>
                    </a:lnTo>
                    <a:lnTo>
                      <a:pt x="134" y="144"/>
                    </a:lnTo>
                    <a:lnTo>
                      <a:pt x="130" y="131"/>
                    </a:lnTo>
                    <a:lnTo>
                      <a:pt x="126" y="118"/>
                    </a:lnTo>
                    <a:lnTo>
                      <a:pt x="121" y="104"/>
                    </a:lnTo>
                    <a:lnTo>
                      <a:pt x="110" y="78"/>
                    </a:lnTo>
                    <a:lnTo>
                      <a:pt x="97" y="52"/>
                    </a:lnTo>
                    <a:lnTo>
                      <a:pt x="82" y="27"/>
                    </a:lnTo>
                    <a:lnTo>
                      <a:pt x="65" y="0"/>
                    </a:lnTo>
                    <a:close/>
                  </a:path>
                </a:pathLst>
              </a:custGeom>
              <a:solidFill>
                <a:srgbClr val="F1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25" name="Freeform 140"/>
              <p:cNvSpPr>
                <a:spLocks/>
              </p:cNvSpPr>
              <p:nvPr/>
            </p:nvSpPr>
            <p:spPr bwMode="auto">
              <a:xfrm>
                <a:off x="3719" y="1824"/>
                <a:ext cx="105" cy="79"/>
              </a:xfrm>
              <a:custGeom>
                <a:avLst/>
                <a:gdLst>
                  <a:gd name="T0" fmla="*/ 0 w 736"/>
                  <a:gd name="T1" fmla="*/ 0 h 553"/>
                  <a:gd name="T2" fmla="*/ 0 w 736"/>
                  <a:gd name="T3" fmla="*/ 0 h 553"/>
                  <a:gd name="T4" fmla="*/ 0 w 736"/>
                  <a:gd name="T5" fmla="*/ 0 h 553"/>
                  <a:gd name="T6" fmla="*/ 0 w 736"/>
                  <a:gd name="T7" fmla="*/ 0 h 553"/>
                  <a:gd name="T8" fmla="*/ 0 w 736"/>
                  <a:gd name="T9" fmla="*/ 0 h 553"/>
                  <a:gd name="T10" fmla="*/ 0 w 736"/>
                  <a:gd name="T11" fmla="*/ 0 h 553"/>
                  <a:gd name="T12" fmla="*/ 0 w 736"/>
                  <a:gd name="T13" fmla="*/ 0 h 553"/>
                  <a:gd name="T14" fmla="*/ 0 w 736"/>
                  <a:gd name="T15" fmla="*/ 0 h 553"/>
                  <a:gd name="T16" fmla="*/ 0 w 736"/>
                  <a:gd name="T17" fmla="*/ 0 h 553"/>
                  <a:gd name="T18" fmla="*/ 0 w 736"/>
                  <a:gd name="T19" fmla="*/ 0 h 553"/>
                  <a:gd name="T20" fmla="*/ 0 w 736"/>
                  <a:gd name="T21" fmla="*/ 0 h 553"/>
                  <a:gd name="T22" fmla="*/ 0 w 736"/>
                  <a:gd name="T23" fmla="*/ 0 h 553"/>
                  <a:gd name="T24" fmla="*/ 0 w 736"/>
                  <a:gd name="T25" fmla="*/ 0 h 553"/>
                  <a:gd name="T26" fmla="*/ 0 w 736"/>
                  <a:gd name="T27" fmla="*/ 0 h 553"/>
                  <a:gd name="T28" fmla="*/ 0 w 736"/>
                  <a:gd name="T29" fmla="*/ 0 h 553"/>
                  <a:gd name="T30" fmla="*/ 0 w 736"/>
                  <a:gd name="T31" fmla="*/ 0 h 553"/>
                  <a:gd name="T32" fmla="*/ 0 w 736"/>
                  <a:gd name="T33" fmla="*/ 0 h 553"/>
                  <a:gd name="T34" fmla="*/ 0 w 736"/>
                  <a:gd name="T35" fmla="*/ 0 h 553"/>
                  <a:gd name="T36" fmla="*/ 0 w 736"/>
                  <a:gd name="T37" fmla="*/ 0 h 553"/>
                  <a:gd name="T38" fmla="*/ 0 w 736"/>
                  <a:gd name="T39" fmla="*/ 0 h 553"/>
                  <a:gd name="T40" fmla="*/ 0 w 736"/>
                  <a:gd name="T41" fmla="*/ 0 h 553"/>
                  <a:gd name="T42" fmla="*/ 0 w 736"/>
                  <a:gd name="T43" fmla="*/ 0 h 553"/>
                  <a:gd name="T44" fmla="*/ 0 w 736"/>
                  <a:gd name="T45" fmla="*/ 0 h 553"/>
                  <a:gd name="T46" fmla="*/ 0 w 736"/>
                  <a:gd name="T47" fmla="*/ 0 h 553"/>
                  <a:gd name="T48" fmla="*/ 0 w 736"/>
                  <a:gd name="T49" fmla="*/ 0 h 553"/>
                  <a:gd name="T50" fmla="*/ 0 w 736"/>
                  <a:gd name="T51" fmla="*/ 0 h 553"/>
                  <a:gd name="T52" fmla="*/ 0 w 736"/>
                  <a:gd name="T53" fmla="*/ 0 h 553"/>
                  <a:gd name="T54" fmla="*/ 0 w 736"/>
                  <a:gd name="T55" fmla="*/ 0 h 553"/>
                  <a:gd name="T56" fmla="*/ 0 w 736"/>
                  <a:gd name="T57" fmla="*/ 0 h 553"/>
                  <a:gd name="T58" fmla="*/ 0 w 736"/>
                  <a:gd name="T59" fmla="*/ 0 h 553"/>
                  <a:gd name="T60" fmla="*/ 0 w 736"/>
                  <a:gd name="T61" fmla="*/ 0 h 553"/>
                  <a:gd name="T62" fmla="*/ 0 w 736"/>
                  <a:gd name="T63" fmla="*/ 0 h 553"/>
                  <a:gd name="T64" fmla="*/ 0 w 736"/>
                  <a:gd name="T65" fmla="*/ 0 h 553"/>
                  <a:gd name="T66" fmla="*/ 0 w 736"/>
                  <a:gd name="T67" fmla="*/ 0 h 553"/>
                  <a:gd name="T68" fmla="*/ 0 w 736"/>
                  <a:gd name="T69" fmla="*/ 0 h 553"/>
                  <a:gd name="T70" fmla="*/ 0 w 736"/>
                  <a:gd name="T71" fmla="*/ 0 h 553"/>
                  <a:gd name="T72" fmla="*/ 0 w 736"/>
                  <a:gd name="T73" fmla="*/ 0 h 553"/>
                  <a:gd name="T74" fmla="*/ 0 w 736"/>
                  <a:gd name="T75" fmla="*/ 0 h 553"/>
                  <a:gd name="T76" fmla="*/ 0 w 736"/>
                  <a:gd name="T77" fmla="*/ 0 h 553"/>
                  <a:gd name="T78" fmla="*/ 0 w 736"/>
                  <a:gd name="T79" fmla="*/ 0 h 553"/>
                  <a:gd name="T80" fmla="*/ 0 w 736"/>
                  <a:gd name="T81" fmla="*/ 0 h 553"/>
                  <a:gd name="T82" fmla="*/ 0 w 736"/>
                  <a:gd name="T83" fmla="*/ 0 h 553"/>
                  <a:gd name="T84" fmla="*/ 0 w 736"/>
                  <a:gd name="T85" fmla="*/ 0 h 553"/>
                  <a:gd name="T86" fmla="*/ 0 w 736"/>
                  <a:gd name="T87" fmla="*/ 0 h 553"/>
                  <a:gd name="T88" fmla="*/ 0 w 736"/>
                  <a:gd name="T89" fmla="*/ 0 h 553"/>
                  <a:gd name="T90" fmla="*/ 0 w 736"/>
                  <a:gd name="T91" fmla="*/ 0 h 553"/>
                  <a:gd name="T92" fmla="*/ 0 w 736"/>
                  <a:gd name="T93" fmla="*/ 0 h 553"/>
                  <a:gd name="T94" fmla="*/ 0 w 736"/>
                  <a:gd name="T95" fmla="*/ 0 h 553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36"/>
                  <a:gd name="T145" fmla="*/ 0 h 553"/>
                  <a:gd name="T146" fmla="*/ 736 w 736"/>
                  <a:gd name="T147" fmla="*/ 553 h 553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36" h="553">
                    <a:moveTo>
                      <a:pt x="605" y="12"/>
                    </a:moveTo>
                    <a:lnTo>
                      <a:pt x="594" y="16"/>
                    </a:lnTo>
                    <a:lnTo>
                      <a:pt x="582" y="22"/>
                    </a:lnTo>
                    <a:lnTo>
                      <a:pt x="572" y="27"/>
                    </a:lnTo>
                    <a:lnTo>
                      <a:pt x="562" y="34"/>
                    </a:lnTo>
                    <a:lnTo>
                      <a:pt x="552" y="41"/>
                    </a:lnTo>
                    <a:lnTo>
                      <a:pt x="544" y="48"/>
                    </a:lnTo>
                    <a:lnTo>
                      <a:pt x="535" y="57"/>
                    </a:lnTo>
                    <a:lnTo>
                      <a:pt x="528" y="65"/>
                    </a:lnTo>
                    <a:lnTo>
                      <a:pt x="520" y="73"/>
                    </a:lnTo>
                    <a:lnTo>
                      <a:pt x="513" y="83"/>
                    </a:lnTo>
                    <a:lnTo>
                      <a:pt x="507" y="92"/>
                    </a:lnTo>
                    <a:lnTo>
                      <a:pt x="501" y="101"/>
                    </a:lnTo>
                    <a:lnTo>
                      <a:pt x="492" y="121"/>
                    </a:lnTo>
                    <a:lnTo>
                      <a:pt x="483" y="139"/>
                    </a:lnTo>
                    <a:lnTo>
                      <a:pt x="480" y="150"/>
                    </a:lnTo>
                    <a:lnTo>
                      <a:pt x="478" y="163"/>
                    </a:lnTo>
                    <a:lnTo>
                      <a:pt x="477" y="179"/>
                    </a:lnTo>
                    <a:lnTo>
                      <a:pt x="477" y="195"/>
                    </a:lnTo>
                    <a:lnTo>
                      <a:pt x="477" y="235"/>
                    </a:lnTo>
                    <a:lnTo>
                      <a:pt x="479" y="276"/>
                    </a:lnTo>
                    <a:lnTo>
                      <a:pt x="482" y="317"/>
                    </a:lnTo>
                    <a:lnTo>
                      <a:pt x="485" y="355"/>
                    </a:lnTo>
                    <a:lnTo>
                      <a:pt x="488" y="387"/>
                    </a:lnTo>
                    <a:lnTo>
                      <a:pt x="492" y="408"/>
                    </a:lnTo>
                    <a:lnTo>
                      <a:pt x="494" y="422"/>
                    </a:lnTo>
                    <a:lnTo>
                      <a:pt x="496" y="434"/>
                    </a:lnTo>
                    <a:lnTo>
                      <a:pt x="497" y="446"/>
                    </a:lnTo>
                    <a:lnTo>
                      <a:pt x="497" y="456"/>
                    </a:lnTo>
                    <a:lnTo>
                      <a:pt x="496" y="467"/>
                    </a:lnTo>
                    <a:lnTo>
                      <a:pt x="493" y="478"/>
                    </a:lnTo>
                    <a:lnTo>
                      <a:pt x="486" y="490"/>
                    </a:lnTo>
                    <a:lnTo>
                      <a:pt x="478" y="504"/>
                    </a:lnTo>
                    <a:lnTo>
                      <a:pt x="474" y="510"/>
                    </a:lnTo>
                    <a:lnTo>
                      <a:pt x="469" y="514"/>
                    </a:lnTo>
                    <a:lnTo>
                      <a:pt x="464" y="518"/>
                    </a:lnTo>
                    <a:lnTo>
                      <a:pt x="457" y="520"/>
                    </a:lnTo>
                    <a:lnTo>
                      <a:pt x="450" y="522"/>
                    </a:lnTo>
                    <a:lnTo>
                      <a:pt x="443" y="522"/>
                    </a:lnTo>
                    <a:lnTo>
                      <a:pt x="436" y="522"/>
                    </a:lnTo>
                    <a:lnTo>
                      <a:pt x="428" y="521"/>
                    </a:lnTo>
                    <a:lnTo>
                      <a:pt x="421" y="520"/>
                    </a:lnTo>
                    <a:lnTo>
                      <a:pt x="414" y="518"/>
                    </a:lnTo>
                    <a:lnTo>
                      <a:pt x="407" y="515"/>
                    </a:lnTo>
                    <a:lnTo>
                      <a:pt x="401" y="511"/>
                    </a:lnTo>
                    <a:lnTo>
                      <a:pt x="394" y="507"/>
                    </a:lnTo>
                    <a:lnTo>
                      <a:pt x="388" y="502"/>
                    </a:lnTo>
                    <a:lnTo>
                      <a:pt x="383" y="497"/>
                    </a:lnTo>
                    <a:lnTo>
                      <a:pt x="379" y="491"/>
                    </a:lnTo>
                    <a:lnTo>
                      <a:pt x="372" y="479"/>
                    </a:lnTo>
                    <a:lnTo>
                      <a:pt x="365" y="464"/>
                    </a:lnTo>
                    <a:lnTo>
                      <a:pt x="360" y="450"/>
                    </a:lnTo>
                    <a:lnTo>
                      <a:pt x="357" y="434"/>
                    </a:lnTo>
                    <a:lnTo>
                      <a:pt x="351" y="403"/>
                    </a:lnTo>
                    <a:lnTo>
                      <a:pt x="346" y="373"/>
                    </a:lnTo>
                    <a:lnTo>
                      <a:pt x="342" y="355"/>
                    </a:lnTo>
                    <a:lnTo>
                      <a:pt x="338" y="337"/>
                    </a:lnTo>
                    <a:lnTo>
                      <a:pt x="332" y="320"/>
                    </a:lnTo>
                    <a:lnTo>
                      <a:pt x="326" y="304"/>
                    </a:lnTo>
                    <a:lnTo>
                      <a:pt x="320" y="287"/>
                    </a:lnTo>
                    <a:lnTo>
                      <a:pt x="312" y="271"/>
                    </a:lnTo>
                    <a:lnTo>
                      <a:pt x="302" y="254"/>
                    </a:lnTo>
                    <a:lnTo>
                      <a:pt x="292" y="239"/>
                    </a:lnTo>
                    <a:lnTo>
                      <a:pt x="277" y="217"/>
                    </a:lnTo>
                    <a:lnTo>
                      <a:pt x="259" y="197"/>
                    </a:lnTo>
                    <a:lnTo>
                      <a:pt x="250" y="188"/>
                    </a:lnTo>
                    <a:lnTo>
                      <a:pt x="240" y="179"/>
                    </a:lnTo>
                    <a:lnTo>
                      <a:pt x="230" y="170"/>
                    </a:lnTo>
                    <a:lnTo>
                      <a:pt x="220" y="162"/>
                    </a:lnTo>
                    <a:lnTo>
                      <a:pt x="209" y="155"/>
                    </a:lnTo>
                    <a:lnTo>
                      <a:pt x="197" y="149"/>
                    </a:lnTo>
                    <a:lnTo>
                      <a:pt x="186" y="143"/>
                    </a:lnTo>
                    <a:lnTo>
                      <a:pt x="172" y="137"/>
                    </a:lnTo>
                    <a:lnTo>
                      <a:pt x="159" y="132"/>
                    </a:lnTo>
                    <a:lnTo>
                      <a:pt x="145" y="128"/>
                    </a:lnTo>
                    <a:lnTo>
                      <a:pt x="131" y="125"/>
                    </a:lnTo>
                    <a:lnTo>
                      <a:pt x="115" y="123"/>
                    </a:lnTo>
                    <a:lnTo>
                      <a:pt x="103" y="122"/>
                    </a:lnTo>
                    <a:lnTo>
                      <a:pt x="91" y="122"/>
                    </a:lnTo>
                    <a:lnTo>
                      <a:pt x="79" y="123"/>
                    </a:lnTo>
                    <a:lnTo>
                      <a:pt x="68" y="125"/>
                    </a:lnTo>
                    <a:lnTo>
                      <a:pt x="58" y="128"/>
                    </a:lnTo>
                    <a:lnTo>
                      <a:pt x="48" y="132"/>
                    </a:lnTo>
                    <a:lnTo>
                      <a:pt x="39" y="137"/>
                    </a:lnTo>
                    <a:lnTo>
                      <a:pt x="31" y="143"/>
                    </a:lnTo>
                    <a:lnTo>
                      <a:pt x="22" y="150"/>
                    </a:lnTo>
                    <a:lnTo>
                      <a:pt x="16" y="157"/>
                    </a:lnTo>
                    <a:lnTo>
                      <a:pt x="11" y="164"/>
                    </a:lnTo>
                    <a:lnTo>
                      <a:pt x="6" y="174"/>
                    </a:lnTo>
                    <a:lnTo>
                      <a:pt x="3" y="183"/>
                    </a:lnTo>
                    <a:lnTo>
                      <a:pt x="1" y="192"/>
                    </a:lnTo>
                    <a:lnTo>
                      <a:pt x="0" y="203"/>
                    </a:lnTo>
                    <a:lnTo>
                      <a:pt x="1" y="213"/>
                    </a:lnTo>
                    <a:lnTo>
                      <a:pt x="2" y="211"/>
                    </a:lnTo>
                    <a:lnTo>
                      <a:pt x="8" y="205"/>
                    </a:lnTo>
                    <a:lnTo>
                      <a:pt x="16" y="196"/>
                    </a:lnTo>
                    <a:lnTo>
                      <a:pt x="29" y="186"/>
                    </a:lnTo>
                    <a:lnTo>
                      <a:pt x="36" y="182"/>
                    </a:lnTo>
                    <a:lnTo>
                      <a:pt x="44" y="178"/>
                    </a:lnTo>
                    <a:lnTo>
                      <a:pt x="52" y="174"/>
                    </a:lnTo>
                    <a:lnTo>
                      <a:pt x="62" y="169"/>
                    </a:lnTo>
                    <a:lnTo>
                      <a:pt x="72" y="167"/>
                    </a:lnTo>
                    <a:lnTo>
                      <a:pt x="83" y="166"/>
                    </a:lnTo>
                    <a:lnTo>
                      <a:pt x="95" y="165"/>
                    </a:lnTo>
                    <a:lnTo>
                      <a:pt x="106" y="166"/>
                    </a:lnTo>
                    <a:lnTo>
                      <a:pt x="120" y="169"/>
                    </a:lnTo>
                    <a:lnTo>
                      <a:pt x="132" y="174"/>
                    </a:lnTo>
                    <a:lnTo>
                      <a:pt x="146" y="180"/>
                    </a:lnTo>
                    <a:lnTo>
                      <a:pt x="161" y="187"/>
                    </a:lnTo>
                    <a:lnTo>
                      <a:pt x="175" y="197"/>
                    </a:lnTo>
                    <a:lnTo>
                      <a:pt x="191" y="211"/>
                    </a:lnTo>
                    <a:lnTo>
                      <a:pt x="206" y="226"/>
                    </a:lnTo>
                    <a:lnTo>
                      <a:pt x="223" y="244"/>
                    </a:lnTo>
                    <a:lnTo>
                      <a:pt x="239" y="266"/>
                    </a:lnTo>
                    <a:lnTo>
                      <a:pt x="256" y="289"/>
                    </a:lnTo>
                    <a:lnTo>
                      <a:pt x="273" y="317"/>
                    </a:lnTo>
                    <a:lnTo>
                      <a:pt x="291" y="347"/>
                    </a:lnTo>
                    <a:lnTo>
                      <a:pt x="310" y="382"/>
                    </a:lnTo>
                    <a:lnTo>
                      <a:pt x="328" y="421"/>
                    </a:lnTo>
                    <a:lnTo>
                      <a:pt x="347" y="463"/>
                    </a:lnTo>
                    <a:lnTo>
                      <a:pt x="365" y="510"/>
                    </a:lnTo>
                    <a:lnTo>
                      <a:pt x="369" y="517"/>
                    </a:lnTo>
                    <a:lnTo>
                      <a:pt x="373" y="523"/>
                    </a:lnTo>
                    <a:lnTo>
                      <a:pt x="377" y="529"/>
                    </a:lnTo>
                    <a:lnTo>
                      <a:pt x="381" y="533"/>
                    </a:lnTo>
                    <a:lnTo>
                      <a:pt x="386" y="539"/>
                    </a:lnTo>
                    <a:lnTo>
                      <a:pt x="391" y="542"/>
                    </a:lnTo>
                    <a:lnTo>
                      <a:pt x="397" y="545"/>
                    </a:lnTo>
                    <a:lnTo>
                      <a:pt x="404" y="548"/>
                    </a:lnTo>
                    <a:lnTo>
                      <a:pt x="410" y="550"/>
                    </a:lnTo>
                    <a:lnTo>
                      <a:pt x="416" y="551"/>
                    </a:lnTo>
                    <a:lnTo>
                      <a:pt x="422" y="552"/>
                    </a:lnTo>
                    <a:lnTo>
                      <a:pt x="430" y="553"/>
                    </a:lnTo>
                    <a:lnTo>
                      <a:pt x="443" y="552"/>
                    </a:lnTo>
                    <a:lnTo>
                      <a:pt x="456" y="551"/>
                    </a:lnTo>
                    <a:lnTo>
                      <a:pt x="470" y="547"/>
                    </a:lnTo>
                    <a:lnTo>
                      <a:pt x="481" y="543"/>
                    </a:lnTo>
                    <a:lnTo>
                      <a:pt x="493" y="537"/>
                    </a:lnTo>
                    <a:lnTo>
                      <a:pt x="503" y="529"/>
                    </a:lnTo>
                    <a:lnTo>
                      <a:pt x="511" y="522"/>
                    </a:lnTo>
                    <a:lnTo>
                      <a:pt x="516" y="514"/>
                    </a:lnTo>
                    <a:lnTo>
                      <a:pt x="518" y="509"/>
                    </a:lnTo>
                    <a:lnTo>
                      <a:pt x="520" y="504"/>
                    </a:lnTo>
                    <a:lnTo>
                      <a:pt x="521" y="500"/>
                    </a:lnTo>
                    <a:lnTo>
                      <a:pt x="521" y="495"/>
                    </a:lnTo>
                    <a:lnTo>
                      <a:pt x="518" y="453"/>
                    </a:lnTo>
                    <a:lnTo>
                      <a:pt x="517" y="413"/>
                    </a:lnTo>
                    <a:lnTo>
                      <a:pt x="517" y="375"/>
                    </a:lnTo>
                    <a:lnTo>
                      <a:pt x="518" y="341"/>
                    </a:lnTo>
                    <a:lnTo>
                      <a:pt x="520" y="308"/>
                    </a:lnTo>
                    <a:lnTo>
                      <a:pt x="525" y="278"/>
                    </a:lnTo>
                    <a:lnTo>
                      <a:pt x="529" y="250"/>
                    </a:lnTo>
                    <a:lnTo>
                      <a:pt x="534" y="224"/>
                    </a:lnTo>
                    <a:lnTo>
                      <a:pt x="540" y="200"/>
                    </a:lnTo>
                    <a:lnTo>
                      <a:pt x="547" y="179"/>
                    </a:lnTo>
                    <a:lnTo>
                      <a:pt x="556" y="159"/>
                    </a:lnTo>
                    <a:lnTo>
                      <a:pt x="564" y="141"/>
                    </a:lnTo>
                    <a:lnTo>
                      <a:pt x="573" y="125"/>
                    </a:lnTo>
                    <a:lnTo>
                      <a:pt x="582" y="111"/>
                    </a:lnTo>
                    <a:lnTo>
                      <a:pt x="592" y="97"/>
                    </a:lnTo>
                    <a:lnTo>
                      <a:pt x="602" y="86"/>
                    </a:lnTo>
                    <a:lnTo>
                      <a:pt x="612" y="76"/>
                    </a:lnTo>
                    <a:lnTo>
                      <a:pt x="623" y="68"/>
                    </a:lnTo>
                    <a:lnTo>
                      <a:pt x="633" y="61"/>
                    </a:lnTo>
                    <a:lnTo>
                      <a:pt x="643" y="55"/>
                    </a:lnTo>
                    <a:lnTo>
                      <a:pt x="654" y="50"/>
                    </a:lnTo>
                    <a:lnTo>
                      <a:pt x="663" y="46"/>
                    </a:lnTo>
                    <a:lnTo>
                      <a:pt x="673" y="43"/>
                    </a:lnTo>
                    <a:lnTo>
                      <a:pt x="683" y="42"/>
                    </a:lnTo>
                    <a:lnTo>
                      <a:pt x="692" y="41"/>
                    </a:lnTo>
                    <a:lnTo>
                      <a:pt x="700" y="41"/>
                    </a:lnTo>
                    <a:lnTo>
                      <a:pt x="709" y="42"/>
                    </a:lnTo>
                    <a:lnTo>
                      <a:pt x="716" y="43"/>
                    </a:lnTo>
                    <a:lnTo>
                      <a:pt x="722" y="45"/>
                    </a:lnTo>
                    <a:lnTo>
                      <a:pt x="727" y="47"/>
                    </a:lnTo>
                    <a:lnTo>
                      <a:pt x="732" y="51"/>
                    </a:lnTo>
                    <a:lnTo>
                      <a:pt x="736" y="54"/>
                    </a:lnTo>
                    <a:lnTo>
                      <a:pt x="736" y="42"/>
                    </a:lnTo>
                    <a:lnTo>
                      <a:pt x="734" y="33"/>
                    </a:lnTo>
                    <a:lnTo>
                      <a:pt x="731" y="25"/>
                    </a:lnTo>
                    <a:lnTo>
                      <a:pt x="727" y="17"/>
                    </a:lnTo>
                    <a:lnTo>
                      <a:pt x="721" y="12"/>
                    </a:lnTo>
                    <a:lnTo>
                      <a:pt x="713" y="7"/>
                    </a:lnTo>
                    <a:lnTo>
                      <a:pt x="704" y="4"/>
                    </a:lnTo>
                    <a:lnTo>
                      <a:pt x="695" y="2"/>
                    </a:lnTo>
                    <a:lnTo>
                      <a:pt x="685" y="1"/>
                    </a:lnTo>
                    <a:lnTo>
                      <a:pt x="674" y="0"/>
                    </a:lnTo>
                    <a:lnTo>
                      <a:pt x="663" y="0"/>
                    </a:lnTo>
                    <a:lnTo>
                      <a:pt x="652" y="2"/>
                    </a:lnTo>
                    <a:lnTo>
                      <a:pt x="639" y="3"/>
                    </a:lnTo>
                    <a:lnTo>
                      <a:pt x="628" y="6"/>
                    </a:lnTo>
                    <a:lnTo>
                      <a:pt x="617" y="8"/>
                    </a:lnTo>
                    <a:lnTo>
                      <a:pt x="605" y="12"/>
                    </a:lnTo>
                    <a:close/>
                  </a:path>
                </a:pathLst>
              </a:custGeom>
              <a:solidFill>
                <a:srgbClr val="F1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26" name="Freeform 141"/>
              <p:cNvSpPr>
                <a:spLocks/>
              </p:cNvSpPr>
              <p:nvPr/>
            </p:nvSpPr>
            <p:spPr bwMode="auto">
              <a:xfrm>
                <a:off x="3727" y="1857"/>
                <a:ext cx="106" cy="56"/>
              </a:xfrm>
              <a:custGeom>
                <a:avLst/>
                <a:gdLst>
                  <a:gd name="T0" fmla="*/ 0 w 742"/>
                  <a:gd name="T1" fmla="*/ 0 h 393"/>
                  <a:gd name="T2" fmla="*/ 0 w 742"/>
                  <a:gd name="T3" fmla="*/ 0 h 393"/>
                  <a:gd name="T4" fmla="*/ 0 w 742"/>
                  <a:gd name="T5" fmla="*/ 0 h 393"/>
                  <a:gd name="T6" fmla="*/ 0 w 742"/>
                  <a:gd name="T7" fmla="*/ 0 h 393"/>
                  <a:gd name="T8" fmla="*/ 0 w 742"/>
                  <a:gd name="T9" fmla="*/ 0 h 393"/>
                  <a:gd name="T10" fmla="*/ 0 w 742"/>
                  <a:gd name="T11" fmla="*/ 0 h 393"/>
                  <a:gd name="T12" fmla="*/ 0 w 742"/>
                  <a:gd name="T13" fmla="*/ 0 h 393"/>
                  <a:gd name="T14" fmla="*/ 0 w 742"/>
                  <a:gd name="T15" fmla="*/ 0 h 393"/>
                  <a:gd name="T16" fmla="*/ 0 w 742"/>
                  <a:gd name="T17" fmla="*/ 0 h 393"/>
                  <a:gd name="T18" fmla="*/ 0 w 742"/>
                  <a:gd name="T19" fmla="*/ 0 h 393"/>
                  <a:gd name="T20" fmla="*/ 0 w 742"/>
                  <a:gd name="T21" fmla="*/ 0 h 393"/>
                  <a:gd name="T22" fmla="*/ 0 w 742"/>
                  <a:gd name="T23" fmla="*/ 0 h 393"/>
                  <a:gd name="T24" fmla="*/ 0 w 742"/>
                  <a:gd name="T25" fmla="*/ 0 h 393"/>
                  <a:gd name="T26" fmla="*/ 0 w 742"/>
                  <a:gd name="T27" fmla="*/ 0 h 393"/>
                  <a:gd name="T28" fmla="*/ 0 w 742"/>
                  <a:gd name="T29" fmla="*/ 0 h 393"/>
                  <a:gd name="T30" fmla="*/ 0 w 742"/>
                  <a:gd name="T31" fmla="*/ 0 h 393"/>
                  <a:gd name="T32" fmla="*/ 0 w 742"/>
                  <a:gd name="T33" fmla="*/ 0 h 393"/>
                  <a:gd name="T34" fmla="*/ 0 w 742"/>
                  <a:gd name="T35" fmla="*/ 0 h 393"/>
                  <a:gd name="T36" fmla="*/ 0 w 742"/>
                  <a:gd name="T37" fmla="*/ 0 h 393"/>
                  <a:gd name="T38" fmla="*/ 0 w 742"/>
                  <a:gd name="T39" fmla="*/ 0 h 393"/>
                  <a:gd name="T40" fmla="*/ 0 w 742"/>
                  <a:gd name="T41" fmla="*/ 0 h 393"/>
                  <a:gd name="T42" fmla="*/ 0 w 742"/>
                  <a:gd name="T43" fmla="*/ 0 h 393"/>
                  <a:gd name="T44" fmla="*/ 0 w 742"/>
                  <a:gd name="T45" fmla="*/ 0 h 393"/>
                  <a:gd name="T46" fmla="*/ 0 w 742"/>
                  <a:gd name="T47" fmla="*/ 0 h 393"/>
                  <a:gd name="T48" fmla="*/ 0 w 742"/>
                  <a:gd name="T49" fmla="*/ 0 h 393"/>
                  <a:gd name="T50" fmla="*/ 0 w 742"/>
                  <a:gd name="T51" fmla="*/ 0 h 393"/>
                  <a:gd name="T52" fmla="*/ 0 w 742"/>
                  <a:gd name="T53" fmla="*/ 0 h 393"/>
                  <a:gd name="T54" fmla="*/ 0 w 742"/>
                  <a:gd name="T55" fmla="*/ 0 h 393"/>
                  <a:gd name="T56" fmla="*/ 0 w 742"/>
                  <a:gd name="T57" fmla="*/ 0 h 393"/>
                  <a:gd name="T58" fmla="*/ 0 w 742"/>
                  <a:gd name="T59" fmla="*/ 0 h 393"/>
                  <a:gd name="T60" fmla="*/ 0 w 742"/>
                  <a:gd name="T61" fmla="*/ 0 h 393"/>
                  <a:gd name="T62" fmla="*/ 0 w 742"/>
                  <a:gd name="T63" fmla="*/ 0 h 393"/>
                  <a:gd name="T64" fmla="*/ 0 w 742"/>
                  <a:gd name="T65" fmla="*/ 0 h 393"/>
                  <a:gd name="T66" fmla="*/ 0 w 742"/>
                  <a:gd name="T67" fmla="*/ 0 h 393"/>
                  <a:gd name="T68" fmla="*/ 0 w 742"/>
                  <a:gd name="T69" fmla="*/ 0 h 393"/>
                  <a:gd name="T70" fmla="*/ 0 w 742"/>
                  <a:gd name="T71" fmla="*/ 0 h 393"/>
                  <a:gd name="T72" fmla="*/ 0 w 742"/>
                  <a:gd name="T73" fmla="*/ 0 h 393"/>
                  <a:gd name="T74" fmla="*/ 0 w 742"/>
                  <a:gd name="T75" fmla="*/ 0 h 393"/>
                  <a:gd name="T76" fmla="*/ 0 w 742"/>
                  <a:gd name="T77" fmla="*/ 0 h 393"/>
                  <a:gd name="T78" fmla="*/ 0 w 742"/>
                  <a:gd name="T79" fmla="*/ 0 h 393"/>
                  <a:gd name="T80" fmla="*/ 0 w 742"/>
                  <a:gd name="T81" fmla="*/ 0 h 393"/>
                  <a:gd name="T82" fmla="*/ 0 w 742"/>
                  <a:gd name="T83" fmla="*/ 0 h 393"/>
                  <a:gd name="T84" fmla="*/ 0 w 742"/>
                  <a:gd name="T85" fmla="*/ 0 h 393"/>
                  <a:gd name="T86" fmla="*/ 0 w 742"/>
                  <a:gd name="T87" fmla="*/ 0 h 393"/>
                  <a:gd name="T88" fmla="*/ 0 w 742"/>
                  <a:gd name="T89" fmla="*/ 0 h 393"/>
                  <a:gd name="T90" fmla="*/ 0 w 742"/>
                  <a:gd name="T91" fmla="*/ 0 h 393"/>
                  <a:gd name="T92" fmla="*/ 0 w 742"/>
                  <a:gd name="T93" fmla="*/ 0 h 393"/>
                  <a:gd name="T94" fmla="*/ 0 w 742"/>
                  <a:gd name="T95" fmla="*/ 0 h 393"/>
                  <a:gd name="T96" fmla="*/ 0 w 742"/>
                  <a:gd name="T97" fmla="*/ 0 h 393"/>
                  <a:gd name="T98" fmla="*/ 0 w 742"/>
                  <a:gd name="T99" fmla="*/ 0 h 393"/>
                  <a:gd name="T100" fmla="*/ 0 w 742"/>
                  <a:gd name="T101" fmla="*/ 0 h 393"/>
                  <a:gd name="T102" fmla="*/ 0 w 742"/>
                  <a:gd name="T103" fmla="*/ 0 h 393"/>
                  <a:gd name="T104" fmla="*/ 0 w 742"/>
                  <a:gd name="T105" fmla="*/ 0 h 393"/>
                  <a:gd name="T106" fmla="*/ 0 w 742"/>
                  <a:gd name="T107" fmla="*/ 0 h 393"/>
                  <a:gd name="T108" fmla="*/ 0 w 742"/>
                  <a:gd name="T109" fmla="*/ 0 h 393"/>
                  <a:gd name="T110" fmla="*/ 0 w 742"/>
                  <a:gd name="T111" fmla="*/ 0 h 393"/>
                  <a:gd name="T112" fmla="*/ 0 w 742"/>
                  <a:gd name="T113" fmla="*/ 0 h 393"/>
                  <a:gd name="T114" fmla="*/ 0 w 742"/>
                  <a:gd name="T115" fmla="*/ 0 h 393"/>
                  <a:gd name="T116" fmla="*/ 0 w 742"/>
                  <a:gd name="T117" fmla="*/ 0 h 393"/>
                  <a:gd name="T118" fmla="*/ 0 w 742"/>
                  <a:gd name="T119" fmla="*/ 0 h 393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42"/>
                  <a:gd name="T181" fmla="*/ 0 h 393"/>
                  <a:gd name="T182" fmla="*/ 742 w 742"/>
                  <a:gd name="T183" fmla="*/ 393 h 393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42" h="393">
                    <a:moveTo>
                      <a:pt x="536" y="46"/>
                    </a:moveTo>
                    <a:lnTo>
                      <a:pt x="530" y="51"/>
                    </a:lnTo>
                    <a:lnTo>
                      <a:pt x="522" y="58"/>
                    </a:lnTo>
                    <a:lnTo>
                      <a:pt x="516" y="66"/>
                    </a:lnTo>
                    <a:lnTo>
                      <a:pt x="511" y="73"/>
                    </a:lnTo>
                    <a:lnTo>
                      <a:pt x="507" y="82"/>
                    </a:lnTo>
                    <a:lnTo>
                      <a:pt x="504" y="91"/>
                    </a:lnTo>
                    <a:lnTo>
                      <a:pt x="501" y="101"/>
                    </a:lnTo>
                    <a:lnTo>
                      <a:pt x="500" y="110"/>
                    </a:lnTo>
                    <a:lnTo>
                      <a:pt x="500" y="119"/>
                    </a:lnTo>
                    <a:lnTo>
                      <a:pt x="501" y="127"/>
                    </a:lnTo>
                    <a:lnTo>
                      <a:pt x="503" y="133"/>
                    </a:lnTo>
                    <a:lnTo>
                      <a:pt x="505" y="139"/>
                    </a:lnTo>
                    <a:lnTo>
                      <a:pt x="508" y="145"/>
                    </a:lnTo>
                    <a:lnTo>
                      <a:pt x="512" y="150"/>
                    </a:lnTo>
                    <a:lnTo>
                      <a:pt x="517" y="156"/>
                    </a:lnTo>
                    <a:lnTo>
                      <a:pt x="522" y="160"/>
                    </a:lnTo>
                    <a:lnTo>
                      <a:pt x="529" y="163"/>
                    </a:lnTo>
                    <a:lnTo>
                      <a:pt x="537" y="167"/>
                    </a:lnTo>
                    <a:lnTo>
                      <a:pt x="547" y="169"/>
                    </a:lnTo>
                    <a:lnTo>
                      <a:pt x="556" y="170"/>
                    </a:lnTo>
                    <a:lnTo>
                      <a:pt x="568" y="170"/>
                    </a:lnTo>
                    <a:lnTo>
                      <a:pt x="578" y="169"/>
                    </a:lnTo>
                    <a:lnTo>
                      <a:pt x="588" y="166"/>
                    </a:lnTo>
                    <a:lnTo>
                      <a:pt x="599" y="163"/>
                    </a:lnTo>
                    <a:lnTo>
                      <a:pt x="609" y="158"/>
                    </a:lnTo>
                    <a:lnTo>
                      <a:pt x="616" y="153"/>
                    </a:lnTo>
                    <a:lnTo>
                      <a:pt x="623" y="149"/>
                    </a:lnTo>
                    <a:lnTo>
                      <a:pt x="628" y="143"/>
                    </a:lnTo>
                    <a:lnTo>
                      <a:pt x="632" y="138"/>
                    </a:lnTo>
                    <a:lnTo>
                      <a:pt x="634" y="132"/>
                    </a:lnTo>
                    <a:lnTo>
                      <a:pt x="636" y="126"/>
                    </a:lnTo>
                    <a:lnTo>
                      <a:pt x="637" y="119"/>
                    </a:lnTo>
                    <a:lnTo>
                      <a:pt x="637" y="112"/>
                    </a:lnTo>
                    <a:lnTo>
                      <a:pt x="635" y="107"/>
                    </a:lnTo>
                    <a:lnTo>
                      <a:pt x="633" y="102"/>
                    </a:lnTo>
                    <a:lnTo>
                      <a:pt x="630" y="97"/>
                    </a:lnTo>
                    <a:lnTo>
                      <a:pt x="627" y="92"/>
                    </a:lnTo>
                    <a:lnTo>
                      <a:pt x="622" y="88"/>
                    </a:lnTo>
                    <a:lnTo>
                      <a:pt x="616" y="85"/>
                    </a:lnTo>
                    <a:lnTo>
                      <a:pt x="610" y="83"/>
                    </a:lnTo>
                    <a:lnTo>
                      <a:pt x="604" y="81"/>
                    </a:lnTo>
                    <a:lnTo>
                      <a:pt x="598" y="80"/>
                    </a:lnTo>
                    <a:lnTo>
                      <a:pt x="592" y="80"/>
                    </a:lnTo>
                    <a:lnTo>
                      <a:pt x="585" y="81"/>
                    </a:lnTo>
                    <a:lnTo>
                      <a:pt x="579" y="82"/>
                    </a:lnTo>
                    <a:lnTo>
                      <a:pt x="573" y="83"/>
                    </a:lnTo>
                    <a:lnTo>
                      <a:pt x="568" y="85"/>
                    </a:lnTo>
                    <a:lnTo>
                      <a:pt x="563" y="88"/>
                    </a:lnTo>
                    <a:lnTo>
                      <a:pt x="558" y="91"/>
                    </a:lnTo>
                    <a:lnTo>
                      <a:pt x="555" y="95"/>
                    </a:lnTo>
                    <a:lnTo>
                      <a:pt x="553" y="98"/>
                    </a:lnTo>
                    <a:lnTo>
                      <a:pt x="551" y="101"/>
                    </a:lnTo>
                    <a:lnTo>
                      <a:pt x="550" y="104"/>
                    </a:lnTo>
                    <a:lnTo>
                      <a:pt x="550" y="108"/>
                    </a:lnTo>
                    <a:lnTo>
                      <a:pt x="550" y="112"/>
                    </a:lnTo>
                    <a:lnTo>
                      <a:pt x="551" y="115"/>
                    </a:lnTo>
                    <a:lnTo>
                      <a:pt x="552" y="119"/>
                    </a:lnTo>
                    <a:lnTo>
                      <a:pt x="572" y="112"/>
                    </a:lnTo>
                    <a:lnTo>
                      <a:pt x="571" y="109"/>
                    </a:lnTo>
                    <a:lnTo>
                      <a:pt x="571" y="107"/>
                    </a:lnTo>
                    <a:lnTo>
                      <a:pt x="572" y="104"/>
                    </a:lnTo>
                    <a:lnTo>
                      <a:pt x="573" y="102"/>
                    </a:lnTo>
                    <a:lnTo>
                      <a:pt x="578" y="100"/>
                    </a:lnTo>
                    <a:lnTo>
                      <a:pt x="583" y="98"/>
                    </a:lnTo>
                    <a:lnTo>
                      <a:pt x="591" y="98"/>
                    </a:lnTo>
                    <a:lnTo>
                      <a:pt x="597" y="98"/>
                    </a:lnTo>
                    <a:lnTo>
                      <a:pt x="603" y="100"/>
                    </a:lnTo>
                    <a:lnTo>
                      <a:pt x="608" y="103"/>
                    </a:lnTo>
                    <a:lnTo>
                      <a:pt x="611" y="105"/>
                    </a:lnTo>
                    <a:lnTo>
                      <a:pt x="613" y="108"/>
                    </a:lnTo>
                    <a:lnTo>
                      <a:pt x="615" y="112"/>
                    </a:lnTo>
                    <a:lnTo>
                      <a:pt x="616" y="116"/>
                    </a:lnTo>
                    <a:lnTo>
                      <a:pt x="616" y="121"/>
                    </a:lnTo>
                    <a:lnTo>
                      <a:pt x="615" y="126"/>
                    </a:lnTo>
                    <a:lnTo>
                      <a:pt x="613" y="130"/>
                    </a:lnTo>
                    <a:lnTo>
                      <a:pt x="611" y="134"/>
                    </a:lnTo>
                    <a:lnTo>
                      <a:pt x="605" y="140"/>
                    </a:lnTo>
                    <a:lnTo>
                      <a:pt x="599" y="144"/>
                    </a:lnTo>
                    <a:lnTo>
                      <a:pt x="592" y="148"/>
                    </a:lnTo>
                    <a:lnTo>
                      <a:pt x="584" y="150"/>
                    </a:lnTo>
                    <a:lnTo>
                      <a:pt x="576" y="152"/>
                    </a:lnTo>
                    <a:lnTo>
                      <a:pt x="569" y="152"/>
                    </a:lnTo>
                    <a:lnTo>
                      <a:pt x="561" y="153"/>
                    </a:lnTo>
                    <a:lnTo>
                      <a:pt x="553" y="152"/>
                    </a:lnTo>
                    <a:lnTo>
                      <a:pt x="547" y="150"/>
                    </a:lnTo>
                    <a:lnTo>
                      <a:pt x="541" y="148"/>
                    </a:lnTo>
                    <a:lnTo>
                      <a:pt x="536" y="145"/>
                    </a:lnTo>
                    <a:lnTo>
                      <a:pt x="532" y="142"/>
                    </a:lnTo>
                    <a:lnTo>
                      <a:pt x="527" y="138"/>
                    </a:lnTo>
                    <a:lnTo>
                      <a:pt x="525" y="134"/>
                    </a:lnTo>
                    <a:lnTo>
                      <a:pt x="522" y="125"/>
                    </a:lnTo>
                    <a:lnTo>
                      <a:pt x="520" y="116"/>
                    </a:lnTo>
                    <a:lnTo>
                      <a:pt x="520" y="109"/>
                    </a:lnTo>
                    <a:lnTo>
                      <a:pt x="521" y="102"/>
                    </a:lnTo>
                    <a:lnTo>
                      <a:pt x="523" y="95"/>
                    </a:lnTo>
                    <a:lnTo>
                      <a:pt x="526" y="87"/>
                    </a:lnTo>
                    <a:lnTo>
                      <a:pt x="530" y="80"/>
                    </a:lnTo>
                    <a:lnTo>
                      <a:pt x="534" y="74"/>
                    </a:lnTo>
                    <a:lnTo>
                      <a:pt x="538" y="68"/>
                    </a:lnTo>
                    <a:lnTo>
                      <a:pt x="544" y="63"/>
                    </a:lnTo>
                    <a:lnTo>
                      <a:pt x="549" y="57"/>
                    </a:lnTo>
                    <a:lnTo>
                      <a:pt x="560" y="49"/>
                    </a:lnTo>
                    <a:lnTo>
                      <a:pt x="570" y="42"/>
                    </a:lnTo>
                    <a:lnTo>
                      <a:pt x="579" y="35"/>
                    </a:lnTo>
                    <a:lnTo>
                      <a:pt x="588" y="29"/>
                    </a:lnTo>
                    <a:lnTo>
                      <a:pt x="599" y="24"/>
                    </a:lnTo>
                    <a:lnTo>
                      <a:pt x="609" y="21"/>
                    </a:lnTo>
                    <a:lnTo>
                      <a:pt x="620" y="19"/>
                    </a:lnTo>
                    <a:lnTo>
                      <a:pt x="634" y="18"/>
                    </a:lnTo>
                    <a:lnTo>
                      <a:pt x="644" y="18"/>
                    </a:lnTo>
                    <a:lnTo>
                      <a:pt x="654" y="19"/>
                    </a:lnTo>
                    <a:lnTo>
                      <a:pt x="663" y="21"/>
                    </a:lnTo>
                    <a:lnTo>
                      <a:pt x="671" y="24"/>
                    </a:lnTo>
                    <a:lnTo>
                      <a:pt x="679" y="28"/>
                    </a:lnTo>
                    <a:lnTo>
                      <a:pt x="687" y="33"/>
                    </a:lnTo>
                    <a:lnTo>
                      <a:pt x="693" y="39"/>
                    </a:lnTo>
                    <a:lnTo>
                      <a:pt x="699" y="45"/>
                    </a:lnTo>
                    <a:lnTo>
                      <a:pt x="704" y="50"/>
                    </a:lnTo>
                    <a:lnTo>
                      <a:pt x="708" y="56"/>
                    </a:lnTo>
                    <a:lnTo>
                      <a:pt x="711" y="64"/>
                    </a:lnTo>
                    <a:lnTo>
                      <a:pt x="715" y="71"/>
                    </a:lnTo>
                    <a:lnTo>
                      <a:pt x="717" y="78"/>
                    </a:lnTo>
                    <a:lnTo>
                      <a:pt x="719" y="85"/>
                    </a:lnTo>
                    <a:lnTo>
                      <a:pt x="721" y="94"/>
                    </a:lnTo>
                    <a:lnTo>
                      <a:pt x="722" y="101"/>
                    </a:lnTo>
                    <a:lnTo>
                      <a:pt x="722" y="118"/>
                    </a:lnTo>
                    <a:lnTo>
                      <a:pt x="721" y="135"/>
                    </a:lnTo>
                    <a:lnTo>
                      <a:pt x="719" y="143"/>
                    </a:lnTo>
                    <a:lnTo>
                      <a:pt x="717" y="151"/>
                    </a:lnTo>
                    <a:lnTo>
                      <a:pt x="715" y="160"/>
                    </a:lnTo>
                    <a:lnTo>
                      <a:pt x="711" y="168"/>
                    </a:lnTo>
                    <a:lnTo>
                      <a:pt x="706" y="179"/>
                    </a:lnTo>
                    <a:lnTo>
                      <a:pt x="700" y="191"/>
                    </a:lnTo>
                    <a:lnTo>
                      <a:pt x="693" y="201"/>
                    </a:lnTo>
                    <a:lnTo>
                      <a:pt x="686" y="212"/>
                    </a:lnTo>
                    <a:lnTo>
                      <a:pt x="677" y="224"/>
                    </a:lnTo>
                    <a:lnTo>
                      <a:pt x="668" y="234"/>
                    </a:lnTo>
                    <a:lnTo>
                      <a:pt x="659" y="244"/>
                    </a:lnTo>
                    <a:lnTo>
                      <a:pt x="649" y="254"/>
                    </a:lnTo>
                    <a:lnTo>
                      <a:pt x="639" y="264"/>
                    </a:lnTo>
                    <a:lnTo>
                      <a:pt x="628" y="273"/>
                    </a:lnTo>
                    <a:lnTo>
                      <a:pt x="616" y="282"/>
                    </a:lnTo>
                    <a:lnTo>
                      <a:pt x="605" y="290"/>
                    </a:lnTo>
                    <a:lnTo>
                      <a:pt x="594" y="297"/>
                    </a:lnTo>
                    <a:lnTo>
                      <a:pt x="581" y="304"/>
                    </a:lnTo>
                    <a:lnTo>
                      <a:pt x="569" y="311"/>
                    </a:lnTo>
                    <a:lnTo>
                      <a:pt x="557" y="316"/>
                    </a:lnTo>
                    <a:lnTo>
                      <a:pt x="534" y="326"/>
                    </a:lnTo>
                    <a:lnTo>
                      <a:pt x="511" y="334"/>
                    </a:lnTo>
                    <a:lnTo>
                      <a:pt x="490" y="342"/>
                    </a:lnTo>
                    <a:lnTo>
                      <a:pt x="471" y="349"/>
                    </a:lnTo>
                    <a:lnTo>
                      <a:pt x="451" y="355"/>
                    </a:lnTo>
                    <a:lnTo>
                      <a:pt x="432" y="360"/>
                    </a:lnTo>
                    <a:lnTo>
                      <a:pt x="414" y="364"/>
                    </a:lnTo>
                    <a:lnTo>
                      <a:pt x="395" y="368"/>
                    </a:lnTo>
                    <a:lnTo>
                      <a:pt x="377" y="371"/>
                    </a:lnTo>
                    <a:lnTo>
                      <a:pt x="358" y="373"/>
                    </a:lnTo>
                    <a:lnTo>
                      <a:pt x="339" y="375"/>
                    </a:lnTo>
                    <a:lnTo>
                      <a:pt x="320" y="376"/>
                    </a:lnTo>
                    <a:lnTo>
                      <a:pt x="278" y="377"/>
                    </a:lnTo>
                    <a:lnTo>
                      <a:pt x="232" y="377"/>
                    </a:lnTo>
                    <a:lnTo>
                      <a:pt x="221" y="376"/>
                    </a:lnTo>
                    <a:lnTo>
                      <a:pt x="208" y="375"/>
                    </a:lnTo>
                    <a:lnTo>
                      <a:pt x="196" y="373"/>
                    </a:lnTo>
                    <a:lnTo>
                      <a:pt x="183" y="370"/>
                    </a:lnTo>
                    <a:lnTo>
                      <a:pt x="170" y="365"/>
                    </a:lnTo>
                    <a:lnTo>
                      <a:pt x="157" y="361"/>
                    </a:lnTo>
                    <a:lnTo>
                      <a:pt x="143" y="357"/>
                    </a:lnTo>
                    <a:lnTo>
                      <a:pt x="130" y="351"/>
                    </a:lnTo>
                    <a:lnTo>
                      <a:pt x="117" y="346"/>
                    </a:lnTo>
                    <a:lnTo>
                      <a:pt x="105" y="339"/>
                    </a:lnTo>
                    <a:lnTo>
                      <a:pt x="93" y="332"/>
                    </a:lnTo>
                    <a:lnTo>
                      <a:pt x="82" y="325"/>
                    </a:lnTo>
                    <a:lnTo>
                      <a:pt x="72" y="317"/>
                    </a:lnTo>
                    <a:lnTo>
                      <a:pt x="62" y="310"/>
                    </a:lnTo>
                    <a:lnTo>
                      <a:pt x="54" y="301"/>
                    </a:lnTo>
                    <a:lnTo>
                      <a:pt x="48" y="292"/>
                    </a:lnTo>
                    <a:lnTo>
                      <a:pt x="39" y="279"/>
                    </a:lnTo>
                    <a:lnTo>
                      <a:pt x="31" y="263"/>
                    </a:lnTo>
                    <a:lnTo>
                      <a:pt x="28" y="255"/>
                    </a:lnTo>
                    <a:lnTo>
                      <a:pt x="25" y="247"/>
                    </a:lnTo>
                    <a:lnTo>
                      <a:pt x="23" y="238"/>
                    </a:lnTo>
                    <a:lnTo>
                      <a:pt x="22" y="229"/>
                    </a:lnTo>
                    <a:lnTo>
                      <a:pt x="21" y="221"/>
                    </a:lnTo>
                    <a:lnTo>
                      <a:pt x="22" y="212"/>
                    </a:lnTo>
                    <a:lnTo>
                      <a:pt x="23" y="204"/>
                    </a:lnTo>
                    <a:lnTo>
                      <a:pt x="24" y="196"/>
                    </a:lnTo>
                    <a:lnTo>
                      <a:pt x="27" y="189"/>
                    </a:lnTo>
                    <a:lnTo>
                      <a:pt x="31" y="180"/>
                    </a:lnTo>
                    <a:lnTo>
                      <a:pt x="37" y="173"/>
                    </a:lnTo>
                    <a:lnTo>
                      <a:pt x="43" y="166"/>
                    </a:lnTo>
                    <a:lnTo>
                      <a:pt x="52" y="159"/>
                    </a:lnTo>
                    <a:lnTo>
                      <a:pt x="62" y="152"/>
                    </a:lnTo>
                    <a:lnTo>
                      <a:pt x="75" y="146"/>
                    </a:lnTo>
                    <a:lnTo>
                      <a:pt x="87" y="141"/>
                    </a:lnTo>
                    <a:lnTo>
                      <a:pt x="101" y="138"/>
                    </a:lnTo>
                    <a:lnTo>
                      <a:pt x="114" y="135"/>
                    </a:lnTo>
                    <a:lnTo>
                      <a:pt x="128" y="134"/>
                    </a:lnTo>
                    <a:lnTo>
                      <a:pt x="141" y="134"/>
                    </a:lnTo>
                    <a:lnTo>
                      <a:pt x="147" y="135"/>
                    </a:lnTo>
                    <a:lnTo>
                      <a:pt x="153" y="136"/>
                    </a:lnTo>
                    <a:lnTo>
                      <a:pt x="161" y="138"/>
                    </a:lnTo>
                    <a:lnTo>
                      <a:pt x="167" y="140"/>
                    </a:lnTo>
                    <a:lnTo>
                      <a:pt x="173" y="144"/>
                    </a:lnTo>
                    <a:lnTo>
                      <a:pt x="179" y="148"/>
                    </a:lnTo>
                    <a:lnTo>
                      <a:pt x="184" y="155"/>
                    </a:lnTo>
                    <a:lnTo>
                      <a:pt x="189" y="161"/>
                    </a:lnTo>
                    <a:lnTo>
                      <a:pt x="191" y="168"/>
                    </a:lnTo>
                    <a:lnTo>
                      <a:pt x="193" y="175"/>
                    </a:lnTo>
                    <a:lnTo>
                      <a:pt x="193" y="181"/>
                    </a:lnTo>
                    <a:lnTo>
                      <a:pt x="192" y="189"/>
                    </a:lnTo>
                    <a:lnTo>
                      <a:pt x="190" y="195"/>
                    </a:lnTo>
                    <a:lnTo>
                      <a:pt x="186" y="201"/>
                    </a:lnTo>
                    <a:lnTo>
                      <a:pt x="182" y="207"/>
                    </a:lnTo>
                    <a:lnTo>
                      <a:pt x="177" y="213"/>
                    </a:lnTo>
                    <a:lnTo>
                      <a:pt x="172" y="218"/>
                    </a:lnTo>
                    <a:lnTo>
                      <a:pt x="166" y="222"/>
                    </a:lnTo>
                    <a:lnTo>
                      <a:pt x="161" y="225"/>
                    </a:lnTo>
                    <a:lnTo>
                      <a:pt x="154" y="227"/>
                    </a:lnTo>
                    <a:lnTo>
                      <a:pt x="148" y="229"/>
                    </a:lnTo>
                    <a:lnTo>
                      <a:pt x="142" y="230"/>
                    </a:lnTo>
                    <a:lnTo>
                      <a:pt x="137" y="230"/>
                    </a:lnTo>
                    <a:lnTo>
                      <a:pt x="131" y="229"/>
                    </a:lnTo>
                    <a:lnTo>
                      <a:pt x="127" y="228"/>
                    </a:lnTo>
                    <a:lnTo>
                      <a:pt x="123" y="226"/>
                    </a:lnTo>
                    <a:lnTo>
                      <a:pt x="120" y="224"/>
                    </a:lnTo>
                    <a:lnTo>
                      <a:pt x="118" y="222"/>
                    </a:lnTo>
                    <a:lnTo>
                      <a:pt x="114" y="216"/>
                    </a:lnTo>
                    <a:lnTo>
                      <a:pt x="113" y="209"/>
                    </a:lnTo>
                    <a:lnTo>
                      <a:pt x="92" y="213"/>
                    </a:lnTo>
                    <a:lnTo>
                      <a:pt x="95" y="220"/>
                    </a:lnTo>
                    <a:lnTo>
                      <a:pt x="97" y="226"/>
                    </a:lnTo>
                    <a:lnTo>
                      <a:pt x="99" y="231"/>
                    </a:lnTo>
                    <a:lnTo>
                      <a:pt x="103" y="235"/>
                    </a:lnTo>
                    <a:lnTo>
                      <a:pt x="107" y="238"/>
                    </a:lnTo>
                    <a:lnTo>
                      <a:pt x="112" y="241"/>
                    </a:lnTo>
                    <a:lnTo>
                      <a:pt x="118" y="244"/>
                    </a:lnTo>
                    <a:lnTo>
                      <a:pt x="124" y="246"/>
                    </a:lnTo>
                    <a:lnTo>
                      <a:pt x="133" y="247"/>
                    </a:lnTo>
                    <a:lnTo>
                      <a:pt x="141" y="247"/>
                    </a:lnTo>
                    <a:lnTo>
                      <a:pt x="150" y="246"/>
                    </a:lnTo>
                    <a:lnTo>
                      <a:pt x="160" y="242"/>
                    </a:lnTo>
                    <a:lnTo>
                      <a:pt x="168" y="239"/>
                    </a:lnTo>
                    <a:lnTo>
                      <a:pt x="176" y="235"/>
                    </a:lnTo>
                    <a:lnTo>
                      <a:pt x="184" y="230"/>
                    </a:lnTo>
                    <a:lnTo>
                      <a:pt x="192" y="224"/>
                    </a:lnTo>
                    <a:lnTo>
                      <a:pt x="200" y="216"/>
                    </a:lnTo>
                    <a:lnTo>
                      <a:pt x="205" y="208"/>
                    </a:lnTo>
                    <a:lnTo>
                      <a:pt x="209" y="199"/>
                    </a:lnTo>
                    <a:lnTo>
                      <a:pt x="212" y="191"/>
                    </a:lnTo>
                    <a:lnTo>
                      <a:pt x="213" y="181"/>
                    </a:lnTo>
                    <a:lnTo>
                      <a:pt x="213" y="172"/>
                    </a:lnTo>
                    <a:lnTo>
                      <a:pt x="211" y="163"/>
                    </a:lnTo>
                    <a:lnTo>
                      <a:pt x="207" y="153"/>
                    </a:lnTo>
                    <a:lnTo>
                      <a:pt x="203" y="146"/>
                    </a:lnTo>
                    <a:lnTo>
                      <a:pt x="198" y="139"/>
                    </a:lnTo>
                    <a:lnTo>
                      <a:pt x="192" y="133"/>
                    </a:lnTo>
                    <a:lnTo>
                      <a:pt x="183" y="128"/>
                    </a:lnTo>
                    <a:lnTo>
                      <a:pt x="175" y="124"/>
                    </a:lnTo>
                    <a:lnTo>
                      <a:pt x="166" y="120"/>
                    </a:lnTo>
                    <a:lnTo>
                      <a:pt x="155" y="118"/>
                    </a:lnTo>
                    <a:lnTo>
                      <a:pt x="145" y="117"/>
                    </a:lnTo>
                    <a:lnTo>
                      <a:pt x="130" y="117"/>
                    </a:lnTo>
                    <a:lnTo>
                      <a:pt x="113" y="118"/>
                    </a:lnTo>
                    <a:lnTo>
                      <a:pt x="97" y="121"/>
                    </a:lnTo>
                    <a:lnTo>
                      <a:pt x="81" y="126"/>
                    </a:lnTo>
                    <a:lnTo>
                      <a:pt x="66" y="132"/>
                    </a:lnTo>
                    <a:lnTo>
                      <a:pt x="51" y="139"/>
                    </a:lnTo>
                    <a:lnTo>
                      <a:pt x="39" y="147"/>
                    </a:lnTo>
                    <a:lnTo>
                      <a:pt x="27" y="157"/>
                    </a:lnTo>
                    <a:lnTo>
                      <a:pt x="20" y="165"/>
                    </a:lnTo>
                    <a:lnTo>
                      <a:pt x="14" y="173"/>
                    </a:lnTo>
                    <a:lnTo>
                      <a:pt x="9" y="182"/>
                    </a:lnTo>
                    <a:lnTo>
                      <a:pt x="6" y="192"/>
                    </a:lnTo>
                    <a:lnTo>
                      <a:pt x="3" y="201"/>
                    </a:lnTo>
                    <a:lnTo>
                      <a:pt x="2" y="210"/>
                    </a:lnTo>
                    <a:lnTo>
                      <a:pt x="0" y="221"/>
                    </a:lnTo>
                    <a:lnTo>
                      <a:pt x="2" y="230"/>
                    </a:lnTo>
                    <a:lnTo>
                      <a:pt x="3" y="239"/>
                    </a:lnTo>
                    <a:lnTo>
                      <a:pt x="5" y="250"/>
                    </a:lnTo>
                    <a:lnTo>
                      <a:pt x="8" y="259"/>
                    </a:lnTo>
                    <a:lnTo>
                      <a:pt x="11" y="268"/>
                    </a:lnTo>
                    <a:lnTo>
                      <a:pt x="15" y="278"/>
                    </a:lnTo>
                    <a:lnTo>
                      <a:pt x="19" y="286"/>
                    </a:lnTo>
                    <a:lnTo>
                      <a:pt x="24" y="294"/>
                    </a:lnTo>
                    <a:lnTo>
                      <a:pt x="29" y="302"/>
                    </a:lnTo>
                    <a:lnTo>
                      <a:pt x="37" y="312"/>
                    </a:lnTo>
                    <a:lnTo>
                      <a:pt x="46" y="320"/>
                    </a:lnTo>
                    <a:lnTo>
                      <a:pt x="55" y="329"/>
                    </a:lnTo>
                    <a:lnTo>
                      <a:pt x="67" y="338"/>
                    </a:lnTo>
                    <a:lnTo>
                      <a:pt x="79" y="346"/>
                    </a:lnTo>
                    <a:lnTo>
                      <a:pt x="91" y="353"/>
                    </a:lnTo>
                    <a:lnTo>
                      <a:pt x="105" y="360"/>
                    </a:lnTo>
                    <a:lnTo>
                      <a:pt x="118" y="367"/>
                    </a:lnTo>
                    <a:lnTo>
                      <a:pt x="133" y="372"/>
                    </a:lnTo>
                    <a:lnTo>
                      <a:pt x="147" y="378"/>
                    </a:lnTo>
                    <a:lnTo>
                      <a:pt x="162" y="382"/>
                    </a:lnTo>
                    <a:lnTo>
                      <a:pt x="176" y="386"/>
                    </a:lnTo>
                    <a:lnTo>
                      <a:pt x="190" y="389"/>
                    </a:lnTo>
                    <a:lnTo>
                      <a:pt x="204" y="391"/>
                    </a:lnTo>
                    <a:lnTo>
                      <a:pt x="216" y="392"/>
                    </a:lnTo>
                    <a:lnTo>
                      <a:pt x="229" y="393"/>
                    </a:lnTo>
                    <a:lnTo>
                      <a:pt x="277" y="393"/>
                    </a:lnTo>
                    <a:lnTo>
                      <a:pt x="320" y="392"/>
                    </a:lnTo>
                    <a:lnTo>
                      <a:pt x="340" y="391"/>
                    </a:lnTo>
                    <a:lnTo>
                      <a:pt x="360" y="389"/>
                    </a:lnTo>
                    <a:lnTo>
                      <a:pt x="379" y="387"/>
                    </a:lnTo>
                    <a:lnTo>
                      <a:pt x="398" y="384"/>
                    </a:lnTo>
                    <a:lnTo>
                      <a:pt x="417" y="381"/>
                    </a:lnTo>
                    <a:lnTo>
                      <a:pt x="436" y="376"/>
                    </a:lnTo>
                    <a:lnTo>
                      <a:pt x="455" y="371"/>
                    </a:lnTo>
                    <a:lnTo>
                      <a:pt x="476" y="364"/>
                    </a:lnTo>
                    <a:lnTo>
                      <a:pt x="496" y="358"/>
                    </a:lnTo>
                    <a:lnTo>
                      <a:pt x="518" y="350"/>
                    </a:lnTo>
                    <a:lnTo>
                      <a:pt x="541" y="341"/>
                    </a:lnTo>
                    <a:lnTo>
                      <a:pt x="565" y="331"/>
                    </a:lnTo>
                    <a:lnTo>
                      <a:pt x="578" y="325"/>
                    </a:lnTo>
                    <a:lnTo>
                      <a:pt x="592" y="319"/>
                    </a:lnTo>
                    <a:lnTo>
                      <a:pt x="604" y="311"/>
                    </a:lnTo>
                    <a:lnTo>
                      <a:pt x="616" y="302"/>
                    </a:lnTo>
                    <a:lnTo>
                      <a:pt x="629" y="294"/>
                    </a:lnTo>
                    <a:lnTo>
                      <a:pt x="641" y="285"/>
                    </a:lnTo>
                    <a:lnTo>
                      <a:pt x="653" y="274"/>
                    </a:lnTo>
                    <a:lnTo>
                      <a:pt x="664" y="264"/>
                    </a:lnTo>
                    <a:lnTo>
                      <a:pt x="674" y="254"/>
                    </a:lnTo>
                    <a:lnTo>
                      <a:pt x="685" y="242"/>
                    </a:lnTo>
                    <a:lnTo>
                      <a:pt x="695" y="231"/>
                    </a:lnTo>
                    <a:lnTo>
                      <a:pt x="703" y="220"/>
                    </a:lnTo>
                    <a:lnTo>
                      <a:pt x="711" y="208"/>
                    </a:lnTo>
                    <a:lnTo>
                      <a:pt x="719" y="196"/>
                    </a:lnTo>
                    <a:lnTo>
                      <a:pt x="725" y="185"/>
                    </a:lnTo>
                    <a:lnTo>
                      <a:pt x="731" y="172"/>
                    </a:lnTo>
                    <a:lnTo>
                      <a:pt x="734" y="163"/>
                    </a:lnTo>
                    <a:lnTo>
                      <a:pt x="737" y="153"/>
                    </a:lnTo>
                    <a:lnTo>
                      <a:pt x="739" y="144"/>
                    </a:lnTo>
                    <a:lnTo>
                      <a:pt x="741" y="135"/>
                    </a:lnTo>
                    <a:lnTo>
                      <a:pt x="742" y="126"/>
                    </a:lnTo>
                    <a:lnTo>
                      <a:pt x="742" y="116"/>
                    </a:lnTo>
                    <a:lnTo>
                      <a:pt x="742" y="107"/>
                    </a:lnTo>
                    <a:lnTo>
                      <a:pt x="742" y="98"/>
                    </a:lnTo>
                    <a:lnTo>
                      <a:pt x="741" y="88"/>
                    </a:lnTo>
                    <a:lnTo>
                      <a:pt x="739" y="80"/>
                    </a:lnTo>
                    <a:lnTo>
                      <a:pt x="737" y="71"/>
                    </a:lnTo>
                    <a:lnTo>
                      <a:pt x="734" y="63"/>
                    </a:lnTo>
                    <a:lnTo>
                      <a:pt x="730" y="55"/>
                    </a:lnTo>
                    <a:lnTo>
                      <a:pt x="727" y="48"/>
                    </a:lnTo>
                    <a:lnTo>
                      <a:pt x="722" y="41"/>
                    </a:lnTo>
                    <a:lnTo>
                      <a:pt x="717" y="35"/>
                    </a:lnTo>
                    <a:lnTo>
                      <a:pt x="709" y="26"/>
                    </a:lnTo>
                    <a:lnTo>
                      <a:pt x="701" y="19"/>
                    </a:lnTo>
                    <a:lnTo>
                      <a:pt x="692" y="14"/>
                    </a:lnTo>
                    <a:lnTo>
                      <a:pt x="681" y="9"/>
                    </a:lnTo>
                    <a:lnTo>
                      <a:pt x="671" y="6"/>
                    </a:lnTo>
                    <a:lnTo>
                      <a:pt x="660" y="3"/>
                    </a:lnTo>
                    <a:lnTo>
                      <a:pt x="648" y="1"/>
                    </a:lnTo>
                    <a:lnTo>
                      <a:pt x="636" y="0"/>
                    </a:lnTo>
                    <a:lnTo>
                      <a:pt x="619" y="3"/>
                    </a:lnTo>
                    <a:lnTo>
                      <a:pt x="605" y="5"/>
                    </a:lnTo>
                    <a:lnTo>
                      <a:pt x="592" y="10"/>
                    </a:lnTo>
                    <a:lnTo>
                      <a:pt x="579" y="15"/>
                    </a:lnTo>
                    <a:lnTo>
                      <a:pt x="568" y="21"/>
                    </a:lnTo>
                    <a:lnTo>
                      <a:pt x="557" y="29"/>
                    </a:lnTo>
                    <a:lnTo>
                      <a:pt x="546" y="38"/>
                    </a:lnTo>
                    <a:lnTo>
                      <a:pt x="536" y="46"/>
                    </a:lnTo>
                    <a:close/>
                  </a:path>
                </a:pathLst>
              </a:custGeom>
              <a:solidFill>
                <a:srgbClr val="F1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27" name="Freeform 142"/>
              <p:cNvSpPr>
                <a:spLocks/>
              </p:cNvSpPr>
              <p:nvPr/>
            </p:nvSpPr>
            <p:spPr bwMode="auto">
              <a:xfrm>
                <a:off x="3870" y="1799"/>
                <a:ext cx="26" cy="62"/>
              </a:xfrm>
              <a:custGeom>
                <a:avLst/>
                <a:gdLst>
                  <a:gd name="T0" fmla="*/ 0 w 186"/>
                  <a:gd name="T1" fmla="*/ 0 h 434"/>
                  <a:gd name="T2" fmla="*/ 0 w 186"/>
                  <a:gd name="T3" fmla="*/ 0 h 434"/>
                  <a:gd name="T4" fmla="*/ 0 w 186"/>
                  <a:gd name="T5" fmla="*/ 0 h 434"/>
                  <a:gd name="T6" fmla="*/ 0 w 186"/>
                  <a:gd name="T7" fmla="*/ 0 h 434"/>
                  <a:gd name="T8" fmla="*/ 0 w 186"/>
                  <a:gd name="T9" fmla="*/ 0 h 434"/>
                  <a:gd name="T10" fmla="*/ 0 w 186"/>
                  <a:gd name="T11" fmla="*/ 0 h 434"/>
                  <a:gd name="T12" fmla="*/ 0 w 186"/>
                  <a:gd name="T13" fmla="*/ 0 h 434"/>
                  <a:gd name="T14" fmla="*/ 0 w 186"/>
                  <a:gd name="T15" fmla="*/ 0 h 434"/>
                  <a:gd name="T16" fmla="*/ 0 w 186"/>
                  <a:gd name="T17" fmla="*/ 0 h 434"/>
                  <a:gd name="T18" fmla="*/ 0 w 186"/>
                  <a:gd name="T19" fmla="*/ 0 h 434"/>
                  <a:gd name="T20" fmla="*/ 0 w 186"/>
                  <a:gd name="T21" fmla="*/ 0 h 434"/>
                  <a:gd name="T22" fmla="*/ 0 w 186"/>
                  <a:gd name="T23" fmla="*/ 0 h 434"/>
                  <a:gd name="T24" fmla="*/ 0 w 186"/>
                  <a:gd name="T25" fmla="*/ 0 h 434"/>
                  <a:gd name="T26" fmla="*/ 0 w 186"/>
                  <a:gd name="T27" fmla="*/ 0 h 434"/>
                  <a:gd name="T28" fmla="*/ 0 w 186"/>
                  <a:gd name="T29" fmla="*/ 0 h 434"/>
                  <a:gd name="T30" fmla="*/ 0 w 186"/>
                  <a:gd name="T31" fmla="*/ 0 h 434"/>
                  <a:gd name="T32" fmla="*/ 0 w 186"/>
                  <a:gd name="T33" fmla="*/ 0 h 434"/>
                  <a:gd name="T34" fmla="*/ 0 w 186"/>
                  <a:gd name="T35" fmla="*/ 0 h 434"/>
                  <a:gd name="T36" fmla="*/ 0 w 186"/>
                  <a:gd name="T37" fmla="*/ 0 h 434"/>
                  <a:gd name="T38" fmla="*/ 0 w 186"/>
                  <a:gd name="T39" fmla="*/ 0 h 434"/>
                  <a:gd name="T40" fmla="*/ 0 w 186"/>
                  <a:gd name="T41" fmla="*/ 0 h 434"/>
                  <a:gd name="T42" fmla="*/ 0 w 186"/>
                  <a:gd name="T43" fmla="*/ 0 h 434"/>
                  <a:gd name="T44" fmla="*/ 0 w 186"/>
                  <a:gd name="T45" fmla="*/ 0 h 434"/>
                  <a:gd name="T46" fmla="*/ 0 w 186"/>
                  <a:gd name="T47" fmla="*/ 0 h 434"/>
                  <a:gd name="T48" fmla="*/ 0 w 186"/>
                  <a:gd name="T49" fmla="*/ 0 h 434"/>
                  <a:gd name="T50" fmla="*/ 0 w 186"/>
                  <a:gd name="T51" fmla="*/ 0 h 434"/>
                  <a:gd name="T52" fmla="*/ 0 w 186"/>
                  <a:gd name="T53" fmla="*/ 0 h 434"/>
                  <a:gd name="T54" fmla="*/ 0 w 186"/>
                  <a:gd name="T55" fmla="*/ 0 h 434"/>
                  <a:gd name="T56" fmla="*/ 0 w 186"/>
                  <a:gd name="T57" fmla="*/ 0 h 434"/>
                  <a:gd name="T58" fmla="*/ 0 w 186"/>
                  <a:gd name="T59" fmla="*/ 0 h 434"/>
                  <a:gd name="T60" fmla="*/ 0 w 186"/>
                  <a:gd name="T61" fmla="*/ 0 h 434"/>
                  <a:gd name="T62" fmla="*/ 0 w 186"/>
                  <a:gd name="T63" fmla="*/ 0 h 434"/>
                  <a:gd name="T64" fmla="*/ 0 w 186"/>
                  <a:gd name="T65" fmla="*/ 0 h 434"/>
                  <a:gd name="T66" fmla="*/ 0 w 186"/>
                  <a:gd name="T67" fmla="*/ 0 h 434"/>
                  <a:gd name="T68" fmla="*/ 0 w 186"/>
                  <a:gd name="T69" fmla="*/ 0 h 434"/>
                  <a:gd name="T70" fmla="*/ 0 w 186"/>
                  <a:gd name="T71" fmla="*/ 0 h 434"/>
                  <a:gd name="T72" fmla="*/ 0 w 186"/>
                  <a:gd name="T73" fmla="*/ 0 h 434"/>
                  <a:gd name="T74" fmla="*/ 0 w 186"/>
                  <a:gd name="T75" fmla="*/ 0 h 434"/>
                  <a:gd name="T76" fmla="*/ 0 w 186"/>
                  <a:gd name="T77" fmla="*/ 0 h 434"/>
                  <a:gd name="T78" fmla="*/ 0 w 186"/>
                  <a:gd name="T79" fmla="*/ 0 h 434"/>
                  <a:gd name="T80" fmla="*/ 0 w 186"/>
                  <a:gd name="T81" fmla="*/ 0 h 434"/>
                  <a:gd name="T82" fmla="*/ 0 w 186"/>
                  <a:gd name="T83" fmla="*/ 0 h 434"/>
                  <a:gd name="T84" fmla="*/ 0 w 186"/>
                  <a:gd name="T85" fmla="*/ 0 h 434"/>
                  <a:gd name="T86" fmla="*/ 0 w 186"/>
                  <a:gd name="T87" fmla="*/ 0 h 434"/>
                  <a:gd name="T88" fmla="*/ 0 w 186"/>
                  <a:gd name="T89" fmla="*/ 0 h 434"/>
                  <a:gd name="T90" fmla="*/ 0 w 186"/>
                  <a:gd name="T91" fmla="*/ 0 h 434"/>
                  <a:gd name="T92" fmla="*/ 0 w 186"/>
                  <a:gd name="T93" fmla="*/ 0 h 434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86"/>
                  <a:gd name="T142" fmla="*/ 0 h 434"/>
                  <a:gd name="T143" fmla="*/ 186 w 186"/>
                  <a:gd name="T144" fmla="*/ 434 h 434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86" h="434">
                    <a:moveTo>
                      <a:pt x="56" y="0"/>
                    </a:moveTo>
                    <a:lnTo>
                      <a:pt x="42" y="10"/>
                    </a:lnTo>
                    <a:lnTo>
                      <a:pt x="31" y="20"/>
                    </a:lnTo>
                    <a:lnTo>
                      <a:pt x="21" y="31"/>
                    </a:lnTo>
                    <a:lnTo>
                      <a:pt x="14" y="42"/>
                    </a:lnTo>
                    <a:lnTo>
                      <a:pt x="8" y="55"/>
                    </a:lnTo>
                    <a:lnTo>
                      <a:pt x="4" y="68"/>
                    </a:lnTo>
                    <a:lnTo>
                      <a:pt x="1" y="82"/>
                    </a:lnTo>
                    <a:lnTo>
                      <a:pt x="0" y="96"/>
                    </a:lnTo>
                    <a:lnTo>
                      <a:pt x="1" y="111"/>
                    </a:lnTo>
                    <a:lnTo>
                      <a:pt x="2" y="125"/>
                    </a:lnTo>
                    <a:lnTo>
                      <a:pt x="5" y="141"/>
                    </a:lnTo>
                    <a:lnTo>
                      <a:pt x="9" y="156"/>
                    </a:lnTo>
                    <a:lnTo>
                      <a:pt x="14" y="172"/>
                    </a:lnTo>
                    <a:lnTo>
                      <a:pt x="19" y="188"/>
                    </a:lnTo>
                    <a:lnTo>
                      <a:pt x="27" y="204"/>
                    </a:lnTo>
                    <a:lnTo>
                      <a:pt x="34" y="220"/>
                    </a:lnTo>
                    <a:lnTo>
                      <a:pt x="50" y="252"/>
                    </a:lnTo>
                    <a:lnTo>
                      <a:pt x="69" y="283"/>
                    </a:lnTo>
                    <a:lnTo>
                      <a:pt x="88" y="314"/>
                    </a:lnTo>
                    <a:lnTo>
                      <a:pt x="107" y="343"/>
                    </a:lnTo>
                    <a:lnTo>
                      <a:pt x="144" y="395"/>
                    </a:lnTo>
                    <a:lnTo>
                      <a:pt x="172" y="434"/>
                    </a:lnTo>
                    <a:lnTo>
                      <a:pt x="179" y="423"/>
                    </a:lnTo>
                    <a:lnTo>
                      <a:pt x="182" y="410"/>
                    </a:lnTo>
                    <a:lnTo>
                      <a:pt x="185" y="396"/>
                    </a:lnTo>
                    <a:lnTo>
                      <a:pt x="186" y="382"/>
                    </a:lnTo>
                    <a:lnTo>
                      <a:pt x="186" y="366"/>
                    </a:lnTo>
                    <a:lnTo>
                      <a:pt x="185" y="352"/>
                    </a:lnTo>
                    <a:lnTo>
                      <a:pt x="183" y="335"/>
                    </a:lnTo>
                    <a:lnTo>
                      <a:pt x="180" y="320"/>
                    </a:lnTo>
                    <a:lnTo>
                      <a:pt x="173" y="289"/>
                    </a:lnTo>
                    <a:lnTo>
                      <a:pt x="166" y="259"/>
                    </a:lnTo>
                    <a:lnTo>
                      <a:pt x="160" y="231"/>
                    </a:lnTo>
                    <a:lnTo>
                      <a:pt x="155" y="206"/>
                    </a:lnTo>
                    <a:lnTo>
                      <a:pt x="153" y="190"/>
                    </a:lnTo>
                    <a:lnTo>
                      <a:pt x="150" y="176"/>
                    </a:lnTo>
                    <a:lnTo>
                      <a:pt x="145" y="161"/>
                    </a:lnTo>
                    <a:lnTo>
                      <a:pt x="141" y="148"/>
                    </a:lnTo>
                    <a:lnTo>
                      <a:pt x="137" y="135"/>
                    </a:lnTo>
                    <a:lnTo>
                      <a:pt x="132" y="121"/>
                    </a:lnTo>
                    <a:lnTo>
                      <a:pt x="127" y="109"/>
                    </a:lnTo>
                    <a:lnTo>
                      <a:pt x="121" y="96"/>
                    </a:lnTo>
                    <a:lnTo>
                      <a:pt x="107" y="72"/>
                    </a:lnTo>
                    <a:lnTo>
                      <a:pt x="92" y="49"/>
                    </a:lnTo>
                    <a:lnTo>
                      <a:pt x="75" y="25"/>
                    </a:lnTo>
                    <a:lnTo>
                      <a:pt x="56" y="0"/>
                    </a:lnTo>
                    <a:close/>
                  </a:path>
                </a:pathLst>
              </a:custGeom>
              <a:solidFill>
                <a:srgbClr val="F1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28" name="Freeform 143"/>
              <p:cNvSpPr>
                <a:spLocks/>
              </p:cNvSpPr>
              <p:nvPr/>
            </p:nvSpPr>
            <p:spPr bwMode="auto">
              <a:xfrm>
                <a:off x="3828" y="1791"/>
                <a:ext cx="103" cy="80"/>
              </a:xfrm>
              <a:custGeom>
                <a:avLst/>
                <a:gdLst>
                  <a:gd name="T0" fmla="*/ 0 w 719"/>
                  <a:gd name="T1" fmla="*/ 0 h 566"/>
                  <a:gd name="T2" fmla="*/ 0 w 719"/>
                  <a:gd name="T3" fmla="*/ 0 h 566"/>
                  <a:gd name="T4" fmla="*/ 0 w 719"/>
                  <a:gd name="T5" fmla="*/ 0 h 566"/>
                  <a:gd name="T6" fmla="*/ 0 w 719"/>
                  <a:gd name="T7" fmla="*/ 0 h 566"/>
                  <a:gd name="T8" fmla="*/ 0 w 719"/>
                  <a:gd name="T9" fmla="*/ 0 h 566"/>
                  <a:gd name="T10" fmla="*/ 0 w 719"/>
                  <a:gd name="T11" fmla="*/ 0 h 566"/>
                  <a:gd name="T12" fmla="*/ 0 w 719"/>
                  <a:gd name="T13" fmla="*/ 0 h 566"/>
                  <a:gd name="T14" fmla="*/ 0 w 719"/>
                  <a:gd name="T15" fmla="*/ 0 h 566"/>
                  <a:gd name="T16" fmla="*/ 0 w 719"/>
                  <a:gd name="T17" fmla="*/ 0 h 566"/>
                  <a:gd name="T18" fmla="*/ 0 w 719"/>
                  <a:gd name="T19" fmla="*/ 0 h 566"/>
                  <a:gd name="T20" fmla="*/ 0 w 719"/>
                  <a:gd name="T21" fmla="*/ 0 h 566"/>
                  <a:gd name="T22" fmla="*/ 0 w 719"/>
                  <a:gd name="T23" fmla="*/ 0 h 566"/>
                  <a:gd name="T24" fmla="*/ 0 w 719"/>
                  <a:gd name="T25" fmla="*/ 0 h 566"/>
                  <a:gd name="T26" fmla="*/ 0 w 719"/>
                  <a:gd name="T27" fmla="*/ 0 h 566"/>
                  <a:gd name="T28" fmla="*/ 0 w 719"/>
                  <a:gd name="T29" fmla="*/ 0 h 566"/>
                  <a:gd name="T30" fmla="*/ 0 w 719"/>
                  <a:gd name="T31" fmla="*/ 0 h 566"/>
                  <a:gd name="T32" fmla="*/ 0 w 719"/>
                  <a:gd name="T33" fmla="*/ 0 h 566"/>
                  <a:gd name="T34" fmla="*/ 0 w 719"/>
                  <a:gd name="T35" fmla="*/ 0 h 566"/>
                  <a:gd name="T36" fmla="*/ 0 w 719"/>
                  <a:gd name="T37" fmla="*/ 0 h 566"/>
                  <a:gd name="T38" fmla="*/ 0 w 719"/>
                  <a:gd name="T39" fmla="*/ 0 h 566"/>
                  <a:gd name="T40" fmla="*/ 0 w 719"/>
                  <a:gd name="T41" fmla="*/ 0 h 566"/>
                  <a:gd name="T42" fmla="*/ 0 w 719"/>
                  <a:gd name="T43" fmla="*/ 0 h 566"/>
                  <a:gd name="T44" fmla="*/ 0 w 719"/>
                  <a:gd name="T45" fmla="*/ 0 h 566"/>
                  <a:gd name="T46" fmla="*/ 0 w 719"/>
                  <a:gd name="T47" fmla="*/ 0 h 566"/>
                  <a:gd name="T48" fmla="*/ 0 w 719"/>
                  <a:gd name="T49" fmla="*/ 0 h 566"/>
                  <a:gd name="T50" fmla="*/ 0 w 719"/>
                  <a:gd name="T51" fmla="*/ 0 h 566"/>
                  <a:gd name="T52" fmla="*/ 0 w 719"/>
                  <a:gd name="T53" fmla="*/ 0 h 566"/>
                  <a:gd name="T54" fmla="*/ 0 w 719"/>
                  <a:gd name="T55" fmla="*/ 0 h 566"/>
                  <a:gd name="T56" fmla="*/ 0 w 719"/>
                  <a:gd name="T57" fmla="*/ 0 h 566"/>
                  <a:gd name="T58" fmla="*/ 0 w 719"/>
                  <a:gd name="T59" fmla="*/ 0 h 566"/>
                  <a:gd name="T60" fmla="*/ 0 w 719"/>
                  <a:gd name="T61" fmla="*/ 0 h 566"/>
                  <a:gd name="T62" fmla="*/ 0 w 719"/>
                  <a:gd name="T63" fmla="*/ 0 h 566"/>
                  <a:gd name="T64" fmla="*/ 0 w 719"/>
                  <a:gd name="T65" fmla="*/ 0 h 566"/>
                  <a:gd name="T66" fmla="*/ 0 w 719"/>
                  <a:gd name="T67" fmla="*/ 0 h 566"/>
                  <a:gd name="T68" fmla="*/ 0 w 719"/>
                  <a:gd name="T69" fmla="*/ 0 h 566"/>
                  <a:gd name="T70" fmla="*/ 0 w 719"/>
                  <a:gd name="T71" fmla="*/ 0 h 566"/>
                  <a:gd name="T72" fmla="*/ 0 w 719"/>
                  <a:gd name="T73" fmla="*/ 0 h 566"/>
                  <a:gd name="T74" fmla="*/ 0 w 719"/>
                  <a:gd name="T75" fmla="*/ 0 h 566"/>
                  <a:gd name="T76" fmla="*/ 0 w 719"/>
                  <a:gd name="T77" fmla="*/ 0 h 566"/>
                  <a:gd name="T78" fmla="*/ 0 w 719"/>
                  <a:gd name="T79" fmla="*/ 0 h 566"/>
                  <a:gd name="T80" fmla="*/ 0 w 719"/>
                  <a:gd name="T81" fmla="*/ 0 h 566"/>
                  <a:gd name="T82" fmla="*/ 0 w 719"/>
                  <a:gd name="T83" fmla="*/ 0 h 566"/>
                  <a:gd name="T84" fmla="*/ 0 w 719"/>
                  <a:gd name="T85" fmla="*/ 0 h 566"/>
                  <a:gd name="T86" fmla="*/ 0 w 719"/>
                  <a:gd name="T87" fmla="*/ 0 h 566"/>
                  <a:gd name="T88" fmla="*/ 0 w 719"/>
                  <a:gd name="T89" fmla="*/ 0 h 566"/>
                  <a:gd name="T90" fmla="*/ 0 w 719"/>
                  <a:gd name="T91" fmla="*/ 0 h 566"/>
                  <a:gd name="T92" fmla="*/ 0 w 719"/>
                  <a:gd name="T93" fmla="*/ 0 h 566"/>
                  <a:gd name="T94" fmla="*/ 0 w 719"/>
                  <a:gd name="T95" fmla="*/ 0 h 56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19"/>
                  <a:gd name="T145" fmla="*/ 0 h 566"/>
                  <a:gd name="T146" fmla="*/ 719 w 719"/>
                  <a:gd name="T147" fmla="*/ 566 h 56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19" h="566">
                    <a:moveTo>
                      <a:pt x="584" y="19"/>
                    </a:moveTo>
                    <a:lnTo>
                      <a:pt x="574" y="25"/>
                    </a:lnTo>
                    <a:lnTo>
                      <a:pt x="563" y="31"/>
                    </a:lnTo>
                    <a:lnTo>
                      <a:pt x="553" y="37"/>
                    </a:lnTo>
                    <a:lnTo>
                      <a:pt x="544" y="45"/>
                    </a:lnTo>
                    <a:lnTo>
                      <a:pt x="535" y="53"/>
                    </a:lnTo>
                    <a:lnTo>
                      <a:pt x="527" y="61"/>
                    </a:lnTo>
                    <a:lnTo>
                      <a:pt x="519" y="71"/>
                    </a:lnTo>
                    <a:lnTo>
                      <a:pt x="512" y="79"/>
                    </a:lnTo>
                    <a:lnTo>
                      <a:pt x="506" y="88"/>
                    </a:lnTo>
                    <a:lnTo>
                      <a:pt x="500" y="98"/>
                    </a:lnTo>
                    <a:lnTo>
                      <a:pt x="494" y="108"/>
                    </a:lnTo>
                    <a:lnTo>
                      <a:pt x="490" y="117"/>
                    </a:lnTo>
                    <a:lnTo>
                      <a:pt x="482" y="137"/>
                    </a:lnTo>
                    <a:lnTo>
                      <a:pt x="476" y="156"/>
                    </a:lnTo>
                    <a:lnTo>
                      <a:pt x="474" y="167"/>
                    </a:lnTo>
                    <a:lnTo>
                      <a:pt x="473" y="180"/>
                    </a:lnTo>
                    <a:lnTo>
                      <a:pt x="473" y="195"/>
                    </a:lnTo>
                    <a:lnTo>
                      <a:pt x="474" y="212"/>
                    </a:lnTo>
                    <a:lnTo>
                      <a:pt x="478" y="249"/>
                    </a:lnTo>
                    <a:lnTo>
                      <a:pt x="484" y="290"/>
                    </a:lnTo>
                    <a:lnTo>
                      <a:pt x="490" y="330"/>
                    </a:lnTo>
                    <a:lnTo>
                      <a:pt x="497" y="366"/>
                    </a:lnTo>
                    <a:lnTo>
                      <a:pt x="505" y="396"/>
                    </a:lnTo>
                    <a:lnTo>
                      <a:pt x="509" y="418"/>
                    </a:lnTo>
                    <a:lnTo>
                      <a:pt x="513" y="431"/>
                    </a:lnTo>
                    <a:lnTo>
                      <a:pt x="515" y="443"/>
                    </a:lnTo>
                    <a:lnTo>
                      <a:pt x="517" y="453"/>
                    </a:lnTo>
                    <a:lnTo>
                      <a:pt x="519" y="463"/>
                    </a:lnTo>
                    <a:lnTo>
                      <a:pt x="518" y="474"/>
                    </a:lnTo>
                    <a:lnTo>
                      <a:pt x="516" y="485"/>
                    </a:lnTo>
                    <a:lnTo>
                      <a:pt x="512" y="498"/>
                    </a:lnTo>
                    <a:lnTo>
                      <a:pt x="505" y="512"/>
                    </a:lnTo>
                    <a:lnTo>
                      <a:pt x="501" y="518"/>
                    </a:lnTo>
                    <a:lnTo>
                      <a:pt x="496" y="523"/>
                    </a:lnTo>
                    <a:lnTo>
                      <a:pt x="491" y="527"/>
                    </a:lnTo>
                    <a:lnTo>
                      <a:pt x="485" y="530"/>
                    </a:lnTo>
                    <a:lnTo>
                      <a:pt x="479" y="533"/>
                    </a:lnTo>
                    <a:lnTo>
                      <a:pt x="472" y="534"/>
                    </a:lnTo>
                    <a:lnTo>
                      <a:pt x="464" y="535"/>
                    </a:lnTo>
                    <a:lnTo>
                      <a:pt x="457" y="535"/>
                    </a:lnTo>
                    <a:lnTo>
                      <a:pt x="450" y="534"/>
                    </a:lnTo>
                    <a:lnTo>
                      <a:pt x="442" y="532"/>
                    </a:lnTo>
                    <a:lnTo>
                      <a:pt x="434" y="530"/>
                    </a:lnTo>
                    <a:lnTo>
                      <a:pt x="428" y="528"/>
                    </a:lnTo>
                    <a:lnTo>
                      <a:pt x="421" y="523"/>
                    </a:lnTo>
                    <a:lnTo>
                      <a:pt x="415" y="520"/>
                    </a:lnTo>
                    <a:lnTo>
                      <a:pt x="410" y="515"/>
                    </a:lnTo>
                    <a:lnTo>
                      <a:pt x="404" y="511"/>
                    </a:lnTo>
                    <a:lnTo>
                      <a:pt x="396" y="499"/>
                    </a:lnTo>
                    <a:lnTo>
                      <a:pt x="389" y="485"/>
                    </a:lnTo>
                    <a:lnTo>
                      <a:pt x="383" y="472"/>
                    </a:lnTo>
                    <a:lnTo>
                      <a:pt x="378" y="457"/>
                    </a:lnTo>
                    <a:lnTo>
                      <a:pt x="369" y="427"/>
                    </a:lnTo>
                    <a:lnTo>
                      <a:pt x="361" y="398"/>
                    </a:lnTo>
                    <a:lnTo>
                      <a:pt x="355" y="381"/>
                    </a:lnTo>
                    <a:lnTo>
                      <a:pt x="349" y="364"/>
                    </a:lnTo>
                    <a:lnTo>
                      <a:pt x="342" y="349"/>
                    </a:lnTo>
                    <a:lnTo>
                      <a:pt x="335" y="333"/>
                    </a:lnTo>
                    <a:lnTo>
                      <a:pt x="327" y="318"/>
                    </a:lnTo>
                    <a:lnTo>
                      <a:pt x="318" y="302"/>
                    </a:lnTo>
                    <a:lnTo>
                      <a:pt x="307" y="288"/>
                    </a:lnTo>
                    <a:lnTo>
                      <a:pt x="295" y="273"/>
                    </a:lnTo>
                    <a:lnTo>
                      <a:pt x="277" y="254"/>
                    </a:lnTo>
                    <a:lnTo>
                      <a:pt x="259" y="236"/>
                    </a:lnTo>
                    <a:lnTo>
                      <a:pt x="248" y="228"/>
                    </a:lnTo>
                    <a:lnTo>
                      <a:pt x="238" y="220"/>
                    </a:lnTo>
                    <a:lnTo>
                      <a:pt x="228" y="213"/>
                    </a:lnTo>
                    <a:lnTo>
                      <a:pt x="216" y="207"/>
                    </a:lnTo>
                    <a:lnTo>
                      <a:pt x="204" y="201"/>
                    </a:lnTo>
                    <a:lnTo>
                      <a:pt x="193" y="196"/>
                    </a:lnTo>
                    <a:lnTo>
                      <a:pt x="179" y="190"/>
                    </a:lnTo>
                    <a:lnTo>
                      <a:pt x="167" y="187"/>
                    </a:lnTo>
                    <a:lnTo>
                      <a:pt x="152" y="183"/>
                    </a:lnTo>
                    <a:lnTo>
                      <a:pt x="139" y="181"/>
                    </a:lnTo>
                    <a:lnTo>
                      <a:pt x="123" y="179"/>
                    </a:lnTo>
                    <a:lnTo>
                      <a:pt x="108" y="179"/>
                    </a:lnTo>
                    <a:lnTo>
                      <a:pt x="96" y="179"/>
                    </a:lnTo>
                    <a:lnTo>
                      <a:pt x="84" y="180"/>
                    </a:lnTo>
                    <a:lnTo>
                      <a:pt x="73" y="182"/>
                    </a:lnTo>
                    <a:lnTo>
                      <a:pt x="61" y="186"/>
                    </a:lnTo>
                    <a:lnTo>
                      <a:pt x="52" y="190"/>
                    </a:lnTo>
                    <a:lnTo>
                      <a:pt x="42" y="195"/>
                    </a:lnTo>
                    <a:lnTo>
                      <a:pt x="34" y="201"/>
                    </a:lnTo>
                    <a:lnTo>
                      <a:pt x="26" y="207"/>
                    </a:lnTo>
                    <a:lnTo>
                      <a:pt x="19" y="214"/>
                    </a:lnTo>
                    <a:lnTo>
                      <a:pt x="13" y="223"/>
                    </a:lnTo>
                    <a:lnTo>
                      <a:pt x="8" y="231"/>
                    </a:lnTo>
                    <a:lnTo>
                      <a:pt x="5" y="240"/>
                    </a:lnTo>
                    <a:lnTo>
                      <a:pt x="1" y="249"/>
                    </a:lnTo>
                    <a:lnTo>
                      <a:pt x="0" y="259"/>
                    </a:lnTo>
                    <a:lnTo>
                      <a:pt x="0" y="269"/>
                    </a:lnTo>
                    <a:lnTo>
                      <a:pt x="3" y="279"/>
                    </a:lnTo>
                    <a:lnTo>
                      <a:pt x="5" y="276"/>
                    </a:lnTo>
                    <a:lnTo>
                      <a:pt x="9" y="270"/>
                    </a:lnTo>
                    <a:lnTo>
                      <a:pt x="17" y="261"/>
                    </a:lnTo>
                    <a:lnTo>
                      <a:pt x="28" y="250"/>
                    </a:lnTo>
                    <a:lnTo>
                      <a:pt x="35" y="245"/>
                    </a:lnTo>
                    <a:lnTo>
                      <a:pt x="43" y="240"/>
                    </a:lnTo>
                    <a:lnTo>
                      <a:pt x="51" y="235"/>
                    </a:lnTo>
                    <a:lnTo>
                      <a:pt x="59" y="231"/>
                    </a:lnTo>
                    <a:lnTo>
                      <a:pt x="70" y="227"/>
                    </a:lnTo>
                    <a:lnTo>
                      <a:pt x="80" y="225"/>
                    </a:lnTo>
                    <a:lnTo>
                      <a:pt x="91" y="223"/>
                    </a:lnTo>
                    <a:lnTo>
                      <a:pt x="104" y="223"/>
                    </a:lnTo>
                    <a:lnTo>
                      <a:pt x="116" y="224"/>
                    </a:lnTo>
                    <a:lnTo>
                      <a:pt x="130" y="227"/>
                    </a:lnTo>
                    <a:lnTo>
                      <a:pt x="144" y="231"/>
                    </a:lnTo>
                    <a:lnTo>
                      <a:pt x="160" y="237"/>
                    </a:lnTo>
                    <a:lnTo>
                      <a:pt x="175" y="245"/>
                    </a:lnTo>
                    <a:lnTo>
                      <a:pt x="192" y="257"/>
                    </a:lnTo>
                    <a:lnTo>
                      <a:pt x="208" y="270"/>
                    </a:lnTo>
                    <a:lnTo>
                      <a:pt x="226" y="286"/>
                    </a:lnTo>
                    <a:lnTo>
                      <a:pt x="244" y="304"/>
                    </a:lnTo>
                    <a:lnTo>
                      <a:pt x="264" y="326"/>
                    </a:lnTo>
                    <a:lnTo>
                      <a:pt x="284" y="352"/>
                    </a:lnTo>
                    <a:lnTo>
                      <a:pt x="304" y="380"/>
                    </a:lnTo>
                    <a:lnTo>
                      <a:pt x="326" y="412"/>
                    </a:lnTo>
                    <a:lnTo>
                      <a:pt x="348" y="447"/>
                    </a:lnTo>
                    <a:lnTo>
                      <a:pt x="370" y="486"/>
                    </a:lnTo>
                    <a:lnTo>
                      <a:pt x="393" y="530"/>
                    </a:lnTo>
                    <a:lnTo>
                      <a:pt x="397" y="537"/>
                    </a:lnTo>
                    <a:lnTo>
                      <a:pt x="401" y="542"/>
                    </a:lnTo>
                    <a:lnTo>
                      <a:pt x="407" y="547"/>
                    </a:lnTo>
                    <a:lnTo>
                      <a:pt x="412" y="551"/>
                    </a:lnTo>
                    <a:lnTo>
                      <a:pt x="417" y="555"/>
                    </a:lnTo>
                    <a:lnTo>
                      <a:pt x="422" y="559"/>
                    </a:lnTo>
                    <a:lnTo>
                      <a:pt x="428" y="561"/>
                    </a:lnTo>
                    <a:lnTo>
                      <a:pt x="434" y="563"/>
                    </a:lnTo>
                    <a:lnTo>
                      <a:pt x="441" y="564"/>
                    </a:lnTo>
                    <a:lnTo>
                      <a:pt x="447" y="565"/>
                    </a:lnTo>
                    <a:lnTo>
                      <a:pt x="454" y="566"/>
                    </a:lnTo>
                    <a:lnTo>
                      <a:pt x="460" y="565"/>
                    </a:lnTo>
                    <a:lnTo>
                      <a:pt x="474" y="564"/>
                    </a:lnTo>
                    <a:lnTo>
                      <a:pt x="487" y="560"/>
                    </a:lnTo>
                    <a:lnTo>
                      <a:pt x="500" y="555"/>
                    </a:lnTo>
                    <a:lnTo>
                      <a:pt x="512" y="549"/>
                    </a:lnTo>
                    <a:lnTo>
                      <a:pt x="522" y="542"/>
                    </a:lnTo>
                    <a:lnTo>
                      <a:pt x="532" y="535"/>
                    </a:lnTo>
                    <a:lnTo>
                      <a:pt x="539" y="527"/>
                    </a:lnTo>
                    <a:lnTo>
                      <a:pt x="544" y="517"/>
                    </a:lnTo>
                    <a:lnTo>
                      <a:pt x="545" y="513"/>
                    </a:lnTo>
                    <a:lnTo>
                      <a:pt x="546" y="508"/>
                    </a:lnTo>
                    <a:lnTo>
                      <a:pt x="547" y="504"/>
                    </a:lnTo>
                    <a:lnTo>
                      <a:pt x="546" y="500"/>
                    </a:lnTo>
                    <a:lnTo>
                      <a:pt x="540" y="458"/>
                    </a:lnTo>
                    <a:lnTo>
                      <a:pt x="535" y="420"/>
                    </a:lnTo>
                    <a:lnTo>
                      <a:pt x="531" y="383"/>
                    </a:lnTo>
                    <a:lnTo>
                      <a:pt x="530" y="349"/>
                    </a:lnTo>
                    <a:lnTo>
                      <a:pt x="528" y="317"/>
                    </a:lnTo>
                    <a:lnTo>
                      <a:pt x="530" y="288"/>
                    </a:lnTo>
                    <a:lnTo>
                      <a:pt x="531" y="260"/>
                    </a:lnTo>
                    <a:lnTo>
                      <a:pt x="534" y="234"/>
                    </a:lnTo>
                    <a:lnTo>
                      <a:pt x="538" y="210"/>
                    </a:lnTo>
                    <a:lnTo>
                      <a:pt x="543" y="188"/>
                    </a:lnTo>
                    <a:lnTo>
                      <a:pt x="549" y="168"/>
                    </a:lnTo>
                    <a:lnTo>
                      <a:pt x="555" y="149"/>
                    </a:lnTo>
                    <a:lnTo>
                      <a:pt x="563" y="133"/>
                    </a:lnTo>
                    <a:lnTo>
                      <a:pt x="571" y="118"/>
                    </a:lnTo>
                    <a:lnTo>
                      <a:pt x="579" y="104"/>
                    </a:lnTo>
                    <a:lnTo>
                      <a:pt x="588" y="92"/>
                    </a:lnTo>
                    <a:lnTo>
                      <a:pt x="598" y="81"/>
                    </a:lnTo>
                    <a:lnTo>
                      <a:pt x="607" y="72"/>
                    </a:lnTo>
                    <a:lnTo>
                      <a:pt x="616" y="64"/>
                    </a:lnTo>
                    <a:lnTo>
                      <a:pt x="627" y="57"/>
                    </a:lnTo>
                    <a:lnTo>
                      <a:pt x="636" y="52"/>
                    </a:lnTo>
                    <a:lnTo>
                      <a:pt x="646" y="47"/>
                    </a:lnTo>
                    <a:lnTo>
                      <a:pt x="656" y="44"/>
                    </a:lnTo>
                    <a:lnTo>
                      <a:pt x="665" y="41"/>
                    </a:lnTo>
                    <a:lnTo>
                      <a:pt x="673" y="38"/>
                    </a:lnTo>
                    <a:lnTo>
                      <a:pt x="681" y="37"/>
                    </a:lnTo>
                    <a:lnTo>
                      <a:pt x="690" y="37"/>
                    </a:lnTo>
                    <a:lnTo>
                      <a:pt x="697" y="38"/>
                    </a:lnTo>
                    <a:lnTo>
                      <a:pt x="703" y="40"/>
                    </a:lnTo>
                    <a:lnTo>
                      <a:pt x="709" y="42"/>
                    </a:lnTo>
                    <a:lnTo>
                      <a:pt x="714" y="44"/>
                    </a:lnTo>
                    <a:lnTo>
                      <a:pt x="719" y="46"/>
                    </a:lnTo>
                    <a:lnTo>
                      <a:pt x="718" y="35"/>
                    </a:lnTo>
                    <a:lnTo>
                      <a:pt x="716" y="26"/>
                    </a:lnTo>
                    <a:lnTo>
                      <a:pt x="711" y="19"/>
                    </a:lnTo>
                    <a:lnTo>
                      <a:pt x="706" y="13"/>
                    </a:lnTo>
                    <a:lnTo>
                      <a:pt x="699" y="7"/>
                    </a:lnTo>
                    <a:lnTo>
                      <a:pt x="692" y="3"/>
                    </a:lnTo>
                    <a:lnTo>
                      <a:pt x="682" y="1"/>
                    </a:lnTo>
                    <a:lnTo>
                      <a:pt x="673" y="0"/>
                    </a:lnTo>
                    <a:lnTo>
                      <a:pt x="663" y="0"/>
                    </a:lnTo>
                    <a:lnTo>
                      <a:pt x="652" y="0"/>
                    </a:lnTo>
                    <a:lnTo>
                      <a:pt x="641" y="2"/>
                    </a:lnTo>
                    <a:lnTo>
                      <a:pt x="630" y="4"/>
                    </a:lnTo>
                    <a:lnTo>
                      <a:pt x="618" y="7"/>
                    </a:lnTo>
                    <a:lnTo>
                      <a:pt x="607" y="11"/>
                    </a:lnTo>
                    <a:lnTo>
                      <a:pt x="596" y="15"/>
                    </a:lnTo>
                    <a:lnTo>
                      <a:pt x="584" y="19"/>
                    </a:lnTo>
                    <a:close/>
                  </a:path>
                </a:pathLst>
              </a:custGeom>
              <a:solidFill>
                <a:srgbClr val="F1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529" name="Freeform 144"/>
              <p:cNvSpPr>
                <a:spLocks/>
              </p:cNvSpPr>
              <p:nvPr/>
            </p:nvSpPr>
            <p:spPr bwMode="auto">
              <a:xfrm>
                <a:off x="3840" y="1822"/>
                <a:ext cx="104" cy="61"/>
              </a:xfrm>
              <a:custGeom>
                <a:avLst/>
                <a:gdLst>
                  <a:gd name="T0" fmla="*/ 0 w 728"/>
                  <a:gd name="T1" fmla="*/ 0 h 427"/>
                  <a:gd name="T2" fmla="*/ 0 w 728"/>
                  <a:gd name="T3" fmla="*/ 0 h 427"/>
                  <a:gd name="T4" fmla="*/ 0 w 728"/>
                  <a:gd name="T5" fmla="*/ 0 h 427"/>
                  <a:gd name="T6" fmla="*/ 0 w 728"/>
                  <a:gd name="T7" fmla="*/ 0 h 427"/>
                  <a:gd name="T8" fmla="*/ 0 w 728"/>
                  <a:gd name="T9" fmla="*/ 0 h 427"/>
                  <a:gd name="T10" fmla="*/ 0 w 728"/>
                  <a:gd name="T11" fmla="*/ 0 h 427"/>
                  <a:gd name="T12" fmla="*/ 0 w 728"/>
                  <a:gd name="T13" fmla="*/ 0 h 427"/>
                  <a:gd name="T14" fmla="*/ 0 w 728"/>
                  <a:gd name="T15" fmla="*/ 0 h 427"/>
                  <a:gd name="T16" fmla="*/ 0 w 728"/>
                  <a:gd name="T17" fmla="*/ 0 h 427"/>
                  <a:gd name="T18" fmla="*/ 0 w 728"/>
                  <a:gd name="T19" fmla="*/ 0 h 427"/>
                  <a:gd name="T20" fmla="*/ 0 w 728"/>
                  <a:gd name="T21" fmla="*/ 0 h 427"/>
                  <a:gd name="T22" fmla="*/ 0 w 728"/>
                  <a:gd name="T23" fmla="*/ 0 h 427"/>
                  <a:gd name="T24" fmla="*/ 0 w 728"/>
                  <a:gd name="T25" fmla="*/ 0 h 427"/>
                  <a:gd name="T26" fmla="*/ 0 w 728"/>
                  <a:gd name="T27" fmla="*/ 0 h 427"/>
                  <a:gd name="T28" fmla="*/ 0 w 728"/>
                  <a:gd name="T29" fmla="*/ 0 h 427"/>
                  <a:gd name="T30" fmla="*/ 0 w 728"/>
                  <a:gd name="T31" fmla="*/ 0 h 427"/>
                  <a:gd name="T32" fmla="*/ 0 w 728"/>
                  <a:gd name="T33" fmla="*/ 0 h 427"/>
                  <a:gd name="T34" fmla="*/ 0 w 728"/>
                  <a:gd name="T35" fmla="*/ 0 h 427"/>
                  <a:gd name="T36" fmla="*/ 0 w 728"/>
                  <a:gd name="T37" fmla="*/ 0 h 427"/>
                  <a:gd name="T38" fmla="*/ 0 w 728"/>
                  <a:gd name="T39" fmla="*/ 0 h 427"/>
                  <a:gd name="T40" fmla="*/ 0 w 728"/>
                  <a:gd name="T41" fmla="*/ 0 h 427"/>
                  <a:gd name="T42" fmla="*/ 0 w 728"/>
                  <a:gd name="T43" fmla="*/ 0 h 427"/>
                  <a:gd name="T44" fmla="*/ 0 w 728"/>
                  <a:gd name="T45" fmla="*/ 0 h 427"/>
                  <a:gd name="T46" fmla="*/ 0 w 728"/>
                  <a:gd name="T47" fmla="*/ 0 h 427"/>
                  <a:gd name="T48" fmla="*/ 0 w 728"/>
                  <a:gd name="T49" fmla="*/ 0 h 427"/>
                  <a:gd name="T50" fmla="*/ 0 w 728"/>
                  <a:gd name="T51" fmla="*/ 0 h 427"/>
                  <a:gd name="T52" fmla="*/ 0 w 728"/>
                  <a:gd name="T53" fmla="*/ 0 h 427"/>
                  <a:gd name="T54" fmla="*/ 0 w 728"/>
                  <a:gd name="T55" fmla="*/ 0 h 427"/>
                  <a:gd name="T56" fmla="*/ 0 w 728"/>
                  <a:gd name="T57" fmla="*/ 0 h 427"/>
                  <a:gd name="T58" fmla="*/ 0 w 728"/>
                  <a:gd name="T59" fmla="*/ 0 h 427"/>
                  <a:gd name="T60" fmla="*/ 0 w 728"/>
                  <a:gd name="T61" fmla="*/ 0 h 427"/>
                  <a:gd name="T62" fmla="*/ 0 w 728"/>
                  <a:gd name="T63" fmla="*/ 0 h 427"/>
                  <a:gd name="T64" fmla="*/ 0 w 728"/>
                  <a:gd name="T65" fmla="*/ 0 h 427"/>
                  <a:gd name="T66" fmla="*/ 0 w 728"/>
                  <a:gd name="T67" fmla="*/ 0 h 427"/>
                  <a:gd name="T68" fmla="*/ 0 w 728"/>
                  <a:gd name="T69" fmla="*/ 0 h 427"/>
                  <a:gd name="T70" fmla="*/ 0 w 728"/>
                  <a:gd name="T71" fmla="*/ 0 h 427"/>
                  <a:gd name="T72" fmla="*/ 0 w 728"/>
                  <a:gd name="T73" fmla="*/ 0 h 427"/>
                  <a:gd name="T74" fmla="*/ 0 w 728"/>
                  <a:gd name="T75" fmla="*/ 0 h 427"/>
                  <a:gd name="T76" fmla="*/ 0 w 728"/>
                  <a:gd name="T77" fmla="*/ 0 h 427"/>
                  <a:gd name="T78" fmla="*/ 0 w 728"/>
                  <a:gd name="T79" fmla="*/ 0 h 427"/>
                  <a:gd name="T80" fmla="*/ 0 w 728"/>
                  <a:gd name="T81" fmla="*/ 0 h 427"/>
                  <a:gd name="T82" fmla="*/ 0 w 728"/>
                  <a:gd name="T83" fmla="*/ 0 h 427"/>
                  <a:gd name="T84" fmla="*/ 0 w 728"/>
                  <a:gd name="T85" fmla="*/ 0 h 427"/>
                  <a:gd name="T86" fmla="*/ 0 w 728"/>
                  <a:gd name="T87" fmla="*/ 0 h 427"/>
                  <a:gd name="T88" fmla="*/ 0 w 728"/>
                  <a:gd name="T89" fmla="*/ 0 h 427"/>
                  <a:gd name="T90" fmla="*/ 0 w 728"/>
                  <a:gd name="T91" fmla="*/ 0 h 427"/>
                  <a:gd name="T92" fmla="*/ 0 w 728"/>
                  <a:gd name="T93" fmla="*/ 0 h 427"/>
                  <a:gd name="T94" fmla="*/ 0 w 728"/>
                  <a:gd name="T95" fmla="*/ 0 h 427"/>
                  <a:gd name="T96" fmla="*/ 0 w 728"/>
                  <a:gd name="T97" fmla="*/ 0 h 427"/>
                  <a:gd name="T98" fmla="*/ 0 w 728"/>
                  <a:gd name="T99" fmla="*/ 0 h 427"/>
                  <a:gd name="T100" fmla="*/ 0 w 728"/>
                  <a:gd name="T101" fmla="*/ 0 h 427"/>
                  <a:gd name="T102" fmla="*/ 0 w 728"/>
                  <a:gd name="T103" fmla="*/ 0 h 427"/>
                  <a:gd name="T104" fmla="*/ 0 w 728"/>
                  <a:gd name="T105" fmla="*/ 0 h 427"/>
                  <a:gd name="T106" fmla="*/ 0 w 728"/>
                  <a:gd name="T107" fmla="*/ 0 h 427"/>
                  <a:gd name="T108" fmla="*/ 0 w 728"/>
                  <a:gd name="T109" fmla="*/ 0 h 427"/>
                  <a:gd name="T110" fmla="*/ 0 w 728"/>
                  <a:gd name="T111" fmla="*/ 0 h 427"/>
                  <a:gd name="T112" fmla="*/ 0 w 728"/>
                  <a:gd name="T113" fmla="*/ 0 h 427"/>
                  <a:gd name="T114" fmla="*/ 0 w 728"/>
                  <a:gd name="T115" fmla="*/ 0 h 427"/>
                  <a:gd name="T116" fmla="*/ 0 w 728"/>
                  <a:gd name="T117" fmla="*/ 0 h 427"/>
                  <a:gd name="T118" fmla="*/ 0 w 728"/>
                  <a:gd name="T119" fmla="*/ 0 h 427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28"/>
                  <a:gd name="T181" fmla="*/ 0 h 427"/>
                  <a:gd name="T182" fmla="*/ 728 w 728"/>
                  <a:gd name="T183" fmla="*/ 427 h 427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28" h="427">
                    <a:moveTo>
                      <a:pt x="515" y="55"/>
                    </a:moveTo>
                    <a:lnTo>
                      <a:pt x="509" y="61"/>
                    </a:lnTo>
                    <a:lnTo>
                      <a:pt x="503" y="68"/>
                    </a:lnTo>
                    <a:lnTo>
                      <a:pt x="498" y="76"/>
                    </a:lnTo>
                    <a:lnTo>
                      <a:pt x="493" y="84"/>
                    </a:lnTo>
                    <a:lnTo>
                      <a:pt x="490" y="94"/>
                    </a:lnTo>
                    <a:lnTo>
                      <a:pt x="487" y="103"/>
                    </a:lnTo>
                    <a:lnTo>
                      <a:pt x="486" y="112"/>
                    </a:lnTo>
                    <a:lnTo>
                      <a:pt x="486" y="122"/>
                    </a:lnTo>
                    <a:lnTo>
                      <a:pt x="486" y="130"/>
                    </a:lnTo>
                    <a:lnTo>
                      <a:pt x="488" y="137"/>
                    </a:lnTo>
                    <a:lnTo>
                      <a:pt x="490" y="143"/>
                    </a:lnTo>
                    <a:lnTo>
                      <a:pt x="493" y="149"/>
                    </a:lnTo>
                    <a:lnTo>
                      <a:pt x="497" y="155"/>
                    </a:lnTo>
                    <a:lnTo>
                      <a:pt x="501" y="160"/>
                    </a:lnTo>
                    <a:lnTo>
                      <a:pt x="506" y="164"/>
                    </a:lnTo>
                    <a:lnTo>
                      <a:pt x="513" y="167"/>
                    </a:lnTo>
                    <a:lnTo>
                      <a:pt x="519" y="170"/>
                    </a:lnTo>
                    <a:lnTo>
                      <a:pt x="528" y="172"/>
                    </a:lnTo>
                    <a:lnTo>
                      <a:pt x="537" y="174"/>
                    </a:lnTo>
                    <a:lnTo>
                      <a:pt x="548" y="174"/>
                    </a:lnTo>
                    <a:lnTo>
                      <a:pt x="558" y="172"/>
                    </a:lnTo>
                    <a:lnTo>
                      <a:pt x="568" y="170"/>
                    </a:lnTo>
                    <a:lnTo>
                      <a:pt x="579" y="167"/>
                    </a:lnTo>
                    <a:lnTo>
                      <a:pt x="589" y="162"/>
                    </a:lnTo>
                    <a:lnTo>
                      <a:pt x="598" y="157"/>
                    </a:lnTo>
                    <a:lnTo>
                      <a:pt x="605" y="152"/>
                    </a:lnTo>
                    <a:lnTo>
                      <a:pt x="611" y="146"/>
                    </a:lnTo>
                    <a:lnTo>
                      <a:pt x="615" y="141"/>
                    </a:lnTo>
                    <a:lnTo>
                      <a:pt x="619" y="135"/>
                    </a:lnTo>
                    <a:lnTo>
                      <a:pt x="621" y="129"/>
                    </a:lnTo>
                    <a:lnTo>
                      <a:pt x="622" y="123"/>
                    </a:lnTo>
                    <a:lnTo>
                      <a:pt x="623" y="116"/>
                    </a:lnTo>
                    <a:lnTo>
                      <a:pt x="622" y="109"/>
                    </a:lnTo>
                    <a:lnTo>
                      <a:pt x="620" y="104"/>
                    </a:lnTo>
                    <a:lnTo>
                      <a:pt x="617" y="99"/>
                    </a:lnTo>
                    <a:lnTo>
                      <a:pt x="614" y="95"/>
                    </a:lnTo>
                    <a:lnTo>
                      <a:pt x="610" y="91"/>
                    </a:lnTo>
                    <a:lnTo>
                      <a:pt x="605" y="87"/>
                    </a:lnTo>
                    <a:lnTo>
                      <a:pt x="599" y="85"/>
                    </a:lnTo>
                    <a:lnTo>
                      <a:pt x="593" y="83"/>
                    </a:lnTo>
                    <a:lnTo>
                      <a:pt x="586" y="82"/>
                    </a:lnTo>
                    <a:lnTo>
                      <a:pt x="580" y="82"/>
                    </a:lnTo>
                    <a:lnTo>
                      <a:pt x="574" y="83"/>
                    </a:lnTo>
                    <a:lnTo>
                      <a:pt x="567" y="84"/>
                    </a:lnTo>
                    <a:lnTo>
                      <a:pt x="561" y="85"/>
                    </a:lnTo>
                    <a:lnTo>
                      <a:pt x="556" y="87"/>
                    </a:lnTo>
                    <a:lnTo>
                      <a:pt x="551" y="91"/>
                    </a:lnTo>
                    <a:lnTo>
                      <a:pt x="546" y="94"/>
                    </a:lnTo>
                    <a:lnTo>
                      <a:pt x="543" y="97"/>
                    </a:lnTo>
                    <a:lnTo>
                      <a:pt x="539" y="100"/>
                    </a:lnTo>
                    <a:lnTo>
                      <a:pt x="537" y="103"/>
                    </a:lnTo>
                    <a:lnTo>
                      <a:pt x="536" y="107"/>
                    </a:lnTo>
                    <a:lnTo>
                      <a:pt x="535" y="110"/>
                    </a:lnTo>
                    <a:lnTo>
                      <a:pt x="535" y="114"/>
                    </a:lnTo>
                    <a:lnTo>
                      <a:pt x="535" y="117"/>
                    </a:lnTo>
                    <a:lnTo>
                      <a:pt x="536" y="122"/>
                    </a:lnTo>
                    <a:lnTo>
                      <a:pt x="538" y="126"/>
                    </a:lnTo>
                    <a:lnTo>
                      <a:pt x="557" y="116"/>
                    </a:lnTo>
                    <a:lnTo>
                      <a:pt x="556" y="113"/>
                    </a:lnTo>
                    <a:lnTo>
                      <a:pt x="556" y="110"/>
                    </a:lnTo>
                    <a:lnTo>
                      <a:pt x="556" y="108"/>
                    </a:lnTo>
                    <a:lnTo>
                      <a:pt x="558" y="106"/>
                    </a:lnTo>
                    <a:lnTo>
                      <a:pt x="562" y="103"/>
                    </a:lnTo>
                    <a:lnTo>
                      <a:pt x="567" y="101"/>
                    </a:lnTo>
                    <a:lnTo>
                      <a:pt x="574" y="100"/>
                    </a:lnTo>
                    <a:lnTo>
                      <a:pt x="581" y="100"/>
                    </a:lnTo>
                    <a:lnTo>
                      <a:pt x="586" y="101"/>
                    </a:lnTo>
                    <a:lnTo>
                      <a:pt x="592" y="103"/>
                    </a:lnTo>
                    <a:lnTo>
                      <a:pt x="595" y="105"/>
                    </a:lnTo>
                    <a:lnTo>
                      <a:pt x="597" y="107"/>
                    </a:lnTo>
                    <a:lnTo>
                      <a:pt x="599" y="111"/>
                    </a:lnTo>
                    <a:lnTo>
                      <a:pt x="601" y="115"/>
                    </a:lnTo>
                    <a:lnTo>
                      <a:pt x="602" y="119"/>
                    </a:lnTo>
                    <a:lnTo>
                      <a:pt x="601" y="125"/>
                    </a:lnTo>
                    <a:lnTo>
                      <a:pt x="600" y="129"/>
                    </a:lnTo>
                    <a:lnTo>
                      <a:pt x="598" y="133"/>
                    </a:lnTo>
                    <a:lnTo>
                      <a:pt x="593" y="139"/>
                    </a:lnTo>
                    <a:lnTo>
                      <a:pt x="587" y="144"/>
                    </a:lnTo>
                    <a:lnTo>
                      <a:pt x="580" y="148"/>
                    </a:lnTo>
                    <a:lnTo>
                      <a:pt x="573" y="152"/>
                    </a:lnTo>
                    <a:lnTo>
                      <a:pt x="565" y="155"/>
                    </a:lnTo>
                    <a:lnTo>
                      <a:pt x="558" y="156"/>
                    </a:lnTo>
                    <a:lnTo>
                      <a:pt x="550" y="157"/>
                    </a:lnTo>
                    <a:lnTo>
                      <a:pt x="543" y="157"/>
                    </a:lnTo>
                    <a:lnTo>
                      <a:pt x="536" y="156"/>
                    </a:lnTo>
                    <a:lnTo>
                      <a:pt x="530" y="155"/>
                    </a:lnTo>
                    <a:lnTo>
                      <a:pt x="524" y="152"/>
                    </a:lnTo>
                    <a:lnTo>
                      <a:pt x="520" y="148"/>
                    </a:lnTo>
                    <a:lnTo>
                      <a:pt x="516" y="145"/>
                    </a:lnTo>
                    <a:lnTo>
                      <a:pt x="513" y="141"/>
                    </a:lnTo>
                    <a:lnTo>
                      <a:pt x="508" y="133"/>
                    </a:lnTo>
                    <a:lnTo>
                      <a:pt x="506" y="126"/>
                    </a:lnTo>
                    <a:lnTo>
                      <a:pt x="505" y="118"/>
                    </a:lnTo>
                    <a:lnTo>
                      <a:pt x="506" y="111"/>
                    </a:lnTo>
                    <a:lnTo>
                      <a:pt x="507" y="104"/>
                    </a:lnTo>
                    <a:lnTo>
                      <a:pt x="509" y="96"/>
                    </a:lnTo>
                    <a:lnTo>
                      <a:pt x="512" y="88"/>
                    </a:lnTo>
                    <a:lnTo>
                      <a:pt x="516" y="82"/>
                    </a:lnTo>
                    <a:lnTo>
                      <a:pt x="520" y="76"/>
                    </a:lnTo>
                    <a:lnTo>
                      <a:pt x="524" y="71"/>
                    </a:lnTo>
                    <a:lnTo>
                      <a:pt x="530" y="65"/>
                    </a:lnTo>
                    <a:lnTo>
                      <a:pt x="539" y="55"/>
                    </a:lnTo>
                    <a:lnTo>
                      <a:pt x="549" y="47"/>
                    </a:lnTo>
                    <a:lnTo>
                      <a:pt x="557" y="40"/>
                    </a:lnTo>
                    <a:lnTo>
                      <a:pt x="566" y="33"/>
                    </a:lnTo>
                    <a:lnTo>
                      <a:pt x="576" y="27"/>
                    </a:lnTo>
                    <a:lnTo>
                      <a:pt x="586" y="23"/>
                    </a:lnTo>
                    <a:lnTo>
                      <a:pt x="597" y="19"/>
                    </a:lnTo>
                    <a:lnTo>
                      <a:pt x="610" y="17"/>
                    </a:lnTo>
                    <a:lnTo>
                      <a:pt x="620" y="16"/>
                    </a:lnTo>
                    <a:lnTo>
                      <a:pt x="629" y="17"/>
                    </a:lnTo>
                    <a:lnTo>
                      <a:pt x="639" y="18"/>
                    </a:lnTo>
                    <a:lnTo>
                      <a:pt x="648" y="20"/>
                    </a:lnTo>
                    <a:lnTo>
                      <a:pt x="656" y="22"/>
                    </a:lnTo>
                    <a:lnTo>
                      <a:pt x="663" y="26"/>
                    </a:lnTo>
                    <a:lnTo>
                      <a:pt x="671" y="32"/>
                    </a:lnTo>
                    <a:lnTo>
                      <a:pt x="678" y="37"/>
                    </a:lnTo>
                    <a:lnTo>
                      <a:pt x="682" y="42"/>
                    </a:lnTo>
                    <a:lnTo>
                      <a:pt x="687" y="47"/>
                    </a:lnTo>
                    <a:lnTo>
                      <a:pt x="691" y="53"/>
                    </a:lnTo>
                    <a:lnTo>
                      <a:pt x="694" y="61"/>
                    </a:lnTo>
                    <a:lnTo>
                      <a:pt x="699" y="67"/>
                    </a:lnTo>
                    <a:lnTo>
                      <a:pt x="701" y="74"/>
                    </a:lnTo>
                    <a:lnTo>
                      <a:pt x="703" y="82"/>
                    </a:lnTo>
                    <a:lnTo>
                      <a:pt x="705" y="89"/>
                    </a:lnTo>
                    <a:lnTo>
                      <a:pt x="707" y="106"/>
                    </a:lnTo>
                    <a:lnTo>
                      <a:pt x="707" y="123"/>
                    </a:lnTo>
                    <a:lnTo>
                      <a:pt x="706" y="131"/>
                    </a:lnTo>
                    <a:lnTo>
                      <a:pt x="705" y="139"/>
                    </a:lnTo>
                    <a:lnTo>
                      <a:pt x="703" y="147"/>
                    </a:lnTo>
                    <a:lnTo>
                      <a:pt x="701" y="156"/>
                    </a:lnTo>
                    <a:lnTo>
                      <a:pt x="697" y="167"/>
                    </a:lnTo>
                    <a:lnTo>
                      <a:pt x="691" y="178"/>
                    </a:lnTo>
                    <a:lnTo>
                      <a:pt x="686" y="190"/>
                    </a:lnTo>
                    <a:lnTo>
                      <a:pt x="679" y="202"/>
                    </a:lnTo>
                    <a:lnTo>
                      <a:pt x="672" y="214"/>
                    </a:lnTo>
                    <a:lnTo>
                      <a:pt x="664" y="225"/>
                    </a:lnTo>
                    <a:lnTo>
                      <a:pt x="656" y="235"/>
                    </a:lnTo>
                    <a:lnTo>
                      <a:pt x="647" y="247"/>
                    </a:lnTo>
                    <a:lnTo>
                      <a:pt x="638" y="257"/>
                    </a:lnTo>
                    <a:lnTo>
                      <a:pt x="627" y="267"/>
                    </a:lnTo>
                    <a:lnTo>
                      <a:pt x="617" y="277"/>
                    </a:lnTo>
                    <a:lnTo>
                      <a:pt x="607" y="286"/>
                    </a:lnTo>
                    <a:lnTo>
                      <a:pt x="595" y="294"/>
                    </a:lnTo>
                    <a:lnTo>
                      <a:pt x="585" y="303"/>
                    </a:lnTo>
                    <a:lnTo>
                      <a:pt x="573" y="310"/>
                    </a:lnTo>
                    <a:lnTo>
                      <a:pt x="561" y="316"/>
                    </a:lnTo>
                    <a:lnTo>
                      <a:pt x="539" y="328"/>
                    </a:lnTo>
                    <a:lnTo>
                      <a:pt x="518" y="339"/>
                    </a:lnTo>
                    <a:lnTo>
                      <a:pt x="498" y="349"/>
                    </a:lnTo>
                    <a:lnTo>
                      <a:pt x="478" y="357"/>
                    </a:lnTo>
                    <a:lnTo>
                      <a:pt x="460" y="365"/>
                    </a:lnTo>
                    <a:lnTo>
                      <a:pt x="441" y="372"/>
                    </a:lnTo>
                    <a:lnTo>
                      <a:pt x="424" y="378"/>
                    </a:lnTo>
                    <a:lnTo>
                      <a:pt x="405" y="383"/>
                    </a:lnTo>
                    <a:lnTo>
                      <a:pt x="388" y="388"/>
                    </a:lnTo>
                    <a:lnTo>
                      <a:pt x="369" y="392"/>
                    </a:lnTo>
                    <a:lnTo>
                      <a:pt x="350" y="396"/>
                    </a:lnTo>
                    <a:lnTo>
                      <a:pt x="332" y="400"/>
                    </a:lnTo>
                    <a:lnTo>
                      <a:pt x="290" y="405"/>
                    </a:lnTo>
                    <a:lnTo>
                      <a:pt x="244" y="409"/>
                    </a:lnTo>
                    <a:lnTo>
                      <a:pt x="233" y="410"/>
                    </a:lnTo>
                    <a:lnTo>
                      <a:pt x="220" y="410"/>
                    </a:lnTo>
                    <a:lnTo>
                      <a:pt x="208" y="409"/>
                    </a:lnTo>
                    <a:lnTo>
                      <a:pt x="194" y="408"/>
                    </a:lnTo>
                    <a:lnTo>
                      <a:pt x="181" y="406"/>
                    </a:lnTo>
                    <a:lnTo>
                      <a:pt x="167" y="403"/>
                    </a:lnTo>
                    <a:lnTo>
                      <a:pt x="154" y="400"/>
                    </a:lnTo>
                    <a:lnTo>
                      <a:pt x="141" y="396"/>
                    </a:lnTo>
                    <a:lnTo>
                      <a:pt x="127" y="391"/>
                    </a:lnTo>
                    <a:lnTo>
                      <a:pt x="115" y="386"/>
                    </a:lnTo>
                    <a:lnTo>
                      <a:pt x="102" y="381"/>
                    </a:lnTo>
                    <a:lnTo>
                      <a:pt x="91" y="375"/>
                    </a:lnTo>
                    <a:lnTo>
                      <a:pt x="80" y="369"/>
                    </a:lnTo>
                    <a:lnTo>
                      <a:pt x="70" y="361"/>
                    </a:lnTo>
                    <a:lnTo>
                      <a:pt x="61" y="354"/>
                    </a:lnTo>
                    <a:lnTo>
                      <a:pt x="54" y="347"/>
                    </a:lnTo>
                    <a:lnTo>
                      <a:pt x="43" y="334"/>
                    </a:lnTo>
                    <a:lnTo>
                      <a:pt x="34" y="319"/>
                    </a:lnTo>
                    <a:lnTo>
                      <a:pt x="30" y="312"/>
                    </a:lnTo>
                    <a:lnTo>
                      <a:pt x="27" y="304"/>
                    </a:lnTo>
                    <a:lnTo>
                      <a:pt x="24" y="296"/>
                    </a:lnTo>
                    <a:lnTo>
                      <a:pt x="22" y="288"/>
                    </a:lnTo>
                    <a:lnTo>
                      <a:pt x="21" y="280"/>
                    </a:lnTo>
                    <a:lnTo>
                      <a:pt x="20" y="271"/>
                    </a:lnTo>
                    <a:lnTo>
                      <a:pt x="20" y="263"/>
                    </a:lnTo>
                    <a:lnTo>
                      <a:pt x="22" y="255"/>
                    </a:lnTo>
                    <a:lnTo>
                      <a:pt x="24" y="247"/>
                    </a:lnTo>
                    <a:lnTo>
                      <a:pt x="27" y="239"/>
                    </a:lnTo>
                    <a:lnTo>
                      <a:pt x="31" y="231"/>
                    </a:lnTo>
                    <a:lnTo>
                      <a:pt x="36" y="224"/>
                    </a:lnTo>
                    <a:lnTo>
                      <a:pt x="44" y="216"/>
                    </a:lnTo>
                    <a:lnTo>
                      <a:pt x="55" y="208"/>
                    </a:lnTo>
                    <a:lnTo>
                      <a:pt x="66" y="201"/>
                    </a:lnTo>
                    <a:lnTo>
                      <a:pt x="79" y="195"/>
                    </a:lnTo>
                    <a:lnTo>
                      <a:pt x="91" y="190"/>
                    </a:lnTo>
                    <a:lnTo>
                      <a:pt x="104" y="187"/>
                    </a:lnTo>
                    <a:lnTo>
                      <a:pt x="118" y="184"/>
                    </a:lnTo>
                    <a:lnTo>
                      <a:pt x="131" y="183"/>
                    </a:lnTo>
                    <a:lnTo>
                      <a:pt x="137" y="183"/>
                    </a:lnTo>
                    <a:lnTo>
                      <a:pt x="144" y="183"/>
                    </a:lnTo>
                    <a:lnTo>
                      <a:pt x="151" y="184"/>
                    </a:lnTo>
                    <a:lnTo>
                      <a:pt x="157" y="186"/>
                    </a:lnTo>
                    <a:lnTo>
                      <a:pt x="164" y="189"/>
                    </a:lnTo>
                    <a:lnTo>
                      <a:pt x="171" y="193"/>
                    </a:lnTo>
                    <a:lnTo>
                      <a:pt x="176" y="197"/>
                    </a:lnTo>
                    <a:lnTo>
                      <a:pt x="181" y="204"/>
                    </a:lnTo>
                    <a:lnTo>
                      <a:pt x="184" y="210"/>
                    </a:lnTo>
                    <a:lnTo>
                      <a:pt x="186" y="217"/>
                    </a:lnTo>
                    <a:lnTo>
                      <a:pt x="187" y="224"/>
                    </a:lnTo>
                    <a:lnTo>
                      <a:pt x="187" y="230"/>
                    </a:lnTo>
                    <a:lnTo>
                      <a:pt x="185" y="237"/>
                    </a:lnTo>
                    <a:lnTo>
                      <a:pt x="183" y="244"/>
                    </a:lnTo>
                    <a:lnTo>
                      <a:pt x="179" y="250"/>
                    </a:lnTo>
                    <a:lnTo>
                      <a:pt x="175" y="256"/>
                    </a:lnTo>
                    <a:lnTo>
                      <a:pt x="170" y="261"/>
                    </a:lnTo>
                    <a:lnTo>
                      <a:pt x="164" y="265"/>
                    </a:lnTo>
                    <a:lnTo>
                      <a:pt x="159" y="268"/>
                    </a:lnTo>
                    <a:lnTo>
                      <a:pt x="153" y="271"/>
                    </a:lnTo>
                    <a:lnTo>
                      <a:pt x="147" y="274"/>
                    </a:lnTo>
                    <a:lnTo>
                      <a:pt x="142" y="276"/>
                    </a:lnTo>
                    <a:lnTo>
                      <a:pt x="135" y="277"/>
                    </a:lnTo>
                    <a:lnTo>
                      <a:pt x="130" y="277"/>
                    </a:lnTo>
                    <a:lnTo>
                      <a:pt x="126" y="276"/>
                    </a:lnTo>
                    <a:lnTo>
                      <a:pt x="122" y="275"/>
                    </a:lnTo>
                    <a:lnTo>
                      <a:pt x="119" y="273"/>
                    </a:lnTo>
                    <a:lnTo>
                      <a:pt x="117" y="270"/>
                    </a:lnTo>
                    <a:lnTo>
                      <a:pt x="113" y="265"/>
                    </a:lnTo>
                    <a:lnTo>
                      <a:pt x="111" y="259"/>
                    </a:lnTo>
                    <a:lnTo>
                      <a:pt x="90" y="265"/>
                    </a:lnTo>
                    <a:lnTo>
                      <a:pt x="92" y="270"/>
                    </a:lnTo>
                    <a:lnTo>
                      <a:pt x="95" y="277"/>
                    </a:lnTo>
                    <a:lnTo>
                      <a:pt x="98" y="281"/>
                    </a:lnTo>
                    <a:lnTo>
                      <a:pt x="102" y="285"/>
                    </a:lnTo>
                    <a:lnTo>
                      <a:pt x="108" y="288"/>
                    </a:lnTo>
                    <a:lnTo>
                      <a:pt x="113" y="290"/>
                    </a:lnTo>
                    <a:lnTo>
                      <a:pt x="119" y="292"/>
                    </a:lnTo>
                    <a:lnTo>
                      <a:pt x="125" y="293"/>
                    </a:lnTo>
                    <a:lnTo>
                      <a:pt x="133" y="293"/>
                    </a:lnTo>
                    <a:lnTo>
                      <a:pt x="142" y="292"/>
                    </a:lnTo>
                    <a:lnTo>
                      <a:pt x="151" y="290"/>
                    </a:lnTo>
                    <a:lnTo>
                      <a:pt x="159" y="286"/>
                    </a:lnTo>
                    <a:lnTo>
                      <a:pt x="167" y="282"/>
                    </a:lnTo>
                    <a:lnTo>
                      <a:pt x="176" y="278"/>
                    </a:lnTo>
                    <a:lnTo>
                      <a:pt x="183" y="271"/>
                    </a:lnTo>
                    <a:lnTo>
                      <a:pt x="190" y="264"/>
                    </a:lnTo>
                    <a:lnTo>
                      <a:pt x="196" y="256"/>
                    </a:lnTo>
                    <a:lnTo>
                      <a:pt x="202" y="248"/>
                    </a:lnTo>
                    <a:lnTo>
                      <a:pt x="206" y="239"/>
                    </a:lnTo>
                    <a:lnTo>
                      <a:pt x="208" y="230"/>
                    </a:lnTo>
                    <a:lnTo>
                      <a:pt x="208" y="221"/>
                    </a:lnTo>
                    <a:lnTo>
                      <a:pt x="207" y="212"/>
                    </a:lnTo>
                    <a:lnTo>
                      <a:pt x="204" y="203"/>
                    </a:lnTo>
                    <a:lnTo>
                      <a:pt x="199" y="194"/>
                    </a:lnTo>
                    <a:lnTo>
                      <a:pt x="194" y="188"/>
                    </a:lnTo>
                    <a:lnTo>
                      <a:pt x="188" y="182"/>
                    </a:lnTo>
                    <a:lnTo>
                      <a:pt x="181" y="176"/>
                    </a:lnTo>
                    <a:lnTo>
                      <a:pt x="173" y="172"/>
                    </a:lnTo>
                    <a:lnTo>
                      <a:pt x="164" y="169"/>
                    </a:lnTo>
                    <a:lnTo>
                      <a:pt x="155" y="167"/>
                    </a:lnTo>
                    <a:lnTo>
                      <a:pt x="145" y="166"/>
                    </a:lnTo>
                    <a:lnTo>
                      <a:pt x="133" y="165"/>
                    </a:lnTo>
                    <a:lnTo>
                      <a:pt x="118" y="167"/>
                    </a:lnTo>
                    <a:lnTo>
                      <a:pt x="102" y="170"/>
                    </a:lnTo>
                    <a:lnTo>
                      <a:pt x="86" y="174"/>
                    </a:lnTo>
                    <a:lnTo>
                      <a:pt x="70" y="180"/>
                    </a:lnTo>
                    <a:lnTo>
                      <a:pt x="56" y="189"/>
                    </a:lnTo>
                    <a:lnTo>
                      <a:pt x="42" y="197"/>
                    </a:lnTo>
                    <a:lnTo>
                      <a:pt x="30" y="206"/>
                    </a:lnTo>
                    <a:lnTo>
                      <a:pt x="21" y="216"/>
                    </a:lnTo>
                    <a:lnTo>
                      <a:pt x="13" y="225"/>
                    </a:lnTo>
                    <a:lnTo>
                      <a:pt x="8" y="234"/>
                    </a:lnTo>
                    <a:lnTo>
                      <a:pt x="4" y="244"/>
                    </a:lnTo>
                    <a:lnTo>
                      <a:pt x="2" y="253"/>
                    </a:lnTo>
                    <a:lnTo>
                      <a:pt x="0" y="262"/>
                    </a:lnTo>
                    <a:lnTo>
                      <a:pt x="0" y="271"/>
                    </a:lnTo>
                    <a:lnTo>
                      <a:pt x="0" y="281"/>
                    </a:lnTo>
                    <a:lnTo>
                      <a:pt x="1" y="290"/>
                    </a:lnTo>
                    <a:lnTo>
                      <a:pt x="3" y="300"/>
                    </a:lnTo>
                    <a:lnTo>
                      <a:pt x="6" y="309"/>
                    </a:lnTo>
                    <a:lnTo>
                      <a:pt x="10" y="318"/>
                    </a:lnTo>
                    <a:lnTo>
                      <a:pt x="15" y="326"/>
                    </a:lnTo>
                    <a:lnTo>
                      <a:pt x="20" y="336"/>
                    </a:lnTo>
                    <a:lnTo>
                      <a:pt x="25" y="343"/>
                    </a:lnTo>
                    <a:lnTo>
                      <a:pt x="30" y="351"/>
                    </a:lnTo>
                    <a:lnTo>
                      <a:pt x="36" y="357"/>
                    </a:lnTo>
                    <a:lnTo>
                      <a:pt x="44" y="367"/>
                    </a:lnTo>
                    <a:lnTo>
                      <a:pt x="54" y="374"/>
                    </a:lnTo>
                    <a:lnTo>
                      <a:pt x="65" y="382"/>
                    </a:lnTo>
                    <a:lnTo>
                      <a:pt x="77" y="388"/>
                    </a:lnTo>
                    <a:lnTo>
                      <a:pt x="89" y="396"/>
                    </a:lnTo>
                    <a:lnTo>
                      <a:pt x="102" y="401"/>
                    </a:lnTo>
                    <a:lnTo>
                      <a:pt x="116" y="407"/>
                    </a:lnTo>
                    <a:lnTo>
                      <a:pt x="130" y="411"/>
                    </a:lnTo>
                    <a:lnTo>
                      <a:pt x="145" y="415"/>
                    </a:lnTo>
                    <a:lnTo>
                      <a:pt x="160" y="419"/>
                    </a:lnTo>
                    <a:lnTo>
                      <a:pt x="175" y="422"/>
                    </a:lnTo>
                    <a:lnTo>
                      <a:pt x="189" y="425"/>
                    </a:lnTo>
                    <a:lnTo>
                      <a:pt x="204" y="426"/>
                    </a:lnTo>
                    <a:lnTo>
                      <a:pt x="217" y="427"/>
                    </a:lnTo>
                    <a:lnTo>
                      <a:pt x="230" y="427"/>
                    </a:lnTo>
                    <a:lnTo>
                      <a:pt x="243" y="426"/>
                    </a:lnTo>
                    <a:lnTo>
                      <a:pt x="290" y="421"/>
                    </a:lnTo>
                    <a:lnTo>
                      <a:pt x="334" y="415"/>
                    </a:lnTo>
                    <a:lnTo>
                      <a:pt x="353" y="412"/>
                    </a:lnTo>
                    <a:lnTo>
                      <a:pt x="372" y="408"/>
                    </a:lnTo>
                    <a:lnTo>
                      <a:pt x="392" y="404"/>
                    </a:lnTo>
                    <a:lnTo>
                      <a:pt x="410" y="400"/>
                    </a:lnTo>
                    <a:lnTo>
                      <a:pt x="428" y="393"/>
                    </a:lnTo>
                    <a:lnTo>
                      <a:pt x="446" y="387"/>
                    </a:lnTo>
                    <a:lnTo>
                      <a:pt x="466" y="380"/>
                    </a:lnTo>
                    <a:lnTo>
                      <a:pt x="485" y="372"/>
                    </a:lnTo>
                    <a:lnTo>
                      <a:pt x="505" y="364"/>
                    </a:lnTo>
                    <a:lnTo>
                      <a:pt x="526" y="353"/>
                    </a:lnTo>
                    <a:lnTo>
                      <a:pt x="548" y="342"/>
                    </a:lnTo>
                    <a:lnTo>
                      <a:pt x="571" y="330"/>
                    </a:lnTo>
                    <a:lnTo>
                      <a:pt x="584" y="323"/>
                    </a:lnTo>
                    <a:lnTo>
                      <a:pt x="596" y="315"/>
                    </a:lnTo>
                    <a:lnTo>
                      <a:pt x="608" y="307"/>
                    </a:lnTo>
                    <a:lnTo>
                      <a:pt x="620" y="297"/>
                    </a:lnTo>
                    <a:lnTo>
                      <a:pt x="631" y="287"/>
                    </a:lnTo>
                    <a:lnTo>
                      <a:pt x="642" y="277"/>
                    </a:lnTo>
                    <a:lnTo>
                      <a:pt x="653" y="266"/>
                    </a:lnTo>
                    <a:lnTo>
                      <a:pt x="663" y="255"/>
                    </a:lnTo>
                    <a:lnTo>
                      <a:pt x="673" y="244"/>
                    </a:lnTo>
                    <a:lnTo>
                      <a:pt x="682" y="231"/>
                    </a:lnTo>
                    <a:lnTo>
                      <a:pt x="690" y="219"/>
                    </a:lnTo>
                    <a:lnTo>
                      <a:pt x="698" y="207"/>
                    </a:lnTo>
                    <a:lnTo>
                      <a:pt x="705" y="195"/>
                    </a:lnTo>
                    <a:lnTo>
                      <a:pt x="711" y="183"/>
                    </a:lnTo>
                    <a:lnTo>
                      <a:pt x="716" y="170"/>
                    </a:lnTo>
                    <a:lnTo>
                      <a:pt x="720" y="158"/>
                    </a:lnTo>
                    <a:lnTo>
                      <a:pt x="723" y="148"/>
                    </a:lnTo>
                    <a:lnTo>
                      <a:pt x="725" y="139"/>
                    </a:lnTo>
                    <a:lnTo>
                      <a:pt x="727" y="130"/>
                    </a:lnTo>
                    <a:lnTo>
                      <a:pt x="728" y="121"/>
                    </a:lnTo>
                    <a:lnTo>
                      <a:pt x="728" y="111"/>
                    </a:lnTo>
                    <a:lnTo>
                      <a:pt x="728" y="102"/>
                    </a:lnTo>
                    <a:lnTo>
                      <a:pt x="727" y="93"/>
                    </a:lnTo>
                    <a:lnTo>
                      <a:pt x="725" y="83"/>
                    </a:lnTo>
                    <a:lnTo>
                      <a:pt x="723" y="75"/>
                    </a:lnTo>
                    <a:lnTo>
                      <a:pt x="720" y="67"/>
                    </a:lnTo>
                    <a:lnTo>
                      <a:pt x="717" y="58"/>
                    </a:lnTo>
                    <a:lnTo>
                      <a:pt x="714" y="51"/>
                    </a:lnTo>
                    <a:lnTo>
                      <a:pt x="709" y="44"/>
                    </a:lnTo>
                    <a:lnTo>
                      <a:pt x="705" y="37"/>
                    </a:lnTo>
                    <a:lnTo>
                      <a:pt x="700" y="31"/>
                    </a:lnTo>
                    <a:lnTo>
                      <a:pt x="694" y="24"/>
                    </a:lnTo>
                    <a:lnTo>
                      <a:pt x="685" y="18"/>
                    </a:lnTo>
                    <a:lnTo>
                      <a:pt x="677" y="12"/>
                    </a:lnTo>
                    <a:lnTo>
                      <a:pt x="667" y="8"/>
                    </a:lnTo>
                    <a:lnTo>
                      <a:pt x="656" y="4"/>
                    </a:lnTo>
                    <a:lnTo>
                      <a:pt x="646" y="2"/>
                    </a:lnTo>
                    <a:lnTo>
                      <a:pt x="635" y="0"/>
                    </a:lnTo>
                    <a:lnTo>
                      <a:pt x="622" y="0"/>
                    </a:lnTo>
                    <a:lnTo>
                      <a:pt x="610" y="1"/>
                    </a:lnTo>
                    <a:lnTo>
                      <a:pt x="594" y="4"/>
                    </a:lnTo>
                    <a:lnTo>
                      <a:pt x="580" y="8"/>
                    </a:lnTo>
                    <a:lnTo>
                      <a:pt x="567" y="14"/>
                    </a:lnTo>
                    <a:lnTo>
                      <a:pt x="555" y="20"/>
                    </a:lnTo>
                    <a:lnTo>
                      <a:pt x="545" y="28"/>
                    </a:lnTo>
                    <a:lnTo>
                      <a:pt x="534" y="37"/>
                    </a:lnTo>
                    <a:lnTo>
                      <a:pt x="525" y="46"/>
                    </a:lnTo>
                    <a:lnTo>
                      <a:pt x="515" y="55"/>
                    </a:lnTo>
                    <a:close/>
                  </a:path>
                </a:pathLst>
              </a:custGeom>
              <a:solidFill>
                <a:srgbClr val="F1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</p:grpSp>
        <p:grpSp>
          <p:nvGrpSpPr>
            <p:cNvPr id="137426" name="Group 145"/>
            <p:cNvGrpSpPr>
              <a:grpSpLocks/>
            </p:cNvGrpSpPr>
            <p:nvPr/>
          </p:nvGrpSpPr>
          <p:grpSpPr bwMode="auto">
            <a:xfrm>
              <a:off x="2016" y="480"/>
              <a:ext cx="318" cy="363"/>
              <a:chOff x="3431" y="240"/>
              <a:chExt cx="318" cy="363"/>
            </a:xfrm>
          </p:grpSpPr>
          <p:sp>
            <p:nvSpPr>
              <p:cNvPr id="137427" name="Freeform 146"/>
              <p:cNvSpPr>
                <a:spLocks/>
              </p:cNvSpPr>
              <p:nvPr/>
            </p:nvSpPr>
            <p:spPr bwMode="auto">
              <a:xfrm>
                <a:off x="3740" y="354"/>
                <a:ext cx="9" cy="4"/>
              </a:xfrm>
              <a:custGeom>
                <a:avLst/>
                <a:gdLst>
                  <a:gd name="T0" fmla="*/ 0 w 65"/>
                  <a:gd name="T1" fmla="*/ 0 h 32"/>
                  <a:gd name="T2" fmla="*/ 0 w 65"/>
                  <a:gd name="T3" fmla="*/ 0 h 32"/>
                  <a:gd name="T4" fmla="*/ 0 w 65"/>
                  <a:gd name="T5" fmla="*/ 0 h 32"/>
                  <a:gd name="T6" fmla="*/ 0 w 65"/>
                  <a:gd name="T7" fmla="*/ 0 h 32"/>
                  <a:gd name="T8" fmla="*/ 0 w 65"/>
                  <a:gd name="T9" fmla="*/ 0 h 32"/>
                  <a:gd name="T10" fmla="*/ 0 w 65"/>
                  <a:gd name="T11" fmla="*/ 0 h 32"/>
                  <a:gd name="T12" fmla="*/ 0 w 65"/>
                  <a:gd name="T13" fmla="*/ 0 h 32"/>
                  <a:gd name="T14" fmla="*/ 0 w 65"/>
                  <a:gd name="T15" fmla="*/ 0 h 3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5"/>
                  <a:gd name="T25" fmla="*/ 0 h 32"/>
                  <a:gd name="T26" fmla="*/ 65 w 65"/>
                  <a:gd name="T27" fmla="*/ 32 h 3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5" h="32">
                    <a:moveTo>
                      <a:pt x="0" y="0"/>
                    </a:moveTo>
                    <a:lnTo>
                      <a:pt x="16" y="7"/>
                    </a:lnTo>
                    <a:lnTo>
                      <a:pt x="31" y="16"/>
                    </a:lnTo>
                    <a:lnTo>
                      <a:pt x="47" y="24"/>
                    </a:lnTo>
                    <a:lnTo>
                      <a:pt x="63" y="31"/>
                    </a:lnTo>
                    <a:lnTo>
                      <a:pt x="65" y="3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62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28" name="Freeform 147"/>
              <p:cNvSpPr>
                <a:spLocks/>
              </p:cNvSpPr>
              <p:nvPr/>
            </p:nvSpPr>
            <p:spPr bwMode="auto">
              <a:xfrm>
                <a:off x="3437" y="324"/>
                <a:ext cx="280" cy="134"/>
              </a:xfrm>
              <a:custGeom>
                <a:avLst/>
                <a:gdLst>
                  <a:gd name="T0" fmla="*/ 0 w 1960"/>
                  <a:gd name="T1" fmla="*/ 0 h 938"/>
                  <a:gd name="T2" fmla="*/ 0 w 1960"/>
                  <a:gd name="T3" fmla="*/ 0 h 938"/>
                  <a:gd name="T4" fmla="*/ 0 w 1960"/>
                  <a:gd name="T5" fmla="*/ 0 h 938"/>
                  <a:gd name="T6" fmla="*/ 0 w 1960"/>
                  <a:gd name="T7" fmla="*/ 0 h 938"/>
                  <a:gd name="T8" fmla="*/ 0 w 1960"/>
                  <a:gd name="T9" fmla="*/ 0 h 938"/>
                  <a:gd name="T10" fmla="*/ 0 w 1960"/>
                  <a:gd name="T11" fmla="*/ 0 h 938"/>
                  <a:gd name="T12" fmla="*/ 0 w 1960"/>
                  <a:gd name="T13" fmla="*/ 0 h 938"/>
                  <a:gd name="T14" fmla="*/ 0 w 1960"/>
                  <a:gd name="T15" fmla="*/ 0 h 938"/>
                  <a:gd name="T16" fmla="*/ 0 w 1960"/>
                  <a:gd name="T17" fmla="*/ 0 h 938"/>
                  <a:gd name="T18" fmla="*/ 0 w 1960"/>
                  <a:gd name="T19" fmla="*/ 0 h 938"/>
                  <a:gd name="T20" fmla="*/ 0 w 1960"/>
                  <a:gd name="T21" fmla="*/ 0 h 938"/>
                  <a:gd name="T22" fmla="*/ 0 w 1960"/>
                  <a:gd name="T23" fmla="*/ 0 h 938"/>
                  <a:gd name="T24" fmla="*/ 0 w 1960"/>
                  <a:gd name="T25" fmla="*/ 0 h 938"/>
                  <a:gd name="T26" fmla="*/ 0 w 1960"/>
                  <a:gd name="T27" fmla="*/ 0 h 938"/>
                  <a:gd name="T28" fmla="*/ 0 w 1960"/>
                  <a:gd name="T29" fmla="*/ 0 h 938"/>
                  <a:gd name="T30" fmla="*/ 0 w 1960"/>
                  <a:gd name="T31" fmla="*/ 0 h 938"/>
                  <a:gd name="T32" fmla="*/ 0 w 1960"/>
                  <a:gd name="T33" fmla="*/ 0 h 938"/>
                  <a:gd name="T34" fmla="*/ 0 w 1960"/>
                  <a:gd name="T35" fmla="*/ 0 h 938"/>
                  <a:gd name="T36" fmla="*/ 0 w 1960"/>
                  <a:gd name="T37" fmla="*/ 0 h 938"/>
                  <a:gd name="T38" fmla="*/ 0 w 1960"/>
                  <a:gd name="T39" fmla="*/ 0 h 938"/>
                  <a:gd name="T40" fmla="*/ 0 w 1960"/>
                  <a:gd name="T41" fmla="*/ 0 h 938"/>
                  <a:gd name="T42" fmla="*/ 0 w 1960"/>
                  <a:gd name="T43" fmla="*/ 0 h 938"/>
                  <a:gd name="T44" fmla="*/ 0 w 1960"/>
                  <a:gd name="T45" fmla="*/ 0 h 938"/>
                  <a:gd name="T46" fmla="*/ 0 w 1960"/>
                  <a:gd name="T47" fmla="*/ 0 h 938"/>
                  <a:gd name="T48" fmla="*/ 0 w 1960"/>
                  <a:gd name="T49" fmla="*/ 0 h 938"/>
                  <a:gd name="T50" fmla="*/ 0 w 1960"/>
                  <a:gd name="T51" fmla="*/ 0 h 938"/>
                  <a:gd name="T52" fmla="*/ 0 w 1960"/>
                  <a:gd name="T53" fmla="*/ 0 h 938"/>
                  <a:gd name="T54" fmla="*/ 0 w 1960"/>
                  <a:gd name="T55" fmla="*/ 0 h 938"/>
                  <a:gd name="T56" fmla="*/ 0 w 1960"/>
                  <a:gd name="T57" fmla="*/ 0 h 938"/>
                  <a:gd name="T58" fmla="*/ 0 w 1960"/>
                  <a:gd name="T59" fmla="*/ 0 h 938"/>
                  <a:gd name="T60" fmla="*/ 0 w 1960"/>
                  <a:gd name="T61" fmla="*/ 0 h 938"/>
                  <a:gd name="T62" fmla="*/ 0 w 1960"/>
                  <a:gd name="T63" fmla="*/ 0 h 938"/>
                  <a:gd name="T64" fmla="*/ 0 w 1960"/>
                  <a:gd name="T65" fmla="*/ 0 h 938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960"/>
                  <a:gd name="T100" fmla="*/ 0 h 938"/>
                  <a:gd name="T101" fmla="*/ 1960 w 1960"/>
                  <a:gd name="T102" fmla="*/ 938 h 938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960" h="938">
                    <a:moveTo>
                      <a:pt x="0" y="0"/>
                    </a:moveTo>
                    <a:lnTo>
                      <a:pt x="8" y="26"/>
                    </a:lnTo>
                    <a:lnTo>
                      <a:pt x="20" y="54"/>
                    </a:lnTo>
                    <a:lnTo>
                      <a:pt x="33" y="85"/>
                    </a:lnTo>
                    <a:lnTo>
                      <a:pt x="47" y="116"/>
                    </a:lnTo>
                    <a:lnTo>
                      <a:pt x="64" y="150"/>
                    </a:lnTo>
                    <a:lnTo>
                      <a:pt x="83" y="184"/>
                    </a:lnTo>
                    <a:lnTo>
                      <a:pt x="103" y="221"/>
                    </a:lnTo>
                    <a:lnTo>
                      <a:pt x="125" y="258"/>
                    </a:lnTo>
                    <a:lnTo>
                      <a:pt x="149" y="296"/>
                    </a:lnTo>
                    <a:lnTo>
                      <a:pt x="174" y="334"/>
                    </a:lnTo>
                    <a:lnTo>
                      <a:pt x="199" y="374"/>
                    </a:lnTo>
                    <a:lnTo>
                      <a:pt x="226" y="412"/>
                    </a:lnTo>
                    <a:lnTo>
                      <a:pt x="254" y="451"/>
                    </a:lnTo>
                    <a:lnTo>
                      <a:pt x="284" y="490"/>
                    </a:lnTo>
                    <a:lnTo>
                      <a:pt x="314" y="529"/>
                    </a:lnTo>
                    <a:lnTo>
                      <a:pt x="345" y="567"/>
                    </a:lnTo>
                    <a:lnTo>
                      <a:pt x="377" y="604"/>
                    </a:lnTo>
                    <a:lnTo>
                      <a:pt x="409" y="640"/>
                    </a:lnTo>
                    <a:lnTo>
                      <a:pt x="442" y="676"/>
                    </a:lnTo>
                    <a:lnTo>
                      <a:pt x="476" y="709"/>
                    </a:lnTo>
                    <a:lnTo>
                      <a:pt x="509" y="742"/>
                    </a:lnTo>
                    <a:lnTo>
                      <a:pt x="544" y="772"/>
                    </a:lnTo>
                    <a:lnTo>
                      <a:pt x="579" y="801"/>
                    </a:lnTo>
                    <a:lnTo>
                      <a:pt x="613" y="827"/>
                    </a:lnTo>
                    <a:lnTo>
                      <a:pt x="647" y="851"/>
                    </a:lnTo>
                    <a:lnTo>
                      <a:pt x="681" y="872"/>
                    </a:lnTo>
                    <a:lnTo>
                      <a:pt x="715" y="892"/>
                    </a:lnTo>
                    <a:lnTo>
                      <a:pt x="749" y="907"/>
                    </a:lnTo>
                    <a:lnTo>
                      <a:pt x="782" y="921"/>
                    </a:lnTo>
                    <a:lnTo>
                      <a:pt x="815" y="930"/>
                    </a:lnTo>
                    <a:lnTo>
                      <a:pt x="847" y="936"/>
                    </a:lnTo>
                    <a:lnTo>
                      <a:pt x="879" y="938"/>
                    </a:lnTo>
                    <a:lnTo>
                      <a:pt x="918" y="937"/>
                    </a:lnTo>
                    <a:lnTo>
                      <a:pt x="957" y="933"/>
                    </a:lnTo>
                    <a:lnTo>
                      <a:pt x="996" y="925"/>
                    </a:lnTo>
                    <a:lnTo>
                      <a:pt x="1035" y="914"/>
                    </a:lnTo>
                    <a:lnTo>
                      <a:pt x="1076" y="901"/>
                    </a:lnTo>
                    <a:lnTo>
                      <a:pt x="1116" y="884"/>
                    </a:lnTo>
                    <a:lnTo>
                      <a:pt x="1156" y="865"/>
                    </a:lnTo>
                    <a:lnTo>
                      <a:pt x="1198" y="844"/>
                    </a:lnTo>
                    <a:lnTo>
                      <a:pt x="1238" y="820"/>
                    </a:lnTo>
                    <a:lnTo>
                      <a:pt x="1278" y="794"/>
                    </a:lnTo>
                    <a:lnTo>
                      <a:pt x="1318" y="767"/>
                    </a:lnTo>
                    <a:lnTo>
                      <a:pt x="1358" y="738"/>
                    </a:lnTo>
                    <a:lnTo>
                      <a:pt x="1397" y="707"/>
                    </a:lnTo>
                    <a:lnTo>
                      <a:pt x="1436" y="675"/>
                    </a:lnTo>
                    <a:lnTo>
                      <a:pt x="1475" y="641"/>
                    </a:lnTo>
                    <a:lnTo>
                      <a:pt x="1513" y="607"/>
                    </a:lnTo>
                    <a:lnTo>
                      <a:pt x="1549" y="572"/>
                    </a:lnTo>
                    <a:lnTo>
                      <a:pt x="1585" y="536"/>
                    </a:lnTo>
                    <a:lnTo>
                      <a:pt x="1621" y="500"/>
                    </a:lnTo>
                    <a:lnTo>
                      <a:pt x="1655" y="463"/>
                    </a:lnTo>
                    <a:lnTo>
                      <a:pt x="1688" y="425"/>
                    </a:lnTo>
                    <a:lnTo>
                      <a:pt x="1721" y="388"/>
                    </a:lnTo>
                    <a:lnTo>
                      <a:pt x="1752" y="352"/>
                    </a:lnTo>
                    <a:lnTo>
                      <a:pt x="1781" y="315"/>
                    </a:lnTo>
                    <a:lnTo>
                      <a:pt x="1809" y="278"/>
                    </a:lnTo>
                    <a:lnTo>
                      <a:pt x="1836" y="243"/>
                    </a:lnTo>
                    <a:lnTo>
                      <a:pt x="1861" y="209"/>
                    </a:lnTo>
                    <a:lnTo>
                      <a:pt x="1885" y="175"/>
                    </a:lnTo>
                    <a:lnTo>
                      <a:pt x="1907" y="143"/>
                    </a:lnTo>
                    <a:lnTo>
                      <a:pt x="1926" y="112"/>
                    </a:lnTo>
                    <a:lnTo>
                      <a:pt x="1945" y="82"/>
                    </a:lnTo>
                    <a:lnTo>
                      <a:pt x="1960" y="5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F1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29" name="Freeform 148"/>
              <p:cNvSpPr>
                <a:spLocks/>
              </p:cNvSpPr>
              <p:nvPr/>
            </p:nvSpPr>
            <p:spPr bwMode="auto">
              <a:xfrm>
                <a:off x="3434" y="324"/>
                <a:ext cx="189" cy="134"/>
              </a:xfrm>
              <a:custGeom>
                <a:avLst/>
                <a:gdLst>
                  <a:gd name="T0" fmla="*/ 0 w 1319"/>
                  <a:gd name="T1" fmla="*/ 0 h 938"/>
                  <a:gd name="T2" fmla="*/ 0 w 1319"/>
                  <a:gd name="T3" fmla="*/ 0 h 938"/>
                  <a:gd name="T4" fmla="*/ 0 w 1319"/>
                  <a:gd name="T5" fmla="*/ 0 h 938"/>
                  <a:gd name="T6" fmla="*/ 0 w 1319"/>
                  <a:gd name="T7" fmla="*/ 0 h 938"/>
                  <a:gd name="T8" fmla="*/ 0 w 1319"/>
                  <a:gd name="T9" fmla="*/ 0 h 938"/>
                  <a:gd name="T10" fmla="*/ 0 w 1319"/>
                  <a:gd name="T11" fmla="*/ 0 h 938"/>
                  <a:gd name="T12" fmla="*/ 0 w 1319"/>
                  <a:gd name="T13" fmla="*/ 0 h 938"/>
                  <a:gd name="T14" fmla="*/ 0 w 1319"/>
                  <a:gd name="T15" fmla="*/ 0 h 938"/>
                  <a:gd name="T16" fmla="*/ 0 w 1319"/>
                  <a:gd name="T17" fmla="*/ 0 h 938"/>
                  <a:gd name="T18" fmla="*/ 0 w 1319"/>
                  <a:gd name="T19" fmla="*/ 0 h 938"/>
                  <a:gd name="T20" fmla="*/ 0 w 1319"/>
                  <a:gd name="T21" fmla="*/ 0 h 938"/>
                  <a:gd name="T22" fmla="*/ 0 w 1319"/>
                  <a:gd name="T23" fmla="*/ 0 h 938"/>
                  <a:gd name="T24" fmla="*/ 0 w 1319"/>
                  <a:gd name="T25" fmla="*/ 0 h 938"/>
                  <a:gd name="T26" fmla="*/ 0 w 1319"/>
                  <a:gd name="T27" fmla="*/ 0 h 938"/>
                  <a:gd name="T28" fmla="*/ 0 w 1319"/>
                  <a:gd name="T29" fmla="*/ 0 h 938"/>
                  <a:gd name="T30" fmla="*/ 0 w 1319"/>
                  <a:gd name="T31" fmla="*/ 0 h 938"/>
                  <a:gd name="T32" fmla="*/ 0 w 1319"/>
                  <a:gd name="T33" fmla="*/ 0 h 938"/>
                  <a:gd name="T34" fmla="*/ 0 w 1319"/>
                  <a:gd name="T35" fmla="*/ 0 h 938"/>
                  <a:gd name="T36" fmla="*/ 0 w 1319"/>
                  <a:gd name="T37" fmla="*/ 0 h 938"/>
                  <a:gd name="T38" fmla="*/ 0 w 1319"/>
                  <a:gd name="T39" fmla="*/ 0 h 938"/>
                  <a:gd name="T40" fmla="*/ 0 w 1319"/>
                  <a:gd name="T41" fmla="*/ 0 h 938"/>
                  <a:gd name="T42" fmla="*/ 0 w 1319"/>
                  <a:gd name="T43" fmla="*/ 0 h 938"/>
                  <a:gd name="T44" fmla="*/ 0 w 1319"/>
                  <a:gd name="T45" fmla="*/ 0 h 938"/>
                  <a:gd name="T46" fmla="*/ 0 w 1319"/>
                  <a:gd name="T47" fmla="*/ 0 h 938"/>
                  <a:gd name="T48" fmla="*/ 0 w 1319"/>
                  <a:gd name="T49" fmla="*/ 0 h 938"/>
                  <a:gd name="T50" fmla="*/ 0 w 1319"/>
                  <a:gd name="T51" fmla="*/ 0 h 938"/>
                  <a:gd name="T52" fmla="*/ 0 w 1319"/>
                  <a:gd name="T53" fmla="*/ 0 h 938"/>
                  <a:gd name="T54" fmla="*/ 0 w 1319"/>
                  <a:gd name="T55" fmla="*/ 0 h 938"/>
                  <a:gd name="T56" fmla="*/ 0 w 1319"/>
                  <a:gd name="T57" fmla="*/ 0 h 938"/>
                  <a:gd name="T58" fmla="*/ 0 w 1319"/>
                  <a:gd name="T59" fmla="*/ 0 h 938"/>
                  <a:gd name="T60" fmla="*/ 0 w 1319"/>
                  <a:gd name="T61" fmla="*/ 0 h 938"/>
                  <a:gd name="T62" fmla="*/ 0 w 1319"/>
                  <a:gd name="T63" fmla="*/ 0 h 938"/>
                  <a:gd name="T64" fmla="*/ 0 w 1319"/>
                  <a:gd name="T65" fmla="*/ 0 h 938"/>
                  <a:gd name="T66" fmla="*/ 0 w 1319"/>
                  <a:gd name="T67" fmla="*/ 0 h 938"/>
                  <a:gd name="T68" fmla="*/ 0 w 1319"/>
                  <a:gd name="T69" fmla="*/ 0 h 938"/>
                  <a:gd name="T70" fmla="*/ 0 w 1319"/>
                  <a:gd name="T71" fmla="*/ 0 h 938"/>
                  <a:gd name="T72" fmla="*/ 0 w 1319"/>
                  <a:gd name="T73" fmla="*/ 0 h 938"/>
                  <a:gd name="T74" fmla="*/ 0 w 1319"/>
                  <a:gd name="T75" fmla="*/ 0 h 938"/>
                  <a:gd name="T76" fmla="*/ 0 w 1319"/>
                  <a:gd name="T77" fmla="*/ 0 h 938"/>
                  <a:gd name="T78" fmla="*/ 0 w 1319"/>
                  <a:gd name="T79" fmla="*/ 0 h 938"/>
                  <a:gd name="T80" fmla="*/ 0 w 1319"/>
                  <a:gd name="T81" fmla="*/ 0 h 938"/>
                  <a:gd name="T82" fmla="*/ 0 w 1319"/>
                  <a:gd name="T83" fmla="*/ 0 h 938"/>
                  <a:gd name="T84" fmla="*/ 0 w 1319"/>
                  <a:gd name="T85" fmla="*/ 0 h 938"/>
                  <a:gd name="T86" fmla="*/ 0 w 1319"/>
                  <a:gd name="T87" fmla="*/ 0 h 938"/>
                  <a:gd name="T88" fmla="*/ 0 w 1319"/>
                  <a:gd name="T89" fmla="*/ 0 h 938"/>
                  <a:gd name="T90" fmla="*/ 0 w 1319"/>
                  <a:gd name="T91" fmla="*/ 0 h 938"/>
                  <a:gd name="T92" fmla="*/ 0 w 1319"/>
                  <a:gd name="T93" fmla="*/ 0 h 938"/>
                  <a:gd name="T94" fmla="*/ 0 w 1319"/>
                  <a:gd name="T95" fmla="*/ 0 h 938"/>
                  <a:gd name="T96" fmla="*/ 0 w 1319"/>
                  <a:gd name="T97" fmla="*/ 0 h 938"/>
                  <a:gd name="T98" fmla="*/ 0 w 1319"/>
                  <a:gd name="T99" fmla="*/ 0 h 938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319"/>
                  <a:gd name="T151" fmla="*/ 0 h 938"/>
                  <a:gd name="T152" fmla="*/ 1319 w 1319"/>
                  <a:gd name="T153" fmla="*/ 938 h 938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319" h="938">
                    <a:moveTo>
                      <a:pt x="1319" y="746"/>
                    </a:moveTo>
                    <a:lnTo>
                      <a:pt x="1286" y="761"/>
                    </a:lnTo>
                    <a:lnTo>
                      <a:pt x="1254" y="775"/>
                    </a:lnTo>
                    <a:lnTo>
                      <a:pt x="1222" y="787"/>
                    </a:lnTo>
                    <a:lnTo>
                      <a:pt x="1190" y="798"/>
                    </a:lnTo>
                    <a:lnTo>
                      <a:pt x="1158" y="807"/>
                    </a:lnTo>
                    <a:lnTo>
                      <a:pt x="1127" y="814"/>
                    </a:lnTo>
                    <a:lnTo>
                      <a:pt x="1096" y="819"/>
                    </a:lnTo>
                    <a:lnTo>
                      <a:pt x="1066" y="823"/>
                    </a:lnTo>
                    <a:lnTo>
                      <a:pt x="1036" y="827"/>
                    </a:lnTo>
                    <a:lnTo>
                      <a:pt x="1006" y="828"/>
                    </a:lnTo>
                    <a:lnTo>
                      <a:pt x="977" y="828"/>
                    </a:lnTo>
                    <a:lnTo>
                      <a:pt x="948" y="825"/>
                    </a:lnTo>
                    <a:lnTo>
                      <a:pt x="920" y="822"/>
                    </a:lnTo>
                    <a:lnTo>
                      <a:pt x="891" y="818"/>
                    </a:lnTo>
                    <a:lnTo>
                      <a:pt x="864" y="812"/>
                    </a:lnTo>
                    <a:lnTo>
                      <a:pt x="836" y="806"/>
                    </a:lnTo>
                    <a:lnTo>
                      <a:pt x="809" y="798"/>
                    </a:lnTo>
                    <a:lnTo>
                      <a:pt x="784" y="788"/>
                    </a:lnTo>
                    <a:lnTo>
                      <a:pt x="758" y="778"/>
                    </a:lnTo>
                    <a:lnTo>
                      <a:pt x="732" y="768"/>
                    </a:lnTo>
                    <a:lnTo>
                      <a:pt x="707" y="755"/>
                    </a:lnTo>
                    <a:lnTo>
                      <a:pt x="682" y="742"/>
                    </a:lnTo>
                    <a:lnTo>
                      <a:pt x="659" y="727"/>
                    </a:lnTo>
                    <a:lnTo>
                      <a:pt x="636" y="713"/>
                    </a:lnTo>
                    <a:lnTo>
                      <a:pt x="612" y="696"/>
                    </a:lnTo>
                    <a:lnTo>
                      <a:pt x="590" y="680"/>
                    </a:lnTo>
                    <a:lnTo>
                      <a:pt x="568" y="662"/>
                    </a:lnTo>
                    <a:lnTo>
                      <a:pt x="547" y="645"/>
                    </a:lnTo>
                    <a:lnTo>
                      <a:pt x="525" y="625"/>
                    </a:lnTo>
                    <a:lnTo>
                      <a:pt x="506" y="605"/>
                    </a:lnTo>
                    <a:lnTo>
                      <a:pt x="486" y="586"/>
                    </a:lnTo>
                    <a:lnTo>
                      <a:pt x="466" y="565"/>
                    </a:lnTo>
                    <a:lnTo>
                      <a:pt x="477" y="575"/>
                    </a:lnTo>
                    <a:lnTo>
                      <a:pt x="488" y="585"/>
                    </a:lnTo>
                    <a:lnTo>
                      <a:pt x="501" y="593"/>
                    </a:lnTo>
                    <a:lnTo>
                      <a:pt x="514" y="600"/>
                    </a:lnTo>
                    <a:lnTo>
                      <a:pt x="527" y="605"/>
                    </a:lnTo>
                    <a:lnTo>
                      <a:pt x="542" y="610"/>
                    </a:lnTo>
                    <a:lnTo>
                      <a:pt x="556" y="615"/>
                    </a:lnTo>
                    <a:lnTo>
                      <a:pt x="572" y="618"/>
                    </a:lnTo>
                    <a:lnTo>
                      <a:pt x="586" y="620"/>
                    </a:lnTo>
                    <a:lnTo>
                      <a:pt x="602" y="621"/>
                    </a:lnTo>
                    <a:lnTo>
                      <a:pt x="615" y="621"/>
                    </a:lnTo>
                    <a:lnTo>
                      <a:pt x="630" y="621"/>
                    </a:lnTo>
                    <a:lnTo>
                      <a:pt x="643" y="620"/>
                    </a:lnTo>
                    <a:lnTo>
                      <a:pt x="656" y="618"/>
                    </a:lnTo>
                    <a:lnTo>
                      <a:pt x="668" y="616"/>
                    </a:lnTo>
                    <a:lnTo>
                      <a:pt x="678" y="612"/>
                    </a:lnTo>
                    <a:lnTo>
                      <a:pt x="663" y="606"/>
                    </a:lnTo>
                    <a:lnTo>
                      <a:pt x="646" y="598"/>
                    </a:lnTo>
                    <a:lnTo>
                      <a:pt x="630" y="588"/>
                    </a:lnTo>
                    <a:lnTo>
                      <a:pt x="611" y="576"/>
                    </a:lnTo>
                    <a:lnTo>
                      <a:pt x="592" y="563"/>
                    </a:lnTo>
                    <a:lnTo>
                      <a:pt x="574" y="548"/>
                    </a:lnTo>
                    <a:lnTo>
                      <a:pt x="555" y="534"/>
                    </a:lnTo>
                    <a:lnTo>
                      <a:pt x="537" y="517"/>
                    </a:lnTo>
                    <a:lnTo>
                      <a:pt x="519" y="502"/>
                    </a:lnTo>
                    <a:lnTo>
                      <a:pt x="502" y="485"/>
                    </a:lnTo>
                    <a:lnTo>
                      <a:pt x="485" y="469"/>
                    </a:lnTo>
                    <a:lnTo>
                      <a:pt x="470" y="452"/>
                    </a:lnTo>
                    <a:lnTo>
                      <a:pt x="455" y="436"/>
                    </a:lnTo>
                    <a:lnTo>
                      <a:pt x="443" y="420"/>
                    </a:lnTo>
                    <a:lnTo>
                      <a:pt x="431" y="406"/>
                    </a:lnTo>
                    <a:lnTo>
                      <a:pt x="423" y="392"/>
                    </a:lnTo>
                    <a:lnTo>
                      <a:pt x="434" y="399"/>
                    </a:lnTo>
                    <a:lnTo>
                      <a:pt x="447" y="405"/>
                    </a:lnTo>
                    <a:lnTo>
                      <a:pt x="458" y="410"/>
                    </a:lnTo>
                    <a:lnTo>
                      <a:pt x="470" y="415"/>
                    </a:lnTo>
                    <a:lnTo>
                      <a:pt x="482" y="418"/>
                    </a:lnTo>
                    <a:lnTo>
                      <a:pt x="493" y="421"/>
                    </a:lnTo>
                    <a:lnTo>
                      <a:pt x="506" y="423"/>
                    </a:lnTo>
                    <a:lnTo>
                      <a:pt x="518" y="425"/>
                    </a:lnTo>
                    <a:lnTo>
                      <a:pt x="530" y="425"/>
                    </a:lnTo>
                    <a:lnTo>
                      <a:pt x="544" y="425"/>
                    </a:lnTo>
                    <a:lnTo>
                      <a:pt x="557" y="423"/>
                    </a:lnTo>
                    <a:lnTo>
                      <a:pt x="572" y="421"/>
                    </a:lnTo>
                    <a:lnTo>
                      <a:pt x="586" y="418"/>
                    </a:lnTo>
                    <a:lnTo>
                      <a:pt x="602" y="413"/>
                    </a:lnTo>
                    <a:lnTo>
                      <a:pt x="617" y="408"/>
                    </a:lnTo>
                    <a:lnTo>
                      <a:pt x="635" y="400"/>
                    </a:lnTo>
                    <a:lnTo>
                      <a:pt x="616" y="396"/>
                    </a:lnTo>
                    <a:lnTo>
                      <a:pt x="599" y="391"/>
                    </a:lnTo>
                    <a:lnTo>
                      <a:pt x="580" y="386"/>
                    </a:lnTo>
                    <a:lnTo>
                      <a:pt x="563" y="380"/>
                    </a:lnTo>
                    <a:lnTo>
                      <a:pt x="546" y="373"/>
                    </a:lnTo>
                    <a:lnTo>
                      <a:pt x="528" y="365"/>
                    </a:lnTo>
                    <a:lnTo>
                      <a:pt x="511" y="358"/>
                    </a:lnTo>
                    <a:lnTo>
                      <a:pt x="494" y="350"/>
                    </a:lnTo>
                    <a:lnTo>
                      <a:pt x="460" y="331"/>
                    </a:lnTo>
                    <a:lnTo>
                      <a:pt x="425" y="311"/>
                    </a:lnTo>
                    <a:lnTo>
                      <a:pt x="391" y="289"/>
                    </a:lnTo>
                    <a:lnTo>
                      <a:pt x="356" y="264"/>
                    </a:lnTo>
                    <a:lnTo>
                      <a:pt x="320" y="238"/>
                    </a:lnTo>
                    <a:lnTo>
                      <a:pt x="282" y="209"/>
                    </a:lnTo>
                    <a:lnTo>
                      <a:pt x="243" y="179"/>
                    </a:lnTo>
                    <a:lnTo>
                      <a:pt x="203" y="147"/>
                    </a:lnTo>
                    <a:lnTo>
                      <a:pt x="117" y="78"/>
                    </a:lnTo>
                    <a:lnTo>
                      <a:pt x="22" y="1"/>
                    </a:lnTo>
                    <a:lnTo>
                      <a:pt x="0" y="0"/>
                    </a:lnTo>
                    <a:lnTo>
                      <a:pt x="10" y="26"/>
                    </a:lnTo>
                    <a:lnTo>
                      <a:pt x="21" y="54"/>
                    </a:lnTo>
                    <a:lnTo>
                      <a:pt x="33" y="85"/>
                    </a:lnTo>
                    <a:lnTo>
                      <a:pt x="49" y="116"/>
                    </a:lnTo>
                    <a:lnTo>
                      <a:pt x="65" y="150"/>
                    </a:lnTo>
                    <a:lnTo>
                      <a:pt x="84" y="184"/>
                    </a:lnTo>
                    <a:lnTo>
                      <a:pt x="105" y="221"/>
                    </a:lnTo>
                    <a:lnTo>
                      <a:pt x="126" y="258"/>
                    </a:lnTo>
                    <a:lnTo>
                      <a:pt x="149" y="296"/>
                    </a:lnTo>
                    <a:lnTo>
                      <a:pt x="174" y="334"/>
                    </a:lnTo>
                    <a:lnTo>
                      <a:pt x="200" y="374"/>
                    </a:lnTo>
                    <a:lnTo>
                      <a:pt x="228" y="412"/>
                    </a:lnTo>
                    <a:lnTo>
                      <a:pt x="256" y="451"/>
                    </a:lnTo>
                    <a:lnTo>
                      <a:pt x="286" y="490"/>
                    </a:lnTo>
                    <a:lnTo>
                      <a:pt x="316" y="529"/>
                    </a:lnTo>
                    <a:lnTo>
                      <a:pt x="347" y="567"/>
                    </a:lnTo>
                    <a:lnTo>
                      <a:pt x="379" y="604"/>
                    </a:lnTo>
                    <a:lnTo>
                      <a:pt x="411" y="640"/>
                    </a:lnTo>
                    <a:lnTo>
                      <a:pt x="444" y="676"/>
                    </a:lnTo>
                    <a:lnTo>
                      <a:pt x="477" y="709"/>
                    </a:lnTo>
                    <a:lnTo>
                      <a:pt x="511" y="742"/>
                    </a:lnTo>
                    <a:lnTo>
                      <a:pt x="545" y="772"/>
                    </a:lnTo>
                    <a:lnTo>
                      <a:pt x="579" y="801"/>
                    </a:lnTo>
                    <a:lnTo>
                      <a:pt x="613" y="827"/>
                    </a:lnTo>
                    <a:lnTo>
                      <a:pt x="648" y="851"/>
                    </a:lnTo>
                    <a:lnTo>
                      <a:pt x="682" y="872"/>
                    </a:lnTo>
                    <a:lnTo>
                      <a:pt x="716" y="892"/>
                    </a:lnTo>
                    <a:lnTo>
                      <a:pt x="750" y="907"/>
                    </a:lnTo>
                    <a:lnTo>
                      <a:pt x="784" y="921"/>
                    </a:lnTo>
                    <a:lnTo>
                      <a:pt x="816" y="930"/>
                    </a:lnTo>
                    <a:lnTo>
                      <a:pt x="849" y="936"/>
                    </a:lnTo>
                    <a:lnTo>
                      <a:pt x="880" y="938"/>
                    </a:lnTo>
                    <a:lnTo>
                      <a:pt x="902" y="938"/>
                    </a:lnTo>
                    <a:lnTo>
                      <a:pt x="925" y="937"/>
                    </a:lnTo>
                    <a:lnTo>
                      <a:pt x="948" y="934"/>
                    </a:lnTo>
                    <a:lnTo>
                      <a:pt x="972" y="930"/>
                    </a:lnTo>
                    <a:lnTo>
                      <a:pt x="994" y="926"/>
                    </a:lnTo>
                    <a:lnTo>
                      <a:pt x="1018" y="920"/>
                    </a:lnTo>
                    <a:lnTo>
                      <a:pt x="1041" y="912"/>
                    </a:lnTo>
                    <a:lnTo>
                      <a:pt x="1065" y="905"/>
                    </a:lnTo>
                    <a:lnTo>
                      <a:pt x="1089" y="896"/>
                    </a:lnTo>
                    <a:lnTo>
                      <a:pt x="1112" y="886"/>
                    </a:lnTo>
                    <a:lnTo>
                      <a:pt x="1136" y="875"/>
                    </a:lnTo>
                    <a:lnTo>
                      <a:pt x="1160" y="864"/>
                    </a:lnTo>
                    <a:lnTo>
                      <a:pt x="1184" y="851"/>
                    </a:lnTo>
                    <a:lnTo>
                      <a:pt x="1207" y="838"/>
                    </a:lnTo>
                    <a:lnTo>
                      <a:pt x="1231" y="824"/>
                    </a:lnTo>
                    <a:lnTo>
                      <a:pt x="1255" y="810"/>
                    </a:lnTo>
                    <a:lnTo>
                      <a:pt x="1271" y="794"/>
                    </a:lnTo>
                    <a:lnTo>
                      <a:pt x="1288" y="779"/>
                    </a:lnTo>
                    <a:lnTo>
                      <a:pt x="1303" y="762"/>
                    </a:lnTo>
                    <a:lnTo>
                      <a:pt x="1319" y="746"/>
                    </a:lnTo>
                    <a:close/>
                  </a:path>
                </a:pathLst>
              </a:custGeom>
              <a:solidFill>
                <a:srgbClr val="4247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30" name="Freeform 149"/>
              <p:cNvSpPr>
                <a:spLocks/>
              </p:cNvSpPr>
              <p:nvPr/>
            </p:nvSpPr>
            <p:spPr bwMode="auto">
              <a:xfrm>
                <a:off x="3431" y="240"/>
                <a:ext cx="291" cy="138"/>
              </a:xfrm>
              <a:custGeom>
                <a:avLst/>
                <a:gdLst>
                  <a:gd name="T0" fmla="*/ 0 w 2036"/>
                  <a:gd name="T1" fmla="*/ 0 h 968"/>
                  <a:gd name="T2" fmla="*/ 0 w 2036"/>
                  <a:gd name="T3" fmla="*/ 0 h 968"/>
                  <a:gd name="T4" fmla="*/ 0 w 2036"/>
                  <a:gd name="T5" fmla="*/ 0 h 968"/>
                  <a:gd name="T6" fmla="*/ 0 w 2036"/>
                  <a:gd name="T7" fmla="*/ 0 h 968"/>
                  <a:gd name="T8" fmla="*/ 0 w 2036"/>
                  <a:gd name="T9" fmla="*/ 0 h 968"/>
                  <a:gd name="T10" fmla="*/ 0 w 2036"/>
                  <a:gd name="T11" fmla="*/ 0 h 968"/>
                  <a:gd name="T12" fmla="*/ 0 w 2036"/>
                  <a:gd name="T13" fmla="*/ 0 h 968"/>
                  <a:gd name="T14" fmla="*/ 0 w 2036"/>
                  <a:gd name="T15" fmla="*/ 0 h 968"/>
                  <a:gd name="T16" fmla="*/ 0 w 2036"/>
                  <a:gd name="T17" fmla="*/ 0 h 968"/>
                  <a:gd name="T18" fmla="*/ 0 w 2036"/>
                  <a:gd name="T19" fmla="*/ 0 h 968"/>
                  <a:gd name="T20" fmla="*/ 0 w 2036"/>
                  <a:gd name="T21" fmla="*/ 0 h 968"/>
                  <a:gd name="T22" fmla="*/ 0 w 2036"/>
                  <a:gd name="T23" fmla="*/ 0 h 968"/>
                  <a:gd name="T24" fmla="*/ 0 w 2036"/>
                  <a:gd name="T25" fmla="*/ 0 h 968"/>
                  <a:gd name="T26" fmla="*/ 0 w 2036"/>
                  <a:gd name="T27" fmla="*/ 0 h 968"/>
                  <a:gd name="T28" fmla="*/ 0 w 2036"/>
                  <a:gd name="T29" fmla="*/ 0 h 968"/>
                  <a:gd name="T30" fmla="*/ 0 w 2036"/>
                  <a:gd name="T31" fmla="*/ 0 h 968"/>
                  <a:gd name="T32" fmla="*/ 0 w 2036"/>
                  <a:gd name="T33" fmla="*/ 0 h 968"/>
                  <a:gd name="T34" fmla="*/ 0 w 2036"/>
                  <a:gd name="T35" fmla="*/ 0 h 968"/>
                  <a:gd name="T36" fmla="*/ 0 w 2036"/>
                  <a:gd name="T37" fmla="*/ 0 h 968"/>
                  <a:gd name="T38" fmla="*/ 0 w 2036"/>
                  <a:gd name="T39" fmla="*/ 0 h 968"/>
                  <a:gd name="T40" fmla="*/ 0 w 2036"/>
                  <a:gd name="T41" fmla="*/ 0 h 968"/>
                  <a:gd name="T42" fmla="*/ 0 w 2036"/>
                  <a:gd name="T43" fmla="*/ 0 h 968"/>
                  <a:gd name="T44" fmla="*/ 0 w 2036"/>
                  <a:gd name="T45" fmla="*/ 0 h 968"/>
                  <a:gd name="T46" fmla="*/ 0 w 2036"/>
                  <a:gd name="T47" fmla="*/ 0 h 968"/>
                  <a:gd name="T48" fmla="*/ 0 w 2036"/>
                  <a:gd name="T49" fmla="*/ 0 h 968"/>
                  <a:gd name="T50" fmla="*/ 0 w 2036"/>
                  <a:gd name="T51" fmla="*/ 0 h 968"/>
                  <a:gd name="T52" fmla="*/ 0 w 2036"/>
                  <a:gd name="T53" fmla="*/ 0 h 968"/>
                  <a:gd name="T54" fmla="*/ 0 w 2036"/>
                  <a:gd name="T55" fmla="*/ 0 h 968"/>
                  <a:gd name="T56" fmla="*/ 0 w 2036"/>
                  <a:gd name="T57" fmla="*/ 0 h 968"/>
                  <a:gd name="T58" fmla="*/ 0 w 2036"/>
                  <a:gd name="T59" fmla="*/ 0 h 968"/>
                  <a:gd name="T60" fmla="*/ 0 w 2036"/>
                  <a:gd name="T61" fmla="*/ 0 h 968"/>
                  <a:gd name="T62" fmla="*/ 0 w 2036"/>
                  <a:gd name="T63" fmla="*/ 0 h 968"/>
                  <a:gd name="T64" fmla="*/ 0 w 2036"/>
                  <a:gd name="T65" fmla="*/ 0 h 968"/>
                  <a:gd name="T66" fmla="*/ 0 w 2036"/>
                  <a:gd name="T67" fmla="*/ 0 h 968"/>
                  <a:gd name="T68" fmla="*/ 0 w 2036"/>
                  <a:gd name="T69" fmla="*/ 0 h 968"/>
                  <a:gd name="T70" fmla="*/ 0 w 2036"/>
                  <a:gd name="T71" fmla="*/ 0 h 968"/>
                  <a:gd name="T72" fmla="*/ 0 w 2036"/>
                  <a:gd name="T73" fmla="*/ 0 h 968"/>
                  <a:gd name="T74" fmla="*/ 0 w 2036"/>
                  <a:gd name="T75" fmla="*/ 0 h 968"/>
                  <a:gd name="T76" fmla="*/ 0 w 2036"/>
                  <a:gd name="T77" fmla="*/ 0 h 968"/>
                  <a:gd name="T78" fmla="*/ 0 w 2036"/>
                  <a:gd name="T79" fmla="*/ 0 h 968"/>
                  <a:gd name="T80" fmla="*/ 0 w 2036"/>
                  <a:gd name="T81" fmla="*/ 0 h 968"/>
                  <a:gd name="T82" fmla="*/ 0 w 2036"/>
                  <a:gd name="T83" fmla="*/ 0 h 968"/>
                  <a:gd name="T84" fmla="*/ 0 w 2036"/>
                  <a:gd name="T85" fmla="*/ 0 h 96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036"/>
                  <a:gd name="T130" fmla="*/ 0 h 968"/>
                  <a:gd name="T131" fmla="*/ 2036 w 2036"/>
                  <a:gd name="T132" fmla="*/ 968 h 968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036" h="968">
                    <a:moveTo>
                      <a:pt x="2036" y="484"/>
                    </a:moveTo>
                    <a:lnTo>
                      <a:pt x="2035" y="509"/>
                    </a:lnTo>
                    <a:lnTo>
                      <a:pt x="2031" y="534"/>
                    </a:lnTo>
                    <a:lnTo>
                      <a:pt x="2025" y="557"/>
                    </a:lnTo>
                    <a:lnTo>
                      <a:pt x="2016" y="581"/>
                    </a:lnTo>
                    <a:lnTo>
                      <a:pt x="2004" y="605"/>
                    </a:lnTo>
                    <a:lnTo>
                      <a:pt x="1991" y="628"/>
                    </a:lnTo>
                    <a:lnTo>
                      <a:pt x="1974" y="650"/>
                    </a:lnTo>
                    <a:lnTo>
                      <a:pt x="1957" y="672"/>
                    </a:lnTo>
                    <a:lnTo>
                      <a:pt x="1936" y="694"/>
                    </a:lnTo>
                    <a:lnTo>
                      <a:pt x="1913" y="715"/>
                    </a:lnTo>
                    <a:lnTo>
                      <a:pt x="1889" y="735"/>
                    </a:lnTo>
                    <a:lnTo>
                      <a:pt x="1863" y="755"/>
                    </a:lnTo>
                    <a:lnTo>
                      <a:pt x="1834" y="773"/>
                    </a:lnTo>
                    <a:lnTo>
                      <a:pt x="1804" y="792"/>
                    </a:lnTo>
                    <a:lnTo>
                      <a:pt x="1772" y="810"/>
                    </a:lnTo>
                    <a:lnTo>
                      <a:pt x="1738" y="826"/>
                    </a:lnTo>
                    <a:lnTo>
                      <a:pt x="1703" y="842"/>
                    </a:lnTo>
                    <a:lnTo>
                      <a:pt x="1665" y="857"/>
                    </a:lnTo>
                    <a:lnTo>
                      <a:pt x="1627" y="872"/>
                    </a:lnTo>
                    <a:lnTo>
                      <a:pt x="1588" y="885"/>
                    </a:lnTo>
                    <a:lnTo>
                      <a:pt x="1547" y="898"/>
                    </a:lnTo>
                    <a:lnTo>
                      <a:pt x="1503" y="909"/>
                    </a:lnTo>
                    <a:lnTo>
                      <a:pt x="1460" y="920"/>
                    </a:lnTo>
                    <a:lnTo>
                      <a:pt x="1414" y="930"/>
                    </a:lnTo>
                    <a:lnTo>
                      <a:pt x="1368" y="938"/>
                    </a:lnTo>
                    <a:lnTo>
                      <a:pt x="1321" y="946"/>
                    </a:lnTo>
                    <a:lnTo>
                      <a:pt x="1273" y="952"/>
                    </a:lnTo>
                    <a:lnTo>
                      <a:pt x="1223" y="958"/>
                    </a:lnTo>
                    <a:lnTo>
                      <a:pt x="1174" y="962"/>
                    </a:lnTo>
                    <a:lnTo>
                      <a:pt x="1122" y="965"/>
                    </a:lnTo>
                    <a:lnTo>
                      <a:pt x="1070" y="967"/>
                    </a:lnTo>
                    <a:lnTo>
                      <a:pt x="1019" y="968"/>
                    </a:lnTo>
                    <a:lnTo>
                      <a:pt x="966" y="967"/>
                    </a:lnTo>
                    <a:lnTo>
                      <a:pt x="914" y="965"/>
                    </a:lnTo>
                    <a:lnTo>
                      <a:pt x="864" y="962"/>
                    </a:lnTo>
                    <a:lnTo>
                      <a:pt x="813" y="958"/>
                    </a:lnTo>
                    <a:lnTo>
                      <a:pt x="763" y="952"/>
                    </a:lnTo>
                    <a:lnTo>
                      <a:pt x="715" y="946"/>
                    </a:lnTo>
                    <a:lnTo>
                      <a:pt x="668" y="938"/>
                    </a:lnTo>
                    <a:lnTo>
                      <a:pt x="622" y="930"/>
                    </a:lnTo>
                    <a:lnTo>
                      <a:pt x="576" y="920"/>
                    </a:lnTo>
                    <a:lnTo>
                      <a:pt x="533" y="909"/>
                    </a:lnTo>
                    <a:lnTo>
                      <a:pt x="491" y="898"/>
                    </a:lnTo>
                    <a:lnTo>
                      <a:pt x="449" y="885"/>
                    </a:lnTo>
                    <a:lnTo>
                      <a:pt x="409" y="872"/>
                    </a:lnTo>
                    <a:lnTo>
                      <a:pt x="371" y="857"/>
                    </a:lnTo>
                    <a:lnTo>
                      <a:pt x="333" y="842"/>
                    </a:lnTo>
                    <a:lnTo>
                      <a:pt x="298" y="826"/>
                    </a:lnTo>
                    <a:lnTo>
                      <a:pt x="264" y="810"/>
                    </a:lnTo>
                    <a:lnTo>
                      <a:pt x="232" y="792"/>
                    </a:lnTo>
                    <a:lnTo>
                      <a:pt x="202" y="773"/>
                    </a:lnTo>
                    <a:lnTo>
                      <a:pt x="173" y="755"/>
                    </a:lnTo>
                    <a:lnTo>
                      <a:pt x="147" y="735"/>
                    </a:lnTo>
                    <a:lnTo>
                      <a:pt x="123" y="715"/>
                    </a:lnTo>
                    <a:lnTo>
                      <a:pt x="100" y="694"/>
                    </a:lnTo>
                    <a:lnTo>
                      <a:pt x="80" y="672"/>
                    </a:lnTo>
                    <a:lnTo>
                      <a:pt x="62" y="650"/>
                    </a:lnTo>
                    <a:lnTo>
                      <a:pt x="45" y="628"/>
                    </a:lnTo>
                    <a:lnTo>
                      <a:pt x="32" y="605"/>
                    </a:lnTo>
                    <a:lnTo>
                      <a:pt x="20" y="581"/>
                    </a:lnTo>
                    <a:lnTo>
                      <a:pt x="11" y="557"/>
                    </a:lnTo>
                    <a:lnTo>
                      <a:pt x="5" y="534"/>
                    </a:lnTo>
                    <a:lnTo>
                      <a:pt x="1" y="509"/>
                    </a:lnTo>
                    <a:lnTo>
                      <a:pt x="0" y="484"/>
                    </a:lnTo>
                    <a:lnTo>
                      <a:pt x="1" y="459"/>
                    </a:lnTo>
                    <a:lnTo>
                      <a:pt x="5" y="434"/>
                    </a:lnTo>
                    <a:lnTo>
                      <a:pt x="11" y="411"/>
                    </a:lnTo>
                    <a:lnTo>
                      <a:pt x="20" y="387"/>
                    </a:lnTo>
                    <a:lnTo>
                      <a:pt x="32" y="363"/>
                    </a:lnTo>
                    <a:lnTo>
                      <a:pt x="45" y="340"/>
                    </a:lnTo>
                    <a:lnTo>
                      <a:pt x="62" y="317"/>
                    </a:lnTo>
                    <a:lnTo>
                      <a:pt x="80" y="296"/>
                    </a:lnTo>
                    <a:lnTo>
                      <a:pt x="100" y="274"/>
                    </a:lnTo>
                    <a:lnTo>
                      <a:pt x="123" y="253"/>
                    </a:lnTo>
                    <a:lnTo>
                      <a:pt x="147" y="233"/>
                    </a:lnTo>
                    <a:lnTo>
                      <a:pt x="173" y="213"/>
                    </a:lnTo>
                    <a:lnTo>
                      <a:pt x="202" y="194"/>
                    </a:lnTo>
                    <a:lnTo>
                      <a:pt x="232" y="176"/>
                    </a:lnTo>
                    <a:lnTo>
                      <a:pt x="264" y="158"/>
                    </a:lnTo>
                    <a:lnTo>
                      <a:pt x="298" y="142"/>
                    </a:lnTo>
                    <a:lnTo>
                      <a:pt x="333" y="126"/>
                    </a:lnTo>
                    <a:lnTo>
                      <a:pt x="371" y="111"/>
                    </a:lnTo>
                    <a:lnTo>
                      <a:pt x="409" y="96"/>
                    </a:lnTo>
                    <a:lnTo>
                      <a:pt x="449" y="83"/>
                    </a:lnTo>
                    <a:lnTo>
                      <a:pt x="491" y="70"/>
                    </a:lnTo>
                    <a:lnTo>
                      <a:pt x="533" y="59"/>
                    </a:lnTo>
                    <a:lnTo>
                      <a:pt x="576" y="48"/>
                    </a:lnTo>
                    <a:lnTo>
                      <a:pt x="622" y="38"/>
                    </a:lnTo>
                    <a:lnTo>
                      <a:pt x="668" y="30"/>
                    </a:lnTo>
                    <a:lnTo>
                      <a:pt x="715" y="22"/>
                    </a:lnTo>
                    <a:lnTo>
                      <a:pt x="763" y="16"/>
                    </a:lnTo>
                    <a:lnTo>
                      <a:pt x="813" y="10"/>
                    </a:lnTo>
                    <a:lnTo>
                      <a:pt x="864" y="5"/>
                    </a:lnTo>
                    <a:lnTo>
                      <a:pt x="914" y="2"/>
                    </a:lnTo>
                    <a:lnTo>
                      <a:pt x="966" y="1"/>
                    </a:lnTo>
                    <a:lnTo>
                      <a:pt x="1019" y="0"/>
                    </a:lnTo>
                    <a:lnTo>
                      <a:pt x="1070" y="1"/>
                    </a:lnTo>
                    <a:lnTo>
                      <a:pt x="1122" y="2"/>
                    </a:lnTo>
                    <a:lnTo>
                      <a:pt x="1174" y="5"/>
                    </a:lnTo>
                    <a:lnTo>
                      <a:pt x="1223" y="10"/>
                    </a:lnTo>
                    <a:lnTo>
                      <a:pt x="1273" y="16"/>
                    </a:lnTo>
                    <a:lnTo>
                      <a:pt x="1321" y="22"/>
                    </a:lnTo>
                    <a:lnTo>
                      <a:pt x="1368" y="30"/>
                    </a:lnTo>
                    <a:lnTo>
                      <a:pt x="1414" y="38"/>
                    </a:lnTo>
                    <a:lnTo>
                      <a:pt x="1460" y="48"/>
                    </a:lnTo>
                    <a:lnTo>
                      <a:pt x="1503" y="59"/>
                    </a:lnTo>
                    <a:lnTo>
                      <a:pt x="1547" y="70"/>
                    </a:lnTo>
                    <a:lnTo>
                      <a:pt x="1588" y="83"/>
                    </a:lnTo>
                    <a:lnTo>
                      <a:pt x="1627" y="96"/>
                    </a:lnTo>
                    <a:lnTo>
                      <a:pt x="1665" y="111"/>
                    </a:lnTo>
                    <a:lnTo>
                      <a:pt x="1703" y="126"/>
                    </a:lnTo>
                    <a:lnTo>
                      <a:pt x="1738" y="142"/>
                    </a:lnTo>
                    <a:lnTo>
                      <a:pt x="1772" y="158"/>
                    </a:lnTo>
                    <a:lnTo>
                      <a:pt x="1804" y="176"/>
                    </a:lnTo>
                    <a:lnTo>
                      <a:pt x="1834" y="194"/>
                    </a:lnTo>
                    <a:lnTo>
                      <a:pt x="1863" y="213"/>
                    </a:lnTo>
                    <a:lnTo>
                      <a:pt x="1889" y="233"/>
                    </a:lnTo>
                    <a:lnTo>
                      <a:pt x="1913" y="253"/>
                    </a:lnTo>
                    <a:lnTo>
                      <a:pt x="1936" y="274"/>
                    </a:lnTo>
                    <a:lnTo>
                      <a:pt x="1957" y="296"/>
                    </a:lnTo>
                    <a:lnTo>
                      <a:pt x="1974" y="317"/>
                    </a:lnTo>
                    <a:lnTo>
                      <a:pt x="1991" y="340"/>
                    </a:lnTo>
                    <a:lnTo>
                      <a:pt x="2004" y="363"/>
                    </a:lnTo>
                    <a:lnTo>
                      <a:pt x="2016" y="387"/>
                    </a:lnTo>
                    <a:lnTo>
                      <a:pt x="2025" y="411"/>
                    </a:lnTo>
                    <a:lnTo>
                      <a:pt x="2031" y="434"/>
                    </a:lnTo>
                    <a:lnTo>
                      <a:pt x="2035" y="459"/>
                    </a:lnTo>
                    <a:lnTo>
                      <a:pt x="2036" y="484"/>
                    </a:lnTo>
                    <a:close/>
                  </a:path>
                </a:pathLst>
              </a:custGeom>
              <a:solidFill>
                <a:srgbClr val="C93A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31" name="Freeform 150"/>
              <p:cNvSpPr>
                <a:spLocks/>
              </p:cNvSpPr>
              <p:nvPr/>
            </p:nvSpPr>
            <p:spPr bwMode="auto">
              <a:xfrm>
                <a:off x="3447" y="240"/>
                <a:ext cx="218" cy="54"/>
              </a:xfrm>
              <a:custGeom>
                <a:avLst/>
                <a:gdLst>
                  <a:gd name="T0" fmla="*/ 0 w 1523"/>
                  <a:gd name="T1" fmla="*/ 0 h 376"/>
                  <a:gd name="T2" fmla="*/ 0 w 1523"/>
                  <a:gd name="T3" fmla="*/ 0 h 376"/>
                  <a:gd name="T4" fmla="*/ 0 w 1523"/>
                  <a:gd name="T5" fmla="*/ 0 h 376"/>
                  <a:gd name="T6" fmla="*/ 0 w 1523"/>
                  <a:gd name="T7" fmla="*/ 0 h 376"/>
                  <a:gd name="T8" fmla="*/ 0 w 1523"/>
                  <a:gd name="T9" fmla="*/ 0 h 376"/>
                  <a:gd name="T10" fmla="*/ 0 w 1523"/>
                  <a:gd name="T11" fmla="*/ 0 h 376"/>
                  <a:gd name="T12" fmla="*/ 0 w 1523"/>
                  <a:gd name="T13" fmla="*/ 0 h 376"/>
                  <a:gd name="T14" fmla="*/ 0 w 1523"/>
                  <a:gd name="T15" fmla="*/ 0 h 376"/>
                  <a:gd name="T16" fmla="*/ 0 w 1523"/>
                  <a:gd name="T17" fmla="*/ 0 h 376"/>
                  <a:gd name="T18" fmla="*/ 0 w 1523"/>
                  <a:gd name="T19" fmla="*/ 0 h 376"/>
                  <a:gd name="T20" fmla="*/ 0 w 1523"/>
                  <a:gd name="T21" fmla="*/ 0 h 376"/>
                  <a:gd name="T22" fmla="*/ 0 w 1523"/>
                  <a:gd name="T23" fmla="*/ 0 h 376"/>
                  <a:gd name="T24" fmla="*/ 0 w 1523"/>
                  <a:gd name="T25" fmla="*/ 0 h 376"/>
                  <a:gd name="T26" fmla="*/ 0 w 1523"/>
                  <a:gd name="T27" fmla="*/ 0 h 376"/>
                  <a:gd name="T28" fmla="*/ 0 w 1523"/>
                  <a:gd name="T29" fmla="*/ 0 h 376"/>
                  <a:gd name="T30" fmla="*/ 0 w 1523"/>
                  <a:gd name="T31" fmla="*/ 0 h 376"/>
                  <a:gd name="T32" fmla="*/ 0 w 1523"/>
                  <a:gd name="T33" fmla="*/ 0 h 376"/>
                  <a:gd name="T34" fmla="*/ 0 w 1523"/>
                  <a:gd name="T35" fmla="*/ 0 h 376"/>
                  <a:gd name="T36" fmla="*/ 0 w 1523"/>
                  <a:gd name="T37" fmla="*/ 0 h 376"/>
                  <a:gd name="T38" fmla="*/ 0 w 1523"/>
                  <a:gd name="T39" fmla="*/ 0 h 376"/>
                  <a:gd name="T40" fmla="*/ 0 w 1523"/>
                  <a:gd name="T41" fmla="*/ 0 h 376"/>
                  <a:gd name="T42" fmla="*/ 0 w 1523"/>
                  <a:gd name="T43" fmla="*/ 0 h 376"/>
                  <a:gd name="T44" fmla="*/ 0 w 1523"/>
                  <a:gd name="T45" fmla="*/ 0 h 376"/>
                  <a:gd name="T46" fmla="*/ 0 w 1523"/>
                  <a:gd name="T47" fmla="*/ 0 h 376"/>
                  <a:gd name="T48" fmla="*/ 0 w 1523"/>
                  <a:gd name="T49" fmla="*/ 0 h 376"/>
                  <a:gd name="T50" fmla="*/ 0 w 1523"/>
                  <a:gd name="T51" fmla="*/ 0 h 376"/>
                  <a:gd name="T52" fmla="*/ 0 w 1523"/>
                  <a:gd name="T53" fmla="*/ 0 h 376"/>
                  <a:gd name="T54" fmla="*/ 0 w 1523"/>
                  <a:gd name="T55" fmla="*/ 0 h 376"/>
                  <a:gd name="T56" fmla="*/ 0 w 1523"/>
                  <a:gd name="T57" fmla="*/ 0 h 376"/>
                  <a:gd name="T58" fmla="*/ 0 w 1523"/>
                  <a:gd name="T59" fmla="*/ 0 h 376"/>
                  <a:gd name="T60" fmla="*/ 0 w 1523"/>
                  <a:gd name="T61" fmla="*/ 0 h 376"/>
                  <a:gd name="T62" fmla="*/ 0 w 1523"/>
                  <a:gd name="T63" fmla="*/ 0 h 376"/>
                  <a:gd name="T64" fmla="*/ 0 w 1523"/>
                  <a:gd name="T65" fmla="*/ 0 h 376"/>
                  <a:gd name="T66" fmla="*/ 0 w 1523"/>
                  <a:gd name="T67" fmla="*/ 0 h 376"/>
                  <a:gd name="T68" fmla="*/ 0 w 1523"/>
                  <a:gd name="T69" fmla="*/ 0 h 376"/>
                  <a:gd name="T70" fmla="*/ 0 w 1523"/>
                  <a:gd name="T71" fmla="*/ 0 h 376"/>
                  <a:gd name="T72" fmla="*/ 0 w 1523"/>
                  <a:gd name="T73" fmla="*/ 0 h 376"/>
                  <a:gd name="T74" fmla="*/ 0 w 1523"/>
                  <a:gd name="T75" fmla="*/ 0 h 376"/>
                  <a:gd name="T76" fmla="*/ 0 w 1523"/>
                  <a:gd name="T77" fmla="*/ 0 h 376"/>
                  <a:gd name="T78" fmla="*/ 0 w 1523"/>
                  <a:gd name="T79" fmla="*/ 0 h 376"/>
                  <a:gd name="T80" fmla="*/ 0 w 1523"/>
                  <a:gd name="T81" fmla="*/ 0 h 376"/>
                  <a:gd name="T82" fmla="*/ 0 w 1523"/>
                  <a:gd name="T83" fmla="*/ 0 h 376"/>
                  <a:gd name="T84" fmla="*/ 0 w 1523"/>
                  <a:gd name="T85" fmla="*/ 0 h 376"/>
                  <a:gd name="T86" fmla="*/ 0 w 1523"/>
                  <a:gd name="T87" fmla="*/ 0 h 376"/>
                  <a:gd name="T88" fmla="*/ 0 w 1523"/>
                  <a:gd name="T89" fmla="*/ 0 h 376"/>
                  <a:gd name="T90" fmla="*/ 0 w 1523"/>
                  <a:gd name="T91" fmla="*/ 0 h 376"/>
                  <a:gd name="T92" fmla="*/ 0 w 1523"/>
                  <a:gd name="T93" fmla="*/ 0 h 376"/>
                  <a:gd name="T94" fmla="*/ 0 w 1523"/>
                  <a:gd name="T95" fmla="*/ 0 h 37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1523"/>
                  <a:gd name="T145" fmla="*/ 0 h 376"/>
                  <a:gd name="T146" fmla="*/ 1523 w 1523"/>
                  <a:gd name="T147" fmla="*/ 376 h 37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1523" h="376">
                    <a:moveTo>
                      <a:pt x="1523" y="92"/>
                    </a:moveTo>
                    <a:lnTo>
                      <a:pt x="1491" y="82"/>
                    </a:lnTo>
                    <a:lnTo>
                      <a:pt x="1458" y="71"/>
                    </a:lnTo>
                    <a:lnTo>
                      <a:pt x="1424" y="62"/>
                    </a:lnTo>
                    <a:lnTo>
                      <a:pt x="1390" y="54"/>
                    </a:lnTo>
                    <a:lnTo>
                      <a:pt x="1355" y="45"/>
                    </a:lnTo>
                    <a:lnTo>
                      <a:pt x="1319" y="38"/>
                    </a:lnTo>
                    <a:lnTo>
                      <a:pt x="1283" y="31"/>
                    </a:lnTo>
                    <a:lnTo>
                      <a:pt x="1245" y="25"/>
                    </a:lnTo>
                    <a:lnTo>
                      <a:pt x="1207" y="19"/>
                    </a:lnTo>
                    <a:lnTo>
                      <a:pt x="1169" y="14"/>
                    </a:lnTo>
                    <a:lnTo>
                      <a:pt x="1130" y="10"/>
                    </a:lnTo>
                    <a:lnTo>
                      <a:pt x="1090" y="6"/>
                    </a:lnTo>
                    <a:lnTo>
                      <a:pt x="1050" y="4"/>
                    </a:lnTo>
                    <a:lnTo>
                      <a:pt x="1009" y="2"/>
                    </a:lnTo>
                    <a:lnTo>
                      <a:pt x="968" y="0"/>
                    </a:lnTo>
                    <a:lnTo>
                      <a:pt x="926" y="0"/>
                    </a:lnTo>
                    <a:lnTo>
                      <a:pt x="888" y="0"/>
                    </a:lnTo>
                    <a:lnTo>
                      <a:pt x="850" y="1"/>
                    </a:lnTo>
                    <a:lnTo>
                      <a:pt x="812" y="3"/>
                    </a:lnTo>
                    <a:lnTo>
                      <a:pt x="775" y="5"/>
                    </a:lnTo>
                    <a:lnTo>
                      <a:pt x="738" y="8"/>
                    </a:lnTo>
                    <a:lnTo>
                      <a:pt x="702" y="12"/>
                    </a:lnTo>
                    <a:lnTo>
                      <a:pt x="666" y="17"/>
                    </a:lnTo>
                    <a:lnTo>
                      <a:pt x="631" y="21"/>
                    </a:lnTo>
                    <a:lnTo>
                      <a:pt x="595" y="26"/>
                    </a:lnTo>
                    <a:lnTo>
                      <a:pt x="561" y="32"/>
                    </a:lnTo>
                    <a:lnTo>
                      <a:pt x="527" y="39"/>
                    </a:lnTo>
                    <a:lnTo>
                      <a:pt x="494" y="45"/>
                    </a:lnTo>
                    <a:lnTo>
                      <a:pt x="462" y="54"/>
                    </a:lnTo>
                    <a:lnTo>
                      <a:pt x="430" y="62"/>
                    </a:lnTo>
                    <a:lnTo>
                      <a:pt x="399" y="70"/>
                    </a:lnTo>
                    <a:lnTo>
                      <a:pt x="368" y="80"/>
                    </a:lnTo>
                    <a:lnTo>
                      <a:pt x="339" y="89"/>
                    </a:lnTo>
                    <a:lnTo>
                      <a:pt x="310" y="99"/>
                    </a:lnTo>
                    <a:lnTo>
                      <a:pt x="282" y="110"/>
                    </a:lnTo>
                    <a:lnTo>
                      <a:pt x="254" y="121"/>
                    </a:lnTo>
                    <a:lnTo>
                      <a:pt x="229" y="132"/>
                    </a:lnTo>
                    <a:lnTo>
                      <a:pt x="203" y="144"/>
                    </a:lnTo>
                    <a:lnTo>
                      <a:pt x="178" y="156"/>
                    </a:lnTo>
                    <a:lnTo>
                      <a:pt x="154" y="170"/>
                    </a:lnTo>
                    <a:lnTo>
                      <a:pt x="131" y="182"/>
                    </a:lnTo>
                    <a:lnTo>
                      <a:pt x="110" y="195"/>
                    </a:lnTo>
                    <a:lnTo>
                      <a:pt x="88" y="210"/>
                    </a:lnTo>
                    <a:lnTo>
                      <a:pt x="68" y="224"/>
                    </a:lnTo>
                    <a:lnTo>
                      <a:pt x="50" y="239"/>
                    </a:lnTo>
                    <a:lnTo>
                      <a:pt x="32" y="253"/>
                    </a:lnTo>
                    <a:lnTo>
                      <a:pt x="16" y="269"/>
                    </a:lnTo>
                    <a:lnTo>
                      <a:pt x="0" y="284"/>
                    </a:lnTo>
                    <a:lnTo>
                      <a:pt x="31" y="295"/>
                    </a:lnTo>
                    <a:lnTo>
                      <a:pt x="64" y="305"/>
                    </a:lnTo>
                    <a:lnTo>
                      <a:pt x="98" y="314"/>
                    </a:lnTo>
                    <a:lnTo>
                      <a:pt x="132" y="323"/>
                    </a:lnTo>
                    <a:lnTo>
                      <a:pt x="168" y="331"/>
                    </a:lnTo>
                    <a:lnTo>
                      <a:pt x="204" y="339"/>
                    </a:lnTo>
                    <a:lnTo>
                      <a:pt x="240" y="345"/>
                    </a:lnTo>
                    <a:lnTo>
                      <a:pt x="277" y="352"/>
                    </a:lnTo>
                    <a:lnTo>
                      <a:pt x="315" y="358"/>
                    </a:lnTo>
                    <a:lnTo>
                      <a:pt x="354" y="363"/>
                    </a:lnTo>
                    <a:lnTo>
                      <a:pt x="393" y="367"/>
                    </a:lnTo>
                    <a:lnTo>
                      <a:pt x="432" y="370"/>
                    </a:lnTo>
                    <a:lnTo>
                      <a:pt x="472" y="373"/>
                    </a:lnTo>
                    <a:lnTo>
                      <a:pt x="514" y="374"/>
                    </a:lnTo>
                    <a:lnTo>
                      <a:pt x="554" y="376"/>
                    </a:lnTo>
                    <a:lnTo>
                      <a:pt x="596" y="376"/>
                    </a:lnTo>
                    <a:lnTo>
                      <a:pt x="635" y="376"/>
                    </a:lnTo>
                    <a:lnTo>
                      <a:pt x="673" y="375"/>
                    </a:lnTo>
                    <a:lnTo>
                      <a:pt x="710" y="373"/>
                    </a:lnTo>
                    <a:lnTo>
                      <a:pt x="748" y="371"/>
                    </a:lnTo>
                    <a:lnTo>
                      <a:pt x="785" y="368"/>
                    </a:lnTo>
                    <a:lnTo>
                      <a:pt x="821" y="365"/>
                    </a:lnTo>
                    <a:lnTo>
                      <a:pt x="857" y="361"/>
                    </a:lnTo>
                    <a:lnTo>
                      <a:pt x="892" y="356"/>
                    </a:lnTo>
                    <a:lnTo>
                      <a:pt x="927" y="351"/>
                    </a:lnTo>
                    <a:lnTo>
                      <a:pt x="961" y="344"/>
                    </a:lnTo>
                    <a:lnTo>
                      <a:pt x="995" y="338"/>
                    </a:lnTo>
                    <a:lnTo>
                      <a:pt x="1028" y="331"/>
                    </a:lnTo>
                    <a:lnTo>
                      <a:pt x="1060" y="323"/>
                    </a:lnTo>
                    <a:lnTo>
                      <a:pt x="1093" y="315"/>
                    </a:lnTo>
                    <a:lnTo>
                      <a:pt x="1124" y="306"/>
                    </a:lnTo>
                    <a:lnTo>
                      <a:pt x="1155" y="297"/>
                    </a:lnTo>
                    <a:lnTo>
                      <a:pt x="1183" y="287"/>
                    </a:lnTo>
                    <a:lnTo>
                      <a:pt x="1212" y="277"/>
                    </a:lnTo>
                    <a:lnTo>
                      <a:pt x="1240" y="267"/>
                    </a:lnTo>
                    <a:lnTo>
                      <a:pt x="1268" y="255"/>
                    </a:lnTo>
                    <a:lnTo>
                      <a:pt x="1294" y="244"/>
                    </a:lnTo>
                    <a:lnTo>
                      <a:pt x="1320" y="233"/>
                    </a:lnTo>
                    <a:lnTo>
                      <a:pt x="1345" y="220"/>
                    </a:lnTo>
                    <a:lnTo>
                      <a:pt x="1368" y="208"/>
                    </a:lnTo>
                    <a:lnTo>
                      <a:pt x="1391" y="194"/>
                    </a:lnTo>
                    <a:lnTo>
                      <a:pt x="1413" y="181"/>
                    </a:lnTo>
                    <a:lnTo>
                      <a:pt x="1435" y="166"/>
                    </a:lnTo>
                    <a:lnTo>
                      <a:pt x="1454" y="153"/>
                    </a:lnTo>
                    <a:lnTo>
                      <a:pt x="1473" y="139"/>
                    </a:lnTo>
                    <a:lnTo>
                      <a:pt x="1490" y="123"/>
                    </a:lnTo>
                    <a:lnTo>
                      <a:pt x="1507" y="108"/>
                    </a:lnTo>
                    <a:lnTo>
                      <a:pt x="1523" y="92"/>
                    </a:lnTo>
                    <a:close/>
                  </a:path>
                </a:pathLst>
              </a:custGeom>
              <a:solidFill>
                <a:srgbClr val="DD4F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32" name="Freeform 151"/>
              <p:cNvSpPr>
                <a:spLocks/>
              </p:cNvSpPr>
              <p:nvPr/>
            </p:nvSpPr>
            <p:spPr bwMode="auto">
              <a:xfrm>
                <a:off x="3435" y="265"/>
                <a:ext cx="289" cy="116"/>
              </a:xfrm>
              <a:custGeom>
                <a:avLst/>
                <a:gdLst>
                  <a:gd name="T0" fmla="*/ 0 w 2022"/>
                  <a:gd name="T1" fmla="*/ 0 h 807"/>
                  <a:gd name="T2" fmla="*/ 0 w 2022"/>
                  <a:gd name="T3" fmla="*/ 0 h 807"/>
                  <a:gd name="T4" fmla="*/ 0 w 2022"/>
                  <a:gd name="T5" fmla="*/ 0 h 807"/>
                  <a:gd name="T6" fmla="*/ 0 w 2022"/>
                  <a:gd name="T7" fmla="*/ 0 h 807"/>
                  <a:gd name="T8" fmla="*/ 0 w 2022"/>
                  <a:gd name="T9" fmla="*/ 0 h 807"/>
                  <a:gd name="T10" fmla="*/ 0 w 2022"/>
                  <a:gd name="T11" fmla="*/ 0 h 807"/>
                  <a:gd name="T12" fmla="*/ 0 w 2022"/>
                  <a:gd name="T13" fmla="*/ 0 h 807"/>
                  <a:gd name="T14" fmla="*/ 0 w 2022"/>
                  <a:gd name="T15" fmla="*/ 0 h 807"/>
                  <a:gd name="T16" fmla="*/ 0 w 2022"/>
                  <a:gd name="T17" fmla="*/ 0 h 807"/>
                  <a:gd name="T18" fmla="*/ 0 w 2022"/>
                  <a:gd name="T19" fmla="*/ 0 h 807"/>
                  <a:gd name="T20" fmla="*/ 0 w 2022"/>
                  <a:gd name="T21" fmla="*/ 0 h 807"/>
                  <a:gd name="T22" fmla="*/ 0 w 2022"/>
                  <a:gd name="T23" fmla="*/ 0 h 807"/>
                  <a:gd name="T24" fmla="*/ 0 w 2022"/>
                  <a:gd name="T25" fmla="*/ 0 h 807"/>
                  <a:gd name="T26" fmla="*/ 0 w 2022"/>
                  <a:gd name="T27" fmla="*/ 0 h 807"/>
                  <a:gd name="T28" fmla="*/ 0 w 2022"/>
                  <a:gd name="T29" fmla="*/ 0 h 807"/>
                  <a:gd name="T30" fmla="*/ 0 w 2022"/>
                  <a:gd name="T31" fmla="*/ 0 h 807"/>
                  <a:gd name="T32" fmla="*/ 0 w 2022"/>
                  <a:gd name="T33" fmla="*/ 0 h 807"/>
                  <a:gd name="T34" fmla="*/ 0 w 2022"/>
                  <a:gd name="T35" fmla="*/ 0 h 807"/>
                  <a:gd name="T36" fmla="*/ 0 w 2022"/>
                  <a:gd name="T37" fmla="*/ 0 h 807"/>
                  <a:gd name="T38" fmla="*/ 0 w 2022"/>
                  <a:gd name="T39" fmla="*/ 0 h 807"/>
                  <a:gd name="T40" fmla="*/ 0 w 2022"/>
                  <a:gd name="T41" fmla="*/ 0 h 807"/>
                  <a:gd name="T42" fmla="*/ 0 w 2022"/>
                  <a:gd name="T43" fmla="*/ 0 h 807"/>
                  <a:gd name="T44" fmla="*/ 0 w 2022"/>
                  <a:gd name="T45" fmla="*/ 0 h 807"/>
                  <a:gd name="T46" fmla="*/ 0 w 2022"/>
                  <a:gd name="T47" fmla="*/ 0 h 807"/>
                  <a:gd name="T48" fmla="*/ 0 w 2022"/>
                  <a:gd name="T49" fmla="*/ 0 h 807"/>
                  <a:gd name="T50" fmla="*/ 0 w 2022"/>
                  <a:gd name="T51" fmla="*/ 0 h 807"/>
                  <a:gd name="T52" fmla="*/ 0 w 2022"/>
                  <a:gd name="T53" fmla="*/ 0 h 807"/>
                  <a:gd name="T54" fmla="*/ 0 w 2022"/>
                  <a:gd name="T55" fmla="*/ 0 h 807"/>
                  <a:gd name="T56" fmla="*/ 0 w 2022"/>
                  <a:gd name="T57" fmla="*/ 0 h 807"/>
                  <a:gd name="T58" fmla="*/ 0 w 2022"/>
                  <a:gd name="T59" fmla="*/ 0 h 807"/>
                  <a:gd name="T60" fmla="*/ 0 w 2022"/>
                  <a:gd name="T61" fmla="*/ 0 h 807"/>
                  <a:gd name="T62" fmla="*/ 0 w 2022"/>
                  <a:gd name="T63" fmla="*/ 0 h 807"/>
                  <a:gd name="T64" fmla="*/ 0 w 2022"/>
                  <a:gd name="T65" fmla="*/ 0 h 807"/>
                  <a:gd name="T66" fmla="*/ 0 w 2022"/>
                  <a:gd name="T67" fmla="*/ 0 h 807"/>
                  <a:gd name="T68" fmla="*/ 0 w 2022"/>
                  <a:gd name="T69" fmla="*/ 0 h 807"/>
                  <a:gd name="T70" fmla="*/ 0 w 2022"/>
                  <a:gd name="T71" fmla="*/ 0 h 807"/>
                  <a:gd name="T72" fmla="*/ 0 w 2022"/>
                  <a:gd name="T73" fmla="*/ 0 h 807"/>
                  <a:gd name="T74" fmla="*/ 0 w 2022"/>
                  <a:gd name="T75" fmla="*/ 0 h 807"/>
                  <a:gd name="T76" fmla="*/ 0 w 2022"/>
                  <a:gd name="T77" fmla="*/ 0 h 807"/>
                  <a:gd name="T78" fmla="*/ 0 w 2022"/>
                  <a:gd name="T79" fmla="*/ 0 h 807"/>
                  <a:gd name="T80" fmla="*/ 0 w 2022"/>
                  <a:gd name="T81" fmla="*/ 0 h 807"/>
                  <a:gd name="T82" fmla="*/ 0 w 2022"/>
                  <a:gd name="T83" fmla="*/ 0 h 807"/>
                  <a:gd name="T84" fmla="*/ 0 w 2022"/>
                  <a:gd name="T85" fmla="*/ 0 h 807"/>
                  <a:gd name="T86" fmla="*/ 0 w 2022"/>
                  <a:gd name="T87" fmla="*/ 0 h 807"/>
                  <a:gd name="T88" fmla="*/ 0 w 2022"/>
                  <a:gd name="T89" fmla="*/ 0 h 807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2022"/>
                  <a:gd name="T136" fmla="*/ 0 h 807"/>
                  <a:gd name="T137" fmla="*/ 2022 w 2022"/>
                  <a:gd name="T138" fmla="*/ 807 h 807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2022" h="807">
                    <a:moveTo>
                      <a:pt x="1758" y="0"/>
                    </a:moveTo>
                    <a:lnTo>
                      <a:pt x="1764" y="19"/>
                    </a:lnTo>
                    <a:lnTo>
                      <a:pt x="1770" y="40"/>
                    </a:lnTo>
                    <a:lnTo>
                      <a:pt x="1773" y="61"/>
                    </a:lnTo>
                    <a:lnTo>
                      <a:pt x="1774" y="82"/>
                    </a:lnTo>
                    <a:lnTo>
                      <a:pt x="1773" y="106"/>
                    </a:lnTo>
                    <a:lnTo>
                      <a:pt x="1769" y="131"/>
                    </a:lnTo>
                    <a:lnTo>
                      <a:pt x="1762" y="156"/>
                    </a:lnTo>
                    <a:lnTo>
                      <a:pt x="1753" y="180"/>
                    </a:lnTo>
                    <a:lnTo>
                      <a:pt x="1742" y="203"/>
                    </a:lnTo>
                    <a:lnTo>
                      <a:pt x="1728" y="226"/>
                    </a:lnTo>
                    <a:lnTo>
                      <a:pt x="1712" y="248"/>
                    </a:lnTo>
                    <a:lnTo>
                      <a:pt x="1694" y="270"/>
                    </a:lnTo>
                    <a:lnTo>
                      <a:pt x="1673" y="291"/>
                    </a:lnTo>
                    <a:lnTo>
                      <a:pt x="1651" y="312"/>
                    </a:lnTo>
                    <a:lnTo>
                      <a:pt x="1627" y="333"/>
                    </a:lnTo>
                    <a:lnTo>
                      <a:pt x="1600" y="352"/>
                    </a:lnTo>
                    <a:lnTo>
                      <a:pt x="1571" y="371"/>
                    </a:lnTo>
                    <a:lnTo>
                      <a:pt x="1541" y="390"/>
                    </a:lnTo>
                    <a:lnTo>
                      <a:pt x="1509" y="407"/>
                    </a:lnTo>
                    <a:lnTo>
                      <a:pt x="1476" y="424"/>
                    </a:lnTo>
                    <a:lnTo>
                      <a:pt x="1440" y="440"/>
                    </a:lnTo>
                    <a:lnTo>
                      <a:pt x="1404" y="455"/>
                    </a:lnTo>
                    <a:lnTo>
                      <a:pt x="1365" y="469"/>
                    </a:lnTo>
                    <a:lnTo>
                      <a:pt x="1325" y="483"/>
                    </a:lnTo>
                    <a:lnTo>
                      <a:pt x="1284" y="496"/>
                    </a:lnTo>
                    <a:lnTo>
                      <a:pt x="1241" y="508"/>
                    </a:lnTo>
                    <a:lnTo>
                      <a:pt x="1197" y="518"/>
                    </a:lnTo>
                    <a:lnTo>
                      <a:pt x="1152" y="527"/>
                    </a:lnTo>
                    <a:lnTo>
                      <a:pt x="1106" y="537"/>
                    </a:lnTo>
                    <a:lnTo>
                      <a:pt x="1059" y="544"/>
                    </a:lnTo>
                    <a:lnTo>
                      <a:pt x="1010" y="550"/>
                    </a:lnTo>
                    <a:lnTo>
                      <a:pt x="960" y="556"/>
                    </a:lnTo>
                    <a:lnTo>
                      <a:pt x="911" y="560"/>
                    </a:lnTo>
                    <a:lnTo>
                      <a:pt x="859" y="563"/>
                    </a:lnTo>
                    <a:lnTo>
                      <a:pt x="808" y="565"/>
                    </a:lnTo>
                    <a:lnTo>
                      <a:pt x="756" y="565"/>
                    </a:lnTo>
                    <a:lnTo>
                      <a:pt x="700" y="565"/>
                    </a:lnTo>
                    <a:lnTo>
                      <a:pt x="644" y="562"/>
                    </a:lnTo>
                    <a:lnTo>
                      <a:pt x="591" y="559"/>
                    </a:lnTo>
                    <a:lnTo>
                      <a:pt x="538" y="554"/>
                    </a:lnTo>
                    <a:lnTo>
                      <a:pt x="485" y="548"/>
                    </a:lnTo>
                    <a:lnTo>
                      <a:pt x="434" y="541"/>
                    </a:lnTo>
                    <a:lnTo>
                      <a:pt x="384" y="532"/>
                    </a:lnTo>
                    <a:lnTo>
                      <a:pt x="335" y="522"/>
                    </a:lnTo>
                    <a:lnTo>
                      <a:pt x="288" y="512"/>
                    </a:lnTo>
                    <a:lnTo>
                      <a:pt x="242" y="499"/>
                    </a:lnTo>
                    <a:lnTo>
                      <a:pt x="198" y="487"/>
                    </a:lnTo>
                    <a:lnTo>
                      <a:pt x="155" y="472"/>
                    </a:lnTo>
                    <a:lnTo>
                      <a:pt x="114" y="457"/>
                    </a:lnTo>
                    <a:lnTo>
                      <a:pt x="74" y="440"/>
                    </a:lnTo>
                    <a:lnTo>
                      <a:pt x="37" y="424"/>
                    </a:lnTo>
                    <a:lnTo>
                      <a:pt x="0" y="406"/>
                    </a:lnTo>
                    <a:lnTo>
                      <a:pt x="10" y="427"/>
                    </a:lnTo>
                    <a:lnTo>
                      <a:pt x="20" y="448"/>
                    </a:lnTo>
                    <a:lnTo>
                      <a:pt x="32" y="468"/>
                    </a:lnTo>
                    <a:lnTo>
                      <a:pt x="47" y="489"/>
                    </a:lnTo>
                    <a:lnTo>
                      <a:pt x="62" y="509"/>
                    </a:lnTo>
                    <a:lnTo>
                      <a:pt x="80" y="527"/>
                    </a:lnTo>
                    <a:lnTo>
                      <a:pt x="100" y="547"/>
                    </a:lnTo>
                    <a:lnTo>
                      <a:pt x="121" y="564"/>
                    </a:lnTo>
                    <a:lnTo>
                      <a:pt x="144" y="583"/>
                    </a:lnTo>
                    <a:lnTo>
                      <a:pt x="168" y="600"/>
                    </a:lnTo>
                    <a:lnTo>
                      <a:pt x="194" y="617"/>
                    </a:lnTo>
                    <a:lnTo>
                      <a:pt x="222" y="633"/>
                    </a:lnTo>
                    <a:lnTo>
                      <a:pt x="250" y="649"/>
                    </a:lnTo>
                    <a:lnTo>
                      <a:pt x="279" y="664"/>
                    </a:lnTo>
                    <a:lnTo>
                      <a:pt x="312" y="678"/>
                    </a:lnTo>
                    <a:lnTo>
                      <a:pt x="344" y="693"/>
                    </a:lnTo>
                    <a:lnTo>
                      <a:pt x="378" y="705"/>
                    </a:lnTo>
                    <a:lnTo>
                      <a:pt x="413" y="717"/>
                    </a:lnTo>
                    <a:lnTo>
                      <a:pt x="449" y="730"/>
                    </a:lnTo>
                    <a:lnTo>
                      <a:pt x="486" y="740"/>
                    </a:lnTo>
                    <a:lnTo>
                      <a:pt x="524" y="751"/>
                    </a:lnTo>
                    <a:lnTo>
                      <a:pt x="565" y="760"/>
                    </a:lnTo>
                    <a:lnTo>
                      <a:pt x="605" y="769"/>
                    </a:lnTo>
                    <a:lnTo>
                      <a:pt x="646" y="776"/>
                    </a:lnTo>
                    <a:lnTo>
                      <a:pt x="688" y="784"/>
                    </a:lnTo>
                    <a:lnTo>
                      <a:pt x="731" y="790"/>
                    </a:lnTo>
                    <a:lnTo>
                      <a:pt x="774" y="795"/>
                    </a:lnTo>
                    <a:lnTo>
                      <a:pt x="819" y="799"/>
                    </a:lnTo>
                    <a:lnTo>
                      <a:pt x="864" y="803"/>
                    </a:lnTo>
                    <a:lnTo>
                      <a:pt x="910" y="805"/>
                    </a:lnTo>
                    <a:lnTo>
                      <a:pt x="956" y="807"/>
                    </a:lnTo>
                    <a:lnTo>
                      <a:pt x="1004" y="807"/>
                    </a:lnTo>
                    <a:lnTo>
                      <a:pt x="1056" y="807"/>
                    </a:lnTo>
                    <a:lnTo>
                      <a:pt x="1107" y="805"/>
                    </a:lnTo>
                    <a:lnTo>
                      <a:pt x="1159" y="802"/>
                    </a:lnTo>
                    <a:lnTo>
                      <a:pt x="1208" y="798"/>
                    </a:lnTo>
                    <a:lnTo>
                      <a:pt x="1258" y="792"/>
                    </a:lnTo>
                    <a:lnTo>
                      <a:pt x="1307" y="786"/>
                    </a:lnTo>
                    <a:lnTo>
                      <a:pt x="1353" y="778"/>
                    </a:lnTo>
                    <a:lnTo>
                      <a:pt x="1400" y="769"/>
                    </a:lnTo>
                    <a:lnTo>
                      <a:pt x="1445" y="760"/>
                    </a:lnTo>
                    <a:lnTo>
                      <a:pt x="1489" y="750"/>
                    </a:lnTo>
                    <a:lnTo>
                      <a:pt x="1531" y="737"/>
                    </a:lnTo>
                    <a:lnTo>
                      <a:pt x="1572" y="725"/>
                    </a:lnTo>
                    <a:lnTo>
                      <a:pt x="1613" y="711"/>
                    </a:lnTo>
                    <a:lnTo>
                      <a:pt x="1651" y="697"/>
                    </a:lnTo>
                    <a:lnTo>
                      <a:pt x="1688" y="682"/>
                    </a:lnTo>
                    <a:lnTo>
                      <a:pt x="1723" y="666"/>
                    </a:lnTo>
                    <a:lnTo>
                      <a:pt x="1757" y="649"/>
                    </a:lnTo>
                    <a:lnTo>
                      <a:pt x="1789" y="632"/>
                    </a:lnTo>
                    <a:lnTo>
                      <a:pt x="1819" y="613"/>
                    </a:lnTo>
                    <a:lnTo>
                      <a:pt x="1848" y="594"/>
                    </a:lnTo>
                    <a:lnTo>
                      <a:pt x="1874" y="575"/>
                    </a:lnTo>
                    <a:lnTo>
                      <a:pt x="1899" y="554"/>
                    </a:lnTo>
                    <a:lnTo>
                      <a:pt x="1922" y="533"/>
                    </a:lnTo>
                    <a:lnTo>
                      <a:pt x="1941" y="512"/>
                    </a:lnTo>
                    <a:lnTo>
                      <a:pt x="1960" y="490"/>
                    </a:lnTo>
                    <a:lnTo>
                      <a:pt x="1976" y="467"/>
                    </a:lnTo>
                    <a:lnTo>
                      <a:pt x="1990" y="444"/>
                    </a:lnTo>
                    <a:lnTo>
                      <a:pt x="2001" y="422"/>
                    </a:lnTo>
                    <a:lnTo>
                      <a:pt x="2010" y="398"/>
                    </a:lnTo>
                    <a:lnTo>
                      <a:pt x="2017" y="373"/>
                    </a:lnTo>
                    <a:lnTo>
                      <a:pt x="2021" y="348"/>
                    </a:lnTo>
                    <a:lnTo>
                      <a:pt x="2022" y="324"/>
                    </a:lnTo>
                    <a:lnTo>
                      <a:pt x="2022" y="312"/>
                    </a:lnTo>
                    <a:lnTo>
                      <a:pt x="2021" y="301"/>
                    </a:lnTo>
                    <a:lnTo>
                      <a:pt x="2019" y="289"/>
                    </a:lnTo>
                    <a:lnTo>
                      <a:pt x="2017" y="278"/>
                    </a:lnTo>
                    <a:lnTo>
                      <a:pt x="2015" y="267"/>
                    </a:lnTo>
                    <a:lnTo>
                      <a:pt x="2011" y="255"/>
                    </a:lnTo>
                    <a:lnTo>
                      <a:pt x="2007" y="244"/>
                    </a:lnTo>
                    <a:lnTo>
                      <a:pt x="2003" y="233"/>
                    </a:lnTo>
                    <a:lnTo>
                      <a:pt x="1994" y="211"/>
                    </a:lnTo>
                    <a:lnTo>
                      <a:pt x="1981" y="189"/>
                    </a:lnTo>
                    <a:lnTo>
                      <a:pt x="1967" y="168"/>
                    </a:lnTo>
                    <a:lnTo>
                      <a:pt x="1951" y="147"/>
                    </a:lnTo>
                    <a:lnTo>
                      <a:pt x="1933" y="127"/>
                    </a:lnTo>
                    <a:lnTo>
                      <a:pt x="1913" y="107"/>
                    </a:lnTo>
                    <a:lnTo>
                      <a:pt x="1892" y="88"/>
                    </a:lnTo>
                    <a:lnTo>
                      <a:pt x="1868" y="69"/>
                    </a:lnTo>
                    <a:lnTo>
                      <a:pt x="1843" y="51"/>
                    </a:lnTo>
                    <a:lnTo>
                      <a:pt x="1816" y="33"/>
                    </a:lnTo>
                    <a:lnTo>
                      <a:pt x="1788" y="16"/>
                    </a:lnTo>
                    <a:lnTo>
                      <a:pt x="1758" y="0"/>
                    </a:lnTo>
                    <a:close/>
                  </a:path>
                </a:pathLst>
              </a:custGeom>
              <a:solidFill>
                <a:srgbClr val="A42B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33" name="Freeform 152"/>
              <p:cNvSpPr>
                <a:spLocks/>
              </p:cNvSpPr>
              <p:nvPr/>
            </p:nvSpPr>
            <p:spPr bwMode="auto">
              <a:xfrm>
                <a:off x="3570" y="358"/>
                <a:ext cx="11" cy="12"/>
              </a:xfrm>
              <a:custGeom>
                <a:avLst/>
                <a:gdLst>
                  <a:gd name="T0" fmla="*/ 0 w 80"/>
                  <a:gd name="T1" fmla="*/ 0 h 81"/>
                  <a:gd name="T2" fmla="*/ 0 w 80"/>
                  <a:gd name="T3" fmla="*/ 0 h 81"/>
                  <a:gd name="T4" fmla="*/ 0 w 80"/>
                  <a:gd name="T5" fmla="*/ 0 h 81"/>
                  <a:gd name="T6" fmla="*/ 0 w 80"/>
                  <a:gd name="T7" fmla="*/ 0 h 81"/>
                  <a:gd name="T8" fmla="*/ 0 w 80"/>
                  <a:gd name="T9" fmla="*/ 0 h 81"/>
                  <a:gd name="T10" fmla="*/ 0 w 80"/>
                  <a:gd name="T11" fmla="*/ 0 h 81"/>
                  <a:gd name="T12" fmla="*/ 0 w 80"/>
                  <a:gd name="T13" fmla="*/ 0 h 81"/>
                  <a:gd name="T14" fmla="*/ 0 w 80"/>
                  <a:gd name="T15" fmla="*/ 0 h 81"/>
                  <a:gd name="T16" fmla="*/ 0 w 80"/>
                  <a:gd name="T17" fmla="*/ 0 h 81"/>
                  <a:gd name="T18" fmla="*/ 0 w 80"/>
                  <a:gd name="T19" fmla="*/ 0 h 81"/>
                  <a:gd name="T20" fmla="*/ 0 w 80"/>
                  <a:gd name="T21" fmla="*/ 0 h 81"/>
                  <a:gd name="T22" fmla="*/ 0 w 80"/>
                  <a:gd name="T23" fmla="*/ 0 h 81"/>
                  <a:gd name="T24" fmla="*/ 0 w 80"/>
                  <a:gd name="T25" fmla="*/ 0 h 81"/>
                  <a:gd name="T26" fmla="*/ 0 w 80"/>
                  <a:gd name="T27" fmla="*/ 0 h 81"/>
                  <a:gd name="T28" fmla="*/ 0 w 80"/>
                  <a:gd name="T29" fmla="*/ 0 h 81"/>
                  <a:gd name="T30" fmla="*/ 0 w 80"/>
                  <a:gd name="T31" fmla="*/ 0 h 81"/>
                  <a:gd name="T32" fmla="*/ 0 w 80"/>
                  <a:gd name="T33" fmla="*/ 0 h 81"/>
                  <a:gd name="T34" fmla="*/ 0 w 80"/>
                  <a:gd name="T35" fmla="*/ 0 h 81"/>
                  <a:gd name="T36" fmla="*/ 0 w 80"/>
                  <a:gd name="T37" fmla="*/ 0 h 81"/>
                  <a:gd name="T38" fmla="*/ 0 w 80"/>
                  <a:gd name="T39" fmla="*/ 0 h 81"/>
                  <a:gd name="T40" fmla="*/ 0 w 80"/>
                  <a:gd name="T41" fmla="*/ 0 h 81"/>
                  <a:gd name="T42" fmla="*/ 0 w 80"/>
                  <a:gd name="T43" fmla="*/ 0 h 81"/>
                  <a:gd name="T44" fmla="*/ 0 w 80"/>
                  <a:gd name="T45" fmla="*/ 0 h 81"/>
                  <a:gd name="T46" fmla="*/ 0 w 80"/>
                  <a:gd name="T47" fmla="*/ 0 h 81"/>
                  <a:gd name="T48" fmla="*/ 0 w 80"/>
                  <a:gd name="T49" fmla="*/ 0 h 81"/>
                  <a:gd name="T50" fmla="*/ 0 w 80"/>
                  <a:gd name="T51" fmla="*/ 0 h 81"/>
                  <a:gd name="T52" fmla="*/ 0 w 80"/>
                  <a:gd name="T53" fmla="*/ 0 h 81"/>
                  <a:gd name="T54" fmla="*/ 0 w 80"/>
                  <a:gd name="T55" fmla="*/ 0 h 81"/>
                  <a:gd name="T56" fmla="*/ 0 w 80"/>
                  <a:gd name="T57" fmla="*/ 0 h 81"/>
                  <a:gd name="T58" fmla="*/ 0 w 80"/>
                  <a:gd name="T59" fmla="*/ 0 h 81"/>
                  <a:gd name="T60" fmla="*/ 0 w 80"/>
                  <a:gd name="T61" fmla="*/ 0 h 81"/>
                  <a:gd name="T62" fmla="*/ 0 w 80"/>
                  <a:gd name="T63" fmla="*/ 0 h 81"/>
                  <a:gd name="T64" fmla="*/ 0 w 80"/>
                  <a:gd name="T65" fmla="*/ 0 h 8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80"/>
                  <a:gd name="T100" fmla="*/ 0 h 81"/>
                  <a:gd name="T101" fmla="*/ 80 w 80"/>
                  <a:gd name="T102" fmla="*/ 81 h 81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80" h="81">
                    <a:moveTo>
                      <a:pt x="80" y="41"/>
                    </a:moveTo>
                    <a:lnTo>
                      <a:pt x="79" y="49"/>
                    </a:lnTo>
                    <a:lnTo>
                      <a:pt x="76" y="56"/>
                    </a:lnTo>
                    <a:lnTo>
                      <a:pt x="73" y="63"/>
                    </a:lnTo>
                    <a:lnTo>
                      <a:pt x="68" y="70"/>
                    </a:lnTo>
                    <a:lnTo>
                      <a:pt x="62" y="74"/>
                    </a:lnTo>
                    <a:lnTo>
                      <a:pt x="56" y="78"/>
                    </a:lnTo>
                    <a:lnTo>
                      <a:pt x="47" y="80"/>
                    </a:lnTo>
                    <a:lnTo>
                      <a:pt x="40" y="81"/>
                    </a:lnTo>
                    <a:lnTo>
                      <a:pt x="32" y="80"/>
                    </a:lnTo>
                    <a:lnTo>
                      <a:pt x="24" y="78"/>
                    </a:lnTo>
                    <a:lnTo>
                      <a:pt x="17" y="74"/>
                    </a:lnTo>
                    <a:lnTo>
                      <a:pt x="11" y="70"/>
                    </a:lnTo>
                    <a:lnTo>
                      <a:pt x="6" y="63"/>
                    </a:lnTo>
                    <a:lnTo>
                      <a:pt x="3" y="56"/>
                    </a:lnTo>
                    <a:lnTo>
                      <a:pt x="0" y="49"/>
                    </a:lnTo>
                    <a:lnTo>
                      <a:pt x="0" y="41"/>
                    </a:lnTo>
                    <a:lnTo>
                      <a:pt x="0" y="32"/>
                    </a:lnTo>
                    <a:lnTo>
                      <a:pt x="3" y="25"/>
                    </a:lnTo>
                    <a:lnTo>
                      <a:pt x="6" y="18"/>
                    </a:lnTo>
                    <a:lnTo>
                      <a:pt x="11" y="12"/>
                    </a:lnTo>
                    <a:lnTo>
                      <a:pt x="17" y="8"/>
                    </a:lnTo>
                    <a:lnTo>
                      <a:pt x="24" y="3"/>
                    </a:lnTo>
                    <a:lnTo>
                      <a:pt x="32" y="1"/>
                    </a:lnTo>
                    <a:lnTo>
                      <a:pt x="40" y="0"/>
                    </a:lnTo>
                    <a:lnTo>
                      <a:pt x="47" y="1"/>
                    </a:lnTo>
                    <a:lnTo>
                      <a:pt x="56" y="3"/>
                    </a:lnTo>
                    <a:lnTo>
                      <a:pt x="62" y="8"/>
                    </a:lnTo>
                    <a:lnTo>
                      <a:pt x="68" y="12"/>
                    </a:lnTo>
                    <a:lnTo>
                      <a:pt x="73" y="18"/>
                    </a:lnTo>
                    <a:lnTo>
                      <a:pt x="76" y="25"/>
                    </a:lnTo>
                    <a:lnTo>
                      <a:pt x="79" y="32"/>
                    </a:lnTo>
                    <a:lnTo>
                      <a:pt x="80" y="41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34" name="Freeform 153"/>
              <p:cNvSpPr>
                <a:spLocks/>
              </p:cNvSpPr>
              <p:nvPr/>
            </p:nvSpPr>
            <p:spPr bwMode="auto">
              <a:xfrm>
                <a:off x="3624" y="353"/>
                <a:ext cx="11" cy="11"/>
              </a:xfrm>
              <a:custGeom>
                <a:avLst/>
                <a:gdLst>
                  <a:gd name="T0" fmla="*/ 0 w 81"/>
                  <a:gd name="T1" fmla="*/ 0 h 81"/>
                  <a:gd name="T2" fmla="*/ 0 w 81"/>
                  <a:gd name="T3" fmla="*/ 0 h 81"/>
                  <a:gd name="T4" fmla="*/ 0 w 81"/>
                  <a:gd name="T5" fmla="*/ 0 h 81"/>
                  <a:gd name="T6" fmla="*/ 0 w 81"/>
                  <a:gd name="T7" fmla="*/ 0 h 81"/>
                  <a:gd name="T8" fmla="*/ 0 w 81"/>
                  <a:gd name="T9" fmla="*/ 0 h 81"/>
                  <a:gd name="T10" fmla="*/ 0 w 81"/>
                  <a:gd name="T11" fmla="*/ 0 h 81"/>
                  <a:gd name="T12" fmla="*/ 0 w 81"/>
                  <a:gd name="T13" fmla="*/ 0 h 81"/>
                  <a:gd name="T14" fmla="*/ 0 w 81"/>
                  <a:gd name="T15" fmla="*/ 0 h 81"/>
                  <a:gd name="T16" fmla="*/ 0 w 81"/>
                  <a:gd name="T17" fmla="*/ 0 h 81"/>
                  <a:gd name="T18" fmla="*/ 0 w 81"/>
                  <a:gd name="T19" fmla="*/ 0 h 81"/>
                  <a:gd name="T20" fmla="*/ 0 w 81"/>
                  <a:gd name="T21" fmla="*/ 0 h 81"/>
                  <a:gd name="T22" fmla="*/ 0 w 81"/>
                  <a:gd name="T23" fmla="*/ 0 h 81"/>
                  <a:gd name="T24" fmla="*/ 0 w 81"/>
                  <a:gd name="T25" fmla="*/ 0 h 81"/>
                  <a:gd name="T26" fmla="*/ 0 w 81"/>
                  <a:gd name="T27" fmla="*/ 0 h 81"/>
                  <a:gd name="T28" fmla="*/ 0 w 81"/>
                  <a:gd name="T29" fmla="*/ 0 h 81"/>
                  <a:gd name="T30" fmla="*/ 0 w 81"/>
                  <a:gd name="T31" fmla="*/ 0 h 81"/>
                  <a:gd name="T32" fmla="*/ 0 w 81"/>
                  <a:gd name="T33" fmla="*/ 0 h 81"/>
                  <a:gd name="T34" fmla="*/ 0 w 81"/>
                  <a:gd name="T35" fmla="*/ 0 h 81"/>
                  <a:gd name="T36" fmla="*/ 0 w 81"/>
                  <a:gd name="T37" fmla="*/ 0 h 81"/>
                  <a:gd name="T38" fmla="*/ 0 w 81"/>
                  <a:gd name="T39" fmla="*/ 0 h 81"/>
                  <a:gd name="T40" fmla="*/ 0 w 81"/>
                  <a:gd name="T41" fmla="*/ 0 h 81"/>
                  <a:gd name="T42" fmla="*/ 0 w 81"/>
                  <a:gd name="T43" fmla="*/ 0 h 81"/>
                  <a:gd name="T44" fmla="*/ 0 w 81"/>
                  <a:gd name="T45" fmla="*/ 0 h 81"/>
                  <a:gd name="T46" fmla="*/ 0 w 81"/>
                  <a:gd name="T47" fmla="*/ 0 h 81"/>
                  <a:gd name="T48" fmla="*/ 0 w 81"/>
                  <a:gd name="T49" fmla="*/ 0 h 81"/>
                  <a:gd name="T50" fmla="*/ 0 w 81"/>
                  <a:gd name="T51" fmla="*/ 0 h 81"/>
                  <a:gd name="T52" fmla="*/ 0 w 81"/>
                  <a:gd name="T53" fmla="*/ 0 h 81"/>
                  <a:gd name="T54" fmla="*/ 0 w 81"/>
                  <a:gd name="T55" fmla="*/ 0 h 81"/>
                  <a:gd name="T56" fmla="*/ 0 w 81"/>
                  <a:gd name="T57" fmla="*/ 0 h 81"/>
                  <a:gd name="T58" fmla="*/ 0 w 81"/>
                  <a:gd name="T59" fmla="*/ 0 h 81"/>
                  <a:gd name="T60" fmla="*/ 0 w 81"/>
                  <a:gd name="T61" fmla="*/ 0 h 81"/>
                  <a:gd name="T62" fmla="*/ 0 w 81"/>
                  <a:gd name="T63" fmla="*/ 0 h 81"/>
                  <a:gd name="T64" fmla="*/ 0 w 81"/>
                  <a:gd name="T65" fmla="*/ 0 h 8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81"/>
                  <a:gd name="T100" fmla="*/ 0 h 81"/>
                  <a:gd name="T101" fmla="*/ 81 w 81"/>
                  <a:gd name="T102" fmla="*/ 81 h 81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81" h="81">
                    <a:moveTo>
                      <a:pt x="81" y="40"/>
                    </a:moveTo>
                    <a:lnTo>
                      <a:pt x="80" y="49"/>
                    </a:lnTo>
                    <a:lnTo>
                      <a:pt x="78" y="56"/>
                    </a:lnTo>
                    <a:lnTo>
                      <a:pt x="74" y="63"/>
                    </a:lnTo>
                    <a:lnTo>
                      <a:pt x="69" y="68"/>
                    </a:lnTo>
                    <a:lnTo>
                      <a:pt x="63" y="73"/>
                    </a:lnTo>
                    <a:lnTo>
                      <a:pt x="56" y="78"/>
                    </a:lnTo>
                    <a:lnTo>
                      <a:pt x="49" y="80"/>
                    </a:lnTo>
                    <a:lnTo>
                      <a:pt x="40" y="81"/>
                    </a:lnTo>
                    <a:lnTo>
                      <a:pt x="32" y="80"/>
                    </a:lnTo>
                    <a:lnTo>
                      <a:pt x="25" y="78"/>
                    </a:lnTo>
                    <a:lnTo>
                      <a:pt x="18" y="73"/>
                    </a:lnTo>
                    <a:lnTo>
                      <a:pt x="13" y="68"/>
                    </a:lnTo>
                    <a:lnTo>
                      <a:pt x="7" y="63"/>
                    </a:lnTo>
                    <a:lnTo>
                      <a:pt x="3" y="56"/>
                    </a:lnTo>
                    <a:lnTo>
                      <a:pt x="1" y="49"/>
                    </a:lnTo>
                    <a:lnTo>
                      <a:pt x="0" y="40"/>
                    </a:lnTo>
                    <a:lnTo>
                      <a:pt x="1" y="32"/>
                    </a:lnTo>
                    <a:lnTo>
                      <a:pt x="3" y="25"/>
                    </a:lnTo>
                    <a:lnTo>
                      <a:pt x="7" y="18"/>
                    </a:lnTo>
                    <a:lnTo>
                      <a:pt x="13" y="11"/>
                    </a:lnTo>
                    <a:lnTo>
                      <a:pt x="18" y="6"/>
                    </a:lnTo>
                    <a:lnTo>
                      <a:pt x="25" y="3"/>
                    </a:lnTo>
                    <a:lnTo>
                      <a:pt x="32" y="0"/>
                    </a:lnTo>
                    <a:lnTo>
                      <a:pt x="40" y="0"/>
                    </a:lnTo>
                    <a:lnTo>
                      <a:pt x="49" y="0"/>
                    </a:lnTo>
                    <a:lnTo>
                      <a:pt x="56" y="3"/>
                    </a:lnTo>
                    <a:lnTo>
                      <a:pt x="63" y="6"/>
                    </a:lnTo>
                    <a:lnTo>
                      <a:pt x="69" y="11"/>
                    </a:lnTo>
                    <a:lnTo>
                      <a:pt x="74" y="18"/>
                    </a:lnTo>
                    <a:lnTo>
                      <a:pt x="78" y="25"/>
                    </a:lnTo>
                    <a:lnTo>
                      <a:pt x="80" y="32"/>
                    </a:lnTo>
                    <a:lnTo>
                      <a:pt x="81" y="40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35" name="Freeform 154"/>
              <p:cNvSpPr>
                <a:spLocks/>
              </p:cNvSpPr>
              <p:nvPr/>
            </p:nvSpPr>
            <p:spPr bwMode="auto">
              <a:xfrm>
                <a:off x="3666" y="337"/>
                <a:ext cx="12" cy="11"/>
              </a:xfrm>
              <a:custGeom>
                <a:avLst/>
                <a:gdLst>
                  <a:gd name="T0" fmla="*/ 0 w 80"/>
                  <a:gd name="T1" fmla="*/ 0 h 81"/>
                  <a:gd name="T2" fmla="*/ 0 w 80"/>
                  <a:gd name="T3" fmla="*/ 0 h 81"/>
                  <a:gd name="T4" fmla="*/ 0 w 80"/>
                  <a:gd name="T5" fmla="*/ 0 h 81"/>
                  <a:gd name="T6" fmla="*/ 0 w 80"/>
                  <a:gd name="T7" fmla="*/ 0 h 81"/>
                  <a:gd name="T8" fmla="*/ 0 w 80"/>
                  <a:gd name="T9" fmla="*/ 0 h 81"/>
                  <a:gd name="T10" fmla="*/ 0 w 80"/>
                  <a:gd name="T11" fmla="*/ 0 h 81"/>
                  <a:gd name="T12" fmla="*/ 0 w 80"/>
                  <a:gd name="T13" fmla="*/ 0 h 81"/>
                  <a:gd name="T14" fmla="*/ 0 w 80"/>
                  <a:gd name="T15" fmla="*/ 0 h 81"/>
                  <a:gd name="T16" fmla="*/ 0 w 80"/>
                  <a:gd name="T17" fmla="*/ 0 h 81"/>
                  <a:gd name="T18" fmla="*/ 0 w 80"/>
                  <a:gd name="T19" fmla="*/ 0 h 81"/>
                  <a:gd name="T20" fmla="*/ 0 w 80"/>
                  <a:gd name="T21" fmla="*/ 0 h 81"/>
                  <a:gd name="T22" fmla="*/ 0 w 80"/>
                  <a:gd name="T23" fmla="*/ 0 h 81"/>
                  <a:gd name="T24" fmla="*/ 0 w 80"/>
                  <a:gd name="T25" fmla="*/ 0 h 81"/>
                  <a:gd name="T26" fmla="*/ 0 w 80"/>
                  <a:gd name="T27" fmla="*/ 0 h 81"/>
                  <a:gd name="T28" fmla="*/ 0 w 80"/>
                  <a:gd name="T29" fmla="*/ 0 h 81"/>
                  <a:gd name="T30" fmla="*/ 0 w 80"/>
                  <a:gd name="T31" fmla="*/ 0 h 81"/>
                  <a:gd name="T32" fmla="*/ 0 w 80"/>
                  <a:gd name="T33" fmla="*/ 0 h 81"/>
                  <a:gd name="T34" fmla="*/ 0 w 80"/>
                  <a:gd name="T35" fmla="*/ 0 h 81"/>
                  <a:gd name="T36" fmla="*/ 0 w 80"/>
                  <a:gd name="T37" fmla="*/ 0 h 81"/>
                  <a:gd name="T38" fmla="*/ 0 w 80"/>
                  <a:gd name="T39" fmla="*/ 0 h 81"/>
                  <a:gd name="T40" fmla="*/ 0 w 80"/>
                  <a:gd name="T41" fmla="*/ 0 h 81"/>
                  <a:gd name="T42" fmla="*/ 0 w 80"/>
                  <a:gd name="T43" fmla="*/ 0 h 81"/>
                  <a:gd name="T44" fmla="*/ 0 w 80"/>
                  <a:gd name="T45" fmla="*/ 0 h 81"/>
                  <a:gd name="T46" fmla="*/ 0 w 80"/>
                  <a:gd name="T47" fmla="*/ 0 h 81"/>
                  <a:gd name="T48" fmla="*/ 0 w 80"/>
                  <a:gd name="T49" fmla="*/ 0 h 81"/>
                  <a:gd name="T50" fmla="*/ 0 w 80"/>
                  <a:gd name="T51" fmla="*/ 0 h 81"/>
                  <a:gd name="T52" fmla="*/ 0 w 80"/>
                  <a:gd name="T53" fmla="*/ 0 h 81"/>
                  <a:gd name="T54" fmla="*/ 0 w 80"/>
                  <a:gd name="T55" fmla="*/ 0 h 81"/>
                  <a:gd name="T56" fmla="*/ 0 w 80"/>
                  <a:gd name="T57" fmla="*/ 0 h 81"/>
                  <a:gd name="T58" fmla="*/ 0 w 80"/>
                  <a:gd name="T59" fmla="*/ 0 h 81"/>
                  <a:gd name="T60" fmla="*/ 0 w 80"/>
                  <a:gd name="T61" fmla="*/ 0 h 81"/>
                  <a:gd name="T62" fmla="*/ 0 w 80"/>
                  <a:gd name="T63" fmla="*/ 0 h 81"/>
                  <a:gd name="T64" fmla="*/ 0 w 80"/>
                  <a:gd name="T65" fmla="*/ 0 h 8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80"/>
                  <a:gd name="T100" fmla="*/ 0 h 81"/>
                  <a:gd name="T101" fmla="*/ 80 w 80"/>
                  <a:gd name="T102" fmla="*/ 81 h 81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80" h="81">
                    <a:moveTo>
                      <a:pt x="80" y="41"/>
                    </a:moveTo>
                    <a:lnTo>
                      <a:pt x="79" y="49"/>
                    </a:lnTo>
                    <a:lnTo>
                      <a:pt x="77" y="56"/>
                    </a:lnTo>
                    <a:lnTo>
                      <a:pt x="74" y="63"/>
                    </a:lnTo>
                    <a:lnTo>
                      <a:pt x="69" y="69"/>
                    </a:lnTo>
                    <a:lnTo>
                      <a:pt x="63" y="74"/>
                    </a:lnTo>
                    <a:lnTo>
                      <a:pt x="56" y="78"/>
                    </a:lnTo>
                    <a:lnTo>
                      <a:pt x="48" y="80"/>
                    </a:lnTo>
                    <a:lnTo>
                      <a:pt x="40" y="81"/>
                    </a:lnTo>
                    <a:lnTo>
                      <a:pt x="32" y="80"/>
                    </a:lnTo>
                    <a:lnTo>
                      <a:pt x="25" y="78"/>
                    </a:lnTo>
                    <a:lnTo>
                      <a:pt x="17" y="74"/>
                    </a:lnTo>
                    <a:lnTo>
                      <a:pt x="12" y="69"/>
                    </a:lnTo>
                    <a:lnTo>
                      <a:pt x="7" y="63"/>
                    </a:lnTo>
                    <a:lnTo>
                      <a:pt x="3" y="56"/>
                    </a:lnTo>
                    <a:lnTo>
                      <a:pt x="1" y="49"/>
                    </a:lnTo>
                    <a:lnTo>
                      <a:pt x="0" y="41"/>
                    </a:lnTo>
                    <a:lnTo>
                      <a:pt x="1" y="32"/>
                    </a:lnTo>
                    <a:lnTo>
                      <a:pt x="3" y="25"/>
                    </a:lnTo>
                    <a:lnTo>
                      <a:pt x="7" y="18"/>
                    </a:lnTo>
                    <a:lnTo>
                      <a:pt x="12" y="12"/>
                    </a:lnTo>
                    <a:lnTo>
                      <a:pt x="17" y="6"/>
                    </a:lnTo>
                    <a:lnTo>
                      <a:pt x="25" y="3"/>
                    </a:lnTo>
                    <a:lnTo>
                      <a:pt x="32" y="1"/>
                    </a:lnTo>
                    <a:lnTo>
                      <a:pt x="40" y="0"/>
                    </a:lnTo>
                    <a:lnTo>
                      <a:pt x="48" y="1"/>
                    </a:lnTo>
                    <a:lnTo>
                      <a:pt x="56" y="3"/>
                    </a:lnTo>
                    <a:lnTo>
                      <a:pt x="63" y="6"/>
                    </a:lnTo>
                    <a:lnTo>
                      <a:pt x="69" y="12"/>
                    </a:lnTo>
                    <a:lnTo>
                      <a:pt x="74" y="18"/>
                    </a:lnTo>
                    <a:lnTo>
                      <a:pt x="77" y="25"/>
                    </a:lnTo>
                    <a:lnTo>
                      <a:pt x="79" y="32"/>
                    </a:lnTo>
                    <a:lnTo>
                      <a:pt x="80" y="41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36" name="Freeform 155"/>
              <p:cNvSpPr>
                <a:spLocks/>
              </p:cNvSpPr>
              <p:nvPr/>
            </p:nvSpPr>
            <p:spPr bwMode="auto">
              <a:xfrm>
                <a:off x="3699" y="313"/>
                <a:ext cx="11" cy="11"/>
              </a:xfrm>
              <a:custGeom>
                <a:avLst/>
                <a:gdLst>
                  <a:gd name="T0" fmla="*/ 0 w 81"/>
                  <a:gd name="T1" fmla="*/ 0 h 80"/>
                  <a:gd name="T2" fmla="*/ 0 w 81"/>
                  <a:gd name="T3" fmla="*/ 0 h 80"/>
                  <a:gd name="T4" fmla="*/ 0 w 81"/>
                  <a:gd name="T5" fmla="*/ 0 h 80"/>
                  <a:gd name="T6" fmla="*/ 0 w 81"/>
                  <a:gd name="T7" fmla="*/ 0 h 80"/>
                  <a:gd name="T8" fmla="*/ 0 w 81"/>
                  <a:gd name="T9" fmla="*/ 0 h 80"/>
                  <a:gd name="T10" fmla="*/ 0 w 81"/>
                  <a:gd name="T11" fmla="*/ 0 h 80"/>
                  <a:gd name="T12" fmla="*/ 0 w 81"/>
                  <a:gd name="T13" fmla="*/ 0 h 80"/>
                  <a:gd name="T14" fmla="*/ 0 w 81"/>
                  <a:gd name="T15" fmla="*/ 0 h 80"/>
                  <a:gd name="T16" fmla="*/ 0 w 81"/>
                  <a:gd name="T17" fmla="*/ 0 h 80"/>
                  <a:gd name="T18" fmla="*/ 0 w 81"/>
                  <a:gd name="T19" fmla="*/ 0 h 80"/>
                  <a:gd name="T20" fmla="*/ 0 w 81"/>
                  <a:gd name="T21" fmla="*/ 0 h 80"/>
                  <a:gd name="T22" fmla="*/ 0 w 81"/>
                  <a:gd name="T23" fmla="*/ 0 h 80"/>
                  <a:gd name="T24" fmla="*/ 0 w 81"/>
                  <a:gd name="T25" fmla="*/ 0 h 80"/>
                  <a:gd name="T26" fmla="*/ 0 w 81"/>
                  <a:gd name="T27" fmla="*/ 0 h 80"/>
                  <a:gd name="T28" fmla="*/ 0 w 81"/>
                  <a:gd name="T29" fmla="*/ 0 h 80"/>
                  <a:gd name="T30" fmla="*/ 0 w 81"/>
                  <a:gd name="T31" fmla="*/ 0 h 80"/>
                  <a:gd name="T32" fmla="*/ 0 w 81"/>
                  <a:gd name="T33" fmla="*/ 0 h 80"/>
                  <a:gd name="T34" fmla="*/ 0 w 81"/>
                  <a:gd name="T35" fmla="*/ 0 h 80"/>
                  <a:gd name="T36" fmla="*/ 0 w 81"/>
                  <a:gd name="T37" fmla="*/ 0 h 80"/>
                  <a:gd name="T38" fmla="*/ 0 w 81"/>
                  <a:gd name="T39" fmla="*/ 0 h 80"/>
                  <a:gd name="T40" fmla="*/ 0 w 81"/>
                  <a:gd name="T41" fmla="*/ 0 h 80"/>
                  <a:gd name="T42" fmla="*/ 0 w 81"/>
                  <a:gd name="T43" fmla="*/ 0 h 80"/>
                  <a:gd name="T44" fmla="*/ 0 w 81"/>
                  <a:gd name="T45" fmla="*/ 0 h 80"/>
                  <a:gd name="T46" fmla="*/ 0 w 81"/>
                  <a:gd name="T47" fmla="*/ 0 h 80"/>
                  <a:gd name="T48" fmla="*/ 0 w 81"/>
                  <a:gd name="T49" fmla="*/ 0 h 80"/>
                  <a:gd name="T50" fmla="*/ 0 w 81"/>
                  <a:gd name="T51" fmla="*/ 0 h 80"/>
                  <a:gd name="T52" fmla="*/ 0 w 81"/>
                  <a:gd name="T53" fmla="*/ 0 h 80"/>
                  <a:gd name="T54" fmla="*/ 0 w 81"/>
                  <a:gd name="T55" fmla="*/ 0 h 80"/>
                  <a:gd name="T56" fmla="*/ 0 w 81"/>
                  <a:gd name="T57" fmla="*/ 0 h 80"/>
                  <a:gd name="T58" fmla="*/ 0 w 81"/>
                  <a:gd name="T59" fmla="*/ 0 h 80"/>
                  <a:gd name="T60" fmla="*/ 0 w 81"/>
                  <a:gd name="T61" fmla="*/ 0 h 80"/>
                  <a:gd name="T62" fmla="*/ 0 w 81"/>
                  <a:gd name="T63" fmla="*/ 0 h 80"/>
                  <a:gd name="T64" fmla="*/ 0 w 81"/>
                  <a:gd name="T65" fmla="*/ 0 h 8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81"/>
                  <a:gd name="T100" fmla="*/ 0 h 80"/>
                  <a:gd name="T101" fmla="*/ 81 w 81"/>
                  <a:gd name="T102" fmla="*/ 80 h 80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81" h="80">
                    <a:moveTo>
                      <a:pt x="81" y="40"/>
                    </a:moveTo>
                    <a:lnTo>
                      <a:pt x="81" y="48"/>
                    </a:lnTo>
                    <a:lnTo>
                      <a:pt x="78" y="56"/>
                    </a:lnTo>
                    <a:lnTo>
                      <a:pt x="75" y="63"/>
                    </a:lnTo>
                    <a:lnTo>
                      <a:pt x="69" y="69"/>
                    </a:lnTo>
                    <a:lnTo>
                      <a:pt x="63" y="74"/>
                    </a:lnTo>
                    <a:lnTo>
                      <a:pt x="56" y="77"/>
                    </a:lnTo>
                    <a:lnTo>
                      <a:pt x="49" y="79"/>
                    </a:lnTo>
                    <a:lnTo>
                      <a:pt x="40" y="80"/>
                    </a:lnTo>
                    <a:lnTo>
                      <a:pt x="32" y="79"/>
                    </a:lnTo>
                    <a:lnTo>
                      <a:pt x="25" y="77"/>
                    </a:lnTo>
                    <a:lnTo>
                      <a:pt x="19" y="74"/>
                    </a:lnTo>
                    <a:lnTo>
                      <a:pt x="12" y="69"/>
                    </a:lnTo>
                    <a:lnTo>
                      <a:pt x="7" y="63"/>
                    </a:lnTo>
                    <a:lnTo>
                      <a:pt x="3" y="56"/>
                    </a:lnTo>
                    <a:lnTo>
                      <a:pt x="1" y="48"/>
                    </a:lnTo>
                    <a:lnTo>
                      <a:pt x="0" y="40"/>
                    </a:lnTo>
                    <a:lnTo>
                      <a:pt x="1" y="32"/>
                    </a:lnTo>
                    <a:lnTo>
                      <a:pt x="3" y="25"/>
                    </a:lnTo>
                    <a:lnTo>
                      <a:pt x="7" y="17"/>
                    </a:lnTo>
                    <a:lnTo>
                      <a:pt x="12" y="12"/>
                    </a:lnTo>
                    <a:lnTo>
                      <a:pt x="19" y="7"/>
                    </a:lnTo>
                    <a:lnTo>
                      <a:pt x="25" y="3"/>
                    </a:lnTo>
                    <a:lnTo>
                      <a:pt x="32" y="1"/>
                    </a:lnTo>
                    <a:lnTo>
                      <a:pt x="40" y="0"/>
                    </a:lnTo>
                    <a:lnTo>
                      <a:pt x="49" y="1"/>
                    </a:lnTo>
                    <a:lnTo>
                      <a:pt x="56" y="3"/>
                    </a:lnTo>
                    <a:lnTo>
                      <a:pt x="63" y="7"/>
                    </a:lnTo>
                    <a:lnTo>
                      <a:pt x="69" y="12"/>
                    </a:lnTo>
                    <a:lnTo>
                      <a:pt x="75" y="17"/>
                    </a:lnTo>
                    <a:lnTo>
                      <a:pt x="78" y="25"/>
                    </a:lnTo>
                    <a:lnTo>
                      <a:pt x="81" y="32"/>
                    </a:lnTo>
                    <a:lnTo>
                      <a:pt x="81" y="40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37" name="Freeform 156"/>
              <p:cNvSpPr>
                <a:spLocks/>
              </p:cNvSpPr>
              <p:nvPr/>
            </p:nvSpPr>
            <p:spPr bwMode="auto">
              <a:xfrm>
                <a:off x="3511" y="354"/>
                <a:ext cx="11" cy="11"/>
              </a:xfrm>
              <a:custGeom>
                <a:avLst/>
                <a:gdLst>
                  <a:gd name="T0" fmla="*/ 0 w 80"/>
                  <a:gd name="T1" fmla="*/ 0 h 81"/>
                  <a:gd name="T2" fmla="*/ 0 w 80"/>
                  <a:gd name="T3" fmla="*/ 0 h 81"/>
                  <a:gd name="T4" fmla="*/ 0 w 80"/>
                  <a:gd name="T5" fmla="*/ 0 h 81"/>
                  <a:gd name="T6" fmla="*/ 0 w 80"/>
                  <a:gd name="T7" fmla="*/ 0 h 81"/>
                  <a:gd name="T8" fmla="*/ 0 w 80"/>
                  <a:gd name="T9" fmla="*/ 0 h 81"/>
                  <a:gd name="T10" fmla="*/ 0 w 80"/>
                  <a:gd name="T11" fmla="*/ 0 h 81"/>
                  <a:gd name="T12" fmla="*/ 0 w 80"/>
                  <a:gd name="T13" fmla="*/ 0 h 81"/>
                  <a:gd name="T14" fmla="*/ 0 w 80"/>
                  <a:gd name="T15" fmla="*/ 0 h 81"/>
                  <a:gd name="T16" fmla="*/ 0 w 80"/>
                  <a:gd name="T17" fmla="*/ 0 h 81"/>
                  <a:gd name="T18" fmla="*/ 0 w 80"/>
                  <a:gd name="T19" fmla="*/ 0 h 81"/>
                  <a:gd name="T20" fmla="*/ 0 w 80"/>
                  <a:gd name="T21" fmla="*/ 0 h 81"/>
                  <a:gd name="T22" fmla="*/ 0 w 80"/>
                  <a:gd name="T23" fmla="*/ 0 h 81"/>
                  <a:gd name="T24" fmla="*/ 0 w 80"/>
                  <a:gd name="T25" fmla="*/ 0 h 81"/>
                  <a:gd name="T26" fmla="*/ 0 w 80"/>
                  <a:gd name="T27" fmla="*/ 0 h 81"/>
                  <a:gd name="T28" fmla="*/ 0 w 80"/>
                  <a:gd name="T29" fmla="*/ 0 h 81"/>
                  <a:gd name="T30" fmla="*/ 0 w 80"/>
                  <a:gd name="T31" fmla="*/ 0 h 81"/>
                  <a:gd name="T32" fmla="*/ 0 w 80"/>
                  <a:gd name="T33" fmla="*/ 0 h 81"/>
                  <a:gd name="T34" fmla="*/ 0 w 80"/>
                  <a:gd name="T35" fmla="*/ 0 h 81"/>
                  <a:gd name="T36" fmla="*/ 0 w 80"/>
                  <a:gd name="T37" fmla="*/ 0 h 81"/>
                  <a:gd name="T38" fmla="*/ 0 w 80"/>
                  <a:gd name="T39" fmla="*/ 0 h 81"/>
                  <a:gd name="T40" fmla="*/ 0 w 80"/>
                  <a:gd name="T41" fmla="*/ 0 h 81"/>
                  <a:gd name="T42" fmla="*/ 0 w 80"/>
                  <a:gd name="T43" fmla="*/ 0 h 81"/>
                  <a:gd name="T44" fmla="*/ 0 w 80"/>
                  <a:gd name="T45" fmla="*/ 0 h 81"/>
                  <a:gd name="T46" fmla="*/ 0 w 80"/>
                  <a:gd name="T47" fmla="*/ 0 h 81"/>
                  <a:gd name="T48" fmla="*/ 0 w 80"/>
                  <a:gd name="T49" fmla="*/ 0 h 81"/>
                  <a:gd name="T50" fmla="*/ 0 w 80"/>
                  <a:gd name="T51" fmla="*/ 0 h 81"/>
                  <a:gd name="T52" fmla="*/ 0 w 80"/>
                  <a:gd name="T53" fmla="*/ 0 h 81"/>
                  <a:gd name="T54" fmla="*/ 0 w 80"/>
                  <a:gd name="T55" fmla="*/ 0 h 81"/>
                  <a:gd name="T56" fmla="*/ 0 w 80"/>
                  <a:gd name="T57" fmla="*/ 0 h 81"/>
                  <a:gd name="T58" fmla="*/ 0 w 80"/>
                  <a:gd name="T59" fmla="*/ 0 h 81"/>
                  <a:gd name="T60" fmla="*/ 0 w 80"/>
                  <a:gd name="T61" fmla="*/ 0 h 81"/>
                  <a:gd name="T62" fmla="*/ 0 w 80"/>
                  <a:gd name="T63" fmla="*/ 0 h 81"/>
                  <a:gd name="T64" fmla="*/ 0 w 80"/>
                  <a:gd name="T65" fmla="*/ 0 h 8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80"/>
                  <a:gd name="T100" fmla="*/ 0 h 81"/>
                  <a:gd name="T101" fmla="*/ 80 w 80"/>
                  <a:gd name="T102" fmla="*/ 81 h 81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80" h="81">
                    <a:moveTo>
                      <a:pt x="80" y="41"/>
                    </a:moveTo>
                    <a:lnTo>
                      <a:pt x="79" y="49"/>
                    </a:lnTo>
                    <a:lnTo>
                      <a:pt x="77" y="56"/>
                    </a:lnTo>
                    <a:lnTo>
                      <a:pt x="73" y="63"/>
                    </a:lnTo>
                    <a:lnTo>
                      <a:pt x="68" y="69"/>
                    </a:lnTo>
                    <a:lnTo>
                      <a:pt x="63" y="75"/>
                    </a:lnTo>
                    <a:lnTo>
                      <a:pt x="55" y="78"/>
                    </a:lnTo>
                    <a:lnTo>
                      <a:pt x="48" y="80"/>
                    </a:lnTo>
                    <a:lnTo>
                      <a:pt x="40" y="81"/>
                    </a:lnTo>
                    <a:lnTo>
                      <a:pt x="32" y="80"/>
                    </a:lnTo>
                    <a:lnTo>
                      <a:pt x="24" y="78"/>
                    </a:lnTo>
                    <a:lnTo>
                      <a:pt x="17" y="75"/>
                    </a:lnTo>
                    <a:lnTo>
                      <a:pt x="11" y="69"/>
                    </a:lnTo>
                    <a:lnTo>
                      <a:pt x="6" y="63"/>
                    </a:lnTo>
                    <a:lnTo>
                      <a:pt x="3" y="56"/>
                    </a:lnTo>
                    <a:lnTo>
                      <a:pt x="1" y="49"/>
                    </a:lnTo>
                    <a:lnTo>
                      <a:pt x="0" y="41"/>
                    </a:lnTo>
                    <a:lnTo>
                      <a:pt x="1" y="32"/>
                    </a:lnTo>
                    <a:lnTo>
                      <a:pt x="3" y="25"/>
                    </a:lnTo>
                    <a:lnTo>
                      <a:pt x="6" y="19"/>
                    </a:lnTo>
                    <a:lnTo>
                      <a:pt x="11" y="13"/>
                    </a:lnTo>
                    <a:lnTo>
                      <a:pt x="17" y="7"/>
                    </a:lnTo>
                    <a:lnTo>
                      <a:pt x="24" y="3"/>
                    </a:lnTo>
                    <a:lnTo>
                      <a:pt x="32" y="1"/>
                    </a:lnTo>
                    <a:lnTo>
                      <a:pt x="40" y="0"/>
                    </a:lnTo>
                    <a:lnTo>
                      <a:pt x="48" y="1"/>
                    </a:lnTo>
                    <a:lnTo>
                      <a:pt x="55" y="3"/>
                    </a:lnTo>
                    <a:lnTo>
                      <a:pt x="63" y="7"/>
                    </a:lnTo>
                    <a:lnTo>
                      <a:pt x="68" y="13"/>
                    </a:lnTo>
                    <a:lnTo>
                      <a:pt x="73" y="19"/>
                    </a:lnTo>
                    <a:lnTo>
                      <a:pt x="77" y="25"/>
                    </a:lnTo>
                    <a:lnTo>
                      <a:pt x="79" y="32"/>
                    </a:lnTo>
                    <a:lnTo>
                      <a:pt x="80" y="41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38" name="Freeform 157"/>
              <p:cNvSpPr>
                <a:spLocks/>
              </p:cNvSpPr>
              <p:nvPr/>
            </p:nvSpPr>
            <p:spPr bwMode="auto">
              <a:xfrm>
                <a:off x="3464" y="341"/>
                <a:ext cx="12" cy="11"/>
              </a:xfrm>
              <a:custGeom>
                <a:avLst/>
                <a:gdLst>
                  <a:gd name="T0" fmla="*/ 0 w 81"/>
                  <a:gd name="T1" fmla="*/ 0 h 81"/>
                  <a:gd name="T2" fmla="*/ 0 w 81"/>
                  <a:gd name="T3" fmla="*/ 0 h 81"/>
                  <a:gd name="T4" fmla="*/ 0 w 81"/>
                  <a:gd name="T5" fmla="*/ 0 h 81"/>
                  <a:gd name="T6" fmla="*/ 0 w 81"/>
                  <a:gd name="T7" fmla="*/ 0 h 81"/>
                  <a:gd name="T8" fmla="*/ 0 w 81"/>
                  <a:gd name="T9" fmla="*/ 0 h 81"/>
                  <a:gd name="T10" fmla="*/ 0 w 81"/>
                  <a:gd name="T11" fmla="*/ 0 h 81"/>
                  <a:gd name="T12" fmla="*/ 0 w 81"/>
                  <a:gd name="T13" fmla="*/ 0 h 81"/>
                  <a:gd name="T14" fmla="*/ 0 w 81"/>
                  <a:gd name="T15" fmla="*/ 0 h 81"/>
                  <a:gd name="T16" fmla="*/ 0 w 81"/>
                  <a:gd name="T17" fmla="*/ 0 h 81"/>
                  <a:gd name="T18" fmla="*/ 0 w 81"/>
                  <a:gd name="T19" fmla="*/ 0 h 81"/>
                  <a:gd name="T20" fmla="*/ 0 w 81"/>
                  <a:gd name="T21" fmla="*/ 0 h 81"/>
                  <a:gd name="T22" fmla="*/ 0 w 81"/>
                  <a:gd name="T23" fmla="*/ 0 h 81"/>
                  <a:gd name="T24" fmla="*/ 0 w 81"/>
                  <a:gd name="T25" fmla="*/ 0 h 81"/>
                  <a:gd name="T26" fmla="*/ 0 w 81"/>
                  <a:gd name="T27" fmla="*/ 0 h 81"/>
                  <a:gd name="T28" fmla="*/ 0 w 81"/>
                  <a:gd name="T29" fmla="*/ 0 h 81"/>
                  <a:gd name="T30" fmla="*/ 0 w 81"/>
                  <a:gd name="T31" fmla="*/ 0 h 81"/>
                  <a:gd name="T32" fmla="*/ 0 w 81"/>
                  <a:gd name="T33" fmla="*/ 0 h 81"/>
                  <a:gd name="T34" fmla="*/ 0 w 81"/>
                  <a:gd name="T35" fmla="*/ 0 h 81"/>
                  <a:gd name="T36" fmla="*/ 0 w 81"/>
                  <a:gd name="T37" fmla="*/ 0 h 81"/>
                  <a:gd name="T38" fmla="*/ 0 w 81"/>
                  <a:gd name="T39" fmla="*/ 0 h 81"/>
                  <a:gd name="T40" fmla="*/ 0 w 81"/>
                  <a:gd name="T41" fmla="*/ 0 h 81"/>
                  <a:gd name="T42" fmla="*/ 0 w 81"/>
                  <a:gd name="T43" fmla="*/ 0 h 81"/>
                  <a:gd name="T44" fmla="*/ 0 w 81"/>
                  <a:gd name="T45" fmla="*/ 0 h 81"/>
                  <a:gd name="T46" fmla="*/ 0 w 81"/>
                  <a:gd name="T47" fmla="*/ 0 h 81"/>
                  <a:gd name="T48" fmla="*/ 0 w 81"/>
                  <a:gd name="T49" fmla="*/ 0 h 81"/>
                  <a:gd name="T50" fmla="*/ 0 w 81"/>
                  <a:gd name="T51" fmla="*/ 0 h 81"/>
                  <a:gd name="T52" fmla="*/ 0 w 81"/>
                  <a:gd name="T53" fmla="*/ 0 h 81"/>
                  <a:gd name="T54" fmla="*/ 0 w 81"/>
                  <a:gd name="T55" fmla="*/ 0 h 81"/>
                  <a:gd name="T56" fmla="*/ 0 w 81"/>
                  <a:gd name="T57" fmla="*/ 0 h 81"/>
                  <a:gd name="T58" fmla="*/ 0 w 81"/>
                  <a:gd name="T59" fmla="*/ 0 h 81"/>
                  <a:gd name="T60" fmla="*/ 0 w 81"/>
                  <a:gd name="T61" fmla="*/ 0 h 81"/>
                  <a:gd name="T62" fmla="*/ 0 w 81"/>
                  <a:gd name="T63" fmla="*/ 0 h 81"/>
                  <a:gd name="T64" fmla="*/ 0 w 81"/>
                  <a:gd name="T65" fmla="*/ 0 h 8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81"/>
                  <a:gd name="T100" fmla="*/ 0 h 81"/>
                  <a:gd name="T101" fmla="*/ 81 w 81"/>
                  <a:gd name="T102" fmla="*/ 81 h 81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81" h="81">
                    <a:moveTo>
                      <a:pt x="81" y="41"/>
                    </a:moveTo>
                    <a:lnTo>
                      <a:pt x="80" y="49"/>
                    </a:lnTo>
                    <a:lnTo>
                      <a:pt x="78" y="56"/>
                    </a:lnTo>
                    <a:lnTo>
                      <a:pt x="73" y="63"/>
                    </a:lnTo>
                    <a:lnTo>
                      <a:pt x="69" y="69"/>
                    </a:lnTo>
                    <a:lnTo>
                      <a:pt x="63" y="74"/>
                    </a:lnTo>
                    <a:lnTo>
                      <a:pt x="56" y="78"/>
                    </a:lnTo>
                    <a:lnTo>
                      <a:pt x="49" y="80"/>
                    </a:lnTo>
                    <a:lnTo>
                      <a:pt x="40" y="81"/>
                    </a:lnTo>
                    <a:lnTo>
                      <a:pt x="32" y="80"/>
                    </a:lnTo>
                    <a:lnTo>
                      <a:pt x="25" y="78"/>
                    </a:lnTo>
                    <a:lnTo>
                      <a:pt x="18" y="74"/>
                    </a:lnTo>
                    <a:lnTo>
                      <a:pt x="12" y="69"/>
                    </a:lnTo>
                    <a:lnTo>
                      <a:pt x="7" y="63"/>
                    </a:lnTo>
                    <a:lnTo>
                      <a:pt x="3" y="56"/>
                    </a:lnTo>
                    <a:lnTo>
                      <a:pt x="1" y="49"/>
                    </a:lnTo>
                    <a:lnTo>
                      <a:pt x="0" y="41"/>
                    </a:lnTo>
                    <a:lnTo>
                      <a:pt x="1" y="32"/>
                    </a:lnTo>
                    <a:lnTo>
                      <a:pt x="3" y="25"/>
                    </a:lnTo>
                    <a:lnTo>
                      <a:pt x="7" y="18"/>
                    </a:lnTo>
                    <a:lnTo>
                      <a:pt x="12" y="13"/>
                    </a:lnTo>
                    <a:lnTo>
                      <a:pt x="18" y="7"/>
                    </a:lnTo>
                    <a:lnTo>
                      <a:pt x="25" y="3"/>
                    </a:lnTo>
                    <a:lnTo>
                      <a:pt x="32" y="1"/>
                    </a:lnTo>
                    <a:lnTo>
                      <a:pt x="40" y="0"/>
                    </a:lnTo>
                    <a:lnTo>
                      <a:pt x="49" y="1"/>
                    </a:lnTo>
                    <a:lnTo>
                      <a:pt x="56" y="3"/>
                    </a:lnTo>
                    <a:lnTo>
                      <a:pt x="63" y="7"/>
                    </a:lnTo>
                    <a:lnTo>
                      <a:pt x="69" y="13"/>
                    </a:lnTo>
                    <a:lnTo>
                      <a:pt x="73" y="18"/>
                    </a:lnTo>
                    <a:lnTo>
                      <a:pt x="78" y="25"/>
                    </a:lnTo>
                    <a:lnTo>
                      <a:pt x="80" y="32"/>
                    </a:lnTo>
                    <a:lnTo>
                      <a:pt x="81" y="41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39" name="Freeform 158"/>
              <p:cNvSpPr>
                <a:spLocks/>
              </p:cNvSpPr>
              <p:nvPr/>
            </p:nvSpPr>
            <p:spPr bwMode="auto">
              <a:xfrm>
                <a:off x="3559" y="460"/>
                <a:ext cx="51" cy="141"/>
              </a:xfrm>
              <a:custGeom>
                <a:avLst/>
                <a:gdLst>
                  <a:gd name="T0" fmla="*/ 0 w 357"/>
                  <a:gd name="T1" fmla="*/ 0 h 991"/>
                  <a:gd name="T2" fmla="*/ 0 w 357"/>
                  <a:gd name="T3" fmla="*/ 0 h 991"/>
                  <a:gd name="T4" fmla="*/ 0 w 357"/>
                  <a:gd name="T5" fmla="*/ 0 h 991"/>
                  <a:gd name="T6" fmla="*/ 0 w 357"/>
                  <a:gd name="T7" fmla="*/ 0 h 991"/>
                  <a:gd name="T8" fmla="*/ 0 w 357"/>
                  <a:gd name="T9" fmla="*/ 0 h 991"/>
                  <a:gd name="T10" fmla="*/ 0 w 357"/>
                  <a:gd name="T11" fmla="*/ 0 h 991"/>
                  <a:gd name="T12" fmla="*/ 0 w 357"/>
                  <a:gd name="T13" fmla="*/ 0 h 991"/>
                  <a:gd name="T14" fmla="*/ 0 w 357"/>
                  <a:gd name="T15" fmla="*/ 0 h 991"/>
                  <a:gd name="T16" fmla="*/ 0 w 357"/>
                  <a:gd name="T17" fmla="*/ 0 h 991"/>
                  <a:gd name="T18" fmla="*/ 0 w 357"/>
                  <a:gd name="T19" fmla="*/ 0 h 991"/>
                  <a:gd name="T20" fmla="*/ 0 w 357"/>
                  <a:gd name="T21" fmla="*/ 0 h 991"/>
                  <a:gd name="T22" fmla="*/ 0 w 357"/>
                  <a:gd name="T23" fmla="*/ 0 h 991"/>
                  <a:gd name="T24" fmla="*/ 0 w 357"/>
                  <a:gd name="T25" fmla="*/ 0 h 991"/>
                  <a:gd name="T26" fmla="*/ 0 w 357"/>
                  <a:gd name="T27" fmla="*/ 0 h 991"/>
                  <a:gd name="T28" fmla="*/ 0 w 357"/>
                  <a:gd name="T29" fmla="*/ 0 h 991"/>
                  <a:gd name="T30" fmla="*/ 0 w 357"/>
                  <a:gd name="T31" fmla="*/ 0 h 991"/>
                  <a:gd name="T32" fmla="*/ 0 w 357"/>
                  <a:gd name="T33" fmla="*/ 0 h 991"/>
                  <a:gd name="T34" fmla="*/ 0 w 357"/>
                  <a:gd name="T35" fmla="*/ 0 h 991"/>
                  <a:gd name="T36" fmla="*/ 0 w 357"/>
                  <a:gd name="T37" fmla="*/ 0 h 991"/>
                  <a:gd name="T38" fmla="*/ 0 w 357"/>
                  <a:gd name="T39" fmla="*/ 0 h 991"/>
                  <a:gd name="T40" fmla="*/ 0 w 357"/>
                  <a:gd name="T41" fmla="*/ 0 h 991"/>
                  <a:gd name="T42" fmla="*/ 0 w 357"/>
                  <a:gd name="T43" fmla="*/ 0 h 991"/>
                  <a:gd name="T44" fmla="*/ 0 w 357"/>
                  <a:gd name="T45" fmla="*/ 0 h 991"/>
                  <a:gd name="T46" fmla="*/ 0 w 357"/>
                  <a:gd name="T47" fmla="*/ 0 h 991"/>
                  <a:gd name="T48" fmla="*/ 0 w 357"/>
                  <a:gd name="T49" fmla="*/ 0 h 991"/>
                  <a:gd name="T50" fmla="*/ 0 w 357"/>
                  <a:gd name="T51" fmla="*/ 0 h 991"/>
                  <a:gd name="T52" fmla="*/ 0 w 357"/>
                  <a:gd name="T53" fmla="*/ 0 h 991"/>
                  <a:gd name="T54" fmla="*/ 0 w 357"/>
                  <a:gd name="T55" fmla="*/ 0 h 991"/>
                  <a:gd name="T56" fmla="*/ 0 w 357"/>
                  <a:gd name="T57" fmla="*/ 0 h 991"/>
                  <a:gd name="T58" fmla="*/ 0 w 357"/>
                  <a:gd name="T59" fmla="*/ 0 h 991"/>
                  <a:gd name="T60" fmla="*/ 0 w 357"/>
                  <a:gd name="T61" fmla="*/ 0 h 991"/>
                  <a:gd name="T62" fmla="*/ 0 w 357"/>
                  <a:gd name="T63" fmla="*/ 0 h 991"/>
                  <a:gd name="T64" fmla="*/ 0 w 357"/>
                  <a:gd name="T65" fmla="*/ 0 h 991"/>
                  <a:gd name="T66" fmla="*/ 0 w 357"/>
                  <a:gd name="T67" fmla="*/ 0 h 991"/>
                  <a:gd name="T68" fmla="*/ 0 w 357"/>
                  <a:gd name="T69" fmla="*/ 0 h 991"/>
                  <a:gd name="T70" fmla="*/ 0 w 357"/>
                  <a:gd name="T71" fmla="*/ 0 h 991"/>
                  <a:gd name="T72" fmla="*/ 0 w 357"/>
                  <a:gd name="T73" fmla="*/ 0 h 991"/>
                  <a:gd name="T74" fmla="*/ 0 w 357"/>
                  <a:gd name="T75" fmla="*/ 0 h 991"/>
                  <a:gd name="T76" fmla="*/ 0 w 357"/>
                  <a:gd name="T77" fmla="*/ 0 h 991"/>
                  <a:gd name="T78" fmla="*/ 0 w 357"/>
                  <a:gd name="T79" fmla="*/ 0 h 991"/>
                  <a:gd name="T80" fmla="*/ 0 w 357"/>
                  <a:gd name="T81" fmla="*/ 0 h 991"/>
                  <a:gd name="T82" fmla="*/ 0 w 357"/>
                  <a:gd name="T83" fmla="*/ 0 h 991"/>
                  <a:gd name="T84" fmla="*/ 0 w 357"/>
                  <a:gd name="T85" fmla="*/ 0 h 991"/>
                  <a:gd name="T86" fmla="*/ 0 w 357"/>
                  <a:gd name="T87" fmla="*/ 0 h 991"/>
                  <a:gd name="T88" fmla="*/ 0 w 357"/>
                  <a:gd name="T89" fmla="*/ 0 h 991"/>
                  <a:gd name="T90" fmla="*/ 0 w 357"/>
                  <a:gd name="T91" fmla="*/ 0 h 991"/>
                  <a:gd name="T92" fmla="*/ 0 w 357"/>
                  <a:gd name="T93" fmla="*/ 0 h 991"/>
                  <a:gd name="T94" fmla="*/ 0 w 357"/>
                  <a:gd name="T95" fmla="*/ 0 h 991"/>
                  <a:gd name="T96" fmla="*/ 0 w 357"/>
                  <a:gd name="T97" fmla="*/ 0 h 991"/>
                  <a:gd name="T98" fmla="*/ 0 w 357"/>
                  <a:gd name="T99" fmla="*/ 0 h 991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357"/>
                  <a:gd name="T151" fmla="*/ 0 h 991"/>
                  <a:gd name="T152" fmla="*/ 357 w 357"/>
                  <a:gd name="T153" fmla="*/ 991 h 991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357" h="991">
                    <a:moveTo>
                      <a:pt x="229" y="415"/>
                    </a:moveTo>
                    <a:lnTo>
                      <a:pt x="223" y="385"/>
                    </a:lnTo>
                    <a:lnTo>
                      <a:pt x="217" y="353"/>
                    </a:lnTo>
                    <a:lnTo>
                      <a:pt x="214" y="320"/>
                    </a:lnTo>
                    <a:lnTo>
                      <a:pt x="210" y="286"/>
                    </a:lnTo>
                    <a:lnTo>
                      <a:pt x="206" y="252"/>
                    </a:lnTo>
                    <a:lnTo>
                      <a:pt x="202" y="218"/>
                    </a:lnTo>
                    <a:lnTo>
                      <a:pt x="197" y="185"/>
                    </a:lnTo>
                    <a:lnTo>
                      <a:pt x="190" y="153"/>
                    </a:lnTo>
                    <a:lnTo>
                      <a:pt x="184" y="137"/>
                    </a:lnTo>
                    <a:lnTo>
                      <a:pt x="180" y="122"/>
                    </a:lnTo>
                    <a:lnTo>
                      <a:pt x="174" y="107"/>
                    </a:lnTo>
                    <a:lnTo>
                      <a:pt x="168" y="94"/>
                    </a:lnTo>
                    <a:lnTo>
                      <a:pt x="161" y="80"/>
                    </a:lnTo>
                    <a:lnTo>
                      <a:pt x="153" y="68"/>
                    </a:lnTo>
                    <a:lnTo>
                      <a:pt x="145" y="56"/>
                    </a:lnTo>
                    <a:lnTo>
                      <a:pt x="135" y="46"/>
                    </a:lnTo>
                    <a:lnTo>
                      <a:pt x="124" y="36"/>
                    </a:lnTo>
                    <a:lnTo>
                      <a:pt x="113" y="28"/>
                    </a:lnTo>
                    <a:lnTo>
                      <a:pt x="101" y="19"/>
                    </a:lnTo>
                    <a:lnTo>
                      <a:pt x="86" y="13"/>
                    </a:lnTo>
                    <a:lnTo>
                      <a:pt x="72" y="8"/>
                    </a:lnTo>
                    <a:lnTo>
                      <a:pt x="55" y="4"/>
                    </a:lnTo>
                    <a:lnTo>
                      <a:pt x="38" y="1"/>
                    </a:lnTo>
                    <a:lnTo>
                      <a:pt x="18" y="0"/>
                    </a:lnTo>
                    <a:lnTo>
                      <a:pt x="18" y="17"/>
                    </a:lnTo>
                    <a:lnTo>
                      <a:pt x="17" y="73"/>
                    </a:lnTo>
                    <a:lnTo>
                      <a:pt x="16" y="132"/>
                    </a:lnTo>
                    <a:lnTo>
                      <a:pt x="13" y="192"/>
                    </a:lnTo>
                    <a:lnTo>
                      <a:pt x="10" y="254"/>
                    </a:lnTo>
                    <a:lnTo>
                      <a:pt x="7" y="317"/>
                    </a:lnTo>
                    <a:lnTo>
                      <a:pt x="4" y="380"/>
                    </a:lnTo>
                    <a:lnTo>
                      <a:pt x="1" y="444"/>
                    </a:lnTo>
                    <a:lnTo>
                      <a:pt x="0" y="508"/>
                    </a:lnTo>
                    <a:lnTo>
                      <a:pt x="1" y="540"/>
                    </a:lnTo>
                    <a:lnTo>
                      <a:pt x="1" y="571"/>
                    </a:lnTo>
                    <a:lnTo>
                      <a:pt x="4" y="603"/>
                    </a:lnTo>
                    <a:lnTo>
                      <a:pt x="5" y="634"/>
                    </a:lnTo>
                    <a:lnTo>
                      <a:pt x="8" y="666"/>
                    </a:lnTo>
                    <a:lnTo>
                      <a:pt x="11" y="696"/>
                    </a:lnTo>
                    <a:lnTo>
                      <a:pt x="15" y="727"/>
                    </a:lnTo>
                    <a:lnTo>
                      <a:pt x="19" y="755"/>
                    </a:lnTo>
                    <a:lnTo>
                      <a:pt x="25" y="785"/>
                    </a:lnTo>
                    <a:lnTo>
                      <a:pt x="31" y="814"/>
                    </a:lnTo>
                    <a:lnTo>
                      <a:pt x="39" y="842"/>
                    </a:lnTo>
                    <a:lnTo>
                      <a:pt x="47" y="869"/>
                    </a:lnTo>
                    <a:lnTo>
                      <a:pt x="56" y="897"/>
                    </a:lnTo>
                    <a:lnTo>
                      <a:pt x="67" y="923"/>
                    </a:lnTo>
                    <a:lnTo>
                      <a:pt x="79" y="948"/>
                    </a:lnTo>
                    <a:lnTo>
                      <a:pt x="91" y="973"/>
                    </a:lnTo>
                    <a:lnTo>
                      <a:pt x="89" y="942"/>
                    </a:lnTo>
                    <a:lnTo>
                      <a:pt x="86" y="911"/>
                    </a:lnTo>
                    <a:lnTo>
                      <a:pt x="82" y="880"/>
                    </a:lnTo>
                    <a:lnTo>
                      <a:pt x="78" y="849"/>
                    </a:lnTo>
                    <a:lnTo>
                      <a:pt x="75" y="818"/>
                    </a:lnTo>
                    <a:lnTo>
                      <a:pt x="72" y="787"/>
                    </a:lnTo>
                    <a:lnTo>
                      <a:pt x="71" y="754"/>
                    </a:lnTo>
                    <a:lnTo>
                      <a:pt x="71" y="723"/>
                    </a:lnTo>
                    <a:lnTo>
                      <a:pt x="86" y="758"/>
                    </a:lnTo>
                    <a:lnTo>
                      <a:pt x="103" y="792"/>
                    </a:lnTo>
                    <a:lnTo>
                      <a:pt x="120" y="826"/>
                    </a:lnTo>
                    <a:lnTo>
                      <a:pt x="138" y="860"/>
                    </a:lnTo>
                    <a:lnTo>
                      <a:pt x="155" y="893"/>
                    </a:lnTo>
                    <a:lnTo>
                      <a:pt x="174" y="926"/>
                    </a:lnTo>
                    <a:lnTo>
                      <a:pt x="194" y="959"/>
                    </a:lnTo>
                    <a:lnTo>
                      <a:pt x="213" y="991"/>
                    </a:lnTo>
                    <a:lnTo>
                      <a:pt x="209" y="964"/>
                    </a:lnTo>
                    <a:lnTo>
                      <a:pt x="205" y="937"/>
                    </a:lnTo>
                    <a:lnTo>
                      <a:pt x="201" y="911"/>
                    </a:lnTo>
                    <a:lnTo>
                      <a:pt x="198" y="884"/>
                    </a:lnTo>
                    <a:lnTo>
                      <a:pt x="195" y="857"/>
                    </a:lnTo>
                    <a:lnTo>
                      <a:pt x="192" y="830"/>
                    </a:lnTo>
                    <a:lnTo>
                      <a:pt x="188" y="803"/>
                    </a:lnTo>
                    <a:lnTo>
                      <a:pt x="185" y="776"/>
                    </a:lnTo>
                    <a:lnTo>
                      <a:pt x="192" y="793"/>
                    </a:lnTo>
                    <a:lnTo>
                      <a:pt x="199" y="808"/>
                    </a:lnTo>
                    <a:lnTo>
                      <a:pt x="207" y="824"/>
                    </a:lnTo>
                    <a:lnTo>
                      <a:pt x="216" y="838"/>
                    </a:lnTo>
                    <a:lnTo>
                      <a:pt x="226" y="852"/>
                    </a:lnTo>
                    <a:lnTo>
                      <a:pt x="237" y="865"/>
                    </a:lnTo>
                    <a:lnTo>
                      <a:pt x="247" y="879"/>
                    </a:lnTo>
                    <a:lnTo>
                      <a:pt x="259" y="891"/>
                    </a:lnTo>
                    <a:lnTo>
                      <a:pt x="284" y="916"/>
                    </a:lnTo>
                    <a:lnTo>
                      <a:pt x="308" y="940"/>
                    </a:lnTo>
                    <a:lnTo>
                      <a:pt x="332" y="962"/>
                    </a:lnTo>
                    <a:lnTo>
                      <a:pt x="357" y="987"/>
                    </a:lnTo>
                    <a:lnTo>
                      <a:pt x="356" y="952"/>
                    </a:lnTo>
                    <a:lnTo>
                      <a:pt x="353" y="917"/>
                    </a:lnTo>
                    <a:lnTo>
                      <a:pt x="349" y="881"/>
                    </a:lnTo>
                    <a:lnTo>
                      <a:pt x="342" y="845"/>
                    </a:lnTo>
                    <a:lnTo>
                      <a:pt x="335" y="809"/>
                    </a:lnTo>
                    <a:lnTo>
                      <a:pt x="327" y="773"/>
                    </a:lnTo>
                    <a:lnTo>
                      <a:pt x="318" y="737"/>
                    </a:lnTo>
                    <a:lnTo>
                      <a:pt x="308" y="700"/>
                    </a:lnTo>
                    <a:lnTo>
                      <a:pt x="287" y="627"/>
                    </a:lnTo>
                    <a:lnTo>
                      <a:pt x="266" y="556"/>
                    </a:lnTo>
                    <a:lnTo>
                      <a:pt x="256" y="520"/>
                    </a:lnTo>
                    <a:lnTo>
                      <a:pt x="245" y="485"/>
                    </a:lnTo>
                    <a:lnTo>
                      <a:pt x="236" y="449"/>
                    </a:lnTo>
                    <a:lnTo>
                      <a:pt x="229" y="415"/>
                    </a:lnTo>
                    <a:close/>
                  </a:path>
                </a:pathLst>
              </a:custGeom>
              <a:solidFill>
                <a:srgbClr val="C93A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40" name="Freeform 159"/>
              <p:cNvSpPr>
                <a:spLocks/>
              </p:cNvSpPr>
              <p:nvPr/>
            </p:nvSpPr>
            <p:spPr bwMode="auto">
              <a:xfrm>
                <a:off x="3561" y="460"/>
                <a:ext cx="49" cy="141"/>
              </a:xfrm>
              <a:custGeom>
                <a:avLst/>
                <a:gdLst>
                  <a:gd name="T0" fmla="*/ 0 w 340"/>
                  <a:gd name="T1" fmla="*/ 0 h 987"/>
                  <a:gd name="T2" fmla="*/ 0 w 340"/>
                  <a:gd name="T3" fmla="*/ 0 h 987"/>
                  <a:gd name="T4" fmla="*/ 0 w 340"/>
                  <a:gd name="T5" fmla="*/ 0 h 987"/>
                  <a:gd name="T6" fmla="*/ 0 w 340"/>
                  <a:gd name="T7" fmla="*/ 0 h 987"/>
                  <a:gd name="T8" fmla="*/ 0 w 340"/>
                  <a:gd name="T9" fmla="*/ 0 h 987"/>
                  <a:gd name="T10" fmla="*/ 0 w 340"/>
                  <a:gd name="T11" fmla="*/ 0 h 987"/>
                  <a:gd name="T12" fmla="*/ 0 w 340"/>
                  <a:gd name="T13" fmla="*/ 0 h 987"/>
                  <a:gd name="T14" fmla="*/ 0 w 340"/>
                  <a:gd name="T15" fmla="*/ 0 h 987"/>
                  <a:gd name="T16" fmla="*/ 0 w 340"/>
                  <a:gd name="T17" fmla="*/ 0 h 987"/>
                  <a:gd name="T18" fmla="*/ 0 w 340"/>
                  <a:gd name="T19" fmla="*/ 0 h 987"/>
                  <a:gd name="T20" fmla="*/ 0 w 340"/>
                  <a:gd name="T21" fmla="*/ 0 h 987"/>
                  <a:gd name="T22" fmla="*/ 0 w 340"/>
                  <a:gd name="T23" fmla="*/ 0 h 987"/>
                  <a:gd name="T24" fmla="*/ 0 w 340"/>
                  <a:gd name="T25" fmla="*/ 0 h 987"/>
                  <a:gd name="T26" fmla="*/ 0 w 340"/>
                  <a:gd name="T27" fmla="*/ 0 h 987"/>
                  <a:gd name="T28" fmla="*/ 0 w 340"/>
                  <a:gd name="T29" fmla="*/ 0 h 987"/>
                  <a:gd name="T30" fmla="*/ 0 w 340"/>
                  <a:gd name="T31" fmla="*/ 0 h 987"/>
                  <a:gd name="T32" fmla="*/ 0 w 340"/>
                  <a:gd name="T33" fmla="*/ 0 h 987"/>
                  <a:gd name="T34" fmla="*/ 0 w 340"/>
                  <a:gd name="T35" fmla="*/ 0 h 987"/>
                  <a:gd name="T36" fmla="*/ 0 w 340"/>
                  <a:gd name="T37" fmla="*/ 0 h 987"/>
                  <a:gd name="T38" fmla="*/ 0 w 340"/>
                  <a:gd name="T39" fmla="*/ 0 h 987"/>
                  <a:gd name="T40" fmla="*/ 0 w 340"/>
                  <a:gd name="T41" fmla="*/ 0 h 987"/>
                  <a:gd name="T42" fmla="*/ 0 w 340"/>
                  <a:gd name="T43" fmla="*/ 0 h 987"/>
                  <a:gd name="T44" fmla="*/ 0 w 340"/>
                  <a:gd name="T45" fmla="*/ 0 h 987"/>
                  <a:gd name="T46" fmla="*/ 0 w 340"/>
                  <a:gd name="T47" fmla="*/ 0 h 987"/>
                  <a:gd name="T48" fmla="*/ 0 w 340"/>
                  <a:gd name="T49" fmla="*/ 0 h 987"/>
                  <a:gd name="T50" fmla="*/ 0 w 340"/>
                  <a:gd name="T51" fmla="*/ 0 h 987"/>
                  <a:gd name="T52" fmla="*/ 0 w 340"/>
                  <a:gd name="T53" fmla="*/ 0 h 987"/>
                  <a:gd name="T54" fmla="*/ 0 w 340"/>
                  <a:gd name="T55" fmla="*/ 0 h 987"/>
                  <a:gd name="T56" fmla="*/ 0 w 340"/>
                  <a:gd name="T57" fmla="*/ 0 h 987"/>
                  <a:gd name="T58" fmla="*/ 0 w 340"/>
                  <a:gd name="T59" fmla="*/ 0 h 987"/>
                  <a:gd name="T60" fmla="*/ 0 w 340"/>
                  <a:gd name="T61" fmla="*/ 0 h 987"/>
                  <a:gd name="T62" fmla="*/ 0 w 340"/>
                  <a:gd name="T63" fmla="*/ 0 h 987"/>
                  <a:gd name="T64" fmla="*/ 0 w 340"/>
                  <a:gd name="T65" fmla="*/ 0 h 987"/>
                  <a:gd name="T66" fmla="*/ 0 w 340"/>
                  <a:gd name="T67" fmla="*/ 0 h 987"/>
                  <a:gd name="T68" fmla="*/ 0 w 340"/>
                  <a:gd name="T69" fmla="*/ 0 h 987"/>
                  <a:gd name="T70" fmla="*/ 0 w 340"/>
                  <a:gd name="T71" fmla="*/ 0 h 987"/>
                  <a:gd name="T72" fmla="*/ 0 w 340"/>
                  <a:gd name="T73" fmla="*/ 0 h 987"/>
                  <a:gd name="T74" fmla="*/ 0 w 340"/>
                  <a:gd name="T75" fmla="*/ 0 h 987"/>
                  <a:gd name="T76" fmla="*/ 0 w 340"/>
                  <a:gd name="T77" fmla="*/ 0 h 987"/>
                  <a:gd name="T78" fmla="*/ 0 w 340"/>
                  <a:gd name="T79" fmla="*/ 0 h 987"/>
                  <a:gd name="T80" fmla="*/ 0 w 340"/>
                  <a:gd name="T81" fmla="*/ 0 h 987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340"/>
                  <a:gd name="T124" fmla="*/ 0 h 987"/>
                  <a:gd name="T125" fmla="*/ 340 w 340"/>
                  <a:gd name="T126" fmla="*/ 987 h 987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340" h="987">
                    <a:moveTo>
                      <a:pt x="212" y="415"/>
                    </a:moveTo>
                    <a:lnTo>
                      <a:pt x="206" y="385"/>
                    </a:lnTo>
                    <a:lnTo>
                      <a:pt x="200" y="353"/>
                    </a:lnTo>
                    <a:lnTo>
                      <a:pt x="197" y="320"/>
                    </a:lnTo>
                    <a:lnTo>
                      <a:pt x="193" y="286"/>
                    </a:lnTo>
                    <a:lnTo>
                      <a:pt x="189" y="252"/>
                    </a:lnTo>
                    <a:lnTo>
                      <a:pt x="185" y="218"/>
                    </a:lnTo>
                    <a:lnTo>
                      <a:pt x="180" y="185"/>
                    </a:lnTo>
                    <a:lnTo>
                      <a:pt x="173" y="153"/>
                    </a:lnTo>
                    <a:lnTo>
                      <a:pt x="167" y="137"/>
                    </a:lnTo>
                    <a:lnTo>
                      <a:pt x="163" y="122"/>
                    </a:lnTo>
                    <a:lnTo>
                      <a:pt x="157" y="107"/>
                    </a:lnTo>
                    <a:lnTo>
                      <a:pt x="151" y="94"/>
                    </a:lnTo>
                    <a:lnTo>
                      <a:pt x="144" y="80"/>
                    </a:lnTo>
                    <a:lnTo>
                      <a:pt x="136" y="68"/>
                    </a:lnTo>
                    <a:lnTo>
                      <a:pt x="128" y="56"/>
                    </a:lnTo>
                    <a:lnTo>
                      <a:pt x="118" y="46"/>
                    </a:lnTo>
                    <a:lnTo>
                      <a:pt x="107" y="36"/>
                    </a:lnTo>
                    <a:lnTo>
                      <a:pt x="96" y="28"/>
                    </a:lnTo>
                    <a:lnTo>
                      <a:pt x="84" y="19"/>
                    </a:lnTo>
                    <a:lnTo>
                      <a:pt x="69" y="13"/>
                    </a:lnTo>
                    <a:lnTo>
                      <a:pt x="55" y="8"/>
                    </a:lnTo>
                    <a:lnTo>
                      <a:pt x="38" y="4"/>
                    </a:lnTo>
                    <a:lnTo>
                      <a:pt x="21" y="1"/>
                    </a:lnTo>
                    <a:lnTo>
                      <a:pt x="1" y="0"/>
                    </a:lnTo>
                    <a:lnTo>
                      <a:pt x="1" y="4"/>
                    </a:lnTo>
                    <a:lnTo>
                      <a:pt x="0" y="16"/>
                    </a:lnTo>
                    <a:lnTo>
                      <a:pt x="14" y="20"/>
                    </a:lnTo>
                    <a:lnTo>
                      <a:pt x="28" y="26"/>
                    </a:lnTo>
                    <a:lnTo>
                      <a:pt x="40" y="33"/>
                    </a:lnTo>
                    <a:lnTo>
                      <a:pt x="52" y="40"/>
                    </a:lnTo>
                    <a:lnTo>
                      <a:pt x="62" y="48"/>
                    </a:lnTo>
                    <a:lnTo>
                      <a:pt x="70" y="59"/>
                    </a:lnTo>
                    <a:lnTo>
                      <a:pt x="80" y="68"/>
                    </a:lnTo>
                    <a:lnTo>
                      <a:pt x="87" y="79"/>
                    </a:lnTo>
                    <a:lnTo>
                      <a:pt x="93" y="92"/>
                    </a:lnTo>
                    <a:lnTo>
                      <a:pt x="99" y="104"/>
                    </a:lnTo>
                    <a:lnTo>
                      <a:pt x="104" y="117"/>
                    </a:lnTo>
                    <a:lnTo>
                      <a:pt x="108" y="131"/>
                    </a:lnTo>
                    <a:lnTo>
                      <a:pt x="113" y="145"/>
                    </a:lnTo>
                    <a:lnTo>
                      <a:pt x="116" y="160"/>
                    </a:lnTo>
                    <a:lnTo>
                      <a:pt x="119" y="175"/>
                    </a:lnTo>
                    <a:lnTo>
                      <a:pt x="122" y="191"/>
                    </a:lnTo>
                    <a:lnTo>
                      <a:pt x="125" y="222"/>
                    </a:lnTo>
                    <a:lnTo>
                      <a:pt x="128" y="255"/>
                    </a:lnTo>
                    <a:lnTo>
                      <a:pt x="130" y="288"/>
                    </a:lnTo>
                    <a:lnTo>
                      <a:pt x="132" y="321"/>
                    </a:lnTo>
                    <a:lnTo>
                      <a:pt x="134" y="353"/>
                    </a:lnTo>
                    <a:lnTo>
                      <a:pt x="136" y="384"/>
                    </a:lnTo>
                    <a:lnTo>
                      <a:pt x="140" y="414"/>
                    </a:lnTo>
                    <a:lnTo>
                      <a:pt x="146" y="442"/>
                    </a:lnTo>
                    <a:lnTo>
                      <a:pt x="153" y="473"/>
                    </a:lnTo>
                    <a:lnTo>
                      <a:pt x="162" y="503"/>
                    </a:lnTo>
                    <a:lnTo>
                      <a:pt x="171" y="534"/>
                    </a:lnTo>
                    <a:lnTo>
                      <a:pt x="182" y="565"/>
                    </a:lnTo>
                    <a:lnTo>
                      <a:pt x="205" y="627"/>
                    </a:lnTo>
                    <a:lnTo>
                      <a:pt x="227" y="689"/>
                    </a:lnTo>
                    <a:lnTo>
                      <a:pt x="239" y="720"/>
                    </a:lnTo>
                    <a:lnTo>
                      <a:pt x="249" y="751"/>
                    </a:lnTo>
                    <a:lnTo>
                      <a:pt x="259" y="782"/>
                    </a:lnTo>
                    <a:lnTo>
                      <a:pt x="269" y="814"/>
                    </a:lnTo>
                    <a:lnTo>
                      <a:pt x="276" y="845"/>
                    </a:lnTo>
                    <a:lnTo>
                      <a:pt x="283" y="876"/>
                    </a:lnTo>
                    <a:lnTo>
                      <a:pt x="288" y="909"/>
                    </a:lnTo>
                    <a:lnTo>
                      <a:pt x="292" y="941"/>
                    </a:lnTo>
                    <a:lnTo>
                      <a:pt x="304" y="952"/>
                    </a:lnTo>
                    <a:lnTo>
                      <a:pt x="316" y="963"/>
                    </a:lnTo>
                    <a:lnTo>
                      <a:pt x="328" y="975"/>
                    </a:lnTo>
                    <a:lnTo>
                      <a:pt x="340" y="987"/>
                    </a:lnTo>
                    <a:lnTo>
                      <a:pt x="339" y="952"/>
                    </a:lnTo>
                    <a:lnTo>
                      <a:pt x="336" y="917"/>
                    </a:lnTo>
                    <a:lnTo>
                      <a:pt x="332" y="881"/>
                    </a:lnTo>
                    <a:lnTo>
                      <a:pt x="325" y="845"/>
                    </a:lnTo>
                    <a:lnTo>
                      <a:pt x="318" y="809"/>
                    </a:lnTo>
                    <a:lnTo>
                      <a:pt x="310" y="773"/>
                    </a:lnTo>
                    <a:lnTo>
                      <a:pt x="301" y="737"/>
                    </a:lnTo>
                    <a:lnTo>
                      <a:pt x="291" y="700"/>
                    </a:lnTo>
                    <a:lnTo>
                      <a:pt x="270" y="627"/>
                    </a:lnTo>
                    <a:lnTo>
                      <a:pt x="249" y="556"/>
                    </a:lnTo>
                    <a:lnTo>
                      <a:pt x="239" y="520"/>
                    </a:lnTo>
                    <a:lnTo>
                      <a:pt x="228" y="485"/>
                    </a:lnTo>
                    <a:lnTo>
                      <a:pt x="219" y="449"/>
                    </a:lnTo>
                    <a:lnTo>
                      <a:pt x="212" y="415"/>
                    </a:lnTo>
                    <a:close/>
                  </a:path>
                </a:pathLst>
              </a:custGeom>
              <a:solidFill>
                <a:srgbClr val="AF34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41" name="Freeform 160"/>
              <p:cNvSpPr>
                <a:spLocks/>
              </p:cNvSpPr>
              <p:nvPr/>
            </p:nvSpPr>
            <p:spPr bwMode="auto">
              <a:xfrm>
                <a:off x="3515" y="461"/>
                <a:ext cx="51" cy="142"/>
              </a:xfrm>
              <a:custGeom>
                <a:avLst/>
                <a:gdLst>
                  <a:gd name="T0" fmla="*/ 0 w 355"/>
                  <a:gd name="T1" fmla="*/ 0 h 992"/>
                  <a:gd name="T2" fmla="*/ 0 w 355"/>
                  <a:gd name="T3" fmla="*/ 0 h 992"/>
                  <a:gd name="T4" fmla="*/ 0 w 355"/>
                  <a:gd name="T5" fmla="*/ 0 h 992"/>
                  <a:gd name="T6" fmla="*/ 0 w 355"/>
                  <a:gd name="T7" fmla="*/ 0 h 992"/>
                  <a:gd name="T8" fmla="*/ 0 w 355"/>
                  <a:gd name="T9" fmla="*/ 0 h 992"/>
                  <a:gd name="T10" fmla="*/ 0 w 355"/>
                  <a:gd name="T11" fmla="*/ 0 h 992"/>
                  <a:gd name="T12" fmla="*/ 0 w 355"/>
                  <a:gd name="T13" fmla="*/ 0 h 992"/>
                  <a:gd name="T14" fmla="*/ 0 w 355"/>
                  <a:gd name="T15" fmla="*/ 0 h 992"/>
                  <a:gd name="T16" fmla="*/ 0 w 355"/>
                  <a:gd name="T17" fmla="*/ 0 h 992"/>
                  <a:gd name="T18" fmla="*/ 0 w 355"/>
                  <a:gd name="T19" fmla="*/ 0 h 992"/>
                  <a:gd name="T20" fmla="*/ 0 w 355"/>
                  <a:gd name="T21" fmla="*/ 0 h 992"/>
                  <a:gd name="T22" fmla="*/ 0 w 355"/>
                  <a:gd name="T23" fmla="*/ 0 h 992"/>
                  <a:gd name="T24" fmla="*/ 0 w 355"/>
                  <a:gd name="T25" fmla="*/ 0 h 992"/>
                  <a:gd name="T26" fmla="*/ 0 w 355"/>
                  <a:gd name="T27" fmla="*/ 0 h 992"/>
                  <a:gd name="T28" fmla="*/ 0 w 355"/>
                  <a:gd name="T29" fmla="*/ 0 h 992"/>
                  <a:gd name="T30" fmla="*/ 0 w 355"/>
                  <a:gd name="T31" fmla="*/ 0 h 992"/>
                  <a:gd name="T32" fmla="*/ 0 w 355"/>
                  <a:gd name="T33" fmla="*/ 0 h 992"/>
                  <a:gd name="T34" fmla="*/ 0 w 355"/>
                  <a:gd name="T35" fmla="*/ 0 h 992"/>
                  <a:gd name="T36" fmla="*/ 0 w 355"/>
                  <a:gd name="T37" fmla="*/ 0 h 992"/>
                  <a:gd name="T38" fmla="*/ 0 w 355"/>
                  <a:gd name="T39" fmla="*/ 0 h 992"/>
                  <a:gd name="T40" fmla="*/ 0 w 355"/>
                  <a:gd name="T41" fmla="*/ 0 h 992"/>
                  <a:gd name="T42" fmla="*/ 0 w 355"/>
                  <a:gd name="T43" fmla="*/ 0 h 992"/>
                  <a:gd name="T44" fmla="*/ 0 w 355"/>
                  <a:gd name="T45" fmla="*/ 0 h 992"/>
                  <a:gd name="T46" fmla="*/ 0 w 355"/>
                  <a:gd name="T47" fmla="*/ 0 h 992"/>
                  <a:gd name="T48" fmla="*/ 0 w 355"/>
                  <a:gd name="T49" fmla="*/ 0 h 992"/>
                  <a:gd name="T50" fmla="*/ 0 w 355"/>
                  <a:gd name="T51" fmla="*/ 0 h 992"/>
                  <a:gd name="T52" fmla="*/ 0 w 355"/>
                  <a:gd name="T53" fmla="*/ 0 h 992"/>
                  <a:gd name="T54" fmla="*/ 0 w 355"/>
                  <a:gd name="T55" fmla="*/ 0 h 992"/>
                  <a:gd name="T56" fmla="*/ 0 w 355"/>
                  <a:gd name="T57" fmla="*/ 0 h 992"/>
                  <a:gd name="T58" fmla="*/ 0 w 355"/>
                  <a:gd name="T59" fmla="*/ 0 h 992"/>
                  <a:gd name="T60" fmla="*/ 0 w 355"/>
                  <a:gd name="T61" fmla="*/ 0 h 992"/>
                  <a:gd name="T62" fmla="*/ 0 w 355"/>
                  <a:gd name="T63" fmla="*/ 0 h 992"/>
                  <a:gd name="T64" fmla="*/ 0 w 355"/>
                  <a:gd name="T65" fmla="*/ 0 h 992"/>
                  <a:gd name="T66" fmla="*/ 0 w 355"/>
                  <a:gd name="T67" fmla="*/ 0 h 992"/>
                  <a:gd name="T68" fmla="*/ 0 w 355"/>
                  <a:gd name="T69" fmla="*/ 0 h 992"/>
                  <a:gd name="T70" fmla="*/ 0 w 355"/>
                  <a:gd name="T71" fmla="*/ 0 h 992"/>
                  <a:gd name="T72" fmla="*/ 0 w 355"/>
                  <a:gd name="T73" fmla="*/ 0 h 992"/>
                  <a:gd name="T74" fmla="*/ 0 w 355"/>
                  <a:gd name="T75" fmla="*/ 0 h 992"/>
                  <a:gd name="T76" fmla="*/ 0 w 355"/>
                  <a:gd name="T77" fmla="*/ 0 h 992"/>
                  <a:gd name="T78" fmla="*/ 0 w 355"/>
                  <a:gd name="T79" fmla="*/ 0 h 992"/>
                  <a:gd name="T80" fmla="*/ 0 w 355"/>
                  <a:gd name="T81" fmla="*/ 0 h 992"/>
                  <a:gd name="T82" fmla="*/ 0 w 355"/>
                  <a:gd name="T83" fmla="*/ 0 h 992"/>
                  <a:gd name="T84" fmla="*/ 0 w 355"/>
                  <a:gd name="T85" fmla="*/ 0 h 992"/>
                  <a:gd name="T86" fmla="*/ 0 w 355"/>
                  <a:gd name="T87" fmla="*/ 0 h 992"/>
                  <a:gd name="T88" fmla="*/ 0 w 355"/>
                  <a:gd name="T89" fmla="*/ 0 h 992"/>
                  <a:gd name="T90" fmla="*/ 0 w 355"/>
                  <a:gd name="T91" fmla="*/ 0 h 992"/>
                  <a:gd name="T92" fmla="*/ 0 w 355"/>
                  <a:gd name="T93" fmla="*/ 0 h 992"/>
                  <a:gd name="T94" fmla="*/ 0 w 355"/>
                  <a:gd name="T95" fmla="*/ 0 h 992"/>
                  <a:gd name="T96" fmla="*/ 0 w 355"/>
                  <a:gd name="T97" fmla="*/ 0 h 992"/>
                  <a:gd name="T98" fmla="*/ 0 w 355"/>
                  <a:gd name="T99" fmla="*/ 0 h 992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355"/>
                  <a:gd name="T151" fmla="*/ 0 h 992"/>
                  <a:gd name="T152" fmla="*/ 355 w 355"/>
                  <a:gd name="T153" fmla="*/ 992 h 992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355" h="992">
                    <a:moveTo>
                      <a:pt x="338" y="17"/>
                    </a:moveTo>
                    <a:lnTo>
                      <a:pt x="338" y="0"/>
                    </a:lnTo>
                    <a:lnTo>
                      <a:pt x="319" y="2"/>
                    </a:lnTo>
                    <a:lnTo>
                      <a:pt x="300" y="4"/>
                    </a:lnTo>
                    <a:lnTo>
                      <a:pt x="285" y="8"/>
                    </a:lnTo>
                    <a:lnTo>
                      <a:pt x="269" y="14"/>
                    </a:lnTo>
                    <a:lnTo>
                      <a:pt x="256" y="21"/>
                    </a:lnTo>
                    <a:lnTo>
                      <a:pt x="242" y="28"/>
                    </a:lnTo>
                    <a:lnTo>
                      <a:pt x="231" y="37"/>
                    </a:lnTo>
                    <a:lnTo>
                      <a:pt x="221" y="46"/>
                    </a:lnTo>
                    <a:lnTo>
                      <a:pt x="211" y="58"/>
                    </a:lnTo>
                    <a:lnTo>
                      <a:pt x="202" y="69"/>
                    </a:lnTo>
                    <a:lnTo>
                      <a:pt x="195" y="82"/>
                    </a:lnTo>
                    <a:lnTo>
                      <a:pt x="188" y="95"/>
                    </a:lnTo>
                    <a:lnTo>
                      <a:pt x="181" y="108"/>
                    </a:lnTo>
                    <a:lnTo>
                      <a:pt x="176" y="123"/>
                    </a:lnTo>
                    <a:lnTo>
                      <a:pt x="171" y="137"/>
                    </a:lnTo>
                    <a:lnTo>
                      <a:pt x="167" y="153"/>
                    </a:lnTo>
                    <a:lnTo>
                      <a:pt x="160" y="185"/>
                    </a:lnTo>
                    <a:lnTo>
                      <a:pt x="154" y="219"/>
                    </a:lnTo>
                    <a:lnTo>
                      <a:pt x="149" y="253"/>
                    </a:lnTo>
                    <a:lnTo>
                      <a:pt x="145" y="287"/>
                    </a:lnTo>
                    <a:lnTo>
                      <a:pt x="142" y="321"/>
                    </a:lnTo>
                    <a:lnTo>
                      <a:pt x="138" y="355"/>
                    </a:lnTo>
                    <a:lnTo>
                      <a:pt x="133" y="387"/>
                    </a:lnTo>
                    <a:lnTo>
                      <a:pt x="128" y="417"/>
                    </a:lnTo>
                    <a:lnTo>
                      <a:pt x="119" y="451"/>
                    </a:lnTo>
                    <a:lnTo>
                      <a:pt x="110" y="486"/>
                    </a:lnTo>
                    <a:lnTo>
                      <a:pt x="101" y="521"/>
                    </a:lnTo>
                    <a:lnTo>
                      <a:pt x="91" y="556"/>
                    </a:lnTo>
                    <a:lnTo>
                      <a:pt x="69" y="629"/>
                    </a:lnTo>
                    <a:lnTo>
                      <a:pt x="48" y="701"/>
                    </a:lnTo>
                    <a:lnTo>
                      <a:pt x="38" y="737"/>
                    </a:lnTo>
                    <a:lnTo>
                      <a:pt x="29" y="773"/>
                    </a:lnTo>
                    <a:lnTo>
                      <a:pt x="20" y="811"/>
                    </a:lnTo>
                    <a:lnTo>
                      <a:pt x="13" y="846"/>
                    </a:lnTo>
                    <a:lnTo>
                      <a:pt x="8" y="882"/>
                    </a:lnTo>
                    <a:lnTo>
                      <a:pt x="3" y="918"/>
                    </a:lnTo>
                    <a:lnTo>
                      <a:pt x="1" y="953"/>
                    </a:lnTo>
                    <a:lnTo>
                      <a:pt x="0" y="988"/>
                    </a:lnTo>
                    <a:lnTo>
                      <a:pt x="23" y="964"/>
                    </a:lnTo>
                    <a:lnTo>
                      <a:pt x="48" y="940"/>
                    </a:lnTo>
                    <a:lnTo>
                      <a:pt x="73" y="916"/>
                    </a:lnTo>
                    <a:lnTo>
                      <a:pt x="97" y="892"/>
                    </a:lnTo>
                    <a:lnTo>
                      <a:pt x="108" y="880"/>
                    </a:lnTo>
                    <a:lnTo>
                      <a:pt x="119" y="866"/>
                    </a:lnTo>
                    <a:lnTo>
                      <a:pt x="130" y="853"/>
                    </a:lnTo>
                    <a:lnTo>
                      <a:pt x="139" y="840"/>
                    </a:lnTo>
                    <a:lnTo>
                      <a:pt x="148" y="825"/>
                    </a:lnTo>
                    <a:lnTo>
                      <a:pt x="157" y="810"/>
                    </a:lnTo>
                    <a:lnTo>
                      <a:pt x="164" y="794"/>
                    </a:lnTo>
                    <a:lnTo>
                      <a:pt x="170" y="776"/>
                    </a:lnTo>
                    <a:lnTo>
                      <a:pt x="167" y="803"/>
                    </a:lnTo>
                    <a:lnTo>
                      <a:pt x="164" y="830"/>
                    </a:lnTo>
                    <a:lnTo>
                      <a:pt x="161" y="857"/>
                    </a:lnTo>
                    <a:lnTo>
                      <a:pt x="158" y="884"/>
                    </a:lnTo>
                    <a:lnTo>
                      <a:pt x="155" y="912"/>
                    </a:lnTo>
                    <a:lnTo>
                      <a:pt x="150" y="939"/>
                    </a:lnTo>
                    <a:lnTo>
                      <a:pt x="147" y="965"/>
                    </a:lnTo>
                    <a:lnTo>
                      <a:pt x="143" y="992"/>
                    </a:lnTo>
                    <a:lnTo>
                      <a:pt x="162" y="960"/>
                    </a:lnTo>
                    <a:lnTo>
                      <a:pt x="181" y="927"/>
                    </a:lnTo>
                    <a:lnTo>
                      <a:pt x="200" y="894"/>
                    </a:lnTo>
                    <a:lnTo>
                      <a:pt x="218" y="860"/>
                    </a:lnTo>
                    <a:lnTo>
                      <a:pt x="235" y="826"/>
                    </a:lnTo>
                    <a:lnTo>
                      <a:pt x="253" y="792"/>
                    </a:lnTo>
                    <a:lnTo>
                      <a:pt x="269" y="758"/>
                    </a:lnTo>
                    <a:lnTo>
                      <a:pt x="285" y="724"/>
                    </a:lnTo>
                    <a:lnTo>
                      <a:pt x="286" y="756"/>
                    </a:lnTo>
                    <a:lnTo>
                      <a:pt x="284" y="787"/>
                    </a:lnTo>
                    <a:lnTo>
                      <a:pt x="282" y="818"/>
                    </a:lnTo>
                    <a:lnTo>
                      <a:pt x="278" y="849"/>
                    </a:lnTo>
                    <a:lnTo>
                      <a:pt x="273" y="880"/>
                    </a:lnTo>
                    <a:lnTo>
                      <a:pt x="269" y="911"/>
                    </a:lnTo>
                    <a:lnTo>
                      <a:pt x="266" y="942"/>
                    </a:lnTo>
                    <a:lnTo>
                      <a:pt x="264" y="974"/>
                    </a:lnTo>
                    <a:lnTo>
                      <a:pt x="278" y="949"/>
                    </a:lnTo>
                    <a:lnTo>
                      <a:pt x="289" y="924"/>
                    </a:lnTo>
                    <a:lnTo>
                      <a:pt x="299" y="897"/>
                    </a:lnTo>
                    <a:lnTo>
                      <a:pt x="309" y="871"/>
                    </a:lnTo>
                    <a:lnTo>
                      <a:pt x="317" y="844"/>
                    </a:lnTo>
                    <a:lnTo>
                      <a:pt x="324" y="815"/>
                    </a:lnTo>
                    <a:lnTo>
                      <a:pt x="331" y="787"/>
                    </a:lnTo>
                    <a:lnTo>
                      <a:pt x="336" y="757"/>
                    </a:lnTo>
                    <a:lnTo>
                      <a:pt x="342" y="727"/>
                    </a:lnTo>
                    <a:lnTo>
                      <a:pt x="345" y="697"/>
                    </a:lnTo>
                    <a:lnTo>
                      <a:pt x="349" y="667"/>
                    </a:lnTo>
                    <a:lnTo>
                      <a:pt x="351" y="636"/>
                    </a:lnTo>
                    <a:lnTo>
                      <a:pt x="353" y="605"/>
                    </a:lnTo>
                    <a:lnTo>
                      <a:pt x="354" y="573"/>
                    </a:lnTo>
                    <a:lnTo>
                      <a:pt x="355" y="541"/>
                    </a:lnTo>
                    <a:lnTo>
                      <a:pt x="355" y="510"/>
                    </a:lnTo>
                    <a:lnTo>
                      <a:pt x="354" y="446"/>
                    </a:lnTo>
                    <a:lnTo>
                      <a:pt x="352" y="381"/>
                    </a:lnTo>
                    <a:lnTo>
                      <a:pt x="350" y="317"/>
                    </a:lnTo>
                    <a:lnTo>
                      <a:pt x="347" y="255"/>
                    </a:lnTo>
                    <a:lnTo>
                      <a:pt x="343" y="193"/>
                    </a:lnTo>
                    <a:lnTo>
                      <a:pt x="341" y="132"/>
                    </a:lnTo>
                    <a:lnTo>
                      <a:pt x="339" y="74"/>
                    </a:lnTo>
                    <a:lnTo>
                      <a:pt x="338" y="17"/>
                    </a:lnTo>
                    <a:close/>
                  </a:path>
                </a:pathLst>
              </a:custGeom>
              <a:solidFill>
                <a:srgbClr val="C93A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42" name="Freeform 161"/>
              <p:cNvSpPr>
                <a:spLocks/>
              </p:cNvSpPr>
              <p:nvPr/>
            </p:nvSpPr>
            <p:spPr bwMode="auto">
              <a:xfrm>
                <a:off x="3515" y="461"/>
                <a:ext cx="49" cy="141"/>
              </a:xfrm>
              <a:custGeom>
                <a:avLst/>
                <a:gdLst>
                  <a:gd name="T0" fmla="*/ 0 w 340"/>
                  <a:gd name="T1" fmla="*/ 0 h 988"/>
                  <a:gd name="T2" fmla="*/ 0 w 340"/>
                  <a:gd name="T3" fmla="*/ 0 h 988"/>
                  <a:gd name="T4" fmla="*/ 0 w 340"/>
                  <a:gd name="T5" fmla="*/ 0 h 988"/>
                  <a:gd name="T6" fmla="*/ 0 w 340"/>
                  <a:gd name="T7" fmla="*/ 0 h 988"/>
                  <a:gd name="T8" fmla="*/ 0 w 340"/>
                  <a:gd name="T9" fmla="*/ 0 h 988"/>
                  <a:gd name="T10" fmla="*/ 0 w 340"/>
                  <a:gd name="T11" fmla="*/ 0 h 988"/>
                  <a:gd name="T12" fmla="*/ 0 w 340"/>
                  <a:gd name="T13" fmla="*/ 0 h 988"/>
                  <a:gd name="T14" fmla="*/ 0 w 340"/>
                  <a:gd name="T15" fmla="*/ 0 h 988"/>
                  <a:gd name="T16" fmla="*/ 0 w 340"/>
                  <a:gd name="T17" fmla="*/ 0 h 988"/>
                  <a:gd name="T18" fmla="*/ 0 w 340"/>
                  <a:gd name="T19" fmla="*/ 0 h 988"/>
                  <a:gd name="T20" fmla="*/ 0 w 340"/>
                  <a:gd name="T21" fmla="*/ 0 h 988"/>
                  <a:gd name="T22" fmla="*/ 0 w 340"/>
                  <a:gd name="T23" fmla="*/ 0 h 988"/>
                  <a:gd name="T24" fmla="*/ 0 w 340"/>
                  <a:gd name="T25" fmla="*/ 0 h 988"/>
                  <a:gd name="T26" fmla="*/ 0 w 340"/>
                  <a:gd name="T27" fmla="*/ 0 h 988"/>
                  <a:gd name="T28" fmla="*/ 0 w 340"/>
                  <a:gd name="T29" fmla="*/ 0 h 988"/>
                  <a:gd name="T30" fmla="*/ 0 w 340"/>
                  <a:gd name="T31" fmla="*/ 0 h 988"/>
                  <a:gd name="T32" fmla="*/ 0 w 340"/>
                  <a:gd name="T33" fmla="*/ 0 h 988"/>
                  <a:gd name="T34" fmla="*/ 0 w 340"/>
                  <a:gd name="T35" fmla="*/ 0 h 988"/>
                  <a:gd name="T36" fmla="*/ 0 w 340"/>
                  <a:gd name="T37" fmla="*/ 0 h 988"/>
                  <a:gd name="T38" fmla="*/ 0 w 340"/>
                  <a:gd name="T39" fmla="*/ 0 h 988"/>
                  <a:gd name="T40" fmla="*/ 0 w 340"/>
                  <a:gd name="T41" fmla="*/ 0 h 988"/>
                  <a:gd name="T42" fmla="*/ 0 w 340"/>
                  <a:gd name="T43" fmla="*/ 0 h 988"/>
                  <a:gd name="T44" fmla="*/ 0 w 340"/>
                  <a:gd name="T45" fmla="*/ 0 h 988"/>
                  <a:gd name="T46" fmla="*/ 0 w 340"/>
                  <a:gd name="T47" fmla="*/ 0 h 988"/>
                  <a:gd name="T48" fmla="*/ 0 w 340"/>
                  <a:gd name="T49" fmla="*/ 0 h 988"/>
                  <a:gd name="T50" fmla="*/ 0 w 340"/>
                  <a:gd name="T51" fmla="*/ 0 h 988"/>
                  <a:gd name="T52" fmla="*/ 0 w 340"/>
                  <a:gd name="T53" fmla="*/ 0 h 988"/>
                  <a:gd name="T54" fmla="*/ 0 w 340"/>
                  <a:gd name="T55" fmla="*/ 0 h 988"/>
                  <a:gd name="T56" fmla="*/ 0 w 340"/>
                  <a:gd name="T57" fmla="*/ 0 h 988"/>
                  <a:gd name="T58" fmla="*/ 0 w 340"/>
                  <a:gd name="T59" fmla="*/ 0 h 988"/>
                  <a:gd name="T60" fmla="*/ 0 w 340"/>
                  <a:gd name="T61" fmla="*/ 0 h 988"/>
                  <a:gd name="T62" fmla="*/ 0 w 340"/>
                  <a:gd name="T63" fmla="*/ 0 h 988"/>
                  <a:gd name="T64" fmla="*/ 0 w 340"/>
                  <a:gd name="T65" fmla="*/ 0 h 988"/>
                  <a:gd name="T66" fmla="*/ 0 w 340"/>
                  <a:gd name="T67" fmla="*/ 0 h 988"/>
                  <a:gd name="T68" fmla="*/ 0 w 340"/>
                  <a:gd name="T69" fmla="*/ 0 h 988"/>
                  <a:gd name="T70" fmla="*/ 0 w 340"/>
                  <a:gd name="T71" fmla="*/ 0 h 988"/>
                  <a:gd name="T72" fmla="*/ 0 w 340"/>
                  <a:gd name="T73" fmla="*/ 0 h 988"/>
                  <a:gd name="T74" fmla="*/ 0 w 340"/>
                  <a:gd name="T75" fmla="*/ 0 h 988"/>
                  <a:gd name="T76" fmla="*/ 0 w 340"/>
                  <a:gd name="T77" fmla="*/ 0 h 988"/>
                  <a:gd name="T78" fmla="*/ 0 w 340"/>
                  <a:gd name="T79" fmla="*/ 0 h 988"/>
                  <a:gd name="T80" fmla="*/ 0 w 340"/>
                  <a:gd name="T81" fmla="*/ 0 h 988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340"/>
                  <a:gd name="T124" fmla="*/ 0 h 988"/>
                  <a:gd name="T125" fmla="*/ 340 w 340"/>
                  <a:gd name="T126" fmla="*/ 988 h 988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340" h="988">
                    <a:moveTo>
                      <a:pt x="338" y="0"/>
                    </a:moveTo>
                    <a:lnTo>
                      <a:pt x="319" y="2"/>
                    </a:lnTo>
                    <a:lnTo>
                      <a:pt x="300" y="4"/>
                    </a:lnTo>
                    <a:lnTo>
                      <a:pt x="285" y="8"/>
                    </a:lnTo>
                    <a:lnTo>
                      <a:pt x="269" y="14"/>
                    </a:lnTo>
                    <a:lnTo>
                      <a:pt x="256" y="21"/>
                    </a:lnTo>
                    <a:lnTo>
                      <a:pt x="242" y="28"/>
                    </a:lnTo>
                    <a:lnTo>
                      <a:pt x="231" y="37"/>
                    </a:lnTo>
                    <a:lnTo>
                      <a:pt x="221" y="46"/>
                    </a:lnTo>
                    <a:lnTo>
                      <a:pt x="211" y="58"/>
                    </a:lnTo>
                    <a:lnTo>
                      <a:pt x="202" y="69"/>
                    </a:lnTo>
                    <a:lnTo>
                      <a:pt x="195" y="82"/>
                    </a:lnTo>
                    <a:lnTo>
                      <a:pt x="188" y="95"/>
                    </a:lnTo>
                    <a:lnTo>
                      <a:pt x="181" y="108"/>
                    </a:lnTo>
                    <a:lnTo>
                      <a:pt x="176" y="123"/>
                    </a:lnTo>
                    <a:lnTo>
                      <a:pt x="171" y="137"/>
                    </a:lnTo>
                    <a:lnTo>
                      <a:pt x="167" y="153"/>
                    </a:lnTo>
                    <a:lnTo>
                      <a:pt x="160" y="185"/>
                    </a:lnTo>
                    <a:lnTo>
                      <a:pt x="154" y="219"/>
                    </a:lnTo>
                    <a:lnTo>
                      <a:pt x="149" y="253"/>
                    </a:lnTo>
                    <a:lnTo>
                      <a:pt x="145" y="287"/>
                    </a:lnTo>
                    <a:lnTo>
                      <a:pt x="142" y="321"/>
                    </a:lnTo>
                    <a:lnTo>
                      <a:pt x="138" y="355"/>
                    </a:lnTo>
                    <a:lnTo>
                      <a:pt x="133" y="387"/>
                    </a:lnTo>
                    <a:lnTo>
                      <a:pt x="128" y="417"/>
                    </a:lnTo>
                    <a:lnTo>
                      <a:pt x="119" y="451"/>
                    </a:lnTo>
                    <a:lnTo>
                      <a:pt x="110" y="486"/>
                    </a:lnTo>
                    <a:lnTo>
                      <a:pt x="101" y="521"/>
                    </a:lnTo>
                    <a:lnTo>
                      <a:pt x="91" y="556"/>
                    </a:lnTo>
                    <a:lnTo>
                      <a:pt x="69" y="629"/>
                    </a:lnTo>
                    <a:lnTo>
                      <a:pt x="48" y="701"/>
                    </a:lnTo>
                    <a:lnTo>
                      <a:pt x="38" y="737"/>
                    </a:lnTo>
                    <a:lnTo>
                      <a:pt x="29" y="773"/>
                    </a:lnTo>
                    <a:lnTo>
                      <a:pt x="20" y="811"/>
                    </a:lnTo>
                    <a:lnTo>
                      <a:pt x="13" y="846"/>
                    </a:lnTo>
                    <a:lnTo>
                      <a:pt x="8" y="882"/>
                    </a:lnTo>
                    <a:lnTo>
                      <a:pt x="3" y="918"/>
                    </a:lnTo>
                    <a:lnTo>
                      <a:pt x="1" y="953"/>
                    </a:lnTo>
                    <a:lnTo>
                      <a:pt x="0" y="988"/>
                    </a:lnTo>
                    <a:lnTo>
                      <a:pt x="11" y="976"/>
                    </a:lnTo>
                    <a:lnTo>
                      <a:pt x="22" y="965"/>
                    </a:lnTo>
                    <a:lnTo>
                      <a:pt x="35" y="952"/>
                    </a:lnTo>
                    <a:lnTo>
                      <a:pt x="47" y="941"/>
                    </a:lnTo>
                    <a:lnTo>
                      <a:pt x="50" y="910"/>
                    </a:lnTo>
                    <a:lnTo>
                      <a:pt x="55" y="878"/>
                    </a:lnTo>
                    <a:lnTo>
                      <a:pt x="63" y="847"/>
                    </a:lnTo>
                    <a:lnTo>
                      <a:pt x="71" y="815"/>
                    </a:lnTo>
                    <a:lnTo>
                      <a:pt x="80" y="784"/>
                    </a:lnTo>
                    <a:lnTo>
                      <a:pt x="90" y="753"/>
                    </a:lnTo>
                    <a:lnTo>
                      <a:pt x="101" y="721"/>
                    </a:lnTo>
                    <a:lnTo>
                      <a:pt x="111" y="690"/>
                    </a:lnTo>
                    <a:lnTo>
                      <a:pt x="134" y="628"/>
                    </a:lnTo>
                    <a:lnTo>
                      <a:pt x="157" y="567"/>
                    </a:lnTo>
                    <a:lnTo>
                      <a:pt x="167" y="536"/>
                    </a:lnTo>
                    <a:lnTo>
                      <a:pt x="176" y="504"/>
                    </a:lnTo>
                    <a:lnTo>
                      <a:pt x="186" y="473"/>
                    </a:lnTo>
                    <a:lnTo>
                      <a:pt x="193" y="443"/>
                    </a:lnTo>
                    <a:lnTo>
                      <a:pt x="198" y="416"/>
                    </a:lnTo>
                    <a:lnTo>
                      <a:pt x="202" y="386"/>
                    </a:lnTo>
                    <a:lnTo>
                      <a:pt x="204" y="355"/>
                    </a:lnTo>
                    <a:lnTo>
                      <a:pt x="206" y="321"/>
                    </a:lnTo>
                    <a:lnTo>
                      <a:pt x="208" y="289"/>
                    </a:lnTo>
                    <a:lnTo>
                      <a:pt x="210" y="256"/>
                    </a:lnTo>
                    <a:lnTo>
                      <a:pt x="214" y="223"/>
                    </a:lnTo>
                    <a:lnTo>
                      <a:pt x="218" y="191"/>
                    </a:lnTo>
                    <a:lnTo>
                      <a:pt x="220" y="176"/>
                    </a:lnTo>
                    <a:lnTo>
                      <a:pt x="223" y="161"/>
                    </a:lnTo>
                    <a:lnTo>
                      <a:pt x="226" y="146"/>
                    </a:lnTo>
                    <a:lnTo>
                      <a:pt x="230" y="131"/>
                    </a:lnTo>
                    <a:lnTo>
                      <a:pt x="234" y="118"/>
                    </a:lnTo>
                    <a:lnTo>
                      <a:pt x="239" y="104"/>
                    </a:lnTo>
                    <a:lnTo>
                      <a:pt x="246" y="92"/>
                    </a:lnTo>
                    <a:lnTo>
                      <a:pt x="252" y="81"/>
                    </a:lnTo>
                    <a:lnTo>
                      <a:pt x="260" y="69"/>
                    </a:lnTo>
                    <a:lnTo>
                      <a:pt x="268" y="59"/>
                    </a:lnTo>
                    <a:lnTo>
                      <a:pt x="278" y="50"/>
                    </a:lnTo>
                    <a:lnTo>
                      <a:pt x="288" y="41"/>
                    </a:lnTo>
                    <a:lnTo>
                      <a:pt x="298" y="34"/>
                    </a:lnTo>
                    <a:lnTo>
                      <a:pt x="311" y="27"/>
                    </a:lnTo>
                    <a:lnTo>
                      <a:pt x="324" y="22"/>
                    </a:lnTo>
                    <a:lnTo>
                      <a:pt x="340" y="17"/>
                    </a:lnTo>
                    <a:lnTo>
                      <a:pt x="338" y="5"/>
                    </a:lnTo>
                    <a:lnTo>
                      <a:pt x="338" y="0"/>
                    </a:lnTo>
                    <a:close/>
                  </a:path>
                </a:pathLst>
              </a:custGeom>
              <a:solidFill>
                <a:srgbClr val="AF34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43" name="Freeform 162"/>
              <p:cNvSpPr>
                <a:spLocks/>
              </p:cNvSpPr>
              <p:nvPr/>
            </p:nvSpPr>
            <p:spPr bwMode="auto">
              <a:xfrm>
                <a:off x="3549" y="447"/>
                <a:ext cx="29" cy="28"/>
              </a:xfrm>
              <a:custGeom>
                <a:avLst/>
                <a:gdLst>
                  <a:gd name="T0" fmla="*/ 0 w 197"/>
                  <a:gd name="T1" fmla="*/ 0 h 196"/>
                  <a:gd name="T2" fmla="*/ 0 w 197"/>
                  <a:gd name="T3" fmla="*/ 0 h 196"/>
                  <a:gd name="T4" fmla="*/ 0 w 197"/>
                  <a:gd name="T5" fmla="*/ 0 h 196"/>
                  <a:gd name="T6" fmla="*/ 0 w 197"/>
                  <a:gd name="T7" fmla="*/ 0 h 196"/>
                  <a:gd name="T8" fmla="*/ 0 w 197"/>
                  <a:gd name="T9" fmla="*/ 0 h 196"/>
                  <a:gd name="T10" fmla="*/ 0 w 197"/>
                  <a:gd name="T11" fmla="*/ 0 h 196"/>
                  <a:gd name="T12" fmla="*/ 0 w 197"/>
                  <a:gd name="T13" fmla="*/ 0 h 196"/>
                  <a:gd name="T14" fmla="*/ 0 w 197"/>
                  <a:gd name="T15" fmla="*/ 0 h 196"/>
                  <a:gd name="T16" fmla="*/ 0 w 197"/>
                  <a:gd name="T17" fmla="*/ 0 h 196"/>
                  <a:gd name="T18" fmla="*/ 0 w 197"/>
                  <a:gd name="T19" fmla="*/ 0 h 196"/>
                  <a:gd name="T20" fmla="*/ 0 w 197"/>
                  <a:gd name="T21" fmla="*/ 0 h 196"/>
                  <a:gd name="T22" fmla="*/ 0 w 197"/>
                  <a:gd name="T23" fmla="*/ 0 h 196"/>
                  <a:gd name="T24" fmla="*/ 0 w 197"/>
                  <a:gd name="T25" fmla="*/ 0 h 196"/>
                  <a:gd name="T26" fmla="*/ 0 w 197"/>
                  <a:gd name="T27" fmla="*/ 0 h 196"/>
                  <a:gd name="T28" fmla="*/ 0 w 197"/>
                  <a:gd name="T29" fmla="*/ 0 h 196"/>
                  <a:gd name="T30" fmla="*/ 0 w 197"/>
                  <a:gd name="T31" fmla="*/ 0 h 196"/>
                  <a:gd name="T32" fmla="*/ 0 w 197"/>
                  <a:gd name="T33" fmla="*/ 0 h 196"/>
                  <a:gd name="T34" fmla="*/ 0 w 197"/>
                  <a:gd name="T35" fmla="*/ 0 h 196"/>
                  <a:gd name="T36" fmla="*/ 0 w 197"/>
                  <a:gd name="T37" fmla="*/ 0 h 196"/>
                  <a:gd name="T38" fmla="*/ 0 w 197"/>
                  <a:gd name="T39" fmla="*/ 0 h 196"/>
                  <a:gd name="T40" fmla="*/ 0 w 197"/>
                  <a:gd name="T41" fmla="*/ 0 h 196"/>
                  <a:gd name="T42" fmla="*/ 0 w 197"/>
                  <a:gd name="T43" fmla="*/ 0 h 196"/>
                  <a:gd name="T44" fmla="*/ 0 w 197"/>
                  <a:gd name="T45" fmla="*/ 0 h 196"/>
                  <a:gd name="T46" fmla="*/ 0 w 197"/>
                  <a:gd name="T47" fmla="*/ 0 h 196"/>
                  <a:gd name="T48" fmla="*/ 0 w 197"/>
                  <a:gd name="T49" fmla="*/ 0 h 196"/>
                  <a:gd name="T50" fmla="*/ 0 w 197"/>
                  <a:gd name="T51" fmla="*/ 0 h 196"/>
                  <a:gd name="T52" fmla="*/ 0 w 197"/>
                  <a:gd name="T53" fmla="*/ 0 h 196"/>
                  <a:gd name="T54" fmla="*/ 0 w 197"/>
                  <a:gd name="T55" fmla="*/ 0 h 196"/>
                  <a:gd name="T56" fmla="*/ 0 w 197"/>
                  <a:gd name="T57" fmla="*/ 0 h 196"/>
                  <a:gd name="T58" fmla="*/ 0 w 197"/>
                  <a:gd name="T59" fmla="*/ 0 h 196"/>
                  <a:gd name="T60" fmla="*/ 0 w 197"/>
                  <a:gd name="T61" fmla="*/ 0 h 196"/>
                  <a:gd name="T62" fmla="*/ 0 w 197"/>
                  <a:gd name="T63" fmla="*/ 0 h 19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197"/>
                  <a:gd name="T97" fmla="*/ 0 h 196"/>
                  <a:gd name="T98" fmla="*/ 197 w 197"/>
                  <a:gd name="T99" fmla="*/ 196 h 19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197" h="196">
                    <a:moveTo>
                      <a:pt x="197" y="98"/>
                    </a:moveTo>
                    <a:lnTo>
                      <a:pt x="197" y="108"/>
                    </a:lnTo>
                    <a:lnTo>
                      <a:pt x="195" y="118"/>
                    </a:lnTo>
                    <a:lnTo>
                      <a:pt x="193" y="128"/>
                    </a:lnTo>
                    <a:lnTo>
                      <a:pt x="189" y="136"/>
                    </a:lnTo>
                    <a:lnTo>
                      <a:pt x="185" y="145"/>
                    </a:lnTo>
                    <a:lnTo>
                      <a:pt x="180" y="153"/>
                    </a:lnTo>
                    <a:lnTo>
                      <a:pt x="175" y="161"/>
                    </a:lnTo>
                    <a:lnTo>
                      <a:pt x="168" y="168"/>
                    </a:lnTo>
                    <a:lnTo>
                      <a:pt x="162" y="174"/>
                    </a:lnTo>
                    <a:lnTo>
                      <a:pt x="153" y="180"/>
                    </a:lnTo>
                    <a:lnTo>
                      <a:pt x="145" y="185"/>
                    </a:lnTo>
                    <a:lnTo>
                      <a:pt x="137" y="189"/>
                    </a:lnTo>
                    <a:lnTo>
                      <a:pt x="127" y="192"/>
                    </a:lnTo>
                    <a:lnTo>
                      <a:pt x="118" y="195"/>
                    </a:lnTo>
                    <a:lnTo>
                      <a:pt x="109" y="196"/>
                    </a:lnTo>
                    <a:lnTo>
                      <a:pt x="99" y="196"/>
                    </a:lnTo>
                    <a:lnTo>
                      <a:pt x="88" y="196"/>
                    </a:lnTo>
                    <a:lnTo>
                      <a:pt x="79" y="195"/>
                    </a:lnTo>
                    <a:lnTo>
                      <a:pt x="70" y="192"/>
                    </a:lnTo>
                    <a:lnTo>
                      <a:pt x="60" y="189"/>
                    </a:lnTo>
                    <a:lnTo>
                      <a:pt x="52" y="185"/>
                    </a:lnTo>
                    <a:lnTo>
                      <a:pt x="44" y="180"/>
                    </a:lnTo>
                    <a:lnTo>
                      <a:pt x="35" y="174"/>
                    </a:lnTo>
                    <a:lnTo>
                      <a:pt x="29" y="168"/>
                    </a:lnTo>
                    <a:lnTo>
                      <a:pt x="22" y="161"/>
                    </a:lnTo>
                    <a:lnTo>
                      <a:pt x="17" y="153"/>
                    </a:lnTo>
                    <a:lnTo>
                      <a:pt x="12" y="145"/>
                    </a:lnTo>
                    <a:lnTo>
                      <a:pt x="8" y="136"/>
                    </a:lnTo>
                    <a:lnTo>
                      <a:pt x="4" y="128"/>
                    </a:lnTo>
                    <a:lnTo>
                      <a:pt x="2" y="118"/>
                    </a:lnTo>
                    <a:lnTo>
                      <a:pt x="0" y="108"/>
                    </a:lnTo>
                    <a:lnTo>
                      <a:pt x="0" y="98"/>
                    </a:lnTo>
                    <a:lnTo>
                      <a:pt x="0" y="89"/>
                    </a:lnTo>
                    <a:lnTo>
                      <a:pt x="2" y="78"/>
                    </a:lnTo>
                    <a:lnTo>
                      <a:pt x="4" y="69"/>
                    </a:lnTo>
                    <a:lnTo>
                      <a:pt x="8" y="60"/>
                    </a:lnTo>
                    <a:lnTo>
                      <a:pt x="12" y="51"/>
                    </a:lnTo>
                    <a:lnTo>
                      <a:pt x="17" y="43"/>
                    </a:lnTo>
                    <a:lnTo>
                      <a:pt x="22" y="36"/>
                    </a:lnTo>
                    <a:lnTo>
                      <a:pt x="29" y="29"/>
                    </a:lnTo>
                    <a:lnTo>
                      <a:pt x="35" y="22"/>
                    </a:lnTo>
                    <a:lnTo>
                      <a:pt x="44" y="16"/>
                    </a:lnTo>
                    <a:lnTo>
                      <a:pt x="52" y="11"/>
                    </a:lnTo>
                    <a:lnTo>
                      <a:pt x="60" y="7"/>
                    </a:lnTo>
                    <a:lnTo>
                      <a:pt x="70" y="4"/>
                    </a:lnTo>
                    <a:lnTo>
                      <a:pt x="79" y="2"/>
                    </a:lnTo>
                    <a:lnTo>
                      <a:pt x="88" y="0"/>
                    </a:lnTo>
                    <a:lnTo>
                      <a:pt x="99" y="0"/>
                    </a:lnTo>
                    <a:lnTo>
                      <a:pt x="109" y="0"/>
                    </a:lnTo>
                    <a:lnTo>
                      <a:pt x="118" y="2"/>
                    </a:lnTo>
                    <a:lnTo>
                      <a:pt x="127" y="4"/>
                    </a:lnTo>
                    <a:lnTo>
                      <a:pt x="137" y="7"/>
                    </a:lnTo>
                    <a:lnTo>
                      <a:pt x="145" y="11"/>
                    </a:lnTo>
                    <a:lnTo>
                      <a:pt x="153" y="16"/>
                    </a:lnTo>
                    <a:lnTo>
                      <a:pt x="162" y="22"/>
                    </a:lnTo>
                    <a:lnTo>
                      <a:pt x="168" y="29"/>
                    </a:lnTo>
                    <a:lnTo>
                      <a:pt x="175" y="36"/>
                    </a:lnTo>
                    <a:lnTo>
                      <a:pt x="180" y="43"/>
                    </a:lnTo>
                    <a:lnTo>
                      <a:pt x="185" y="51"/>
                    </a:lnTo>
                    <a:lnTo>
                      <a:pt x="189" y="60"/>
                    </a:lnTo>
                    <a:lnTo>
                      <a:pt x="193" y="69"/>
                    </a:lnTo>
                    <a:lnTo>
                      <a:pt x="195" y="78"/>
                    </a:lnTo>
                    <a:lnTo>
                      <a:pt x="197" y="89"/>
                    </a:lnTo>
                    <a:lnTo>
                      <a:pt x="197" y="98"/>
                    </a:lnTo>
                    <a:close/>
                  </a:path>
                </a:pathLst>
              </a:custGeom>
              <a:solidFill>
                <a:srgbClr val="00A13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44" name="Freeform 163"/>
              <p:cNvSpPr>
                <a:spLocks/>
              </p:cNvSpPr>
              <p:nvPr/>
            </p:nvSpPr>
            <p:spPr bwMode="auto">
              <a:xfrm>
                <a:off x="3552" y="448"/>
                <a:ext cx="14" cy="14"/>
              </a:xfrm>
              <a:custGeom>
                <a:avLst/>
                <a:gdLst>
                  <a:gd name="T0" fmla="*/ 0 w 98"/>
                  <a:gd name="T1" fmla="*/ 0 h 99"/>
                  <a:gd name="T2" fmla="*/ 0 w 98"/>
                  <a:gd name="T3" fmla="*/ 0 h 99"/>
                  <a:gd name="T4" fmla="*/ 0 w 98"/>
                  <a:gd name="T5" fmla="*/ 0 h 99"/>
                  <a:gd name="T6" fmla="*/ 0 w 98"/>
                  <a:gd name="T7" fmla="*/ 0 h 99"/>
                  <a:gd name="T8" fmla="*/ 0 w 98"/>
                  <a:gd name="T9" fmla="*/ 0 h 99"/>
                  <a:gd name="T10" fmla="*/ 0 w 98"/>
                  <a:gd name="T11" fmla="*/ 0 h 99"/>
                  <a:gd name="T12" fmla="*/ 0 w 98"/>
                  <a:gd name="T13" fmla="*/ 0 h 99"/>
                  <a:gd name="T14" fmla="*/ 0 w 98"/>
                  <a:gd name="T15" fmla="*/ 0 h 99"/>
                  <a:gd name="T16" fmla="*/ 0 w 98"/>
                  <a:gd name="T17" fmla="*/ 0 h 99"/>
                  <a:gd name="T18" fmla="*/ 0 w 98"/>
                  <a:gd name="T19" fmla="*/ 0 h 99"/>
                  <a:gd name="T20" fmla="*/ 0 w 98"/>
                  <a:gd name="T21" fmla="*/ 0 h 99"/>
                  <a:gd name="T22" fmla="*/ 0 w 98"/>
                  <a:gd name="T23" fmla="*/ 0 h 99"/>
                  <a:gd name="T24" fmla="*/ 0 w 98"/>
                  <a:gd name="T25" fmla="*/ 0 h 99"/>
                  <a:gd name="T26" fmla="*/ 0 w 98"/>
                  <a:gd name="T27" fmla="*/ 0 h 99"/>
                  <a:gd name="T28" fmla="*/ 0 w 98"/>
                  <a:gd name="T29" fmla="*/ 0 h 99"/>
                  <a:gd name="T30" fmla="*/ 0 w 98"/>
                  <a:gd name="T31" fmla="*/ 0 h 99"/>
                  <a:gd name="T32" fmla="*/ 0 w 98"/>
                  <a:gd name="T33" fmla="*/ 0 h 99"/>
                  <a:gd name="T34" fmla="*/ 0 w 98"/>
                  <a:gd name="T35" fmla="*/ 0 h 99"/>
                  <a:gd name="T36" fmla="*/ 0 w 98"/>
                  <a:gd name="T37" fmla="*/ 0 h 99"/>
                  <a:gd name="T38" fmla="*/ 0 w 98"/>
                  <a:gd name="T39" fmla="*/ 0 h 99"/>
                  <a:gd name="T40" fmla="*/ 0 w 98"/>
                  <a:gd name="T41" fmla="*/ 0 h 99"/>
                  <a:gd name="T42" fmla="*/ 0 w 98"/>
                  <a:gd name="T43" fmla="*/ 0 h 99"/>
                  <a:gd name="T44" fmla="*/ 0 w 98"/>
                  <a:gd name="T45" fmla="*/ 0 h 99"/>
                  <a:gd name="T46" fmla="*/ 0 w 98"/>
                  <a:gd name="T47" fmla="*/ 0 h 99"/>
                  <a:gd name="T48" fmla="*/ 0 w 98"/>
                  <a:gd name="T49" fmla="*/ 0 h 99"/>
                  <a:gd name="T50" fmla="*/ 0 w 98"/>
                  <a:gd name="T51" fmla="*/ 0 h 99"/>
                  <a:gd name="T52" fmla="*/ 0 w 98"/>
                  <a:gd name="T53" fmla="*/ 0 h 99"/>
                  <a:gd name="T54" fmla="*/ 0 w 98"/>
                  <a:gd name="T55" fmla="*/ 0 h 99"/>
                  <a:gd name="T56" fmla="*/ 0 w 98"/>
                  <a:gd name="T57" fmla="*/ 0 h 99"/>
                  <a:gd name="T58" fmla="*/ 0 w 98"/>
                  <a:gd name="T59" fmla="*/ 0 h 99"/>
                  <a:gd name="T60" fmla="*/ 0 w 98"/>
                  <a:gd name="T61" fmla="*/ 0 h 99"/>
                  <a:gd name="T62" fmla="*/ 0 w 98"/>
                  <a:gd name="T63" fmla="*/ 0 h 99"/>
                  <a:gd name="T64" fmla="*/ 0 w 98"/>
                  <a:gd name="T65" fmla="*/ 0 h 99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98"/>
                  <a:gd name="T100" fmla="*/ 0 h 99"/>
                  <a:gd name="T101" fmla="*/ 98 w 98"/>
                  <a:gd name="T102" fmla="*/ 99 h 99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98" h="99">
                    <a:moveTo>
                      <a:pt x="98" y="50"/>
                    </a:moveTo>
                    <a:lnTo>
                      <a:pt x="97" y="60"/>
                    </a:lnTo>
                    <a:lnTo>
                      <a:pt x="95" y="69"/>
                    </a:lnTo>
                    <a:lnTo>
                      <a:pt x="90" y="77"/>
                    </a:lnTo>
                    <a:lnTo>
                      <a:pt x="84" y="85"/>
                    </a:lnTo>
                    <a:lnTo>
                      <a:pt x="76" y="91"/>
                    </a:lnTo>
                    <a:lnTo>
                      <a:pt x="68" y="95"/>
                    </a:lnTo>
                    <a:lnTo>
                      <a:pt x="59" y="98"/>
                    </a:lnTo>
                    <a:lnTo>
                      <a:pt x="50" y="99"/>
                    </a:lnTo>
                    <a:lnTo>
                      <a:pt x="39" y="98"/>
                    </a:lnTo>
                    <a:lnTo>
                      <a:pt x="30" y="95"/>
                    </a:lnTo>
                    <a:lnTo>
                      <a:pt x="22" y="91"/>
                    </a:lnTo>
                    <a:lnTo>
                      <a:pt x="14" y="85"/>
                    </a:lnTo>
                    <a:lnTo>
                      <a:pt x="8" y="77"/>
                    </a:lnTo>
                    <a:lnTo>
                      <a:pt x="4" y="69"/>
                    </a:lnTo>
                    <a:lnTo>
                      <a:pt x="1" y="60"/>
                    </a:lnTo>
                    <a:lnTo>
                      <a:pt x="0" y="50"/>
                    </a:lnTo>
                    <a:lnTo>
                      <a:pt x="1" y="40"/>
                    </a:lnTo>
                    <a:lnTo>
                      <a:pt x="4" y="31"/>
                    </a:lnTo>
                    <a:lnTo>
                      <a:pt x="8" y="23"/>
                    </a:lnTo>
                    <a:lnTo>
                      <a:pt x="14" y="14"/>
                    </a:lnTo>
                    <a:lnTo>
                      <a:pt x="22" y="9"/>
                    </a:lnTo>
                    <a:lnTo>
                      <a:pt x="30" y="4"/>
                    </a:lnTo>
                    <a:lnTo>
                      <a:pt x="39" y="1"/>
                    </a:lnTo>
                    <a:lnTo>
                      <a:pt x="50" y="0"/>
                    </a:lnTo>
                    <a:lnTo>
                      <a:pt x="59" y="1"/>
                    </a:lnTo>
                    <a:lnTo>
                      <a:pt x="68" y="4"/>
                    </a:lnTo>
                    <a:lnTo>
                      <a:pt x="76" y="9"/>
                    </a:lnTo>
                    <a:lnTo>
                      <a:pt x="84" y="14"/>
                    </a:lnTo>
                    <a:lnTo>
                      <a:pt x="90" y="23"/>
                    </a:lnTo>
                    <a:lnTo>
                      <a:pt x="95" y="31"/>
                    </a:lnTo>
                    <a:lnTo>
                      <a:pt x="97" y="40"/>
                    </a:lnTo>
                    <a:lnTo>
                      <a:pt x="98" y="50"/>
                    </a:lnTo>
                    <a:close/>
                  </a:path>
                </a:pathLst>
              </a:custGeom>
              <a:solidFill>
                <a:srgbClr val="ABD3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</p:grpSp>
      </p:grpSp>
      <p:sp>
        <p:nvSpPr>
          <p:cNvPr id="137223" name="Text Box 38"/>
          <p:cNvSpPr txBox="1">
            <a:spLocks noChangeArrowheads="1"/>
          </p:cNvSpPr>
          <p:nvPr/>
        </p:nvSpPr>
        <p:spPr bwMode="auto">
          <a:xfrm>
            <a:off x="3055941" y="2197114"/>
            <a:ext cx="246062" cy="291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08" tIns="45505" rIns="91008" bIns="45505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en-US" altLang="ko-KR" sz="1300" b="1">
                <a:solidFill>
                  <a:srgbClr val="FF0066"/>
                </a:solidFill>
              </a:rPr>
              <a:t>X</a:t>
            </a:r>
          </a:p>
        </p:txBody>
      </p:sp>
      <p:sp>
        <p:nvSpPr>
          <p:cNvPr id="137224" name="Line 39"/>
          <p:cNvSpPr>
            <a:spLocks noChangeShapeType="1"/>
          </p:cNvSpPr>
          <p:nvPr/>
        </p:nvSpPr>
        <p:spPr bwMode="auto">
          <a:xfrm>
            <a:off x="3178175" y="2806700"/>
            <a:ext cx="0" cy="990600"/>
          </a:xfrm>
          <a:prstGeom prst="line">
            <a:avLst/>
          </a:prstGeom>
          <a:noFill/>
          <a:ln w="19050">
            <a:solidFill>
              <a:srgbClr val="FF006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008" tIns="45505" rIns="91008" bIns="45505"/>
          <a:lstStyle/>
          <a:p>
            <a:endParaRPr lang="ko-KR" altLang="en-US"/>
          </a:p>
        </p:txBody>
      </p:sp>
      <p:sp>
        <p:nvSpPr>
          <p:cNvPr id="137225" name="Text Box 40"/>
          <p:cNvSpPr txBox="1">
            <a:spLocks noChangeArrowheads="1"/>
          </p:cNvSpPr>
          <p:nvPr/>
        </p:nvSpPr>
        <p:spPr bwMode="auto">
          <a:xfrm>
            <a:off x="1473461" y="3603643"/>
            <a:ext cx="1318720" cy="6458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08" tIns="45505" rIns="91008" bIns="45505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1800" b="1">
                <a:solidFill>
                  <a:schemeClr val="tx1"/>
                </a:solidFill>
              </a:rPr>
              <a:t>육종가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1800" b="1">
                <a:solidFill>
                  <a:schemeClr val="tx1"/>
                </a:solidFill>
              </a:rPr>
              <a:t>도체중 </a:t>
            </a:r>
            <a:r>
              <a:rPr lang="en-US" altLang="ko-KR" sz="1800" b="1">
                <a:solidFill>
                  <a:schemeClr val="tx1"/>
                </a:solidFill>
              </a:rPr>
              <a:t>4kg</a:t>
            </a:r>
          </a:p>
        </p:txBody>
      </p:sp>
      <p:sp>
        <p:nvSpPr>
          <p:cNvPr id="137226" name="Text Box 41"/>
          <p:cNvSpPr txBox="1">
            <a:spLocks noChangeArrowheads="1"/>
          </p:cNvSpPr>
          <p:nvPr/>
        </p:nvSpPr>
        <p:spPr bwMode="auto">
          <a:xfrm>
            <a:off x="1012279" y="5983305"/>
            <a:ext cx="1815650" cy="7382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08" tIns="45505" rIns="91008" bIns="45505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2100" b="1" dirty="0">
                <a:solidFill>
                  <a:schemeClr val="tx1"/>
                </a:solidFill>
              </a:rPr>
              <a:t>전국 평균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2100" b="1" dirty="0" err="1">
                <a:solidFill>
                  <a:schemeClr val="tx1"/>
                </a:solidFill>
              </a:rPr>
              <a:t>도체중</a:t>
            </a:r>
            <a:r>
              <a:rPr lang="ko-KR" altLang="en-US" sz="2100" b="1" dirty="0">
                <a:solidFill>
                  <a:schemeClr val="tx1"/>
                </a:solidFill>
              </a:rPr>
              <a:t> </a:t>
            </a:r>
            <a:r>
              <a:rPr lang="en-US" altLang="ko-KR" sz="2100" b="1" dirty="0">
                <a:solidFill>
                  <a:schemeClr val="tx1"/>
                </a:solidFill>
              </a:rPr>
              <a:t>430kg</a:t>
            </a:r>
          </a:p>
        </p:txBody>
      </p:sp>
      <p:sp>
        <p:nvSpPr>
          <p:cNvPr id="137227" name="Line 42"/>
          <p:cNvSpPr>
            <a:spLocks noChangeShapeType="1"/>
          </p:cNvSpPr>
          <p:nvPr/>
        </p:nvSpPr>
        <p:spPr bwMode="auto">
          <a:xfrm>
            <a:off x="3178175" y="5767388"/>
            <a:ext cx="0" cy="990600"/>
          </a:xfrm>
          <a:prstGeom prst="line">
            <a:avLst/>
          </a:prstGeom>
          <a:noFill/>
          <a:ln w="19050">
            <a:solidFill>
              <a:srgbClr val="FF006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008" tIns="45505" rIns="91008" bIns="45505"/>
          <a:lstStyle/>
          <a:p>
            <a:endParaRPr lang="ko-KR" altLang="en-US"/>
          </a:p>
        </p:txBody>
      </p:sp>
      <p:sp>
        <p:nvSpPr>
          <p:cNvPr id="137228" name="Line 43"/>
          <p:cNvSpPr>
            <a:spLocks noChangeShapeType="1"/>
          </p:cNvSpPr>
          <p:nvPr/>
        </p:nvSpPr>
        <p:spPr bwMode="auto">
          <a:xfrm rot="-5400000">
            <a:off x="2907507" y="5936483"/>
            <a:ext cx="0" cy="541337"/>
          </a:xfrm>
          <a:prstGeom prst="line">
            <a:avLst/>
          </a:prstGeom>
          <a:noFill/>
          <a:ln w="19050">
            <a:solidFill>
              <a:srgbClr val="FF006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008" tIns="45505" rIns="91008" bIns="45505"/>
          <a:lstStyle/>
          <a:p>
            <a:endParaRPr lang="ko-KR" altLang="en-US"/>
          </a:p>
        </p:txBody>
      </p:sp>
      <p:sp>
        <p:nvSpPr>
          <p:cNvPr id="137229" name="Text Box 44"/>
          <p:cNvSpPr txBox="1">
            <a:spLocks noChangeArrowheads="1"/>
          </p:cNvSpPr>
          <p:nvPr/>
        </p:nvSpPr>
        <p:spPr bwMode="auto">
          <a:xfrm>
            <a:off x="2310447" y="6851663"/>
            <a:ext cx="1735500" cy="415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08" tIns="45505" rIns="91008" bIns="45505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2100" b="1" dirty="0" err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도체중</a:t>
            </a:r>
            <a:r>
              <a:rPr lang="en-US" altLang="ko-KR" sz="2100" b="1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442kg</a:t>
            </a:r>
          </a:p>
        </p:txBody>
      </p:sp>
      <p:sp>
        <p:nvSpPr>
          <p:cNvPr id="137230" name="Text Box 45"/>
          <p:cNvSpPr txBox="1">
            <a:spLocks noChangeArrowheads="1"/>
          </p:cNvSpPr>
          <p:nvPr/>
        </p:nvSpPr>
        <p:spPr bwMode="auto">
          <a:xfrm>
            <a:off x="2774958" y="5984890"/>
            <a:ext cx="287989" cy="291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08" tIns="45505" rIns="91008" bIns="45505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1300">
                <a:solidFill>
                  <a:srgbClr val="FF0066"/>
                </a:solidFill>
              </a:rPr>
              <a:t>+</a:t>
            </a:r>
          </a:p>
        </p:txBody>
      </p:sp>
      <p:pic>
        <p:nvPicPr>
          <p:cNvPr id="137231" name="Picture 46" descr="C:\Documents and Settings\goldstar\Application Data\Microsoft\Media Catalog\Downloaded Clips\cla6\j0417440.wm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94138" y="2122516"/>
            <a:ext cx="1262062" cy="1330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7232" name="Picture 47" descr="C:\Documents and Settings\goldstar\Application Data\Microsoft\Media Catalog\Downloaded Clips\cla6\j0417440.wm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36863" y="4122765"/>
            <a:ext cx="971550" cy="930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7233" name="Text Box 50"/>
          <p:cNvSpPr txBox="1">
            <a:spLocks noChangeArrowheads="1"/>
          </p:cNvSpPr>
          <p:nvPr/>
        </p:nvSpPr>
        <p:spPr bwMode="auto">
          <a:xfrm>
            <a:off x="3383478" y="3562362"/>
            <a:ext cx="2251667" cy="661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08" tIns="45505" rIns="91008" bIns="45505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6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KPN </a:t>
            </a:r>
            <a:r>
              <a:rPr lang="en-US" altLang="ko-KR" sz="21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757</a:t>
            </a:r>
            <a:r>
              <a:rPr lang="en-US" altLang="ko-KR" sz="16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6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육종가</a:t>
            </a:r>
            <a:r>
              <a:rPr lang="en-US" altLang="ko-KR" sz="16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(</a:t>
            </a:r>
            <a:r>
              <a:rPr lang="ko-KR" altLang="en-US" sz="16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친부</a:t>
            </a:r>
            <a:r>
              <a:rPr lang="en-US" altLang="ko-KR" sz="16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)</a:t>
            </a:r>
            <a:endParaRPr lang="ko-KR" altLang="en-US" sz="1600" b="1">
              <a:solidFill>
                <a:schemeClr val="tx1"/>
              </a:solidFill>
              <a:latin typeface="HY헤드라인M" pitchFamily="18" charset="-127"/>
              <a:ea typeface="HY헤드라인M" pitchFamily="18" charset="-127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16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도체중 </a:t>
            </a:r>
            <a:r>
              <a:rPr lang="en-US" altLang="ko-KR" sz="16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20kg</a:t>
            </a:r>
          </a:p>
        </p:txBody>
      </p:sp>
      <p:sp>
        <p:nvSpPr>
          <p:cNvPr id="137234" name="Text Box 51"/>
          <p:cNvSpPr txBox="1">
            <a:spLocks noChangeArrowheads="1"/>
          </p:cNvSpPr>
          <p:nvPr/>
        </p:nvSpPr>
        <p:spPr bwMode="auto">
          <a:xfrm>
            <a:off x="1743430" y="5159388"/>
            <a:ext cx="2940959" cy="661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08" tIns="45505" rIns="91008" bIns="45505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21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자손</a:t>
            </a:r>
            <a:r>
              <a:rPr lang="en-US" altLang="ko-KR" sz="21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(A)</a:t>
            </a:r>
            <a:r>
              <a:rPr lang="ko-KR" altLang="en-US" sz="21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의 육종가</a:t>
            </a:r>
            <a:endParaRPr lang="ko-KR" altLang="en-US" sz="1600" b="1">
              <a:solidFill>
                <a:schemeClr val="tx1"/>
              </a:solidFill>
              <a:latin typeface="HY헤드라인M" pitchFamily="18" charset="-127"/>
              <a:ea typeface="HY헤드라인M" pitchFamily="18" charset="-127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1600" b="1">
                <a:solidFill>
                  <a:schemeClr val="tx1"/>
                </a:solidFill>
              </a:rPr>
              <a:t>도체중 </a:t>
            </a:r>
            <a:r>
              <a:rPr lang="en-US" altLang="ko-KR" sz="1600" b="1">
                <a:solidFill>
                  <a:schemeClr val="tx1"/>
                </a:solidFill>
              </a:rPr>
              <a:t>= (4/2)+(20/2) = </a:t>
            </a:r>
            <a:r>
              <a:rPr lang="en-US" altLang="ko-KR" sz="1600" b="1">
                <a:solidFill>
                  <a:srgbClr val="00B050"/>
                </a:solidFill>
              </a:rPr>
              <a:t>12kg</a:t>
            </a:r>
            <a:endParaRPr lang="en-US" altLang="ko-KR" sz="1800" b="1">
              <a:solidFill>
                <a:srgbClr val="00B050"/>
              </a:solidFill>
            </a:endParaRPr>
          </a:p>
        </p:txBody>
      </p:sp>
      <p:sp>
        <p:nvSpPr>
          <p:cNvPr id="137235" name="Text Box 53"/>
          <p:cNvSpPr txBox="1">
            <a:spLocks noChangeArrowheads="1"/>
          </p:cNvSpPr>
          <p:nvPr/>
        </p:nvSpPr>
        <p:spPr bwMode="auto">
          <a:xfrm>
            <a:off x="7366000" y="2162191"/>
            <a:ext cx="215900" cy="291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08" tIns="45505" rIns="91008" bIns="45505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buFontTx/>
              <a:buNone/>
            </a:pPr>
            <a:r>
              <a:rPr lang="en-US" altLang="ko-KR" sz="1300" b="1">
                <a:solidFill>
                  <a:srgbClr val="FF0066"/>
                </a:solidFill>
              </a:rPr>
              <a:t>X</a:t>
            </a:r>
          </a:p>
        </p:txBody>
      </p:sp>
      <p:sp>
        <p:nvSpPr>
          <p:cNvPr id="137236" name="Line 54"/>
          <p:cNvSpPr>
            <a:spLocks noChangeShapeType="1"/>
          </p:cNvSpPr>
          <p:nvPr/>
        </p:nvSpPr>
        <p:spPr bwMode="auto">
          <a:xfrm>
            <a:off x="7473950" y="2762250"/>
            <a:ext cx="0" cy="990600"/>
          </a:xfrm>
          <a:prstGeom prst="line">
            <a:avLst/>
          </a:prstGeom>
          <a:noFill/>
          <a:ln w="19050">
            <a:solidFill>
              <a:srgbClr val="FF006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008" tIns="45505" rIns="91008" bIns="45505"/>
          <a:lstStyle/>
          <a:p>
            <a:endParaRPr lang="ko-KR" altLang="en-US"/>
          </a:p>
        </p:txBody>
      </p:sp>
      <p:sp>
        <p:nvSpPr>
          <p:cNvPr id="137237" name="Text Box 55"/>
          <p:cNvSpPr txBox="1">
            <a:spLocks noChangeArrowheads="1"/>
          </p:cNvSpPr>
          <p:nvPr/>
        </p:nvSpPr>
        <p:spPr bwMode="auto">
          <a:xfrm>
            <a:off x="5904173" y="3514737"/>
            <a:ext cx="1318720" cy="6458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08" tIns="45505" rIns="91008" bIns="45505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1800" b="1">
                <a:solidFill>
                  <a:schemeClr val="tx1"/>
                </a:solidFill>
              </a:rPr>
              <a:t>육종가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1800" b="1">
                <a:solidFill>
                  <a:schemeClr val="tx1"/>
                </a:solidFill>
              </a:rPr>
              <a:t>도체중 </a:t>
            </a:r>
            <a:r>
              <a:rPr lang="en-US" altLang="ko-KR" sz="1800" b="1">
                <a:solidFill>
                  <a:schemeClr val="tx1"/>
                </a:solidFill>
              </a:rPr>
              <a:t>4kg</a:t>
            </a:r>
          </a:p>
        </p:txBody>
      </p:sp>
      <p:sp>
        <p:nvSpPr>
          <p:cNvPr id="137238" name="Text Box 56"/>
          <p:cNvSpPr txBox="1">
            <a:spLocks noChangeArrowheads="1"/>
          </p:cNvSpPr>
          <p:nvPr/>
        </p:nvSpPr>
        <p:spPr bwMode="auto">
          <a:xfrm>
            <a:off x="5477910" y="5983305"/>
            <a:ext cx="1815650" cy="7382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08" tIns="45505" rIns="91008" bIns="45505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2100" b="1" dirty="0">
                <a:solidFill>
                  <a:schemeClr val="tx1"/>
                </a:solidFill>
              </a:rPr>
              <a:t>전국 평균</a:t>
            </a: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2100" b="1" dirty="0" err="1">
                <a:solidFill>
                  <a:schemeClr val="tx1"/>
                </a:solidFill>
              </a:rPr>
              <a:t>도체중</a:t>
            </a:r>
            <a:r>
              <a:rPr lang="ko-KR" altLang="en-US" sz="2100" b="1" dirty="0">
                <a:solidFill>
                  <a:schemeClr val="tx1"/>
                </a:solidFill>
              </a:rPr>
              <a:t> </a:t>
            </a:r>
            <a:r>
              <a:rPr lang="en-US" altLang="ko-KR" sz="2100" b="1" dirty="0">
                <a:solidFill>
                  <a:schemeClr val="tx1"/>
                </a:solidFill>
              </a:rPr>
              <a:t>430kg</a:t>
            </a:r>
          </a:p>
        </p:txBody>
      </p:sp>
      <p:sp>
        <p:nvSpPr>
          <p:cNvPr id="137239" name="Line 57"/>
          <p:cNvSpPr>
            <a:spLocks noChangeShapeType="1"/>
          </p:cNvSpPr>
          <p:nvPr/>
        </p:nvSpPr>
        <p:spPr bwMode="auto">
          <a:xfrm>
            <a:off x="7473950" y="5749925"/>
            <a:ext cx="0" cy="990600"/>
          </a:xfrm>
          <a:prstGeom prst="line">
            <a:avLst/>
          </a:prstGeom>
          <a:noFill/>
          <a:ln w="19050">
            <a:solidFill>
              <a:srgbClr val="FF006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008" tIns="45505" rIns="91008" bIns="45505"/>
          <a:lstStyle/>
          <a:p>
            <a:endParaRPr lang="ko-KR" altLang="en-US"/>
          </a:p>
        </p:txBody>
      </p:sp>
      <p:sp>
        <p:nvSpPr>
          <p:cNvPr id="137240" name="Line 58"/>
          <p:cNvSpPr>
            <a:spLocks noChangeShapeType="1"/>
          </p:cNvSpPr>
          <p:nvPr/>
        </p:nvSpPr>
        <p:spPr bwMode="auto">
          <a:xfrm rot="-5400000">
            <a:off x="7238207" y="5971382"/>
            <a:ext cx="0" cy="471487"/>
          </a:xfrm>
          <a:prstGeom prst="line">
            <a:avLst/>
          </a:prstGeom>
          <a:noFill/>
          <a:ln w="19050">
            <a:solidFill>
              <a:srgbClr val="FF0066"/>
            </a:solidFill>
            <a:round/>
            <a:headEnd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91008" tIns="45505" rIns="91008" bIns="45505"/>
          <a:lstStyle/>
          <a:p>
            <a:endParaRPr lang="ko-KR" altLang="en-US"/>
          </a:p>
        </p:txBody>
      </p:sp>
      <p:sp>
        <p:nvSpPr>
          <p:cNvPr id="137241" name="Text Box 59"/>
          <p:cNvSpPr txBox="1">
            <a:spLocks noChangeArrowheads="1"/>
          </p:cNvSpPr>
          <p:nvPr/>
        </p:nvSpPr>
        <p:spPr bwMode="auto">
          <a:xfrm>
            <a:off x="6560544" y="6851663"/>
            <a:ext cx="1823665" cy="415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08" tIns="45505" rIns="91008" bIns="45505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2100" b="1" dirty="0" err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도체중</a:t>
            </a:r>
            <a:r>
              <a:rPr lang="ko-KR" altLang="en-US" sz="2100" b="1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en-US" altLang="ko-KR" sz="2100" b="1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418kg</a:t>
            </a:r>
          </a:p>
        </p:txBody>
      </p:sp>
      <p:sp>
        <p:nvSpPr>
          <p:cNvPr id="137242" name="Text Box 60"/>
          <p:cNvSpPr txBox="1">
            <a:spLocks noChangeArrowheads="1"/>
          </p:cNvSpPr>
          <p:nvPr/>
        </p:nvSpPr>
        <p:spPr bwMode="auto">
          <a:xfrm>
            <a:off x="7123122" y="5984890"/>
            <a:ext cx="287989" cy="291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08" tIns="45505" rIns="91008" bIns="45505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1300">
                <a:solidFill>
                  <a:srgbClr val="FF0066"/>
                </a:solidFill>
              </a:rPr>
              <a:t>+</a:t>
            </a:r>
          </a:p>
        </p:txBody>
      </p:sp>
      <p:pic>
        <p:nvPicPr>
          <p:cNvPr id="137243" name="Picture 61" descr="C:\Documents and Settings\goldstar\Application Data\Microsoft\Media Catalog\Downloaded Clips\cla6\j0417440.wm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21667" y="2038356"/>
            <a:ext cx="1200151" cy="1363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7244" name="Picture 62" descr="C:\Documents and Settings\goldstar\Application Data\Microsoft\Media Catalog\Downloaded Clips\cla6\j0417440.wmf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5013" y="4122766"/>
            <a:ext cx="906462" cy="93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7245" name="Text Box 65"/>
          <p:cNvSpPr txBox="1">
            <a:spLocks noChangeArrowheads="1"/>
          </p:cNvSpPr>
          <p:nvPr/>
        </p:nvSpPr>
        <p:spPr bwMode="auto">
          <a:xfrm>
            <a:off x="7516436" y="3521089"/>
            <a:ext cx="2272507" cy="661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08" tIns="45505" rIns="91008" bIns="45505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6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KPN </a:t>
            </a:r>
            <a:r>
              <a:rPr lang="en-US" altLang="ko-KR" sz="2100" b="1">
                <a:solidFill>
                  <a:srgbClr val="C00000"/>
                </a:solidFill>
                <a:latin typeface="HY헤드라인M" pitchFamily="18" charset="-127"/>
                <a:ea typeface="HY헤드라인M" pitchFamily="18" charset="-127"/>
              </a:rPr>
              <a:t>700</a:t>
            </a:r>
            <a:r>
              <a:rPr lang="en-US" altLang="ko-KR" sz="21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16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육종가</a:t>
            </a:r>
            <a:r>
              <a:rPr lang="en-US" altLang="ko-KR" sz="16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(</a:t>
            </a:r>
            <a:r>
              <a:rPr lang="ko-KR" altLang="en-US" sz="16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오류</a:t>
            </a:r>
            <a:r>
              <a:rPr lang="en-US" altLang="ko-KR" sz="16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)</a:t>
            </a:r>
            <a:endParaRPr lang="ko-KR" altLang="en-US" sz="1600" b="1">
              <a:solidFill>
                <a:schemeClr val="tx1"/>
              </a:solidFill>
              <a:latin typeface="HY헤드라인M" pitchFamily="18" charset="-127"/>
              <a:ea typeface="HY헤드라인M" pitchFamily="18" charset="-127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16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도체중 </a:t>
            </a:r>
            <a:r>
              <a:rPr lang="en-US" altLang="ko-KR" sz="16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-20kg</a:t>
            </a:r>
          </a:p>
        </p:txBody>
      </p:sp>
      <p:sp>
        <p:nvSpPr>
          <p:cNvPr id="137246" name="Text Box 66"/>
          <p:cNvSpPr txBox="1">
            <a:spLocks noChangeArrowheads="1"/>
          </p:cNvSpPr>
          <p:nvPr/>
        </p:nvSpPr>
        <p:spPr bwMode="auto">
          <a:xfrm>
            <a:off x="5813541" y="5159388"/>
            <a:ext cx="3319267" cy="6612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08" tIns="45505" rIns="91008" bIns="45505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21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자손</a:t>
            </a:r>
            <a:r>
              <a:rPr lang="en-US" altLang="ko-KR" sz="21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(B)</a:t>
            </a:r>
            <a:r>
              <a:rPr lang="ko-KR" altLang="en-US" sz="2100" b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의 육종가</a:t>
            </a:r>
            <a:endParaRPr lang="ko-KR" altLang="en-US" sz="1600" b="1">
              <a:solidFill>
                <a:schemeClr val="tx1"/>
              </a:solidFill>
              <a:latin typeface="HY헤드라인M" pitchFamily="18" charset="-127"/>
              <a:ea typeface="HY헤드라인M" pitchFamily="18" charset="-127"/>
            </a:endParaRPr>
          </a:p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1600" b="1">
                <a:solidFill>
                  <a:schemeClr val="tx1"/>
                </a:solidFill>
              </a:rPr>
              <a:t>도체중  </a:t>
            </a:r>
            <a:r>
              <a:rPr lang="en-US" altLang="ko-KR" sz="1600" b="1">
                <a:solidFill>
                  <a:schemeClr val="tx1"/>
                </a:solidFill>
              </a:rPr>
              <a:t>=  (4/2)+(-20/2) = </a:t>
            </a:r>
            <a:r>
              <a:rPr lang="en-US" altLang="ko-KR" sz="1600" b="1">
                <a:solidFill>
                  <a:srgbClr val="C00000"/>
                </a:solidFill>
                <a:latin typeface="HY헤드라인M" pitchFamily="18" charset="-127"/>
                <a:ea typeface="HY헤드라인M" pitchFamily="18" charset="-127"/>
              </a:rPr>
              <a:t>-</a:t>
            </a:r>
            <a:r>
              <a:rPr lang="en-US" altLang="ko-KR" sz="1600" b="1">
                <a:solidFill>
                  <a:srgbClr val="C00000"/>
                </a:solidFill>
              </a:rPr>
              <a:t>12kg</a:t>
            </a:r>
            <a:endParaRPr lang="en-US" altLang="ko-KR" sz="3200" b="1">
              <a:solidFill>
                <a:srgbClr val="C00000"/>
              </a:solidFill>
            </a:endParaRPr>
          </a:p>
        </p:txBody>
      </p:sp>
      <p:sp>
        <p:nvSpPr>
          <p:cNvPr id="137247" name="AutoShape 67"/>
          <p:cNvSpPr>
            <a:spLocks noChangeArrowheads="1"/>
          </p:cNvSpPr>
          <p:nvPr/>
        </p:nvSpPr>
        <p:spPr bwMode="auto">
          <a:xfrm>
            <a:off x="2189167" y="6757990"/>
            <a:ext cx="2016125" cy="533400"/>
          </a:xfrm>
          <a:prstGeom prst="roundRect">
            <a:avLst>
              <a:gd name="adj" fmla="val 16667"/>
            </a:avLst>
          </a:prstGeom>
          <a:noFill/>
          <a:ln w="28575">
            <a:solidFill>
              <a:srgbClr val="FF006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008" tIns="45505" rIns="91008" bIns="45505" anchor="ctr"/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ko-KR" altLang="en-US" sz="800">
              <a:solidFill>
                <a:schemeClr val="tx1"/>
              </a:solidFill>
              <a:latin typeface="Trebuchet MS" pitchFamily="34" charset="0"/>
            </a:endParaRPr>
          </a:p>
        </p:txBody>
      </p:sp>
      <p:sp>
        <p:nvSpPr>
          <p:cNvPr id="137248" name="AutoShape 68"/>
          <p:cNvSpPr>
            <a:spLocks noChangeArrowheads="1"/>
          </p:cNvSpPr>
          <p:nvPr/>
        </p:nvSpPr>
        <p:spPr bwMode="auto">
          <a:xfrm>
            <a:off x="6457953" y="6757990"/>
            <a:ext cx="2055813" cy="533400"/>
          </a:xfrm>
          <a:prstGeom prst="roundRect">
            <a:avLst>
              <a:gd name="adj" fmla="val 16667"/>
            </a:avLst>
          </a:prstGeom>
          <a:noFill/>
          <a:ln w="28575">
            <a:solidFill>
              <a:srgbClr val="FF006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008" tIns="45505" rIns="91008" bIns="45505" anchor="ctr"/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ko-KR" altLang="en-US" sz="800">
              <a:solidFill>
                <a:schemeClr val="tx1"/>
              </a:solidFill>
              <a:latin typeface="Trebuchet MS" pitchFamily="34" charset="0"/>
            </a:endParaRPr>
          </a:p>
        </p:txBody>
      </p:sp>
      <p:grpSp>
        <p:nvGrpSpPr>
          <p:cNvPr id="137249" name="Group 2"/>
          <p:cNvGrpSpPr>
            <a:grpSpLocks/>
          </p:cNvGrpSpPr>
          <p:nvPr/>
        </p:nvGrpSpPr>
        <p:grpSpPr bwMode="auto">
          <a:xfrm>
            <a:off x="5718178" y="1860577"/>
            <a:ext cx="1511300" cy="1584325"/>
            <a:chOff x="1488" y="480"/>
            <a:chExt cx="1347" cy="1735"/>
          </a:xfrm>
        </p:grpSpPr>
        <p:grpSp>
          <p:nvGrpSpPr>
            <p:cNvPr id="137262" name="Group 3"/>
            <p:cNvGrpSpPr>
              <a:grpSpLocks/>
            </p:cNvGrpSpPr>
            <p:nvPr/>
          </p:nvGrpSpPr>
          <p:grpSpPr bwMode="auto">
            <a:xfrm>
              <a:off x="1488" y="907"/>
              <a:ext cx="1347" cy="821"/>
              <a:chOff x="2880" y="922"/>
              <a:chExt cx="1347" cy="821"/>
            </a:xfrm>
          </p:grpSpPr>
          <p:sp>
            <p:nvSpPr>
              <p:cNvPr id="137369" name="Freeform 4"/>
              <p:cNvSpPr>
                <a:spLocks/>
              </p:cNvSpPr>
              <p:nvPr/>
            </p:nvSpPr>
            <p:spPr bwMode="auto">
              <a:xfrm>
                <a:off x="2884" y="927"/>
                <a:ext cx="1343" cy="82"/>
              </a:xfrm>
              <a:custGeom>
                <a:avLst/>
                <a:gdLst>
                  <a:gd name="T0" fmla="*/ 0 w 9401"/>
                  <a:gd name="T1" fmla="*/ 0 h 576"/>
                  <a:gd name="T2" fmla="*/ 0 w 9401"/>
                  <a:gd name="T3" fmla="*/ 0 h 576"/>
                  <a:gd name="T4" fmla="*/ 0 w 9401"/>
                  <a:gd name="T5" fmla="*/ 0 h 576"/>
                  <a:gd name="T6" fmla="*/ 0 w 9401"/>
                  <a:gd name="T7" fmla="*/ 0 h 576"/>
                  <a:gd name="T8" fmla="*/ 0 w 9401"/>
                  <a:gd name="T9" fmla="*/ 0 h 576"/>
                  <a:gd name="T10" fmla="*/ 0 w 9401"/>
                  <a:gd name="T11" fmla="*/ 0 h 576"/>
                  <a:gd name="T12" fmla="*/ 0 w 9401"/>
                  <a:gd name="T13" fmla="*/ 0 h 576"/>
                  <a:gd name="T14" fmla="*/ 0 w 9401"/>
                  <a:gd name="T15" fmla="*/ 0 h 576"/>
                  <a:gd name="T16" fmla="*/ 0 w 9401"/>
                  <a:gd name="T17" fmla="*/ 0 h 576"/>
                  <a:gd name="T18" fmla="*/ 0 w 9401"/>
                  <a:gd name="T19" fmla="*/ 0 h 576"/>
                  <a:gd name="T20" fmla="*/ 0 w 9401"/>
                  <a:gd name="T21" fmla="*/ 0 h 576"/>
                  <a:gd name="T22" fmla="*/ 0 w 9401"/>
                  <a:gd name="T23" fmla="*/ 0 h 576"/>
                  <a:gd name="T24" fmla="*/ 0 w 9401"/>
                  <a:gd name="T25" fmla="*/ 0 h 576"/>
                  <a:gd name="T26" fmla="*/ 0 w 9401"/>
                  <a:gd name="T27" fmla="*/ 0 h 576"/>
                  <a:gd name="T28" fmla="*/ 0 w 9401"/>
                  <a:gd name="T29" fmla="*/ 0 h 576"/>
                  <a:gd name="T30" fmla="*/ 0 w 9401"/>
                  <a:gd name="T31" fmla="*/ 0 h 576"/>
                  <a:gd name="T32" fmla="*/ 0 w 9401"/>
                  <a:gd name="T33" fmla="*/ 0 h 576"/>
                  <a:gd name="T34" fmla="*/ 0 w 9401"/>
                  <a:gd name="T35" fmla="*/ 0 h 576"/>
                  <a:gd name="T36" fmla="*/ 0 w 9401"/>
                  <a:gd name="T37" fmla="*/ 0 h 576"/>
                  <a:gd name="T38" fmla="*/ 0 w 9401"/>
                  <a:gd name="T39" fmla="*/ 0 h 576"/>
                  <a:gd name="T40" fmla="*/ 0 w 9401"/>
                  <a:gd name="T41" fmla="*/ 0 h 576"/>
                  <a:gd name="T42" fmla="*/ 0 w 9401"/>
                  <a:gd name="T43" fmla="*/ 0 h 576"/>
                  <a:gd name="T44" fmla="*/ 0 w 9401"/>
                  <a:gd name="T45" fmla="*/ 0 h 576"/>
                  <a:gd name="T46" fmla="*/ 0 w 9401"/>
                  <a:gd name="T47" fmla="*/ 0 h 576"/>
                  <a:gd name="T48" fmla="*/ 0 w 9401"/>
                  <a:gd name="T49" fmla="*/ 0 h 576"/>
                  <a:gd name="T50" fmla="*/ 0 w 9401"/>
                  <a:gd name="T51" fmla="*/ 0 h 576"/>
                  <a:gd name="T52" fmla="*/ 0 w 9401"/>
                  <a:gd name="T53" fmla="*/ 0 h 576"/>
                  <a:gd name="T54" fmla="*/ 0 w 9401"/>
                  <a:gd name="T55" fmla="*/ 0 h 576"/>
                  <a:gd name="T56" fmla="*/ 0 w 9401"/>
                  <a:gd name="T57" fmla="*/ 0 h 576"/>
                  <a:gd name="T58" fmla="*/ 0 w 9401"/>
                  <a:gd name="T59" fmla="*/ 0 h 576"/>
                  <a:gd name="T60" fmla="*/ 0 w 9401"/>
                  <a:gd name="T61" fmla="*/ 0 h 576"/>
                  <a:gd name="T62" fmla="*/ 0 w 9401"/>
                  <a:gd name="T63" fmla="*/ 0 h 576"/>
                  <a:gd name="T64" fmla="*/ 0 w 9401"/>
                  <a:gd name="T65" fmla="*/ 0 h 576"/>
                  <a:gd name="T66" fmla="*/ 0 w 9401"/>
                  <a:gd name="T67" fmla="*/ 0 h 576"/>
                  <a:gd name="T68" fmla="*/ 0 w 9401"/>
                  <a:gd name="T69" fmla="*/ 0 h 576"/>
                  <a:gd name="T70" fmla="*/ 0 w 9401"/>
                  <a:gd name="T71" fmla="*/ 0 h 576"/>
                  <a:gd name="T72" fmla="*/ 0 w 9401"/>
                  <a:gd name="T73" fmla="*/ 0 h 576"/>
                  <a:gd name="T74" fmla="*/ 0 w 9401"/>
                  <a:gd name="T75" fmla="*/ 0 h 576"/>
                  <a:gd name="T76" fmla="*/ 0 w 9401"/>
                  <a:gd name="T77" fmla="*/ 0 h 576"/>
                  <a:gd name="T78" fmla="*/ 0 w 9401"/>
                  <a:gd name="T79" fmla="*/ 0 h 576"/>
                  <a:gd name="T80" fmla="*/ 0 w 9401"/>
                  <a:gd name="T81" fmla="*/ 0 h 576"/>
                  <a:gd name="T82" fmla="*/ 0 w 9401"/>
                  <a:gd name="T83" fmla="*/ 0 h 576"/>
                  <a:gd name="T84" fmla="*/ 0 w 9401"/>
                  <a:gd name="T85" fmla="*/ 0 h 576"/>
                  <a:gd name="T86" fmla="*/ 0 w 9401"/>
                  <a:gd name="T87" fmla="*/ 0 h 576"/>
                  <a:gd name="T88" fmla="*/ 0 w 9401"/>
                  <a:gd name="T89" fmla="*/ 0 h 576"/>
                  <a:gd name="T90" fmla="*/ 0 w 9401"/>
                  <a:gd name="T91" fmla="*/ 0 h 576"/>
                  <a:gd name="T92" fmla="*/ 0 w 9401"/>
                  <a:gd name="T93" fmla="*/ 0 h 576"/>
                  <a:gd name="T94" fmla="*/ 0 w 9401"/>
                  <a:gd name="T95" fmla="*/ 0 h 576"/>
                  <a:gd name="T96" fmla="*/ 0 w 9401"/>
                  <a:gd name="T97" fmla="*/ 0 h 576"/>
                  <a:gd name="T98" fmla="*/ 0 w 9401"/>
                  <a:gd name="T99" fmla="*/ 0 h 576"/>
                  <a:gd name="T100" fmla="*/ 0 w 9401"/>
                  <a:gd name="T101" fmla="*/ 0 h 57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w 9401"/>
                  <a:gd name="T154" fmla="*/ 0 h 576"/>
                  <a:gd name="T155" fmla="*/ 9401 w 9401"/>
                  <a:gd name="T156" fmla="*/ 576 h 576"/>
                </a:gdLst>
                <a:ahLst/>
                <a:cxnLst>
                  <a:cxn ang="T102">
                    <a:pos x="T0" y="T1"/>
                  </a:cxn>
                  <a:cxn ang="T103">
                    <a:pos x="T2" y="T3"/>
                  </a:cxn>
                  <a:cxn ang="T104">
                    <a:pos x="T4" y="T5"/>
                  </a:cxn>
                  <a:cxn ang="T105">
                    <a:pos x="T6" y="T7"/>
                  </a:cxn>
                  <a:cxn ang="T106">
                    <a:pos x="T8" y="T9"/>
                  </a:cxn>
                  <a:cxn ang="T107">
                    <a:pos x="T10" y="T11"/>
                  </a:cxn>
                  <a:cxn ang="T108">
                    <a:pos x="T12" y="T13"/>
                  </a:cxn>
                  <a:cxn ang="T109">
                    <a:pos x="T14" y="T15"/>
                  </a:cxn>
                  <a:cxn ang="T110">
                    <a:pos x="T16" y="T17"/>
                  </a:cxn>
                  <a:cxn ang="T111">
                    <a:pos x="T18" y="T19"/>
                  </a:cxn>
                  <a:cxn ang="T112">
                    <a:pos x="T20" y="T21"/>
                  </a:cxn>
                  <a:cxn ang="T113">
                    <a:pos x="T22" y="T23"/>
                  </a:cxn>
                  <a:cxn ang="T114">
                    <a:pos x="T24" y="T25"/>
                  </a:cxn>
                  <a:cxn ang="T115">
                    <a:pos x="T26" y="T27"/>
                  </a:cxn>
                  <a:cxn ang="T116">
                    <a:pos x="T28" y="T29"/>
                  </a:cxn>
                  <a:cxn ang="T117">
                    <a:pos x="T30" y="T31"/>
                  </a:cxn>
                  <a:cxn ang="T118">
                    <a:pos x="T32" y="T33"/>
                  </a:cxn>
                  <a:cxn ang="T119">
                    <a:pos x="T34" y="T35"/>
                  </a:cxn>
                  <a:cxn ang="T120">
                    <a:pos x="T36" y="T37"/>
                  </a:cxn>
                  <a:cxn ang="T121">
                    <a:pos x="T38" y="T39"/>
                  </a:cxn>
                  <a:cxn ang="T122">
                    <a:pos x="T40" y="T41"/>
                  </a:cxn>
                  <a:cxn ang="T123">
                    <a:pos x="T42" y="T43"/>
                  </a:cxn>
                  <a:cxn ang="T124">
                    <a:pos x="T44" y="T45"/>
                  </a:cxn>
                  <a:cxn ang="T125">
                    <a:pos x="T46" y="T47"/>
                  </a:cxn>
                  <a:cxn ang="T126">
                    <a:pos x="T48" y="T49"/>
                  </a:cxn>
                  <a:cxn ang="T127">
                    <a:pos x="T50" y="T51"/>
                  </a:cxn>
                  <a:cxn ang="T128">
                    <a:pos x="T52" y="T53"/>
                  </a:cxn>
                  <a:cxn ang="T129">
                    <a:pos x="T54" y="T55"/>
                  </a:cxn>
                  <a:cxn ang="T130">
                    <a:pos x="T56" y="T57"/>
                  </a:cxn>
                  <a:cxn ang="T131">
                    <a:pos x="T58" y="T59"/>
                  </a:cxn>
                  <a:cxn ang="T132">
                    <a:pos x="T60" y="T61"/>
                  </a:cxn>
                  <a:cxn ang="T133">
                    <a:pos x="T62" y="T63"/>
                  </a:cxn>
                  <a:cxn ang="T134">
                    <a:pos x="T64" y="T65"/>
                  </a:cxn>
                  <a:cxn ang="T135">
                    <a:pos x="T66" y="T67"/>
                  </a:cxn>
                  <a:cxn ang="T136">
                    <a:pos x="T68" y="T69"/>
                  </a:cxn>
                  <a:cxn ang="T137">
                    <a:pos x="T70" y="T71"/>
                  </a:cxn>
                  <a:cxn ang="T138">
                    <a:pos x="T72" y="T73"/>
                  </a:cxn>
                  <a:cxn ang="T139">
                    <a:pos x="T74" y="T75"/>
                  </a:cxn>
                  <a:cxn ang="T140">
                    <a:pos x="T76" y="T77"/>
                  </a:cxn>
                  <a:cxn ang="T141">
                    <a:pos x="T78" y="T79"/>
                  </a:cxn>
                  <a:cxn ang="T142">
                    <a:pos x="T80" y="T81"/>
                  </a:cxn>
                  <a:cxn ang="T143">
                    <a:pos x="T82" y="T83"/>
                  </a:cxn>
                  <a:cxn ang="T144">
                    <a:pos x="T84" y="T85"/>
                  </a:cxn>
                  <a:cxn ang="T145">
                    <a:pos x="T86" y="T87"/>
                  </a:cxn>
                  <a:cxn ang="T146">
                    <a:pos x="T88" y="T89"/>
                  </a:cxn>
                  <a:cxn ang="T147">
                    <a:pos x="T90" y="T91"/>
                  </a:cxn>
                  <a:cxn ang="T148">
                    <a:pos x="T92" y="T93"/>
                  </a:cxn>
                  <a:cxn ang="T149">
                    <a:pos x="T94" y="T95"/>
                  </a:cxn>
                  <a:cxn ang="T150">
                    <a:pos x="T96" y="T97"/>
                  </a:cxn>
                  <a:cxn ang="T151">
                    <a:pos x="T98" y="T99"/>
                  </a:cxn>
                  <a:cxn ang="T152">
                    <a:pos x="T100" y="T101"/>
                  </a:cxn>
                </a:cxnLst>
                <a:rect l="T153" t="T154" r="T155" b="T156"/>
                <a:pathLst>
                  <a:path w="9401" h="576">
                    <a:moveTo>
                      <a:pt x="9401" y="290"/>
                    </a:moveTo>
                    <a:lnTo>
                      <a:pt x="9401" y="306"/>
                    </a:lnTo>
                    <a:lnTo>
                      <a:pt x="9399" y="325"/>
                    </a:lnTo>
                    <a:lnTo>
                      <a:pt x="9398" y="346"/>
                    </a:lnTo>
                    <a:lnTo>
                      <a:pt x="9395" y="366"/>
                    </a:lnTo>
                    <a:lnTo>
                      <a:pt x="9390" y="389"/>
                    </a:lnTo>
                    <a:lnTo>
                      <a:pt x="9384" y="411"/>
                    </a:lnTo>
                    <a:lnTo>
                      <a:pt x="9380" y="422"/>
                    </a:lnTo>
                    <a:lnTo>
                      <a:pt x="9375" y="433"/>
                    </a:lnTo>
                    <a:lnTo>
                      <a:pt x="9370" y="445"/>
                    </a:lnTo>
                    <a:lnTo>
                      <a:pt x="9362" y="455"/>
                    </a:lnTo>
                    <a:lnTo>
                      <a:pt x="9355" y="465"/>
                    </a:lnTo>
                    <a:lnTo>
                      <a:pt x="9348" y="476"/>
                    </a:lnTo>
                    <a:lnTo>
                      <a:pt x="9339" y="486"/>
                    </a:lnTo>
                    <a:lnTo>
                      <a:pt x="9328" y="495"/>
                    </a:lnTo>
                    <a:lnTo>
                      <a:pt x="9318" y="505"/>
                    </a:lnTo>
                    <a:lnTo>
                      <a:pt x="9305" y="513"/>
                    </a:lnTo>
                    <a:lnTo>
                      <a:pt x="9293" y="521"/>
                    </a:lnTo>
                    <a:lnTo>
                      <a:pt x="9279" y="529"/>
                    </a:lnTo>
                    <a:lnTo>
                      <a:pt x="9263" y="536"/>
                    </a:lnTo>
                    <a:lnTo>
                      <a:pt x="9247" y="542"/>
                    </a:lnTo>
                    <a:lnTo>
                      <a:pt x="9229" y="547"/>
                    </a:lnTo>
                    <a:lnTo>
                      <a:pt x="9210" y="551"/>
                    </a:lnTo>
                    <a:lnTo>
                      <a:pt x="9190" y="554"/>
                    </a:lnTo>
                    <a:lnTo>
                      <a:pt x="9167" y="558"/>
                    </a:lnTo>
                    <a:lnTo>
                      <a:pt x="9144" y="559"/>
                    </a:lnTo>
                    <a:lnTo>
                      <a:pt x="9119" y="560"/>
                    </a:lnTo>
                    <a:lnTo>
                      <a:pt x="8897" y="560"/>
                    </a:lnTo>
                    <a:lnTo>
                      <a:pt x="8548" y="562"/>
                    </a:lnTo>
                    <a:lnTo>
                      <a:pt x="8090" y="564"/>
                    </a:lnTo>
                    <a:lnTo>
                      <a:pt x="7541" y="567"/>
                    </a:lnTo>
                    <a:lnTo>
                      <a:pt x="6920" y="570"/>
                    </a:lnTo>
                    <a:lnTo>
                      <a:pt x="6245" y="573"/>
                    </a:lnTo>
                    <a:lnTo>
                      <a:pt x="5532" y="575"/>
                    </a:lnTo>
                    <a:lnTo>
                      <a:pt x="4802" y="576"/>
                    </a:lnTo>
                    <a:lnTo>
                      <a:pt x="4071" y="576"/>
                    </a:lnTo>
                    <a:lnTo>
                      <a:pt x="3360" y="574"/>
                    </a:lnTo>
                    <a:lnTo>
                      <a:pt x="3016" y="573"/>
                    </a:lnTo>
                    <a:lnTo>
                      <a:pt x="2685" y="571"/>
                    </a:lnTo>
                    <a:lnTo>
                      <a:pt x="2366" y="569"/>
                    </a:lnTo>
                    <a:lnTo>
                      <a:pt x="2065" y="566"/>
                    </a:lnTo>
                    <a:lnTo>
                      <a:pt x="1780" y="562"/>
                    </a:lnTo>
                    <a:lnTo>
                      <a:pt x="1517" y="558"/>
                    </a:lnTo>
                    <a:lnTo>
                      <a:pt x="1276" y="552"/>
                    </a:lnTo>
                    <a:lnTo>
                      <a:pt x="1060" y="547"/>
                    </a:lnTo>
                    <a:lnTo>
                      <a:pt x="872" y="540"/>
                    </a:lnTo>
                    <a:lnTo>
                      <a:pt x="713" y="533"/>
                    </a:lnTo>
                    <a:lnTo>
                      <a:pt x="586" y="524"/>
                    </a:lnTo>
                    <a:lnTo>
                      <a:pt x="493" y="515"/>
                    </a:lnTo>
                    <a:lnTo>
                      <a:pt x="445" y="509"/>
                    </a:lnTo>
                    <a:lnTo>
                      <a:pt x="383" y="501"/>
                    </a:lnTo>
                    <a:lnTo>
                      <a:pt x="349" y="495"/>
                    </a:lnTo>
                    <a:lnTo>
                      <a:pt x="314" y="489"/>
                    </a:lnTo>
                    <a:lnTo>
                      <a:pt x="277" y="482"/>
                    </a:lnTo>
                    <a:lnTo>
                      <a:pt x="241" y="474"/>
                    </a:lnTo>
                    <a:lnTo>
                      <a:pt x="205" y="464"/>
                    </a:lnTo>
                    <a:lnTo>
                      <a:pt x="170" y="454"/>
                    </a:lnTo>
                    <a:lnTo>
                      <a:pt x="153" y="449"/>
                    </a:lnTo>
                    <a:lnTo>
                      <a:pt x="137" y="443"/>
                    </a:lnTo>
                    <a:lnTo>
                      <a:pt x="122" y="437"/>
                    </a:lnTo>
                    <a:lnTo>
                      <a:pt x="107" y="429"/>
                    </a:lnTo>
                    <a:lnTo>
                      <a:pt x="93" y="422"/>
                    </a:lnTo>
                    <a:lnTo>
                      <a:pt x="79" y="415"/>
                    </a:lnTo>
                    <a:lnTo>
                      <a:pt x="67" y="407"/>
                    </a:lnTo>
                    <a:lnTo>
                      <a:pt x="57" y="398"/>
                    </a:lnTo>
                    <a:lnTo>
                      <a:pt x="46" y="389"/>
                    </a:lnTo>
                    <a:lnTo>
                      <a:pt x="38" y="380"/>
                    </a:lnTo>
                    <a:lnTo>
                      <a:pt x="30" y="370"/>
                    </a:lnTo>
                    <a:lnTo>
                      <a:pt x="24" y="360"/>
                    </a:lnTo>
                    <a:lnTo>
                      <a:pt x="16" y="343"/>
                    </a:lnTo>
                    <a:lnTo>
                      <a:pt x="10" y="326"/>
                    </a:lnTo>
                    <a:lnTo>
                      <a:pt x="5" y="309"/>
                    </a:lnTo>
                    <a:lnTo>
                      <a:pt x="2" y="292"/>
                    </a:lnTo>
                    <a:lnTo>
                      <a:pt x="0" y="274"/>
                    </a:lnTo>
                    <a:lnTo>
                      <a:pt x="0" y="258"/>
                    </a:lnTo>
                    <a:lnTo>
                      <a:pt x="1" y="240"/>
                    </a:lnTo>
                    <a:lnTo>
                      <a:pt x="4" y="224"/>
                    </a:lnTo>
                    <a:lnTo>
                      <a:pt x="8" y="207"/>
                    </a:lnTo>
                    <a:lnTo>
                      <a:pt x="13" y="190"/>
                    </a:lnTo>
                    <a:lnTo>
                      <a:pt x="20" y="175"/>
                    </a:lnTo>
                    <a:lnTo>
                      <a:pt x="27" y="159"/>
                    </a:lnTo>
                    <a:lnTo>
                      <a:pt x="35" y="145"/>
                    </a:lnTo>
                    <a:lnTo>
                      <a:pt x="44" y="129"/>
                    </a:lnTo>
                    <a:lnTo>
                      <a:pt x="55" y="116"/>
                    </a:lnTo>
                    <a:lnTo>
                      <a:pt x="65" y="103"/>
                    </a:lnTo>
                    <a:lnTo>
                      <a:pt x="77" y="89"/>
                    </a:lnTo>
                    <a:lnTo>
                      <a:pt x="90" y="77"/>
                    </a:lnTo>
                    <a:lnTo>
                      <a:pt x="103" y="65"/>
                    </a:lnTo>
                    <a:lnTo>
                      <a:pt x="117" y="55"/>
                    </a:lnTo>
                    <a:lnTo>
                      <a:pt x="131" y="45"/>
                    </a:lnTo>
                    <a:lnTo>
                      <a:pt x="147" y="36"/>
                    </a:lnTo>
                    <a:lnTo>
                      <a:pt x="161" y="28"/>
                    </a:lnTo>
                    <a:lnTo>
                      <a:pt x="178" y="21"/>
                    </a:lnTo>
                    <a:lnTo>
                      <a:pt x="193" y="15"/>
                    </a:lnTo>
                    <a:lnTo>
                      <a:pt x="210" y="9"/>
                    </a:lnTo>
                    <a:lnTo>
                      <a:pt x="226" y="5"/>
                    </a:lnTo>
                    <a:lnTo>
                      <a:pt x="243" y="2"/>
                    </a:lnTo>
                    <a:lnTo>
                      <a:pt x="259" y="0"/>
                    </a:lnTo>
                    <a:lnTo>
                      <a:pt x="277" y="0"/>
                    </a:lnTo>
                    <a:lnTo>
                      <a:pt x="293" y="1"/>
                    </a:lnTo>
                    <a:lnTo>
                      <a:pt x="310" y="3"/>
                    </a:lnTo>
                    <a:lnTo>
                      <a:pt x="329" y="6"/>
                    </a:lnTo>
                    <a:lnTo>
                      <a:pt x="345" y="12"/>
                    </a:lnTo>
                    <a:lnTo>
                      <a:pt x="362" y="17"/>
                    </a:lnTo>
                    <a:lnTo>
                      <a:pt x="377" y="23"/>
                    </a:lnTo>
                    <a:lnTo>
                      <a:pt x="392" y="30"/>
                    </a:lnTo>
                    <a:lnTo>
                      <a:pt x="405" y="37"/>
                    </a:lnTo>
                    <a:lnTo>
                      <a:pt x="418" y="46"/>
                    </a:lnTo>
                    <a:lnTo>
                      <a:pt x="431" y="54"/>
                    </a:lnTo>
                    <a:lnTo>
                      <a:pt x="455" y="73"/>
                    </a:lnTo>
                    <a:lnTo>
                      <a:pt x="476" y="93"/>
                    </a:lnTo>
                    <a:lnTo>
                      <a:pt x="498" y="114"/>
                    </a:lnTo>
                    <a:lnTo>
                      <a:pt x="520" y="136"/>
                    </a:lnTo>
                    <a:lnTo>
                      <a:pt x="541" y="157"/>
                    </a:lnTo>
                    <a:lnTo>
                      <a:pt x="564" y="179"/>
                    </a:lnTo>
                    <a:lnTo>
                      <a:pt x="575" y="189"/>
                    </a:lnTo>
                    <a:lnTo>
                      <a:pt x="588" y="200"/>
                    </a:lnTo>
                    <a:lnTo>
                      <a:pt x="601" y="210"/>
                    </a:lnTo>
                    <a:lnTo>
                      <a:pt x="615" y="219"/>
                    </a:lnTo>
                    <a:lnTo>
                      <a:pt x="629" y="229"/>
                    </a:lnTo>
                    <a:lnTo>
                      <a:pt x="645" y="237"/>
                    </a:lnTo>
                    <a:lnTo>
                      <a:pt x="660" y="245"/>
                    </a:lnTo>
                    <a:lnTo>
                      <a:pt x="677" y="252"/>
                    </a:lnTo>
                    <a:lnTo>
                      <a:pt x="695" y="260"/>
                    </a:lnTo>
                    <a:lnTo>
                      <a:pt x="714" y="265"/>
                    </a:lnTo>
                    <a:lnTo>
                      <a:pt x="734" y="271"/>
                    </a:lnTo>
                    <a:lnTo>
                      <a:pt x="755" y="275"/>
                    </a:lnTo>
                    <a:lnTo>
                      <a:pt x="795" y="278"/>
                    </a:lnTo>
                    <a:lnTo>
                      <a:pt x="878" y="282"/>
                    </a:lnTo>
                    <a:lnTo>
                      <a:pt x="1001" y="287"/>
                    </a:lnTo>
                    <a:lnTo>
                      <a:pt x="1163" y="291"/>
                    </a:lnTo>
                    <a:lnTo>
                      <a:pt x="1587" y="300"/>
                    </a:lnTo>
                    <a:lnTo>
                      <a:pt x="2129" y="309"/>
                    </a:lnTo>
                    <a:lnTo>
                      <a:pt x="2763" y="320"/>
                    </a:lnTo>
                    <a:lnTo>
                      <a:pt x="3469" y="329"/>
                    </a:lnTo>
                    <a:lnTo>
                      <a:pt x="4222" y="337"/>
                    </a:lnTo>
                    <a:lnTo>
                      <a:pt x="5001" y="343"/>
                    </a:lnTo>
                    <a:lnTo>
                      <a:pt x="5393" y="347"/>
                    </a:lnTo>
                    <a:lnTo>
                      <a:pt x="5783" y="349"/>
                    </a:lnTo>
                    <a:lnTo>
                      <a:pt x="6167" y="351"/>
                    </a:lnTo>
                    <a:lnTo>
                      <a:pt x="6543" y="352"/>
                    </a:lnTo>
                    <a:lnTo>
                      <a:pt x="6909" y="352"/>
                    </a:lnTo>
                    <a:lnTo>
                      <a:pt x="7261" y="351"/>
                    </a:lnTo>
                    <a:lnTo>
                      <a:pt x="7596" y="350"/>
                    </a:lnTo>
                    <a:lnTo>
                      <a:pt x="7912" y="348"/>
                    </a:lnTo>
                    <a:lnTo>
                      <a:pt x="8206" y="345"/>
                    </a:lnTo>
                    <a:lnTo>
                      <a:pt x="8475" y="340"/>
                    </a:lnTo>
                    <a:lnTo>
                      <a:pt x="8715" y="334"/>
                    </a:lnTo>
                    <a:lnTo>
                      <a:pt x="8925" y="328"/>
                    </a:lnTo>
                    <a:lnTo>
                      <a:pt x="9102" y="321"/>
                    </a:lnTo>
                    <a:lnTo>
                      <a:pt x="9241" y="311"/>
                    </a:lnTo>
                    <a:lnTo>
                      <a:pt x="9342" y="301"/>
                    </a:lnTo>
                    <a:lnTo>
                      <a:pt x="9401" y="290"/>
                    </a:lnTo>
                    <a:close/>
                  </a:path>
                </a:pathLst>
              </a:custGeom>
              <a:solidFill>
                <a:srgbClr val="DE876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70" name="Freeform 5"/>
              <p:cNvSpPr>
                <a:spLocks/>
              </p:cNvSpPr>
              <p:nvPr/>
            </p:nvSpPr>
            <p:spPr bwMode="auto">
              <a:xfrm>
                <a:off x="2884" y="922"/>
                <a:ext cx="1343" cy="65"/>
              </a:xfrm>
              <a:custGeom>
                <a:avLst/>
                <a:gdLst>
                  <a:gd name="T0" fmla="*/ 0 w 9403"/>
                  <a:gd name="T1" fmla="*/ 0 h 451"/>
                  <a:gd name="T2" fmla="*/ 0 w 9403"/>
                  <a:gd name="T3" fmla="*/ 0 h 451"/>
                  <a:gd name="T4" fmla="*/ 0 w 9403"/>
                  <a:gd name="T5" fmla="*/ 0 h 451"/>
                  <a:gd name="T6" fmla="*/ 0 w 9403"/>
                  <a:gd name="T7" fmla="*/ 0 h 451"/>
                  <a:gd name="T8" fmla="*/ 0 w 9403"/>
                  <a:gd name="T9" fmla="*/ 0 h 451"/>
                  <a:gd name="T10" fmla="*/ 0 w 9403"/>
                  <a:gd name="T11" fmla="*/ 0 h 451"/>
                  <a:gd name="T12" fmla="*/ 0 w 9403"/>
                  <a:gd name="T13" fmla="*/ 0 h 451"/>
                  <a:gd name="T14" fmla="*/ 0 w 9403"/>
                  <a:gd name="T15" fmla="*/ 0 h 451"/>
                  <a:gd name="T16" fmla="*/ 0 w 9403"/>
                  <a:gd name="T17" fmla="*/ 0 h 451"/>
                  <a:gd name="T18" fmla="*/ 0 w 9403"/>
                  <a:gd name="T19" fmla="*/ 0 h 451"/>
                  <a:gd name="T20" fmla="*/ 0 w 9403"/>
                  <a:gd name="T21" fmla="*/ 0 h 451"/>
                  <a:gd name="T22" fmla="*/ 0 w 9403"/>
                  <a:gd name="T23" fmla="*/ 0 h 451"/>
                  <a:gd name="T24" fmla="*/ 0 w 9403"/>
                  <a:gd name="T25" fmla="*/ 0 h 451"/>
                  <a:gd name="T26" fmla="*/ 0 w 9403"/>
                  <a:gd name="T27" fmla="*/ 0 h 451"/>
                  <a:gd name="T28" fmla="*/ 0 w 9403"/>
                  <a:gd name="T29" fmla="*/ 0 h 451"/>
                  <a:gd name="T30" fmla="*/ 0 w 9403"/>
                  <a:gd name="T31" fmla="*/ 0 h 451"/>
                  <a:gd name="T32" fmla="*/ 0 w 9403"/>
                  <a:gd name="T33" fmla="*/ 0 h 451"/>
                  <a:gd name="T34" fmla="*/ 0 w 9403"/>
                  <a:gd name="T35" fmla="*/ 0 h 451"/>
                  <a:gd name="T36" fmla="*/ 0 w 9403"/>
                  <a:gd name="T37" fmla="*/ 0 h 451"/>
                  <a:gd name="T38" fmla="*/ 0 w 9403"/>
                  <a:gd name="T39" fmla="*/ 0 h 451"/>
                  <a:gd name="T40" fmla="*/ 0 w 9403"/>
                  <a:gd name="T41" fmla="*/ 0 h 451"/>
                  <a:gd name="T42" fmla="*/ 0 w 9403"/>
                  <a:gd name="T43" fmla="*/ 0 h 451"/>
                  <a:gd name="T44" fmla="*/ 0 w 9403"/>
                  <a:gd name="T45" fmla="*/ 0 h 451"/>
                  <a:gd name="T46" fmla="*/ 0 w 9403"/>
                  <a:gd name="T47" fmla="*/ 0 h 451"/>
                  <a:gd name="T48" fmla="*/ 0 w 9403"/>
                  <a:gd name="T49" fmla="*/ 0 h 451"/>
                  <a:gd name="T50" fmla="*/ 0 w 9403"/>
                  <a:gd name="T51" fmla="*/ 0 h 451"/>
                  <a:gd name="T52" fmla="*/ 0 w 9403"/>
                  <a:gd name="T53" fmla="*/ 0 h 451"/>
                  <a:gd name="T54" fmla="*/ 0 w 9403"/>
                  <a:gd name="T55" fmla="*/ 0 h 451"/>
                  <a:gd name="T56" fmla="*/ 0 w 9403"/>
                  <a:gd name="T57" fmla="*/ 0 h 451"/>
                  <a:gd name="T58" fmla="*/ 0 w 9403"/>
                  <a:gd name="T59" fmla="*/ 0 h 451"/>
                  <a:gd name="T60" fmla="*/ 0 w 9403"/>
                  <a:gd name="T61" fmla="*/ 0 h 451"/>
                  <a:gd name="T62" fmla="*/ 0 w 9403"/>
                  <a:gd name="T63" fmla="*/ 0 h 451"/>
                  <a:gd name="T64" fmla="*/ 0 w 9403"/>
                  <a:gd name="T65" fmla="*/ 0 h 451"/>
                  <a:gd name="T66" fmla="*/ 0 w 9403"/>
                  <a:gd name="T67" fmla="*/ 0 h 451"/>
                  <a:gd name="T68" fmla="*/ 0 w 9403"/>
                  <a:gd name="T69" fmla="*/ 0 h 451"/>
                  <a:gd name="T70" fmla="*/ 0 w 9403"/>
                  <a:gd name="T71" fmla="*/ 0 h 451"/>
                  <a:gd name="T72" fmla="*/ 0 w 9403"/>
                  <a:gd name="T73" fmla="*/ 0 h 451"/>
                  <a:gd name="T74" fmla="*/ 0 w 9403"/>
                  <a:gd name="T75" fmla="*/ 0 h 451"/>
                  <a:gd name="T76" fmla="*/ 0 w 9403"/>
                  <a:gd name="T77" fmla="*/ 0 h 451"/>
                  <a:gd name="T78" fmla="*/ 0 w 9403"/>
                  <a:gd name="T79" fmla="*/ 0 h 451"/>
                  <a:gd name="T80" fmla="*/ 0 w 9403"/>
                  <a:gd name="T81" fmla="*/ 0 h 451"/>
                  <a:gd name="T82" fmla="*/ 0 w 9403"/>
                  <a:gd name="T83" fmla="*/ 0 h 451"/>
                  <a:gd name="T84" fmla="*/ 0 w 9403"/>
                  <a:gd name="T85" fmla="*/ 0 h 451"/>
                  <a:gd name="T86" fmla="*/ 0 w 9403"/>
                  <a:gd name="T87" fmla="*/ 0 h 451"/>
                  <a:gd name="T88" fmla="*/ 0 w 9403"/>
                  <a:gd name="T89" fmla="*/ 0 h 451"/>
                  <a:gd name="T90" fmla="*/ 0 w 9403"/>
                  <a:gd name="T91" fmla="*/ 0 h 451"/>
                  <a:gd name="T92" fmla="*/ 0 w 9403"/>
                  <a:gd name="T93" fmla="*/ 0 h 451"/>
                  <a:gd name="T94" fmla="*/ 0 w 9403"/>
                  <a:gd name="T95" fmla="*/ 0 h 451"/>
                  <a:gd name="T96" fmla="*/ 0 w 9403"/>
                  <a:gd name="T97" fmla="*/ 0 h 451"/>
                  <a:gd name="T98" fmla="*/ 0 w 9403"/>
                  <a:gd name="T99" fmla="*/ 0 h 451"/>
                  <a:gd name="T100" fmla="*/ 0 w 9403"/>
                  <a:gd name="T101" fmla="*/ 0 h 451"/>
                  <a:gd name="T102" fmla="*/ 0 w 9403"/>
                  <a:gd name="T103" fmla="*/ 0 h 451"/>
                  <a:gd name="T104" fmla="*/ 0 w 9403"/>
                  <a:gd name="T105" fmla="*/ 0 h 451"/>
                  <a:gd name="T106" fmla="*/ 0 w 9403"/>
                  <a:gd name="T107" fmla="*/ 0 h 451"/>
                  <a:gd name="T108" fmla="*/ 0 w 9403"/>
                  <a:gd name="T109" fmla="*/ 0 h 451"/>
                  <a:gd name="T110" fmla="*/ 0 w 9403"/>
                  <a:gd name="T111" fmla="*/ 0 h 451"/>
                  <a:gd name="T112" fmla="*/ 0 w 9403"/>
                  <a:gd name="T113" fmla="*/ 0 h 451"/>
                  <a:gd name="T114" fmla="*/ 0 w 9403"/>
                  <a:gd name="T115" fmla="*/ 0 h 451"/>
                  <a:gd name="T116" fmla="*/ 0 w 9403"/>
                  <a:gd name="T117" fmla="*/ 0 h 451"/>
                  <a:gd name="T118" fmla="*/ 0 w 9403"/>
                  <a:gd name="T119" fmla="*/ 0 h 451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9403"/>
                  <a:gd name="T181" fmla="*/ 0 h 451"/>
                  <a:gd name="T182" fmla="*/ 9403 w 9403"/>
                  <a:gd name="T183" fmla="*/ 451 h 451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9403" h="451">
                    <a:moveTo>
                      <a:pt x="9283" y="393"/>
                    </a:moveTo>
                    <a:lnTo>
                      <a:pt x="9225" y="404"/>
                    </a:lnTo>
                    <a:lnTo>
                      <a:pt x="9126" y="415"/>
                    </a:lnTo>
                    <a:lnTo>
                      <a:pt x="8987" y="424"/>
                    </a:lnTo>
                    <a:lnTo>
                      <a:pt x="8814" y="431"/>
                    </a:lnTo>
                    <a:lnTo>
                      <a:pt x="8606" y="438"/>
                    </a:lnTo>
                    <a:lnTo>
                      <a:pt x="8368" y="442"/>
                    </a:lnTo>
                    <a:lnTo>
                      <a:pt x="8103" y="446"/>
                    </a:lnTo>
                    <a:lnTo>
                      <a:pt x="7813" y="449"/>
                    </a:lnTo>
                    <a:lnTo>
                      <a:pt x="7501" y="450"/>
                    </a:lnTo>
                    <a:lnTo>
                      <a:pt x="7171" y="451"/>
                    </a:lnTo>
                    <a:lnTo>
                      <a:pt x="6823" y="451"/>
                    </a:lnTo>
                    <a:lnTo>
                      <a:pt x="6463" y="450"/>
                    </a:lnTo>
                    <a:lnTo>
                      <a:pt x="6092" y="449"/>
                    </a:lnTo>
                    <a:lnTo>
                      <a:pt x="5712" y="447"/>
                    </a:lnTo>
                    <a:lnTo>
                      <a:pt x="5328" y="444"/>
                    </a:lnTo>
                    <a:lnTo>
                      <a:pt x="4943" y="441"/>
                    </a:lnTo>
                    <a:lnTo>
                      <a:pt x="4174" y="432"/>
                    </a:lnTo>
                    <a:lnTo>
                      <a:pt x="3431" y="423"/>
                    </a:lnTo>
                    <a:lnTo>
                      <a:pt x="2735" y="413"/>
                    </a:lnTo>
                    <a:lnTo>
                      <a:pt x="2109" y="401"/>
                    </a:lnTo>
                    <a:lnTo>
                      <a:pt x="1576" y="391"/>
                    </a:lnTo>
                    <a:lnTo>
                      <a:pt x="1157" y="381"/>
                    </a:lnTo>
                    <a:lnTo>
                      <a:pt x="998" y="377"/>
                    </a:lnTo>
                    <a:lnTo>
                      <a:pt x="876" y="372"/>
                    </a:lnTo>
                    <a:lnTo>
                      <a:pt x="794" y="368"/>
                    </a:lnTo>
                    <a:lnTo>
                      <a:pt x="754" y="365"/>
                    </a:lnTo>
                    <a:lnTo>
                      <a:pt x="733" y="360"/>
                    </a:lnTo>
                    <a:lnTo>
                      <a:pt x="713" y="355"/>
                    </a:lnTo>
                    <a:lnTo>
                      <a:pt x="694" y="349"/>
                    </a:lnTo>
                    <a:lnTo>
                      <a:pt x="676" y="342"/>
                    </a:lnTo>
                    <a:lnTo>
                      <a:pt x="659" y="335"/>
                    </a:lnTo>
                    <a:lnTo>
                      <a:pt x="644" y="327"/>
                    </a:lnTo>
                    <a:lnTo>
                      <a:pt x="628" y="319"/>
                    </a:lnTo>
                    <a:lnTo>
                      <a:pt x="614" y="309"/>
                    </a:lnTo>
                    <a:lnTo>
                      <a:pt x="600" y="300"/>
                    </a:lnTo>
                    <a:lnTo>
                      <a:pt x="587" y="290"/>
                    </a:lnTo>
                    <a:lnTo>
                      <a:pt x="574" y="279"/>
                    </a:lnTo>
                    <a:lnTo>
                      <a:pt x="563" y="269"/>
                    </a:lnTo>
                    <a:lnTo>
                      <a:pt x="540" y="247"/>
                    </a:lnTo>
                    <a:lnTo>
                      <a:pt x="519" y="226"/>
                    </a:lnTo>
                    <a:lnTo>
                      <a:pt x="497" y="204"/>
                    </a:lnTo>
                    <a:lnTo>
                      <a:pt x="475" y="183"/>
                    </a:lnTo>
                    <a:lnTo>
                      <a:pt x="454" y="163"/>
                    </a:lnTo>
                    <a:lnTo>
                      <a:pt x="430" y="144"/>
                    </a:lnTo>
                    <a:lnTo>
                      <a:pt x="417" y="136"/>
                    </a:lnTo>
                    <a:lnTo>
                      <a:pt x="404" y="127"/>
                    </a:lnTo>
                    <a:lnTo>
                      <a:pt x="391" y="120"/>
                    </a:lnTo>
                    <a:lnTo>
                      <a:pt x="376" y="113"/>
                    </a:lnTo>
                    <a:lnTo>
                      <a:pt x="361" y="107"/>
                    </a:lnTo>
                    <a:lnTo>
                      <a:pt x="344" y="102"/>
                    </a:lnTo>
                    <a:lnTo>
                      <a:pt x="328" y="96"/>
                    </a:lnTo>
                    <a:lnTo>
                      <a:pt x="309" y="93"/>
                    </a:lnTo>
                    <a:lnTo>
                      <a:pt x="297" y="91"/>
                    </a:lnTo>
                    <a:lnTo>
                      <a:pt x="284" y="90"/>
                    </a:lnTo>
                    <a:lnTo>
                      <a:pt x="272" y="90"/>
                    </a:lnTo>
                    <a:lnTo>
                      <a:pt x="259" y="90"/>
                    </a:lnTo>
                    <a:lnTo>
                      <a:pt x="247" y="91"/>
                    </a:lnTo>
                    <a:lnTo>
                      <a:pt x="235" y="93"/>
                    </a:lnTo>
                    <a:lnTo>
                      <a:pt x="222" y="95"/>
                    </a:lnTo>
                    <a:lnTo>
                      <a:pt x="211" y="98"/>
                    </a:lnTo>
                    <a:lnTo>
                      <a:pt x="198" y="103"/>
                    </a:lnTo>
                    <a:lnTo>
                      <a:pt x="186" y="107"/>
                    </a:lnTo>
                    <a:lnTo>
                      <a:pt x="175" y="112"/>
                    </a:lnTo>
                    <a:lnTo>
                      <a:pt x="163" y="117"/>
                    </a:lnTo>
                    <a:lnTo>
                      <a:pt x="152" y="122"/>
                    </a:lnTo>
                    <a:lnTo>
                      <a:pt x="140" y="128"/>
                    </a:lnTo>
                    <a:lnTo>
                      <a:pt x="129" y="136"/>
                    </a:lnTo>
                    <a:lnTo>
                      <a:pt x="119" y="143"/>
                    </a:lnTo>
                    <a:lnTo>
                      <a:pt x="108" y="151"/>
                    </a:lnTo>
                    <a:lnTo>
                      <a:pt x="98" y="159"/>
                    </a:lnTo>
                    <a:lnTo>
                      <a:pt x="89" y="168"/>
                    </a:lnTo>
                    <a:lnTo>
                      <a:pt x="80" y="176"/>
                    </a:lnTo>
                    <a:lnTo>
                      <a:pt x="70" y="186"/>
                    </a:lnTo>
                    <a:lnTo>
                      <a:pt x="62" y="196"/>
                    </a:lnTo>
                    <a:lnTo>
                      <a:pt x="54" y="206"/>
                    </a:lnTo>
                    <a:lnTo>
                      <a:pt x="46" y="216"/>
                    </a:lnTo>
                    <a:lnTo>
                      <a:pt x="39" y="227"/>
                    </a:lnTo>
                    <a:lnTo>
                      <a:pt x="32" y="237"/>
                    </a:lnTo>
                    <a:lnTo>
                      <a:pt x="26" y="248"/>
                    </a:lnTo>
                    <a:lnTo>
                      <a:pt x="21" y="260"/>
                    </a:lnTo>
                    <a:lnTo>
                      <a:pt x="15" y="271"/>
                    </a:lnTo>
                    <a:lnTo>
                      <a:pt x="11" y="284"/>
                    </a:lnTo>
                    <a:lnTo>
                      <a:pt x="7" y="295"/>
                    </a:lnTo>
                    <a:lnTo>
                      <a:pt x="5" y="307"/>
                    </a:lnTo>
                    <a:lnTo>
                      <a:pt x="2" y="292"/>
                    </a:lnTo>
                    <a:lnTo>
                      <a:pt x="0" y="276"/>
                    </a:lnTo>
                    <a:lnTo>
                      <a:pt x="0" y="261"/>
                    </a:lnTo>
                    <a:lnTo>
                      <a:pt x="1" y="245"/>
                    </a:lnTo>
                    <a:lnTo>
                      <a:pt x="3" y="231"/>
                    </a:lnTo>
                    <a:lnTo>
                      <a:pt x="5" y="215"/>
                    </a:lnTo>
                    <a:lnTo>
                      <a:pt x="9" y="201"/>
                    </a:lnTo>
                    <a:lnTo>
                      <a:pt x="14" y="186"/>
                    </a:lnTo>
                    <a:lnTo>
                      <a:pt x="21" y="172"/>
                    </a:lnTo>
                    <a:lnTo>
                      <a:pt x="27" y="158"/>
                    </a:lnTo>
                    <a:lnTo>
                      <a:pt x="34" y="144"/>
                    </a:lnTo>
                    <a:lnTo>
                      <a:pt x="42" y="132"/>
                    </a:lnTo>
                    <a:lnTo>
                      <a:pt x="52" y="118"/>
                    </a:lnTo>
                    <a:lnTo>
                      <a:pt x="62" y="106"/>
                    </a:lnTo>
                    <a:lnTo>
                      <a:pt x="72" y="94"/>
                    </a:lnTo>
                    <a:lnTo>
                      <a:pt x="84" y="83"/>
                    </a:lnTo>
                    <a:lnTo>
                      <a:pt x="95" y="73"/>
                    </a:lnTo>
                    <a:lnTo>
                      <a:pt x="107" y="62"/>
                    </a:lnTo>
                    <a:lnTo>
                      <a:pt x="120" y="53"/>
                    </a:lnTo>
                    <a:lnTo>
                      <a:pt x="133" y="44"/>
                    </a:lnTo>
                    <a:lnTo>
                      <a:pt x="147" y="35"/>
                    </a:lnTo>
                    <a:lnTo>
                      <a:pt x="160" y="28"/>
                    </a:lnTo>
                    <a:lnTo>
                      <a:pt x="175" y="22"/>
                    </a:lnTo>
                    <a:lnTo>
                      <a:pt x="189" y="16"/>
                    </a:lnTo>
                    <a:lnTo>
                      <a:pt x="204" y="11"/>
                    </a:lnTo>
                    <a:lnTo>
                      <a:pt x="218" y="7"/>
                    </a:lnTo>
                    <a:lnTo>
                      <a:pt x="233" y="4"/>
                    </a:lnTo>
                    <a:lnTo>
                      <a:pt x="249" y="1"/>
                    </a:lnTo>
                    <a:lnTo>
                      <a:pt x="263" y="0"/>
                    </a:lnTo>
                    <a:lnTo>
                      <a:pt x="279" y="0"/>
                    </a:lnTo>
                    <a:lnTo>
                      <a:pt x="293" y="1"/>
                    </a:lnTo>
                    <a:lnTo>
                      <a:pt x="309" y="3"/>
                    </a:lnTo>
                    <a:lnTo>
                      <a:pt x="328" y="7"/>
                    </a:lnTo>
                    <a:lnTo>
                      <a:pt x="344" y="12"/>
                    </a:lnTo>
                    <a:lnTo>
                      <a:pt x="361" y="17"/>
                    </a:lnTo>
                    <a:lnTo>
                      <a:pt x="376" y="23"/>
                    </a:lnTo>
                    <a:lnTo>
                      <a:pt x="391" y="30"/>
                    </a:lnTo>
                    <a:lnTo>
                      <a:pt x="404" y="37"/>
                    </a:lnTo>
                    <a:lnTo>
                      <a:pt x="417" y="46"/>
                    </a:lnTo>
                    <a:lnTo>
                      <a:pt x="430" y="54"/>
                    </a:lnTo>
                    <a:lnTo>
                      <a:pt x="454" y="73"/>
                    </a:lnTo>
                    <a:lnTo>
                      <a:pt x="475" y="93"/>
                    </a:lnTo>
                    <a:lnTo>
                      <a:pt x="497" y="114"/>
                    </a:lnTo>
                    <a:lnTo>
                      <a:pt x="519" y="136"/>
                    </a:lnTo>
                    <a:lnTo>
                      <a:pt x="540" y="157"/>
                    </a:lnTo>
                    <a:lnTo>
                      <a:pt x="563" y="179"/>
                    </a:lnTo>
                    <a:lnTo>
                      <a:pt x="574" y="189"/>
                    </a:lnTo>
                    <a:lnTo>
                      <a:pt x="587" y="200"/>
                    </a:lnTo>
                    <a:lnTo>
                      <a:pt x="600" y="210"/>
                    </a:lnTo>
                    <a:lnTo>
                      <a:pt x="614" y="219"/>
                    </a:lnTo>
                    <a:lnTo>
                      <a:pt x="628" y="229"/>
                    </a:lnTo>
                    <a:lnTo>
                      <a:pt x="644" y="237"/>
                    </a:lnTo>
                    <a:lnTo>
                      <a:pt x="659" y="245"/>
                    </a:lnTo>
                    <a:lnTo>
                      <a:pt x="676" y="252"/>
                    </a:lnTo>
                    <a:lnTo>
                      <a:pt x="694" y="260"/>
                    </a:lnTo>
                    <a:lnTo>
                      <a:pt x="713" y="265"/>
                    </a:lnTo>
                    <a:lnTo>
                      <a:pt x="733" y="271"/>
                    </a:lnTo>
                    <a:lnTo>
                      <a:pt x="754" y="275"/>
                    </a:lnTo>
                    <a:lnTo>
                      <a:pt x="794" y="278"/>
                    </a:lnTo>
                    <a:lnTo>
                      <a:pt x="877" y="282"/>
                    </a:lnTo>
                    <a:lnTo>
                      <a:pt x="1001" y="287"/>
                    </a:lnTo>
                    <a:lnTo>
                      <a:pt x="1162" y="292"/>
                    </a:lnTo>
                    <a:lnTo>
                      <a:pt x="1587" y="303"/>
                    </a:lnTo>
                    <a:lnTo>
                      <a:pt x="2128" y="315"/>
                    </a:lnTo>
                    <a:lnTo>
                      <a:pt x="2763" y="326"/>
                    </a:lnTo>
                    <a:lnTo>
                      <a:pt x="3469" y="337"/>
                    </a:lnTo>
                    <a:lnTo>
                      <a:pt x="4222" y="349"/>
                    </a:lnTo>
                    <a:lnTo>
                      <a:pt x="5001" y="358"/>
                    </a:lnTo>
                    <a:lnTo>
                      <a:pt x="5394" y="362"/>
                    </a:lnTo>
                    <a:lnTo>
                      <a:pt x="5784" y="365"/>
                    </a:lnTo>
                    <a:lnTo>
                      <a:pt x="6168" y="368"/>
                    </a:lnTo>
                    <a:lnTo>
                      <a:pt x="6544" y="370"/>
                    </a:lnTo>
                    <a:lnTo>
                      <a:pt x="6910" y="371"/>
                    </a:lnTo>
                    <a:lnTo>
                      <a:pt x="7262" y="372"/>
                    </a:lnTo>
                    <a:lnTo>
                      <a:pt x="7598" y="372"/>
                    </a:lnTo>
                    <a:lnTo>
                      <a:pt x="7915" y="370"/>
                    </a:lnTo>
                    <a:lnTo>
                      <a:pt x="8208" y="368"/>
                    </a:lnTo>
                    <a:lnTo>
                      <a:pt x="8477" y="365"/>
                    </a:lnTo>
                    <a:lnTo>
                      <a:pt x="8717" y="361"/>
                    </a:lnTo>
                    <a:lnTo>
                      <a:pt x="8927" y="355"/>
                    </a:lnTo>
                    <a:lnTo>
                      <a:pt x="9104" y="348"/>
                    </a:lnTo>
                    <a:lnTo>
                      <a:pt x="9243" y="339"/>
                    </a:lnTo>
                    <a:lnTo>
                      <a:pt x="9345" y="329"/>
                    </a:lnTo>
                    <a:lnTo>
                      <a:pt x="9403" y="318"/>
                    </a:lnTo>
                    <a:lnTo>
                      <a:pt x="9400" y="325"/>
                    </a:lnTo>
                    <a:lnTo>
                      <a:pt x="9396" y="331"/>
                    </a:lnTo>
                    <a:lnTo>
                      <a:pt x="9391" y="337"/>
                    </a:lnTo>
                    <a:lnTo>
                      <a:pt x="9386" y="343"/>
                    </a:lnTo>
                    <a:lnTo>
                      <a:pt x="9380" y="350"/>
                    </a:lnTo>
                    <a:lnTo>
                      <a:pt x="9373" y="356"/>
                    </a:lnTo>
                    <a:lnTo>
                      <a:pt x="9364" y="361"/>
                    </a:lnTo>
                    <a:lnTo>
                      <a:pt x="9356" y="366"/>
                    </a:lnTo>
                    <a:lnTo>
                      <a:pt x="9339" y="376"/>
                    </a:lnTo>
                    <a:lnTo>
                      <a:pt x="9320" y="384"/>
                    </a:lnTo>
                    <a:lnTo>
                      <a:pt x="9301" y="389"/>
                    </a:lnTo>
                    <a:lnTo>
                      <a:pt x="9283" y="393"/>
                    </a:lnTo>
                    <a:close/>
                  </a:path>
                </a:pathLst>
              </a:custGeom>
              <a:solidFill>
                <a:srgbClr val="E4B89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71" name="Freeform 6"/>
              <p:cNvSpPr>
                <a:spLocks/>
              </p:cNvSpPr>
              <p:nvPr/>
            </p:nvSpPr>
            <p:spPr bwMode="auto">
              <a:xfrm>
                <a:off x="2880" y="940"/>
                <a:ext cx="1347" cy="69"/>
              </a:xfrm>
              <a:custGeom>
                <a:avLst/>
                <a:gdLst>
                  <a:gd name="T0" fmla="*/ 0 w 9427"/>
                  <a:gd name="T1" fmla="*/ 0 h 481"/>
                  <a:gd name="T2" fmla="*/ 0 w 9427"/>
                  <a:gd name="T3" fmla="*/ 0 h 481"/>
                  <a:gd name="T4" fmla="*/ 0 w 9427"/>
                  <a:gd name="T5" fmla="*/ 0 h 481"/>
                  <a:gd name="T6" fmla="*/ 0 w 9427"/>
                  <a:gd name="T7" fmla="*/ 0 h 481"/>
                  <a:gd name="T8" fmla="*/ 0 w 9427"/>
                  <a:gd name="T9" fmla="*/ 0 h 481"/>
                  <a:gd name="T10" fmla="*/ 0 w 9427"/>
                  <a:gd name="T11" fmla="*/ 0 h 481"/>
                  <a:gd name="T12" fmla="*/ 0 w 9427"/>
                  <a:gd name="T13" fmla="*/ 0 h 481"/>
                  <a:gd name="T14" fmla="*/ 0 w 9427"/>
                  <a:gd name="T15" fmla="*/ 0 h 481"/>
                  <a:gd name="T16" fmla="*/ 0 w 9427"/>
                  <a:gd name="T17" fmla="*/ 0 h 481"/>
                  <a:gd name="T18" fmla="*/ 0 w 9427"/>
                  <a:gd name="T19" fmla="*/ 0 h 481"/>
                  <a:gd name="T20" fmla="*/ 0 w 9427"/>
                  <a:gd name="T21" fmla="*/ 0 h 481"/>
                  <a:gd name="T22" fmla="*/ 0 w 9427"/>
                  <a:gd name="T23" fmla="*/ 0 h 481"/>
                  <a:gd name="T24" fmla="*/ 0 w 9427"/>
                  <a:gd name="T25" fmla="*/ 0 h 481"/>
                  <a:gd name="T26" fmla="*/ 0 w 9427"/>
                  <a:gd name="T27" fmla="*/ 0 h 481"/>
                  <a:gd name="T28" fmla="*/ 0 w 9427"/>
                  <a:gd name="T29" fmla="*/ 0 h 481"/>
                  <a:gd name="T30" fmla="*/ 0 w 9427"/>
                  <a:gd name="T31" fmla="*/ 0 h 481"/>
                  <a:gd name="T32" fmla="*/ 0 w 9427"/>
                  <a:gd name="T33" fmla="*/ 0 h 481"/>
                  <a:gd name="T34" fmla="*/ 0 w 9427"/>
                  <a:gd name="T35" fmla="*/ 0 h 481"/>
                  <a:gd name="T36" fmla="*/ 0 w 9427"/>
                  <a:gd name="T37" fmla="*/ 0 h 481"/>
                  <a:gd name="T38" fmla="*/ 0 w 9427"/>
                  <a:gd name="T39" fmla="*/ 0 h 481"/>
                  <a:gd name="T40" fmla="*/ 0 w 9427"/>
                  <a:gd name="T41" fmla="*/ 0 h 481"/>
                  <a:gd name="T42" fmla="*/ 0 w 9427"/>
                  <a:gd name="T43" fmla="*/ 0 h 481"/>
                  <a:gd name="T44" fmla="*/ 0 w 9427"/>
                  <a:gd name="T45" fmla="*/ 0 h 481"/>
                  <a:gd name="T46" fmla="*/ 0 w 9427"/>
                  <a:gd name="T47" fmla="*/ 0 h 481"/>
                  <a:gd name="T48" fmla="*/ 0 w 9427"/>
                  <a:gd name="T49" fmla="*/ 0 h 481"/>
                  <a:gd name="T50" fmla="*/ 0 w 9427"/>
                  <a:gd name="T51" fmla="*/ 0 h 481"/>
                  <a:gd name="T52" fmla="*/ 0 w 9427"/>
                  <a:gd name="T53" fmla="*/ 0 h 481"/>
                  <a:gd name="T54" fmla="*/ 0 w 9427"/>
                  <a:gd name="T55" fmla="*/ 0 h 481"/>
                  <a:gd name="T56" fmla="*/ 0 w 9427"/>
                  <a:gd name="T57" fmla="*/ 0 h 481"/>
                  <a:gd name="T58" fmla="*/ 0 w 9427"/>
                  <a:gd name="T59" fmla="*/ 0 h 481"/>
                  <a:gd name="T60" fmla="*/ 0 w 9427"/>
                  <a:gd name="T61" fmla="*/ 0 h 481"/>
                  <a:gd name="T62" fmla="*/ 0 w 9427"/>
                  <a:gd name="T63" fmla="*/ 0 h 481"/>
                  <a:gd name="T64" fmla="*/ 0 w 9427"/>
                  <a:gd name="T65" fmla="*/ 0 h 481"/>
                  <a:gd name="T66" fmla="*/ 0 w 9427"/>
                  <a:gd name="T67" fmla="*/ 0 h 481"/>
                  <a:gd name="T68" fmla="*/ 0 w 9427"/>
                  <a:gd name="T69" fmla="*/ 0 h 481"/>
                  <a:gd name="T70" fmla="*/ 0 w 9427"/>
                  <a:gd name="T71" fmla="*/ 0 h 481"/>
                  <a:gd name="T72" fmla="*/ 0 w 9427"/>
                  <a:gd name="T73" fmla="*/ 0 h 481"/>
                  <a:gd name="T74" fmla="*/ 0 w 9427"/>
                  <a:gd name="T75" fmla="*/ 0 h 481"/>
                  <a:gd name="T76" fmla="*/ 0 w 9427"/>
                  <a:gd name="T77" fmla="*/ 0 h 481"/>
                  <a:gd name="T78" fmla="*/ 0 w 9427"/>
                  <a:gd name="T79" fmla="*/ 0 h 481"/>
                  <a:gd name="T80" fmla="*/ 0 w 9427"/>
                  <a:gd name="T81" fmla="*/ 0 h 481"/>
                  <a:gd name="T82" fmla="*/ 0 w 9427"/>
                  <a:gd name="T83" fmla="*/ 0 h 481"/>
                  <a:gd name="T84" fmla="*/ 0 w 9427"/>
                  <a:gd name="T85" fmla="*/ 0 h 481"/>
                  <a:gd name="T86" fmla="*/ 0 w 9427"/>
                  <a:gd name="T87" fmla="*/ 0 h 481"/>
                  <a:gd name="T88" fmla="*/ 0 w 9427"/>
                  <a:gd name="T89" fmla="*/ 0 h 481"/>
                  <a:gd name="T90" fmla="*/ 0 w 9427"/>
                  <a:gd name="T91" fmla="*/ 0 h 481"/>
                  <a:gd name="T92" fmla="*/ 0 w 9427"/>
                  <a:gd name="T93" fmla="*/ 0 h 481"/>
                  <a:gd name="T94" fmla="*/ 0 w 9427"/>
                  <a:gd name="T95" fmla="*/ 0 h 481"/>
                  <a:gd name="T96" fmla="*/ 0 w 9427"/>
                  <a:gd name="T97" fmla="*/ 0 h 481"/>
                  <a:gd name="T98" fmla="*/ 0 w 9427"/>
                  <a:gd name="T99" fmla="*/ 0 h 481"/>
                  <a:gd name="T100" fmla="*/ 0 w 9427"/>
                  <a:gd name="T101" fmla="*/ 0 h 481"/>
                  <a:gd name="T102" fmla="*/ 0 w 9427"/>
                  <a:gd name="T103" fmla="*/ 0 h 481"/>
                  <a:gd name="T104" fmla="*/ 0 w 9427"/>
                  <a:gd name="T105" fmla="*/ 0 h 481"/>
                  <a:gd name="T106" fmla="*/ 0 w 9427"/>
                  <a:gd name="T107" fmla="*/ 0 h 481"/>
                  <a:gd name="T108" fmla="*/ 0 w 9427"/>
                  <a:gd name="T109" fmla="*/ 0 h 481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9427"/>
                  <a:gd name="T166" fmla="*/ 0 h 481"/>
                  <a:gd name="T167" fmla="*/ 9427 w 9427"/>
                  <a:gd name="T168" fmla="*/ 481 h 481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9427" h="481">
                    <a:moveTo>
                      <a:pt x="71" y="0"/>
                    </a:moveTo>
                    <a:lnTo>
                      <a:pt x="68" y="11"/>
                    </a:lnTo>
                    <a:lnTo>
                      <a:pt x="65" y="21"/>
                    </a:lnTo>
                    <a:lnTo>
                      <a:pt x="62" y="32"/>
                    </a:lnTo>
                    <a:lnTo>
                      <a:pt x="60" y="43"/>
                    </a:lnTo>
                    <a:lnTo>
                      <a:pt x="58" y="54"/>
                    </a:lnTo>
                    <a:lnTo>
                      <a:pt x="57" y="64"/>
                    </a:lnTo>
                    <a:lnTo>
                      <a:pt x="57" y="76"/>
                    </a:lnTo>
                    <a:lnTo>
                      <a:pt x="57" y="86"/>
                    </a:lnTo>
                    <a:lnTo>
                      <a:pt x="57" y="98"/>
                    </a:lnTo>
                    <a:lnTo>
                      <a:pt x="59" y="109"/>
                    </a:lnTo>
                    <a:lnTo>
                      <a:pt x="61" y="120"/>
                    </a:lnTo>
                    <a:lnTo>
                      <a:pt x="63" y="132"/>
                    </a:lnTo>
                    <a:lnTo>
                      <a:pt x="66" y="142"/>
                    </a:lnTo>
                    <a:lnTo>
                      <a:pt x="70" y="153"/>
                    </a:lnTo>
                    <a:lnTo>
                      <a:pt x="75" y="165"/>
                    </a:lnTo>
                    <a:lnTo>
                      <a:pt x="81" y="175"/>
                    </a:lnTo>
                    <a:lnTo>
                      <a:pt x="87" y="185"/>
                    </a:lnTo>
                    <a:lnTo>
                      <a:pt x="94" y="196"/>
                    </a:lnTo>
                    <a:lnTo>
                      <a:pt x="102" y="205"/>
                    </a:lnTo>
                    <a:lnTo>
                      <a:pt x="113" y="213"/>
                    </a:lnTo>
                    <a:lnTo>
                      <a:pt x="124" y="222"/>
                    </a:lnTo>
                    <a:lnTo>
                      <a:pt x="136" y="230"/>
                    </a:lnTo>
                    <a:lnTo>
                      <a:pt x="149" y="237"/>
                    </a:lnTo>
                    <a:lnTo>
                      <a:pt x="163" y="244"/>
                    </a:lnTo>
                    <a:lnTo>
                      <a:pt x="178" y="252"/>
                    </a:lnTo>
                    <a:lnTo>
                      <a:pt x="193" y="258"/>
                    </a:lnTo>
                    <a:lnTo>
                      <a:pt x="210" y="264"/>
                    </a:lnTo>
                    <a:lnTo>
                      <a:pt x="226" y="269"/>
                    </a:lnTo>
                    <a:lnTo>
                      <a:pt x="261" y="281"/>
                    </a:lnTo>
                    <a:lnTo>
                      <a:pt x="297" y="289"/>
                    </a:lnTo>
                    <a:lnTo>
                      <a:pt x="334" y="297"/>
                    </a:lnTo>
                    <a:lnTo>
                      <a:pt x="370" y="304"/>
                    </a:lnTo>
                    <a:lnTo>
                      <a:pt x="405" y="311"/>
                    </a:lnTo>
                    <a:lnTo>
                      <a:pt x="440" y="316"/>
                    </a:lnTo>
                    <a:lnTo>
                      <a:pt x="501" y="324"/>
                    </a:lnTo>
                    <a:lnTo>
                      <a:pt x="550" y="330"/>
                    </a:lnTo>
                    <a:lnTo>
                      <a:pt x="643" y="339"/>
                    </a:lnTo>
                    <a:lnTo>
                      <a:pt x="769" y="348"/>
                    </a:lnTo>
                    <a:lnTo>
                      <a:pt x="928" y="356"/>
                    </a:lnTo>
                    <a:lnTo>
                      <a:pt x="1116" y="362"/>
                    </a:lnTo>
                    <a:lnTo>
                      <a:pt x="1332" y="368"/>
                    </a:lnTo>
                    <a:lnTo>
                      <a:pt x="1573" y="374"/>
                    </a:lnTo>
                    <a:lnTo>
                      <a:pt x="1836" y="378"/>
                    </a:lnTo>
                    <a:lnTo>
                      <a:pt x="2120" y="382"/>
                    </a:lnTo>
                    <a:lnTo>
                      <a:pt x="2423" y="385"/>
                    </a:lnTo>
                    <a:lnTo>
                      <a:pt x="2742" y="388"/>
                    </a:lnTo>
                    <a:lnTo>
                      <a:pt x="3073" y="390"/>
                    </a:lnTo>
                    <a:lnTo>
                      <a:pt x="3416" y="392"/>
                    </a:lnTo>
                    <a:lnTo>
                      <a:pt x="4128" y="393"/>
                    </a:lnTo>
                    <a:lnTo>
                      <a:pt x="4858" y="394"/>
                    </a:lnTo>
                    <a:lnTo>
                      <a:pt x="5588" y="393"/>
                    </a:lnTo>
                    <a:lnTo>
                      <a:pt x="6300" y="391"/>
                    </a:lnTo>
                    <a:lnTo>
                      <a:pt x="6976" y="388"/>
                    </a:lnTo>
                    <a:lnTo>
                      <a:pt x="7597" y="385"/>
                    </a:lnTo>
                    <a:lnTo>
                      <a:pt x="8147" y="382"/>
                    </a:lnTo>
                    <a:lnTo>
                      <a:pt x="8605" y="379"/>
                    </a:lnTo>
                    <a:lnTo>
                      <a:pt x="8954" y="377"/>
                    </a:lnTo>
                    <a:lnTo>
                      <a:pt x="9175" y="375"/>
                    </a:lnTo>
                    <a:lnTo>
                      <a:pt x="9189" y="374"/>
                    </a:lnTo>
                    <a:lnTo>
                      <a:pt x="9201" y="373"/>
                    </a:lnTo>
                    <a:lnTo>
                      <a:pt x="9215" y="369"/>
                    </a:lnTo>
                    <a:lnTo>
                      <a:pt x="9227" y="365"/>
                    </a:lnTo>
                    <a:lnTo>
                      <a:pt x="9239" y="361"/>
                    </a:lnTo>
                    <a:lnTo>
                      <a:pt x="9251" y="356"/>
                    </a:lnTo>
                    <a:lnTo>
                      <a:pt x="9263" y="350"/>
                    </a:lnTo>
                    <a:lnTo>
                      <a:pt x="9275" y="344"/>
                    </a:lnTo>
                    <a:lnTo>
                      <a:pt x="9285" y="336"/>
                    </a:lnTo>
                    <a:lnTo>
                      <a:pt x="9296" y="329"/>
                    </a:lnTo>
                    <a:lnTo>
                      <a:pt x="9307" y="321"/>
                    </a:lnTo>
                    <a:lnTo>
                      <a:pt x="9317" y="313"/>
                    </a:lnTo>
                    <a:lnTo>
                      <a:pt x="9337" y="295"/>
                    </a:lnTo>
                    <a:lnTo>
                      <a:pt x="9354" y="277"/>
                    </a:lnTo>
                    <a:lnTo>
                      <a:pt x="9385" y="244"/>
                    </a:lnTo>
                    <a:lnTo>
                      <a:pt x="9408" y="216"/>
                    </a:lnTo>
                    <a:lnTo>
                      <a:pt x="9416" y="206"/>
                    </a:lnTo>
                    <a:lnTo>
                      <a:pt x="9422" y="199"/>
                    </a:lnTo>
                    <a:lnTo>
                      <a:pt x="9424" y="197"/>
                    </a:lnTo>
                    <a:lnTo>
                      <a:pt x="9426" y="196"/>
                    </a:lnTo>
                    <a:lnTo>
                      <a:pt x="9427" y="197"/>
                    </a:lnTo>
                    <a:lnTo>
                      <a:pt x="9426" y="218"/>
                    </a:lnTo>
                    <a:lnTo>
                      <a:pt x="9425" y="238"/>
                    </a:lnTo>
                    <a:lnTo>
                      <a:pt x="9423" y="257"/>
                    </a:lnTo>
                    <a:lnTo>
                      <a:pt x="9420" y="274"/>
                    </a:lnTo>
                    <a:lnTo>
                      <a:pt x="9416" y="292"/>
                    </a:lnTo>
                    <a:lnTo>
                      <a:pt x="9412" y="307"/>
                    </a:lnTo>
                    <a:lnTo>
                      <a:pt x="9407" y="322"/>
                    </a:lnTo>
                    <a:lnTo>
                      <a:pt x="9401" y="336"/>
                    </a:lnTo>
                    <a:lnTo>
                      <a:pt x="9394" y="349"/>
                    </a:lnTo>
                    <a:lnTo>
                      <a:pt x="9387" y="361"/>
                    </a:lnTo>
                    <a:lnTo>
                      <a:pt x="9379" y="373"/>
                    </a:lnTo>
                    <a:lnTo>
                      <a:pt x="9371" y="383"/>
                    </a:lnTo>
                    <a:lnTo>
                      <a:pt x="9361" y="393"/>
                    </a:lnTo>
                    <a:lnTo>
                      <a:pt x="9352" y="402"/>
                    </a:lnTo>
                    <a:lnTo>
                      <a:pt x="9342" y="410"/>
                    </a:lnTo>
                    <a:lnTo>
                      <a:pt x="9331" y="417"/>
                    </a:lnTo>
                    <a:lnTo>
                      <a:pt x="9320" y="424"/>
                    </a:lnTo>
                    <a:lnTo>
                      <a:pt x="9309" y="430"/>
                    </a:lnTo>
                    <a:lnTo>
                      <a:pt x="9297" y="436"/>
                    </a:lnTo>
                    <a:lnTo>
                      <a:pt x="9285" y="441"/>
                    </a:lnTo>
                    <a:lnTo>
                      <a:pt x="9272" y="445"/>
                    </a:lnTo>
                    <a:lnTo>
                      <a:pt x="9259" y="449"/>
                    </a:lnTo>
                    <a:lnTo>
                      <a:pt x="9247" y="452"/>
                    </a:lnTo>
                    <a:lnTo>
                      <a:pt x="9233" y="455"/>
                    </a:lnTo>
                    <a:lnTo>
                      <a:pt x="9205" y="459"/>
                    </a:lnTo>
                    <a:lnTo>
                      <a:pt x="9176" y="463"/>
                    </a:lnTo>
                    <a:lnTo>
                      <a:pt x="9148" y="464"/>
                    </a:lnTo>
                    <a:lnTo>
                      <a:pt x="9119" y="465"/>
                    </a:lnTo>
                    <a:lnTo>
                      <a:pt x="8897" y="465"/>
                    </a:lnTo>
                    <a:lnTo>
                      <a:pt x="8548" y="467"/>
                    </a:lnTo>
                    <a:lnTo>
                      <a:pt x="8090" y="469"/>
                    </a:lnTo>
                    <a:lnTo>
                      <a:pt x="7542" y="472"/>
                    </a:lnTo>
                    <a:lnTo>
                      <a:pt x="6919" y="475"/>
                    </a:lnTo>
                    <a:lnTo>
                      <a:pt x="6244" y="478"/>
                    </a:lnTo>
                    <a:lnTo>
                      <a:pt x="5532" y="480"/>
                    </a:lnTo>
                    <a:lnTo>
                      <a:pt x="4802" y="481"/>
                    </a:lnTo>
                    <a:lnTo>
                      <a:pt x="4071" y="481"/>
                    </a:lnTo>
                    <a:lnTo>
                      <a:pt x="3360" y="479"/>
                    </a:lnTo>
                    <a:lnTo>
                      <a:pt x="3016" y="478"/>
                    </a:lnTo>
                    <a:lnTo>
                      <a:pt x="2685" y="476"/>
                    </a:lnTo>
                    <a:lnTo>
                      <a:pt x="2366" y="474"/>
                    </a:lnTo>
                    <a:lnTo>
                      <a:pt x="2065" y="471"/>
                    </a:lnTo>
                    <a:lnTo>
                      <a:pt x="1781" y="467"/>
                    </a:lnTo>
                    <a:lnTo>
                      <a:pt x="1517" y="463"/>
                    </a:lnTo>
                    <a:lnTo>
                      <a:pt x="1276" y="457"/>
                    </a:lnTo>
                    <a:lnTo>
                      <a:pt x="1060" y="452"/>
                    </a:lnTo>
                    <a:lnTo>
                      <a:pt x="871" y="445"/>
                    </a:lnTo>
                    <a:lnTo>
                      <a:pt x="713" y="438"/>
                    </a:lnTo>
                    <a:lnTo>
                      <a:pt x="586" y="429"/>
                    </a:lnTo>
                    <a:lnTo>
                      <a:pt x="493" y="420"/>
                    </a:lnTo>
                    <a:lnTo>
                      <a:pt x="444" y="414"/>
                    </a:lnTo>
                    <a:lnTo>
                      <a:pt x="383" y="406"/>
                    </a:lnTo>
                    <a:lnTo>
                      <a:pt x="349" y="400"/>
                    </a:lnTo>
                    <a:lnTo>
                      <a:pt x="313" y="394"/>
                    </a:lnTo>
                    <a:lnTo>
                      <a:pt x="277" y="387"/>
                    </a:lnTo>
                    <a:lnTo>
                      <a:pt x="241" y="379"/>
                    </a:lnTo>
                    <a:lnTo>
                      <a:pt x="205" y="369"/>
                    </a:lnTo>
                    <a:lnTo>
                      <a:pt x="169" y="359"/>
                    </a:lnTo>
                    <a:lnTo>
                      <a:pt x="153" y="354"/>
                    </a:lnTo>
                    <a:lnTo>
                      <a:pt x="137" y="348"/>
                    </a:lnTo>
                    <a:lnTo>
                      <a:pt x="122" y="342"/>
                    </a:lnTo>
                    <a:lnTo>
                      <a:pt x="106" y="334"/>
                    </a:lnTo>
                    <a:lnTo>
                      <a:pt x="93" y="327"/>
                    </a:lnTo>
                    <a:lnTo>
                      <a:pt x="80" y="320"/>
                    </a:lnTo>
                    <a:lnTo>
                      <a:pt x="67" y="312"/>
                    </a:lnTo>
                    <a:lnTo>
                      <a:pt x="57" y="303"/>
                    </a:lnTo>
                    <a:lnTo>
                      <a:pt x="47" y="294"/>
                    </a:lnTo>
                    <a:lnTo>
                      <a:pt x="37" y="285"/>
                    </a:lnTo>
                    <a:lnTo>
                      <a:pt x="30" y="275"/>
                    </a:lnTo>
                    <a:lnTo>
                      <a:pt x="24" y="265"/>
                    </a:lnTo>
                    <a:lnTo>
                      <a:pt x="16" y="247"/>
                    </a:lnTo>
                    <a:lnTo>
                      <a:pt x="9" y="230"/>
                    </a:lnTo>
                    <a:lnTo>
                      <a:pt x="4" y="212"/>
                    </a:lnTo>
                    <a:lnTo>
                      <a:pt x="1" y="195"/>
                    </a:lnTo>
                    <a:lnTo>
                      <a:pt x="0" y="176"/>
                    </a:lnTo>
                    <a:lnTo>
                      <a:pt x="0" y="159"/>
                    </a:lnTo>
                    <a:lnTo>
                      <a:pt x="2" y="142"/>
                    </a:lnTo>
                    <a:lnTo>
                      <a:pt x="5" y="124"/>
                    </a:lnTo>
                    <a:lnTo>
                      <a:pt x="9" y="108"/>
                    </a:lnTo>
                    <a:lnTo>
                      <a:pt x="14" y="90"/>
                    </a:lnTo>
                    <a:lnTo>
                      <a:pt x="22" y="75"/>
                    </a:lnTo>
                    <a:lnTo>
                      <a:pt x="30" y="58"/>
                    </a:lnTo>
                    <a:lnTo>
                      <a:pt x="38" y="44"/>
                    </a:lnTo>
                    <a:lnTo>
                      <a:pt x="49" y="28"/>
                    </a:lnTo>
                    <a:lnTo>
                      <a:pt x="60" y="14"/>
                    </a:lnTo>
                    <a:lnTo>
                      <a:pt x="71" y="0"/>
                    </a:lnTo>
                    <a:close/>
                  </a:path>
                </a:pathLst>
              </a:custGeom>
              <a:solidFill>
                <a:srgbClr val="934F3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72" name="Freeform 7"/>
              <p:cNvSpPr>
                <a:spLocks/>
              </p:cNvSpPr>
              <p:nvPr/>
            </p:nvSpPr>
            <p:spPr bwMode="auto">
              <a:xfrm>
                <a:off x="2924" y="963"/>
                <a:ext cx="220" cy="780"/>
              </a:xfrm>
              <a:custGeom>
                <a:avLst/>
                <a:gdLst>
                  <a:gd name="T0" fmla="*/ 0 w 1539"/>
                  <a:gd name="T1" fmla="*/ 0 h 5457"/>
                  <a:gd name="T2" fmla="*/ 0 w 1539"/>
                  <a:gd name="T3" fmla="*/ 0 h 5457"/>
                  <a:gd name="T4" fmla="*/ 0 w 1539"/>
                  <a:gd name="T5" fmla="*/ 0 h 5457"/>
                  <a:gd name="T6" fmla="*/ 0 w 1539"/>
                  <a:gd name="T7" fmla="*/ 0 h 5457"/>
                  <a:gd name="T8" fmla="*/ 0 w 1539"/>
                  <a:gd name="T9" fmla="*/ 0 h 5457"/>
                  <a:gd name="T10" fmla="*/ 0 w 1539"/>
                  <a:gd name="T11" fmla="*/ 0 h 5457"/>
                  <a:gd name="T12" fmla="*/ 0 w 1539"/>
                  <a:gd name="T13" fmla="*/ 0 h 5457"/>
                  <a:gd name="T14" fmla="*/ 0 w 1539"/>
                  <a:gd name="T15" fmla="*/ 0 h 5457"/>
                  <a:gd name="T16" fmla="*/ 0 w 1539"/>
                  <a:gd name="T17" fmla="*/ 0 h 5457"/>
                  <a:gd name="T18" fmla="*/ 0 w 1539"/>
                  <a:gd name="T19" fmla="*/ 0 h 5457"/>
                  <a:gd name="T20" fmla="*/ 0 w 1539"/>
                  <a:gd name="T21" fmla="*/ 0 h 5457"/>
                  <a:gd name="T22" fmla="*/ 0 w 1539"/>
                  <a:gd name="T23" fmla="*/ 0 h 5457"/>
                  <a:gd name="T24" fmla="*/ 0 w 1539"/>
                  <a:gd name="T25" fmla="*/ 0 h 5457"/>
                  <a:gd name="T26" fmla="*/ 0 w 1539"/>
                  <a:gd name="T27" fmla="*/ 0 h 5457"/>
                  <a:gd name="T28" fmla="*/ 0 w 1539"/>
                  <a:gd name="T29" fmla="*/ 0 h 5457"/>
                  <a:gd name="T30" fmla="*/ 0 w 1539"/>
                  <a:gd name="T31" fmla="*/ 0 h 5457"/>
                  <a:gd name="T32" fmla="*/ 0 w 1539"/>
                  <a:gd name="T33" fmla="*/ 0 h 5457"/>
                  <a:gd name="T34" fmla="*/ 0 w 1539"/>
                  <a:gd name="T35" fmla="*/ 0 h 5457"/>
                  <a:gd name="T36" fmla="*/ 0 w 1539"/>
                  <a:gd name="T37" fmla="*/ 0 h 5457"/>
                  <a:gd name="T38" fmla="*/ 0 w 1539"/>
                  <a:gd name="T39" fmla="*/ 0 h 5457"/>
                  <a:gd name="T40" fmla="*/ 0 w 1539"/>
                  <a:gd name="T41" fmla="*/ 0 h 5457"/>
                  <a:gd name="T42" fmla="*/ 0 w 1539"/>
                  <a:gd name="T43" fmla="*/ 0 h 5457"/>
                  <a:gd name="T44" fmla="*/ 0 w 1539"/>
                  <a:gd name="T45" fmla="*/ 0 h 5457"/>
                  <a:gd name="T46" fmla="*/ 0 w 1539"/>
                  <a:gd name="T47" fmla="*/ 0 h 5457"/>
                  <a:gd name="T48" fmla="*/ 0 w 1539"/>
                  <a:gd name="T49" fmla="*/ 0 h 5457"/>
                  <a:gd name="T50" fmla="*/ 0 w 1539"/>
                  <a:gd name="T51" fmla="*/ 0 h 5457"/>
                  <a:gd name="T52" fmla="*/ 0 w 1539"/>
                  <a:gd name="T53" fmla="*/ 0 h 5457"/>
                  <a:gd name="T54" fmla="*/ 0 w 1539"/>
                  <a:gd name="T55" fmla="*/ 0 h 5457"/>
                  <a:gd name="T56" fmla="*/ 0 w 1539"/>
                  <a:gd name="T57" fmla="*/ 0 h 5457"/>
                  <a:gd name="T58" fmla="*/ 0 w 1539"/>
                  <a:gd name="T59" fmla="*/ 0 h 5457"/>
                  <a:gd name="T60" fmla="*/ 0 w 1539"/>
                  <a:gd name="T61" fmla="*/ 0 h 5457"/>
                  <a:gd name="T62" fmla="*/ 0 w 1539"/>
                  <a:gd name="T63" fmla="*/ 0 h 5457"/>
                  <a:gd name="T64" fmla="*/ 0 w 1539"/>
                  <a:gd name="T65" fmla="*/ 0 h 5457"/>
                  <a:gd name="T66" fmla="*/ 0 w 1539"/>
                  <a:gd name="T67" fmla="*/ 0 h 5457"/>
                  <a:gd name="T68" fmla="*/ 0 w 1539"/>
                  <a:gd name="T69" fmla="*/ 0 h 5457"/>
                  <a:gd name="T70" fmla="*/ 0 w 1539"/>
                  <a:gd name="T71" fmla="*/ 0 h 5457"/>
                  <a:gd name="T72" fmla="*/ 0 w 1539"/>
                  <a:gd name="T73" fmla="*/ 0 h 5457"/>
                  <a:gd name="T74" fmla="*/ 0 w 1539"/>
                  <a:gd name="T75" fmla="*/ 0 h 5457"/>
                  <a:gd name="T76" fmla="*/ 0 w 1539"/>
                  <a:gd name="T77" fmla="*/ 0 h 5457"/>
                  <a:gd name="T78" fmla="*/ 0 w 1539"/>
                  <a:gd name="T79" fmla="*/ 0 h 5457"/>
                  <a:gd name="T80" fmla="*/ 0 w 1539"/>
                  <a:gd name="T81" fmla="*/ 0 h 5457"/>
                  <a:gd name="T82" fmla="*/ 0 w 1539"/>
                  <a:gd name="T83" fmla="*/ 0 h 5457"/>
                  <a:gd name="T84" fmla="*/ 0 w 1539"/>
                  <a:gd name="T85" fmla="*/ 0 h 5457"/>
                  <a:gd name="T86" fmla="*/ 0 w 1539"/>
                  <a:gd name="T87" fmla="*/ 0 h 5457"/>
                  <a:gd name="T88" fmla="*/ 0 w 1539"/>
                  <a:gd name="T89" fmla="*/ 0 h 5457"/>
                  <a:gd name="T90" fmla="*/ 0 w 1539"/>
                  <a:gd name="T91" fmla="*/ 0 h 5457"/>
                  <a:gd name="T92" fmla="*/ 0 w 1539"/>
                  <a:gd name="T93" fmla="*/ 0 h 5457"/>
                  <a:gd name="T94" fmla="*/ 0 w 1539"/>
                  <a:gd name="T95" fmla="*/ 0 h 5457"/>
                  <a:gd name="T96" fmla="*/ 0 w 1539"/>
                  <a:gd name="T97" fmla="*/ 0 h 5457"/>
                  <a:gd name="T98" fmla="*/ 0 w 1539"/>
                  <a:gd name="T99" fmla="*/ 0 h 5457"/>
                  <a:gd name="T100" fmla="*/ 0 w 1539"/>
                  <a:gd name="T101" fmla="*/ 0 h 5457"/>
                  <a:gd name="T102" fmla="*/ 0 w 1539"/>
                  <a:gd name="T103" fmla="*/ 0 h 5457"/>
                  <a:gd name="T104" fmla="*/ 0 w 1539"/>
                  <a:gd name="T105" fmla="*/ 0 h 5457"/>
                  <a:gd name="T106" fmla="*/ 0 w 1539"/>
                  <a:gd name="T107" fmla="*/ 0 h 5457"/>
                  <a:gd name="T108" fmla="*/ 0 w 1539"/>
                  <a:gd name="T109" fmla="*/ 0 h 5457"/>
                  <a:gd name="T110" fmla="*/ 0 w 1539"/>
                  <a:gd name="T111" fmla="*/ 0 h 5457"/>
                  <a:gd name="T112" fmla="*/ 0 w 1539"/>
                  <a:gd name="T113" fmla="*/ 0 h 5457"/>
                  <a:gd name="T114" fmla="*/ 0 w 1539"/>
                  <a:gd name="T115" fmla="*/ 0 h 5457"/>
                  <a:gd name="T116" fmla="*/ 0 w 1539"/>
                  <a:gd name="T117" fmla="*/ 0 h 5457"/>
                  <a:gd name="T118" fmla="*/ 0 w 1539"/>
                  <a:gd name="T119" fmla="*/ 0 h 5457"/>
                  <a:gd name="T120" fmla="*/ 0 w 1539"/>
                  <a:gd name="T121" fmla="*/ 0 h 5457"/>
                  <a:gd name="T122" fmla="*/ 0 w 1539"/>
                  <a:gd name="T123" fmla="*/ 0 h 5457"/>
                  <a:gd name="T124" fmla="*/ 0 w 1539"/>
                  <a:gd name="T125" fmla="*/ 0 h 5457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539"/>
                  <a:gd name="T190" fmla="*/ 0 h 5457"/>
                  <a:gd name="T191" fmla="*/ 1539 w 1539"/>
                  <a:gd name="T192" fmla="*/ 5457 h 5457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539" h="5457">
                    <a:moveTo>
                      <a:pt x="158" y="5451"/>
                    </a:moveTo>
                    <a:lnTo>
                      <a:pt x="133" y="5366"/>
                    </a:lnTo>
                    <a:lnTo>
                      <a:pt x="111" y="5283"/>
                    </a:lnTo>
                    <a:lnTo>
                      <a:pt x="91" y="5201"/>
                    </a:lnTo>
                    <a:lnTo>
                      <a:pt x="72" y="5119"/>
                    </a:lnTo>
                    <a:lnTo>
                      <a:pt x="56" y="5038"/>
                    </a:lnTo>
                    <a:lnTo>
                      <a:pt x="41" y="4958"/>
                    </a:lnTo>
                    <a:lnTo>
                      <a:pt x="29" y="4878"/>
                    </a:lnTo>
                    <a:lnTo>
                      <a:pt x="20" y="4800"/>
                    </a:lnTo>
                    <a:lnTo>
                      <a:pt x="11" y="4721"/>
                    </a:lnTo>
                    <a:lnTo>
                      <a:pt x="6" y="4643"/>
                    </a:lnTo>
                    <a:lnTo>
                      <a:pt x="2" y="4566"/>
                    </a:lnTo>
                    <a:lnTo>
                      <a:pt x="0" y="4488"/>
                    </a:lnTo>
                    <a:lnTo>
                      <a:pt x="1" y="4411"/>
                    </a:lnTo>
                    <a:lnTo>
                      <a:pt x="3" y="4333"/>
                    </a:lnTo>
                    <a:lnTo>
                      <a:pt x="7" y="4257"/>
                    </a:lnTo>
                    <a:lnTo>
                      <a:pt x="14" y="4179"/>
                    </a:lnTo>
                    <a:lnTo>
                      <a:pt x="23" y="4102"/>
                    </a:lnTo>
                    <a:lnTo>
                      <a:pt x="33" y="4023"/>
                    </a:lnTo>
                    <a:lnTo>
                      <a:pt x="45" y="3944"/>
                    </a:lnTo>
                    <a:lnTo>
                      <a:pt x="61" y="3866"/>
                    </a:lnTo>
                    <a:lnTo>
                      <a:pt x="77" y="3786"/>
                    </a:lnTo>
                    <a:lnTo>
                      <a:pt x="96" y="3707"/>
                    </a:lnTo>
                    <a:lnTo>
                      <a:pt x="116" y="3626"/>
                    </a:lnTo>
                    <a:lnTo>
                      <a:pt x="138" y="3544"/>
                    </a:lnTo>
                    <a:lnTo>
                      <a:pt x="163" y="3461"/>
                    </a:lnTo>
                    <a:lnTo>
                      <a:pt x="190" y="3378"/>
                    </a:lnTo>
                    <a:lnTo>
                      <a:pt x="218" y="3293"/>
                    </a:lnTo>
                    <a:lnTo>
                      <a:pt x="248" y="3207"/>
                    </a:lnTo>
                    <a:lnTo>
                      <a:pt x="281" y="3120"/>
                    </a:lnTo>
                    <a:lnTo>
                      <a:pt x="315" y="3032"/>
                    </a:lnTo>
                    <a:lnTo>
                      <a:pt x="351" y="2942"/>
                    </a:lnTo>
                    <a:lnTo>
                      <a:pt x="390" y="2850"/>
                    </a:lnTo>
                    <a:lnTo>
                      <a:pt x="425" y="2762"/>
                    </a:lnTo>
                    <a:lnTo>
                      <a:pt x="457" y="2675"/>
                    </a:lnTo>
                    <a:lnTo>
                      <a:pt x="485" y="2587"/>
                    </a:lnTo>
                    <a:lnTo>
                      <a:pt x="510" y="2498"/>
                    </a:lnTo>
                    <a:lnTo>
                      <a:pt x="532" y="2411"/>
                    </a:lnTo>
                    <a:lnTo>
                      <a:pt x="551" y="2323"/>
                    </a:lnTo>
                    <a:lnTo>
                      <a:pt x="567" y="2235"/>
                    </a:lnTo>
                    <a:lnTo>
                      <a:pt x="581" y="2147"/>
                    </a:lnTo>
                    <a:lnTo>
                      <a:pt x="591" y="2059"/>
                    </a:lnTo>
                    <a:lnTo>
                      <a:pt x="599" y="1971"/>
                    </a:lnTo>
                    <a:lnTo>
                      <a:pt x="606" y="1884"/>
                    </a:lnTo>
                    <a:lnTo>
                      <a:pt x="611" y="1797"/>
                    </a:lnTo>
                    <a:lnTo>
                      <a:pt x="613" y="1709"/>
                    </a:lnTo>
                    <a:lnTo>
                      <a:pt x="614" y="1621"/>
                    </a:lnTo>
                    <a:lnTo>
                      <a:pt x="613" y="1532"/>
                    </a:lnTo>
                    <a:lnTo>
                      <a:pt x="611" y="1444"/>
                    </a:lnTo>
                    <a:lnTo>
                      <a:pt x="608" y="1356"/>
                    </a:lnTo>
                    <a:lnTo>
                      <a:pt x="603" y="1267"/>
                    </a:lnTo>
                    <a:lnTo>
                      <a:pt x="598" y="1179"/>
                    </a:lnTo>
                    <a:lnTo>
                      <a:pt x="593" y="1090"/>
                    </a:lnTo>
                    <a:lnTo>
                      <a:pt x="581" y="912"/>
                    </a:lnTo>
                    <a:lnTo>
                      <a:pt x="567" y="733"/>
                    </a:lnTo>
                    <a:lnTo>
                      <a:pt x="560" y="643"/>
                    </a:lnTo>
                    <a:lnTo>
                      <a:pt x="554" y="553"/>
                    </a:lnTo>
                    <a:lnTo>
                      <a:pt x="549" y="462"/>
                    </a:lnTo>
                    <a:lnTo>
                      <a:pt x="544" y="371"/>
                    </a:lnTo>
                    <a:lnTo>
                      <a:pt x="539" y="280"/>
                    </a:lnTo>
                    <a:lnTo>
                      <a:pt x="536" y="188"/>
                    </a:lnTo>
                    <a:lnTo>
                      <a:pt x="534" y="96"/>
                    </a:lnTo>
                    <a:lnTo>
                      <a:pt x="533" y="3"/>
                    </a:lnTo>
                    <a:lnTo>
                      <a:pt x="1353" y="0"/>
                    </a:lnTo>
                    <a:lnTo>
                      <a:pt x="1357" y="92"/>
                    </a:lnTo>
                    <a:lnTo>
                      <a:pt x="1363" y="184"/>
                    </a:lnTo>
                    <a:lnTo>
                      <a:pt x="1371" y="276"/>
                    </a:lnTo>
                    <a:lnTo>
                      <a:pt x="1380" y="367"/>
                    </a:lnTo>
                    <a:lnTo>
                      <a:pt x="1390" y="457"/>
                    </a:lnTo>
                    <a:lnTo>
                      <a:pt x="1400" y="548"/>
                    </a:lnTo>
                    <a:lnTo>
                      <a:pt x="1412" y="638"/>
                    </a:lnTo>
                    <a:lnTo>
                      <a:pt x="1424" y="726"/>
                    </a:lnTo>
                    <a:lnTo>
                      <a:pt x="1448" y="905"/>
                    </a:lnTo>
                    <a:lnTo>
                      <a:pt x="1473" y="1082"/>
                    </a:lnTo>
                    <a:lnTo>
                      <a:pt x="1484" y="1171"/>
                    </a:lnTo>
                    <a:lnTo>
                      <a:pt x="1495" y="1259"/>
                    </a:lnTo>
                    <a:lnTo>
                      <a:pt x="1506" y="1347"/>
                    </a:lnTo>
                    <a:lnTo>
                      <a:pt x="1515" y="1435"/>
                    </a:lnTo>
                    <a:lnTo>
                      <a:pt x="1522" y="1523"/>
                    </a:lnTo>
                    <a:lnTo>
                      <a:pt x="1529" y="1610"/>
                    </a:lnTo>
                    <a:lnTo>
                      <a:pt x="1535" y="1697"/>
                    </a:lnTo>
                    <a:lnTo>
                      <a:pt x="1538" y="1785"/>
                    </a:lnTo>
                    <a:lnTo>
                      <a:pt x="1539" y="1873"/>
                    </a:lnTo>
                    <a:lnTo>
                      <a:pt x="1539" y="1961"/>
                    </a:lnTo>
                    <a:lnTo>
                      <a:pt x="1536" y="2048"/>
                    </a:lnTo>
                    <a:lnTo>
                      <a:pt x="1530" y="2136"/>
                    </a:lnTo>
                    <a:lnTo>
                      <a:pt x="1522" y="2224"/>
                    </a:lnTo>
                    <a:lnTo>
                      <a:pt x="1512" y="2312"/>
                    </a:lnTo>
                    <a:lnTo>
                      <a:pt x="1497" y="2401"/>
                    </a:lnTo>
                    <a:lnTo>
                      <a:pt x="1481" y="2488"/>
                    </a:lnTo>
                    <a:lnTo>
                      <a:pt x="1460" y="2577"/>
                    </a:lnTo>
                    <a:lnTo>
                      <a:pt x="1435" y="2666"/>
                    </a:lnTo>
                    <a:lnTo>
                      <a:pt x="1407" y="2755"/>
                    </a:lnTo>
                    <a:lnTo>
                      <a:pt x="1376" y="2844"/>
                    </a:lnTo>
                    <a:lnTo>
                      <a:pt x="1341" y="2938"/>
                    </a:lnTo>
                    <a:lnTo>
                      <a:pt x="1309" y="3031"/>
                    </a:lnTo>
                    <a:lnTo>
                      <a:pt x="1279" y="3122"/>
                    </a:lnTo>
                    <a:lnTo>
                      <a:pt x="1252" y="3211"/>
                    </a:lnTo>
                    <a:lnTo>
                      <a:pt x="1227" y="3298"/>
                    </a:lnTo>
                    <a:lnTo>
                      <a:pt x="1204" y="3384"/>
                    </a:lnTo>
                    <a:lnTo>
                      <a:pt x="1184" y="3469"/>
                    </a:lnTo>
                    <a:lnTo>
                      <a:pt x="1167" y="3552"/>
                    </a:lnTo>
                    <a:lnTo>
                      <a:pt x="1150" y="3634"/>
                    </a:lnTo>
                    <a:lnTo>
                      <a:pt x="1138" y="3716"/>
                    </a:lnTo>
                    <a:lnTo>
                      <a:pt x="1126" y="3795"/>
                    </a:lnTo>
                    <a:lnTo>
                      <a:pt x="1117" y="3875"/>
                    </a:lnTo>
                    <a:lnTo>
                      <a:pt x="1111" y="3954"/>
                    </a:lnTo>
                    <a:lnTo>
                      <a:pt x="1106" y="4031"/>
                    </a:lnTo>
                    <a:lnTo>
                      <a:pt x="1104" y="4109"/>
                    </a:lnTo>
                    <a:lnTo>
                      <a:pt x="1104" y="4186"/>
                    </a:lnTo>
                    <a:lnTo>
                      <a:pt x="1105" y="4263"/>
                    </a:lnTo>
                    <a:lnTo>
                      <a:pt x="1109" y="4340"/>
                    </a:lnTo>
                    <a:lnTo>
                      <a:pt x="1115" y="4417"/>
                    </a:lnTo>
                    <a:lnTo>
                      <a:pt x="1122" y="4493"/>
                    </a:lnTo>
                    <a:lnTo>
                      <a:pt x="1132" y="4570"/>
                    </a:lnTo>
                    <a:lnTo>
                      <a:pt x="1144" y="4648"/>
                    </a:lnTo>
                    <a:lnTo>
                      <a:pt x="1157" y="4725"/>
                    </a:lnTo>
                    <a:lnTo>
                      <a:pt x="1173" y="4803"/>
                    </a:lnTo>
                    <a:lnTo>
                      <a:pt x="1189" y="4881"/>
                    </a:lnTo>
                    <a:lnTo>
                      <a:pt x="1209" y="4961"/>
                    </a:lnTo>
                    <a:lnTo>
                      <a:pt x="1230" y="5040"/>
                    </a:lnTo>
                    <a:lnTo>
                      <a:pt x="1252" y="5122"/>
                    </a:lnTo>
                    <a:lnTo>
                      <a:pt x="1276" y="5204"/>
                    </a:lnTo>
                    <a:lnTo>
                      <a:pt x="1302" y="5287"/>
                    </a:lnTo>
                    <a:lnTo>
                      <a:pt x="1330" y="5371"/>
                    </a:lnTo>
                    <a:lnTo>
                      <a:pt x="1359" y="5457"/>
                    </a:lnTo>
                    <a:lnTo>
                      <a:pt x="158" y="5451"/>
                    </a:lnTo>
                    <a:close/>
                  </a:path>
                </a:pathLst>
              </a:custGeom>
              <a:solidFill>
                <a:srgbClr val="CB38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73" name="Freeform 8"/>
              <p:cNvSpPr>
                <a:spLocks/>
              </p:cNvSpPr>
              <p:nvPr/>
            </p:nvSpPr>
            <p:spPr bwMode="auto">
              <a:xfrm>
                <a:off x="3017" y="963"/>
                <a:ext cx="108" cy="108"/>
              </a:xfrm>
              <a:custGeom>
                <a:avLst/>
                <a:gdLst>
                  <a:gd name="T0" fmla="*/ 0 w 757"/>
                  <a:gd name="T1" fmla="*/ 0 h 756"/>
                  <a:gd name="T2" fmla="*/ 0 w 757"/>
                  <a:gd name="T3" fmla="*/ 0 h 756"/>
                  <a:gd name="T4" fmla="*/ 0 w 757"/>
                  <a:gd name="T5" fmla="*/ 0 h 756"/>
                  <a:gd name="T6" fmla="*/ 0 w 757"/>
                  <a:gd name="T7" fmla="*/ 0 h 756"/>
                  <a:gd name="T8" fmla="*/ 0 w 757"/>
                  <a:gd name="T9" fmla="*/ 0 h 756"/>
                  <a:gd name="T10" fmla="*/ 0 w 757"/>
                  <a:gd name="T11" fmla="*/ 0 h 756"/>
                  <a:gd name="T12" fmla="*/ 0 w 757"/>
                  <a:gd name="T13" fmla="*/ 0 h 756"/>
                  <a:gd name="T14" fmla="*/ 0 w 757"/>
                  <a:gd name="T15" fmla="*/ 0 h 756"/>
                  <a:gd name="T16" fmla="*/ 0 w 757"/>
                  <a:gd name="T17" fmla="*/ 0 h 756"/>
                  <a:gd name="T18" fmla="*/ 0 w 757"/>
                  <a:gd name="T19" fmla="*/ 0 h 756"/>
                  <a:gd name="T20" fmla="*/ 0 w 757"/>
                  <a:gd name="T21" fmla="*/ 0 h 756"/>
                  <a:gd name="T22" fmla="*/ 0 w 757"/>
                  <a:gd name="T23" fmla="*/ 0 h 756"/>
                  <a:gd name="T24" fmla="*/ 0 w 757"/>
                  <a:gd name="T25" fmla="*/ 0 h 756"/>
                  <a:gd name="T26" fmla="*/ 0 w 757"/>
                  <a:gd name="T27" fmla="*/ 0 h 756"/>
                  <a:gd name="T28" fmla="*/ 0 w 757"/>
                  <a:gd name="T29" fmla="*/ 0 h 756"/>
                  <a:gd name="T30" fmla="*/ 0 w 757"/>
                  <a:gd name="T31" fmla="*/ 0 h 756"/>
                  <a:gd name="T32" fmla="*/ 0 w 757"/>
                  <a:gd name="T33" fmla="*/ 0 h 756"/>
                  <a:gd name="T34" fmla="*/ 0 w 757"/>
                  <a:gd name="T35" fmla="*/ 0 h 756"/>
                  <a:gd name="T36" fmla="*/ 0 w 757"/>
                  <a:gd name="T37" fmla="*/ 0 h 756"/>
                  <a:gd name="T38" fmla="*/ 0 w 757"/>
                  <a:gd name="T39" fmla="*/ 0 h 756"/>
                  <a:gd name="T40" fmla="*/ 0 w 757"/>
                  <a:gd name="T41" fmla="*/ 0 h 756"/>
                  <a:gd name="T42" fmla="*/ 0 w 757"/>
                  <a:gd name="T43" fmla="*/ 0 h 756"/>
                  <a:gd name="T44" fmla="*/ 0 w 757"/>
                  <a:gd name="T45" fmla="*/ 0 h 756"/>
                  <a:gd name="T46" fmla="*/ 0 w 757"/>
                  <a:gd name="T47" fmla="*/ 0 h 756"/>
                  <a:gd name="T48" fmla="*/ 0 w 757"/>
                  <a:gd name="T49" fmla="*/ 0 h 756"/>
                  <a:gd name="T50" fmla="*/ 0 w 757"/>
                  <a:gd name="T51" fmla="*/ 0 h 756"/>
                  <a:gd name="T52" fmla="*/ 0 w 757"/>
                  <a:gd name="T53" fmla="*/ 0 h 756"/>
                  <a:gd name="T54" fmla="*/ 0 w 757"/>
                  <a:gd name="T55" fmla="*/ 0 h 756"/>
                  <a:gd name="T56" fmla="*/ 0 w 757"/>
                  <a:gd name="T57" fmla="*/ 0 h 756"/>
                  <a:gd name="T58" fmla="*/ 0 w 757"/>
                  <a:gd name="T59" fmla="*/ 0 h 756"/>
                  <a:gd name="T60" fmla="*/ 0 w 757"/>
                  <a:gd name="T61" fmla="*/ 0 h 756"/>
                  <a:gd name="T62" fmla="*/ 0 w 757"/>
                  <a:gd name="T63" fmla="*/ 0 h 756"/>
                  <a:gd name="T64" fmla="*/ 0 w 757"/>
                  <a:gd name="T65" fmla="*/ 0 h 756"/>
                  <a:gd name="T66" fmla="*/ 0 w 757"/>
                  <a:gd name="T67" fmla="*/ 0 h 756"/>
                  <a:gd name="T68" fmla="*/ 0 w 757"/>
                  <a:gd name="T69" fmla="*/ 0 h 756"/>
                  <a:gd name="T70" fmla="*/ 0 w 757"/>
                  <a:gd name="T71" fmla="*/ 0 h 756"/>
                  <a:gd name="T72" fmla="*/ 0 w 757"/>
                  <a:gd name="T73" fmla="*/ 0 h 756"/>
                  <a:gd name="T74" fmla="*/ 0 w 757"/>
                  <a:gd name="T75" fmla="*/ 0 h 756"/>
                  <a:gd name="T76" fmla="*/ 0 w 757"/>
                  <a:gd name="T77" fmla="*/ 0 h 756"/>
                  <a:gd name="T78" fmla="*/ 0 w 757"/>
                  <a:gd name="T79" fmla="*/ 0 h 756"/>
                  <a:gd name="T80" fmla="*/ 0 w 757"/>
                  <a:gd name="T81" fmla="*/ 0 h 756"/>
                  <a:gd name="T82" fmla="*/ 0 w 757"/>
                  <a:gd name="T83" fmla="*/ 0 h 756"/>
                  <a:gd name="T84" fmla="*/ 0 w 757"/>
                  <a:gd name="T85" fmla="*/ 0 h 756"/>
                  <a:gd name="T86" fmla="*/ 0 w 757"/>
                  <a:gd name="T87" fmla="*/ 0 h 75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757"/>
                  <a:gd name="T133" fmla="*/ 0 h 756"/>
                  <a:gd name="T134" fmla="*/ 757 w 757"/>
                  <a:gd name="T135" fmla="*/ 756 h 75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757" h="756">
                    <a:moveTo>
                      <a:pt x="0" y="0"/>
                    </a:moveTo>
                    <a:lnTo>
                      <a:pt x="757" y="4"/>
                    </a:lnTo>
                    <a:lnTo>
                      <a:pt x="757" y="53"/>
                    </a:lnTo>
                    <a:lnTo>
                      <a:pt x="756" y="102"/>
                    </a:lnTo>
                    <a:lnTo>
                      <a:pt x="755" y="151"/>
                    </a:lnTo>
                    <a:lnTo>
                      <a:pt x="754" y="199"/>
                    </a:lnTo>
                    <a:lnTo>
                      <a:pt x="752" y="247"/>
                    </a:lnTo>
                    <a:lnTo>
                      <a:pt x="750" y="294"/>
                    </a:lnTo>
                    <a:lnTo>
                      <a:pt x="748" y="342"/>
                    </a:lnTo>
                    <a:lnTo>
                      <a:pt x="746" y="388"/>
                    </a:lnTo>
                    <a:lnTo>
                      <a:pt x="743" y="436"/>
                    </a:lnTo>
                    <a:lnTo>
                      <a:pt x="740" y="482"/>
                    </a:lnTo>
                    <a:lnTo>
                      <a:pt x="737" y="528"/>
                    </a:lnTo>
                    <a:lnTo>
                      <a:pt x="734" y="574"/>
                    </a:lnTo>
                    <a:lnTo>
                      <a:pt x="730" y="620"/>
                    </a:lnTo>
                    <a:lnTo>
                      <a:pt x="727" y="665"/>
                    </a:lnTo>
                    <a:lnTo>
                      <a:pt x="723" y="711"/>
                    </a:lnTo>
                    <a:lnTo>
                      <a:pt x="720" y="756"/>
                    </a:lnTo>
                    <a:lnTo>
                      <a:pt x="691" y="740"/>
                    </a:lnTo>
                    <a:lnTo>
                      <a:pt x="662" y="723"/>
                    </a:lnTo>
                    <a:lnTo>
                      <a:pt x="633" y="706"/>
                    </a:lnTo>
                    <a:lnTo>
                      <a:pt x="605" y="689"/>
                    </a:lnTo>
                    <a:lnTo>
                      <a:pt x="578" y="673"/>
                    </a:lnTo>
                    <a:lnTo>
                      <a:pt x="550" y="655"/>
                    </a:lnTo>
                    <a:lnTo>
                      <a:pt x="523" y="638"/>
                    </a:lnTo>
                    <a:lnTo>
                      <a:pt x="497" y="620"/>
                    </a:lnTo>
                    <a:lnTo>
                      <a:pt x="477" y="607"/>
                    </a:lnTo>
                    <a:lnTo>
                      <a:pt x="458" y="592"/>
                    </a:lnTo>
                    <a:lnTo>
                      <a:pt x="438" y="577"/>
                    </a:lnTo>
                    <a:lnTo>
                      <a:pt x="419" y="561"/>
                    </a:lnTo>
                    <a:lnTo>
                      <a:pt x="401" y="546"/>
                    </a:lnTo>
                    <a:lnTo>
                      <a:pt x="383" y="528"/>
                    </a:lnTo>
                    <a:lnTo>
                      <a:pt x="365" y="511"/>
                    </a:lnTo>
                    <a:lnTo>
                      <a:pt x="347" y="494"/>
                    </a:lnTo>
                    <a:lnTo>
                      <a:pt x="313" y="458"/>
                    </a:lnTo>
                    <a:lnTo>
                      <a:pt x="281" y="420"/>
                    </a:lnTo>
                    <a:lnTo>
                      <a:pt x="249" y="381"/>
                    </a:lnTo>
                    <a:lnTo>
                      <a:pt x="218" y="342"/>
                    </a:lnTo>
                    <a:lnTo>
                      <a:pt x="188" y="300"/>
                    </a:lnTo>
                    <a:lnTo>
                      <a:pt x="159" y="259"/>
                    </a:lnTo>
                    <a:lnTo>
                      <a:pt x="131" y="217"/>
                    </a:lnTo>
                    <a:lnTo>
                      <a:pt x="104" y="173"/>
                    </a:lnTo>
                    <a:lnTo>
                      <a:pt x="51" y="86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AF34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74" name="Freeform 9"/>
              <p:cNvSpPr>
                <a:spLocks/>
              </p:cNvSpPr>
              <p:nvPr/>
            </p:nvSpPr>
            <p:spPr bwMode="auto">
              <a:xfrm>
                <a:off x="2930" y="1359"/>
                <a:ext cx="194" cy="166"/>
              </a:xfrm>
              <a:custGeom>
                <a:avLst/>
                <a:gdLst>
                  <a:gd name="T0" fmla="*/ 0 w 1359"/>
                  <a:gd name="T1" fmla="*/ 0 h 1157"/>
                  <a:gd name="T2" fmla="*/ 0 w 1359"/>
                  <a:gd name="T3" fmla="*/ 0 h 1157"/>
                  <a:gd name="T4" fmla="*/ 0 w 1359"/>
                  <a:gd name="T5" fmla="*/ 0 h 1157"/>
                  <a:gd name="T6" fmla="*/ 0 w 1359"/>
                  <a:gd name="T7" fmla="*/ 0 h 1157"/>
                  <a:gd name="T8" fmla="*/ 0 w 1359"/>
                  <a:gd name="T9" fmla="*/ 0 h 1157"/>
                  <a:gd name="T10" fmla="*/ 0 w 1359"/>
                  <a:gd name="T11" fmla="*/ 0 h 1157"/>
                  <a:gd name="T12" fmla="*/ 0 w 1359"/>
                  <a:gd name="T13" fmla="*/ 0 h 1157"/>
                  <a:gd name="T14" fmla="*/ 0 w 1359"/>
                  <a:gd name="T15" fmla="*/ 0 h 1157"/>
                  <a:gd name="T16" fmla="*/ 0 w 1359"/>
                  <a:gd name="T17" fmla="*/ 0 h 1157"/>
                  <a:gd name="T18" fmla="*/ 0 w 1359"/>
                  <a:gd name="T19" fmla="*/ 0 h 1157"/>
                  <a:gd name="T20" fmla="*/ 0 w 1359"/>
                  <a:gd name="T21" fmla="*/ 0 h 1157"/>
                  <a:gd name="T22" fmla="*/ 0 w 1359"/>
                  <a:gd name="T23" fmla="*/ 0 h 1157"/>
                  <a:gd name="T24" fmla="*/ 0 w 1359"/>
                  <a:gd name="T25" fmla="*/ 0 h 1157"/>
                  <a:gd name="T26" fmla="*/ 0 w 1359"/>
                  <a:gd name="T27" fmla="*/ 0 h 1157"/>
                  <a:gd name="T28" fmla="*/ 0 w 1359"/>
                  <a:gd name="T29" fmla="*/ 0 h 1157"/>
                  <a:gd name="T30" fmla="*/ 0 w 1359"/>
                  <a:gd name="T31" fmla="*/ 0 h 1157"/>
                  <a:gd name="T32" fmla="*/ 0 w 1359"/>
                  <a:gd name="T33" fmla="*/ 0 h 1157"/>
                  <a:gd name="T34" fmla="*/ 0 w 1359"/>
                  <a:gd name="T35" fmla="*/ 0 h 1157"/>
                  <a:gd name="T36" fmla="*/ 0 w 1359"/>
                  <a:gd name="T37" fmla="*/ 0 h 1157"/>
                  <a:gd name="T38" fmla="*/ 0 w 1359"/>
                  <a:gd name="T39" fmla="*/ 0 h 1157"/>
                  <a:gd name="T40" fmla="*/ 0 w 1359"/>
                  <a:gd name="T41" fmla="*/ 0 h 1157"/>
                  <a:gd name="T42" fmla="*/ 0 w 1359"/>
                  <a:gd name="T43" fmla="*/ 0 h 1157"/>
                  <a:gd name="T44" fmla="*/ 0 w 1359"/>
                  <a:gd name="T45" fmla="*/ 0 h 1157"/>
                  <a:gd name="T46" fmla="*/ 0 w 1359"/>
                  <a:gd name="T47" fmla="*/ 0 h 1157"/>
                  <a:gd name="T48" fmla="*/ 0 w 1359"/>
                  <a:gd name="T49" fmla="*/ 0 h 1157"/>
                  <a:gd name="T50" fmla="*/ 0 w 1359"/>
                  <a:gd name="T51" fmla="*/ 0 h 1157"/>
                  <a:gd name="T52" fmla="*/ 0 w 1359"/>
                  <a:gd name="T53" fmla="*/ 0 h 1157"/>
                  <a:gd name="T54" fmla="*/ 0 w 1359"/>
                  <a:gd name="T55" fmla="*/ 0 h 1157"/>
                  <a:gd name="T56" fmla="*/ 0 w 1359"/>
                  <a:gd name="T57" fmla="*/ 0 h 1157"/>
                  <a:gd name="T58" fmla="*/ 0 w 1359"/>
                  <a:gd name="T59" fmla="*/ 0 h 1157"/>
                  <a:gd name="T60" fmla="*/ 0 w 1359"/>
                  <a:gd name="T61" fmla="*/ 0 h 1157"/>
                  <a:gd name="T62" fmla="*/ 0 w 1359"/>
                  <a:gd name="T63" fmla="*/ 0 h 1157"/>
                  <a:gd name="T64" fmla="*/ 0 w 1359"/>
                  <a:gd name="T65" fmla="*/ 0 h 1157"/>
                  <a:gd name="T66" fmla="*/ 0 w 1359"/>
                  <a:gd name="T67" fmla="*/ 0 h 1157"/>
                  <a:gd name="T68" fmla="*/ 0 w 1359"/>
                  <a:gd name="T69" fmla="*/ 0 h 1157"/>
                  <a:gd name="T70" fmla="*/ 0 w 1359"/>
                  <a:gd name="T71" fmla="*/ 0 h 1157"/>
                  <a:gd name="T72" fmla="*/ 0 w 1359"/>
                  <a:gd name="T73" fmla="*/ 0 h 1157"/>
                  <a:gd name="T74" fmla="*/ 0 w 1359"/>
                  <a:gd name="T75" fmla="*/ 0 h 1157"/>
                  <a:gd name="T76" fmla="*/ 0 w 1359"/>
                  <a:gd name="T77" fmla="*/ 0 h 1157"/>
                  <a:gd name="T78" fmla="*/ 0 w 1359"/>
                  <a:gd name="T79" fmla="*/ 0 h 1157"/>
                  <a:gd name="T80" fmla="*/ 0 w 1359"/>
                  <a:gd name="T81" fmla="*/ 0 h 1157"/>
                  <a:gd name="T82" fmla="*/ 0 w 1359"/>
                  <a:gd name="T83" fmla="*/ 0 h 1157"/>
                  <a:gd name="T84" fmla="*/ 0 w 1359"/>
                  <a:gd name="T85" fmla="*/ 0 h 1157"/>
                  <a:gd name="T86" fmla="*/ 0 w 1359"/>
                  <a:gd name="T87" fmla="*/ 0 h 1157"/>
                  <a:gd name="T88" fmla="*/ 0 w 1359"/>
                  <a:gd name="T89" fmla="*/ 0 h 1157"/>
                  <a:gd name="T90" fmla="*/ 0 w 1359"/>
                  <a:gd name="T91" fmla="*/ 0 h 1157"/>
                  <a:gd name="T92" fmla="*/ 0 w 1359"/>
                  <a:gd name="T93" fmla="*/ 0 h 1157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359"/>
                  <a:gd name="T142" fmla="*/ 0 h 1157"/>
                  <a:gd name="T143" fmla="*/ 1359 w 1359"/>
                  <a:gd name="T144" fmla="*/ 1157 h 1157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359" h="1157">
                    <a:moveTo>
                      <a:pt x="1359" y="21"/>
                    </a:moveTo>
                    <a:lnTo>
                      <a:pt x="1354" y="23"/>
                    </a:lnTo>
                    <a:lnTo>
                      <a:pt x="1350" y="24"/>
                    </a:lnTo>
                    <a:lnTo>
                      <a:pt x="1313" y="35"/>
                    </a:lnTo>
                    <a:lnTo>
                      <a:pt x="1275" y="44"/>
                    </a:lnTo>
                    <a:lnTo>
                      <a:pt x="1237" y="53"/>
                    </a:lnTo>
                    <a:lnTo>
                      <a:pt x="1198" y="60"/>
                    </a:lnTo>
                    <a:lnTo>
                      <a:pt x="1159" y="66"/>
                    </a:lnTo>
                    <a:lnTo>
                      <a:pt x="1119" y="70"/>
                    </a:lnTo>
                    <a:lnTo>
                      <a:pt x="1079" y="74"/>
                    </a:lnTo>
                    <a:lnTo>
                      <a:pt x="1039" y="77"/>
                    </a:lnTo>
                    <a:lnTo>
                      <a:pt x="997" y="80"/>
                    </a:lnTo>
                    <a:lnTo>
                      <a:pt x="957" y="80"/>
                    </a:lnTo>
                    <a:lnTo>
                      <a:pt x="917" y="80"/>
                    </a:lnTo>
                    <a:lnTo>
                      <a:pt x="877" y="80"/>
                    </a:lnTo>
                    <a:lnTo>
                      <a:pt x="837" y="77"/>
                    </a:lnTo>
                    <a:lnTo>
                      <a:pt x="797" y="75"/>
                    </a:lnTo>
                    <a:lnTo>
                      <a:pt x="759" y="72"/>
                    </a:lnTo>
                    <a:lnTo>
                      <a:pt x="719" y="69"/>
                    </a:lnTo>
                    <a:lnTo>
                      <a:pt x="676" y="64"/>
                    </a:lnTo>
                    <a:lnTo>
                      <a:pt x="633" y="58"/>
                    </a:lnTo>
                    <a:lnTo>
                      <a:pt x="590" y="51"/>
                    </a:lnTo>
                    <a:lnTo>
                      <a:pt x="549" y="42"/>
                    </a:lnTo>
                    <a:lnTo>
                      <a:pt x="508" y="33"/>
                    </a:lnTo>
                    <a:lnTo>
                      <a:pt x="466" y="23"/>
                    </a:lnTo>
                    <a:lnTo>
                      <a:pt x="426" y="12"/>
                    </a:lnTo>
                    <a:lnTo>
                      <a:pt x="386" y="0"/>
                    </a:lnTo>
                    <a:lnTo>
                      <a:pt x="377" y="24"/>
                    </a:lnTo>
                    <a:lnTo>
                      <a:pt x="368" y="46"/>
                    </a:lnTo>
                    <a:lnTo>
                      <a:pt x="359" y="69"/>
                    </a:lnTo>
                    <a:lnTo>
                      <a:pt x="348" y="93"/>
                    </a:lnTo>
                    <a:lnTo>
                      <a:pt x="317" y="167"/>
                    </a:lnTo>
                    <a:lnTo>
                      <a:pt x="288" y="243"/>
                    </a:lnTo>
                    <a:lnTo>
                      <a:pt x="259" y="316"/>
                    </a:lnTo>
                    <a:lnTo>
                      <a:pt x="231" y="391"/>
                    </a:lnTo>
                    <a:lnTo>
                      <a:pt x="205" y="463"/>
                    </a:lnTo>
                    <a:lnTo>
                      <a:pt x="179" y="534"/>
                    </a:lnTo>
                    <a:lnTo>
                      <a:pt x="155" y="606"/>
                    </a:lnTo>
                    <a:lnTo>
                      <a:pt x="133" y="675"/>
                    </a:lnTo>
                    <a:lnTo>
                      <a:pt x="112" y="742"/>
                    </a:lnTo>
                    <a:lnTo>
                      <a:pt x="91" y="808"/>
                    </a:lnTo>
                    <a:lnTo>
                      <a:pt x="73" y="873"/>
                    </a:lnTo>
                    <a:lnTo>
                      <a:pt x="55" y="934"/>
                    </a:lnTo>
                    <a:lnTo>
                      <a:pt x="40" y="994"/>
                    </a:lnTo>
                    <a:lnTo>
                      <a:pt x="25" y="1050"/>
                    </a:lnTo>
                    <a:lnTo>
                      <a:pt x="12" y="1105"/>
                    </a:lnTo>
                    <a:lnTo>
                      <a:pt x="0" y="1156"/>
                    </a:lnTo>
                    <a:lnTo>
                      <a:pt x="55" y="1157"/>
                    </a:lnTo>
                    <a:lnTo>
                      <a:pt x="118" y="1156"/>
                    </a:lnTo>
                    <a:lnTo>
                      <a:pt x="190" y="1153"/>
                    </a:lnTo>
                    <a:lnTo>
                      <a:pt x="268" y="1147"/>
                    </a:lnTo>
                    <a:lnTo>
                      <a:pt x="309" y="1144"/>
                    </a:lnTo>
                    <a:lnTo>
                      <a:pt x="351" y="1139"/>
                    </a:lnTo>
                    <a:lnTo>
                      <a:pt x="393" y="1134"/>
                    </a:lnTo>
                    <a:lnTo>
                      <a:pt x="436" y="1129"/>
                    </a:lnTo>
                    <a:lnTo>
                      <a:pt x="480" y="1123"/>
                    </a:lnTo>
                    <a:lnTo>
                      <a:pt x="523" y="1117"/>
                    </a:lnTo>
                    <a:lnTo>
                      <a:pt x="567" y="1109"/>
                    </a:lnTo>
                    <a:lnTo>
                      <a:pt x="610" y="1101"/>
                    </a:lnTo>
                    <a:lnTo>
                      <a:pt x="653" y="1093"/>
                    </a:lnTo>
                    <a:lnTo>
                      <a:pt x="695" y="1084"/>
                    </a:lnTo>
                    <a:lnTo>
                      <a:pt x="737" y="1074"/>
                    </a:lnTo>
                    <a:lnTo>
                      <a:pt x="777" y="1063"/>
                    </a:lnTo>
                    <a:lnTo>
                      <a:pt x="817" y="1051"/>
                    </a:lnTo>
                    <a:lnTo>
                      <a:pt x="854" y="1040"/>
                    </a:lnTo>
                    <a:lnTo>
                      <a:pt x="890" y="1027"/>
                    </a:lnTo>
                    <a:lnTo>
                      <a:pt x="924" y="1013"/>
                    </a:lnTo>
                    <a:lnTo>
                      <a:pt x="956" y="999"/>
                    </a:lnTo>
                    <a:lnTo>
                      <a:pt x="986" y="983"/>
                    </a:lnTo>
                    <a:lnTo>
                      <a:pt x="1014" y="968"/>
                    </a:lnTo>
                    <a:lnTo>
                      <a:pt x="1039" y="951"/>
                    </a:lnTo>
                    <a:lnTo>
                      <a:pt x="1060" y="933"/>
                    </a:lnTo>
                    <a:lnTo>
                      <a:pt x="1080" y="915"/>
                    </a:lnTo>
                    <a:lnTo>
                      <a:pt x="1096" y="895"/>
                    </a:lnTo>
                    <a:lnTo>
                      <a:pt x="1108" y="875"/>
                    </a:lnTo>
                    <a:lnTo>
                      <a:pt x="1117" y="830"/>
                    </a:lnTo>
                    <a:lnTo>
                      <a:pt x="1128" y="785"/>
                    </a:lnTo>
                    <a:lnTo>
                      <a:pt x="1138" y="738"/>
                    </a:lnTo>
                    <a:lnTo>
                      <a:pt x="1149" y="691"/>
                    </a:lnTo>
                    <a:lnTo>
                      <a:pt x="1161" y="643"/>
                    </a:lnTo>
                    <a:lnTo>
                      <a:pt x="1174" y="593"/>
                    </a:lnTo>
                    <a:lnTo>
                      <a:pt x="1188" y="544"/>
                    </a:lnTo>
                    <a:lnTo>
                      <a:pt x="1201" y="494"/>
                    </a:lnTo>
                    <a:lnTo>
                      <a:pt x="1215" y="443"/>
                    </a:lnTo>
                    <a:lnTo>
                      <a:pt x="1231" y="393"/>
                    </a:lnTo>
                    <a:lnTo>
                      <a:pt x="1248" y="341"/>
                    </a:lnTo>
                    <a:lnTo>
                      <a:pt x="1264" y="290"/>
                    </a:lnTo>
                    <a:lnTo>
                      <a:pt x="1281" y="239"/>
                    </a:lnTo>
                    <a:lnTo>
                      <a:pt x="1298" y="188"/>
                    </a:lnTo>
                    <a:lnTo>
                      <a:pt x="1317" y="137"/>
                    </a:lnTo>
                    <a:lnTo>
                      <a:pt x="1335" y="87"/>
                    </a:lnTo>
                    <a:lnTo>
                      <a:pt x="1342" y="70"/>
                    </a:lnTo>
                    <a:lnTo>
                      <a:pt x="1348" y="54"/>
                    </a:lnTo>
                    <a:lnTo>
                      <a:pt x="1353" y="37"/>
                    </a:lnTo>
                    <a:lnTo>
                      <a:pt x="1359" y="21"/>
                    </a:lnTo>
                    <a:close/>
                  </a:path>
                </a:pathLst>
              </a:custGeom>
              <a:solidFill>
                <a:srgbClr val="AF34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75" name="Freeform 10"/>
              <p:cNvSpPr>
                <a:spLocks noEditPoints="1"/>
              </p:cNvSpPr>
              <p:nvPr/>
            </p:nvSpPr>
            <p:spPr bwMode="auto">
              <a:xfrm>
                <a:off x="2936" y="970"/>
                <a:ext cx="202" cy="758"/>
              </a:xfrm>
              <a:custGeom>
                <a:avLst/>
                <a:gdLst>
                  <a:gd name="T0" fmla="*/ 0 w 1410"/>
                  <a:gd name="T1" fmla="*/ 0 h 5305"/>
                  <a:gd name="T2" fmla="*/ 0 w 1410"/>
                  <a:gd name="T3" fmla="*/ 0 h 5305"/>
                  <a:gd name="T4" fmla="*/ 0 w 1410"/>
                  <a:gd name="T5" fmla="*/ 0 h 5305"/>
                  <a:gd name="T6" fmla="*/ 0 w 1410"/>
                  <a:gd name="T7" fmla="*/ 0 h 5305"/>
                  <a:gd name="T8" fmla="*/ 0 w 1410"/>
                  <a:gd name="T9" fmla="*/ 0 h 5305"/>
                  <a:gd name="T10" fmla="*/ 0 w 1410"/>
                  <a:gd name="T11" fmla="*/ 0 h 5305"/>
                  <a:gd name="T12" fmla="*/ 0 w 1410"/>
                  <a:gd name="T13" fmla="*/ 0 h 5305"/>
                  <a:gd name="T14" fmla="*/ 0 w 1410"/>
                  <a:gd name="T15" fmla="*/ 0 h 5305"/>
                  <a:gd name="T16" fmla="*/ 0 w 1410"/>
                  <a:gd name="T17" fmla="*/ 0 h 5305"/>
                  <a:gd name="T18" fmla="*/ 0 w 1410"/>
                  <a:gd name="T19" fmla="*/ 0 h 5305"/>
                  <a:gd name="T20" fmla="*/ 0 w 1410"/>
                  <a:gd name="T21" fmla="*/ 0 h 5305"/>
                  <a:gd name="T22" fmla="*/ 0 w 1410"/>
                  <a:gd name="T23" fmla="*/ 0 h 5305"/>
                  <a:gd name="T24" fmla="*/ 0 w 1410"/>
                  <a:gd name="T25" fmla="*/ 0 h 5305"/>
                  <a:gd name="T26" fmla="*/ 0 w 1410"/>
                  <a:gd name="T27" fmla="*/ 0 h 5305"/>
                  <a:gd name="T28" fmla="*/ 0 w 1410"/>
                  <a:gd name="T29" fmla="*/ 0 h 5305"/>
                  <a:gd name="T30" fmla="*/ 0 w 1410"/>
                  <a:gd name="T31" fmla="*/ 0 h 5305"/>
                  <a:gd name="T32" fmla="*/ 0 w 1410"/>
                  <a:gd name="T33" fmla="*/ 0 h 5305"/>
                  <a:gd name="T34" fmla="*/ 0 w 1410"/>
                  <a:gd name="T35" fmla="*/ 0 h 5305"/>
                  <a:gd name="T36" fmla="*/ 0 w 1410"/>
                  <a:gd name="T37" fmla="*/ 0 h 5305"/>
                  <a:gd name="T38" fmla="*/ 0 w 1410"/>
                  <a:gd name="T39" fmla="*/ 0 h 5305"/>
                  <a:gd name="T40" fmla="*/ 0 w 1410"/>
                  <a:gd name="T41" fmla="*/ 0 h 5305"/>
                  <a:gd name="T42" fmla="*/ 0 w 1410"/>
                  <a:gd name="T43" fmla="*/ 0 h 5305"/>
                  <a:gd name="T44" fmla="*/ 0 w 1410"/>
                  <a:gd name="T45" fmla="*/ 0 h 5305"/>
                  <a:gd name="T46" fmla="*/ 0 w 1410"/>
                  <a:gd name="T47" fmla="*/ 0 h 5305"/>
                  <a:gd name="T48" fmla="*/ 0 w 1410"/>
                  <a:gd name="T49" fmla="*/ 0 h 5305"/>
                  <a:gd name="T50" fmla="*/ 0 w 1410"/>
                  <a:gd name="T51" fmla="*/ 0 h 5305"/>
                  <a:gd name="T52" fmla="*/ 0 w 1410"/>
                  <a:gd name="T53" fmla="*/ 0 h 5305"/>
                  <a:gd name="T54" fmla="*/ 0 w 1410"/>
                  <a:gd name="T55" fmla="*/ 0 h 5305"/>
                  <a:gd name="T56" fmla="*/ 0 w 1410"/>
                  <a:gd name="T57" fmla="*/ 0 h 5305"/>
                  <a:gd name="T58" fmla="*/ 0 w 1410"/>
                  <a:gd name="T59" fmla="*/ 0 h 5305"/>
                  <a:gd name="T60" fmla="*/ 0 w 1410"/>
                  <a:gd name="T61" fmla="*/ 0 h 5305"/>
                  <a:gd name="T62" fmla="*/ 0 w 1410"/>
                  <a:gd name="T63" fmla="*/ 0 h 5305"/>
                  <a:gd name="T64" fmla="*/ 0 w 1410"/>
                  <a:gd name="T65" fmla="*/ 0 h 5305"/>
                  <a:gd name="T66" fmla="*/ 0 w 1410"/>
                  <a:gd name="T67" fmla="*/ 0 h 5305"/>
                  <a:gd name="T68" fmla="*/ 0 w 1410"/>
                  <a:gd name="T69" fmla="*/ 0 h 5305"/>
                  <a:gd name="T70" fmla="*/ 0 w 1410"/>
                  <a:gd name="T71" fmla="*/ 0 h 5305"/>
                  <a:gd name="T72" fmla="*/ 0 w 1410"/>
                  <a:gd name="T73" fmla="*/ 0 h 5305"/>
                  <a:gd name="T74" fmla="*/ 0 w 1410"/>
                  <a:gd name="T75" fmla="*/ 0 h 5305"/>
                  <a:gd name="T76" fmla="*/ 0 w 1410"/>
                  <a:gd name="T77" fmla="*/ 0 h 5305"/>
                  <a:gd name="T78" fmla="*/ 0 w 1410"/>
                  <a:gd name="T79" fmla="*/ 0 h 5305"/>
                  <a:gd name="T80" fmla="*/ 0 w 1410"/>
                  <a:gd name="T81" fmla="*/ 0 h 5305"/>
                  <a:gd name="T82" fmla="*/ 0 w 1410"/>
                  <a:gd name="T83" fmla="*/ 0 h 5305"/>
                  <a:gd name="T84" fmla="*/ 0 w 1410"/>
                  <a:gd name="T85" fmla="*/ 0 h 5305"/>
                  <a:gd name="T86" fmla="*/ 0 w 1410"/>
                  <a:gd name="T87" fmla="*/ 0 h 5305"/>
                  <a:gd name="T88" fmla="*/ 0 w 1410"/>
                  <a:gd name="T89" fmla="*/ 0 h 5305"/>
                  <a:gd name="T90" fmla="*/ 0 w 1410"/>
                  <a:gd name="T91" fmla="*/ 0 h 5305"/>
                  <a:gd name="T92" fmla="*/ 0 w 1410"/>
                  <a:gd name="T93" fmla="*/ 0 h 5305"/>
                  <a:gd name="T94" fmla="*/ 0 w 1410"/>
                  <a:gd name="T95" fmla="*/ 0 h 5305"/>
                  <a:gd name="T96" fmla="*/ 0 w 1410"/>
                  <a:gd name="T97" fmla="*/ 0 h 5305"/>
                  <a:gd name="T98" fmla="*/ 0 w 1410"/>
                  <a:gd name="T99" fmla="*/ 0 h 5305"/>
                  <a:gd name="T100" fmla="*/ 0 w 1410"/>
                  <a:gd name="T101" fmla="*/ 0 h 5305"/>
                  <a:gd name="T102" fmla="*/ 0 w 1410"/>
                  <a:gd name="T103" fmla="*/ 0 h 5305"/>
                  <a:gd name="T104" fmla="*/ 0 w 1410"/>
                  <a:gd name="T105" fmla="*/ 0 h 5305"/>
                  <a:gd name="T106" fmla="*/ 0 w 1410"/>
                  <a:gd name="T107" fmla="*/ 0 h 5305"/>
                  <a:gd name="T108" fmla="*/ 0 w 1410"/>
                  <a:gd name="T109" fmla="*/ 0 h 5305"/>
                  <a:gd name="T110" fmla="*/ 0 w 1410"/>
                  <a:gd name="T111" fmla="*/ 0 h 5305"/>
                  <a:gd name="T112" fmla="*/ 0 w 1410"/>
                  <a:gd name="T113" fmla="*/ 0 h 5305"/>
                  <a:gd name="T114" fmla="*/ 0 w 1410"/>
                  <a:gd name="T115" fmla="*/ 0 h 5305"/>
                  <a:gd name="T116" fmla="*/ 0 w 1410"/>
                  <a:gd name="T117" fmla="*/ 0 h 5305"/>
                  <a:gd name="T118" fmla="*/ 0 w 1410"/>
                  <a:gd name="T119" fmla="*/ 0 h 5305"/>
                  <a:gd name="T120" fmla="*/ 0 w 1410"/>
                  <a:gd name="T121" fmla="*/ 0 h 5305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410"/>
                  <a:gd name="T184" fmla="*/ 0 h 5305"/>
                  <a:gd name="T185" fmla="*/ 1410 w 1410"/>
                  <a:gd name="T186" fmla="*/ 5305 h 5305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410" h="5305">
                    <a:moveTo>
                      <a:pt x="1200" y="0"/>
                    </a:moveTo>
                    <a:lnTo>
                      <a:pt x="533" y="4"/>
                    </a:lnTo>
                    <a:lnTo>
                      <a:pt x="533" y="26"/>
                    </a:lnTo>
                    <a:lnTo>
                      <a:pt x="533" y="80"/>
                    </a:lnTo>
                    <a:lnTo>
                      <a:pt x="534" y="133"/>
                    </a:lnTo>
                    <a:lnTo>
                      <a:pt x="535" y="186"/>
                    </a:lnTo>
                    <a:lnTo>
                      <a:pt x="536" y="238"/>
                    </a:lnTo>
                    <a:lnTo>
                      <a:pt x="538" y="291"/>
                    </a:lnTo>
                    <a:lnTo>
                      <a:pt x="540" y="343"/>
                    </a:lnTo>
                    <a:lnTo>
                      <a:pt x="543" y="394"/>
                    </a:lnTo>
                    <a:lnTo>
                      <a:pt x="546" y="446"/>
                    </a:lnTo>
                    <a:lnTo>
                      <a:pt x="549" y="497"/>
                    </a:lnTo>
                    <a:lnTo>
                      <a:pt x="553" y="548"/>
                    </a:lnTo>
                    <a:lnTo>
                      <a:pt x="556" y="598"/>
                    </a:lnTo>
                    <a:lnTo>
                      <a:pt x="560" y="649"/>
                    </a:lnTo>
                    <a:lnTo>
                      <a:pt x="563" y="699"/>
                    </a:lnTo>
                    <a:lnTo>
                      <a:pt x="567" y="749"/>
                    </a:lnTo>
                    <a:lnTo>
                      <a:pt x="571" y="799"/>
                    </a:lnTo>
                    <a:lnTo>
                      <a:pt x="574" y="848"/>
                    </a:lnTo>
                    <a:lnTo>
                      <a:pt x="584" y="968"/>
                    </a:lnTo>
                    <a:lnTo>
                      <a:pt x="593" y="1088"/>
                    </a:lnTo>
                    <a:lnTo>
                      <a:pt x="600" y="1207"/>
                    </a:lnTo>
                    <a:lnTo>
                      <a:pt x="607" y="1326"/>
                    </a:lnTo>
                    <a:lnTo>
                      <a:pt x="609" y="1385"/>
                    </a:lnTo>
                    <a:lnTo>
                      <a:pt x="611" y="1444"/>
                    </a:lnTo>
                    <a:lnTo>
                      <a:pt x="612" y="1504"/>
                    </a:lnTo>
                    <a:lnTo>
                      <a:pt x="612" y="1563"/>
                    </a:lnTo>
                    <a:lnTo>
                      <a:pt x="612" y="1622"/>
                    </a:lnTo>
                    <a:lnTo>
                      <a:pt x="611" y="1681"/>
                    </a:lnTo>
                    <a:lnTo>
                      <a:pt x="610" y="1739"/>
                    </a:lnTo>
                    <a:lnTo>
                      <a:pt x="607" y="1798"/>
                    </a:lnTo>
                    <a:lnTo>
                      <a:pt x="603" y="1858"/>
                    </a:lnTo>
                    <a:lnTo>
                      <a:pt x="599" y="1917"/>
                    </a:lnTo>
                    <a:lnTo>
                      <a:pt x="593" y="1977"/>
                    </a:lnTo>
                    <a:lnTo>
                      <a:pt x="586" y="2036"/>
                    </a:lnTo>
                    <a:lnTo>
                      <a:pt x="577" y="2096"/>
                    </a:lnTo>
                    <a:lnTo>
                      <a:pt x="568" y="2156"/>
                    </a:lnTo>
                    <a:lnTo>
                      <a:pt x="558" y="2216"/>
                    </a:lnTo>
                    <a:lnTo>
                      <a:pt x="545" y="2276"/>
                    </a:lnTo>
                    <a:lnTo>
                      <a:pt x="532" y="2336"/>
                    </a:lnTo>
                    <a:lnTo>
                      <a:pt x="516" y="2397"/>
                    </a:lnTo>
                    <a:lnTo>
                      <a:pt x="500" y="2458"/>
                    </a:lnTo>
                    <a:lnTo>
                      <a:pt x="481" y="2519"/>
                    </a:lnTo>
                    <a:lnTo>
                      <a:pt x="462" y="2580"/>
                    </a:lnTo>
                    <a:lnTo>
                      <a:pt x="440" y="2642"/>
                    </a:lnTo>
                    <a:lnTo>
                      <a:pt x="416" y="2704"/>
                    </a:lnTo>
                    <a:lnTo>
                      <a:pt x="390" y="2766"/>
                    </a:lnTo>
                    <a:lnTo>
                      <a:pt x="350" y="2862"/>
                    </a:lnTo>
                    <a:lnTo>
                      <a:pt x="313" y="2956"/>
                    </a:lnTo>
                    <a:lnTo>
                      <a:pt x="277" y="3048"/>
                    </a:lnTo>
                    <a:lnTo>
                      <a:pt x="244" y="3136"/>
                    </a:lnTo>
                    <a:lnTo>
                      <a:pt x="213" y="3223"/>
                    </a:lnTo>
                    <a:lnTo>
                      <a:pt x="184" y="3309"/>
                    </a:lnTo>
                    <a:lnTo>
                      <a:pt x="157" y="3393"/>
                    </a:lnTo>
                    <a:lnTo>
                      <a:pt x="132" y="3475"/>
                    </a:lnTo>
                    <a:lnTo>
                      <a:pt x="109" y="3555"/>
                    </a:lnTo>
                    <a:lnTo>
                      <a:pt x="89" y="3635"/>
                    </a:lnTo>
                    <a:lnTo>
                      <a:pt x="71" y="3712"/>
                    </a:lnTo>
                    <a:lnTo>
                      <a:pt x="54" y="3789"/>
                    </a:lnTo>
                    <a:lnTo>
                      <a:pt x="40" y="3865"/>
                    </a:lnTo>
                    <a:lnTo>
                      <a:pt x="29" y="3940"/>
                    </a:lnTo>
                    <a:lnTo>
                      <a:pt x="18" y="4014"/>
                    </a:lnTo>
                    <a:lnTo>
                      <a:pt x="11" y="4088"/>
                    </a:lnTo>
                    <a:lnTo>
                      <a:pt x="5" y="4161"/>
                    </a:lnTo>
                    <a:lnTo>
                      <a:pt x="2" y="4234"/>
                    </a:lnTo>
                    <a:lnTo>
                      <a:pt x="0" y="4306"/>
                    </a:lnTo>
                    <a:lnTo>
                      <a:pt x="1" y="4378"/>
                    </a:lnTo>
                    <a:lnTo>
                      <a:pt x="3" y="4451"/>
                    </a:lnTo>
                    <a:lnTo>
                      <a:pt x="7" y="4523"/>
                    </a:lnTo>
                    <a:lnTo>
                      <a:pt x="13" y="4595"/>
                    </a:lnTo>
                    <a:lnTo>
                      <a:pt x="21" y="4669"/>
                    </a:lnTo>
                    <a:lnTo>
                      <a:pt x="32" y="4742"/>
                    </a:lnTo>
                    <a:lnTo>
                      <a:pt x="44" y="4817"/>
                    </a:lnTo>
                    <a:lnTo>
                      <a:pt x="59" y="4892"/>
                    </a:lnTo>
                    <a:lnTo>
                      <a:pt x="75" y="4968"/>
                    </a:lnTo>
                    <a:lnTo>
                      <a:pt x="93" y="5045"/>
                    </a:lnTo>
                    <a:lnTo>
                      <a:pt x="113" y="5123"/>
                    </a:lnTo>
                    <a:lnTo>
                      <a:pt x="135" y="5202"/>
                    </a:lnTo>
                    <a:lnTo>
                      <a:pt x="159" y="5283"/>
                    </a:lnTo>
                    <a:lnTo>
                      <a:pt x="164" y="5299"/>
                    </a:lnTo>
                    <a:lnTo>
                      <a:pt x="1182" y="5305"/>
                    </a:lnTo>
                    <a:lnTo>
                      <a:pt x="1172" y="5275"/>
                    </a:lnTo>
                    <a:lnTo>
                      <a:pt x="1142" y="5189"/>
                    </a:lnTo>
                    <a:lnTo>
                      <a:pt x="1115" y="5105"/>
                    </a:lnTo>
                    <a:lnTo>
                      <a:pt x="1089" y="5023"/>
                    </a:lnTo>
                    <a:lnTo>
                      <a:pt x="1066" y="4942"/>
                    </a:lnTo>
                    <a:lnTo>
                      <a:pt x="1044" y="4863"/>
                    </a:lnTo>
                    <a:lnTo>
                      <a:pt x="1026" y="4786"/>
                    </a:lnTo>
                    <a:lnTo>
                      <a:pt x="1008" y="4709"/>
                    </a:lnTo>
                    <a:lnTo>
                      <a:pt x="993" y="4635"/>
                    </a:lnTo>
                    <a:lnTo>
                      <a:pt x="979" y="4560"/>
                    </a:lnTo>
                    <a:lnTo>
                      <a:pt x="969" y="4487"/>
                    </a:lnTo>
                    <a:lnTo>
                      <a:pt x="960" y="4415"/>
                    </a:lnTo>
                    <a:lnTo>
                      <a:pt x="952" y="4342"/>
                    </a:lnTo>
                    <a:lnTo>
                      <a:pt x="947" y="4270"/>
                    </a:lnTo>
                    <a:lnTo>
                      <a:pt x="944" y="4198"/>
                    </a:lnTo>
                    <a:lnTo>
                      <a:pt x="943" y="4127"/>
                    </a:lnTo>
                    <a:lnTo>
                      <a:pt x="944" y="4056"/>
                    </a:lnTo>
                    <a:lnTo>
                      <a:pt x="947" y="3983"/>
                    </a:lnTo>
                    <a:lnTo>
                      <a:pt x="952" y="3911"/>
                    </a:lnTo>
                    <a:lnTo>
                      <a:pt x="960" y="3839"/>
                    </a:lnTo>
                    <a:lnTo>
                      <a:pt x="969" y="3765"/>
                    </a:lnTo>
                    <a:lnTo>
                      <a:pt x="981" y="3691"/>
                    </a:lnTo>
                    <a:lnTo>
                      <a:pt x="995" y="3616"/>
                    </a:lnTo>
                    <a:lnTo>
                      <a:pt x="1010" y="3540"/>
                    </a:lnTo>
                    <a:lnTo>
                      <a:pt x="1028" y="3462"/>
                    </a:lnTo>
                    <a:lnTo>
                      <a:pt x="1048" y="3383"/>
                    </a:lnTo>
                    <a:lnTo>
                      <a:pt x="1069" y="3302"/>
                    </a:lnTo>
                    <a:lnTo>
                      <a:pt x="1094" y="3219"/>
                    </a:lnTo>
                    <a:lnTo>
                      <a:pt x="1120" y="3135"/>
                    </a:lnTo>
                    <a:lnTo>
                      <a:pt x="1148" y="3050"/>
                    </a:lnTo>
                    <a:lnTo>
                      <a:pt x="1179" y="2961"/>
                    </a:lnTo>
                    <a:lnTo>
                      <a:pt x="1211" y="2870"/>
                    </a:lnTo>
                    <a:lnTo>
                      <a:pt x="1246" y="2777"/>
                    </a:lnTo>
                    <a:lnTo>
                      <a:pt x="1269" y="2715"/>
                    </a:lnTo>
                    <a:lnTo>
                      <a:pt x="1288" y="2654"/>
                    </a:lnTo>
                    <a:lnTo>
                      <a:pt x="1308" y="2593"/>
                    </a:lnTo>
                    <a:lnTo>
                      <a:pt x="1324" y="2532"/>
                    </a:lnTo>
                    <a:lnTo>
                      <a:pt x="1340" y="2472"/>
                    </a:lnTo>
                    <a:lnTo>
                      <a:pt x="1353" y="2412"/>
                    </a:lnTo>
                    <a:lnTo>
                      <a:pt x="1365" y="2352"/>
                    </a:lnTo>
                    <a:lnTo>
                      <a:pt x="1375" y="2293"/>
                    </a:lnTo>
                    <a:lnTo>
                      <a:pt x="1384" y="2234"/>
                    </a:lnTo>
                    <a:lnTo>
                      <a:pt x="1392" y="2175"/>
                    </a:lnTo>
                    <a:lnTo>
                      <a:pt x="1398" y="2116"/>
                    </a:lnTo>
                    <a:lnTo>
                      <a:pt x="1403" y="2058"/>
                    </a:lnTo>
                    <a:lnTo>
                      <a:pt x="1406" y="1999"/>
                    </a:lnTo>
                    <a:lnTo>
                      <a:pt x="1409" y="1941"/>
                    </a:lnTo>
                    <a:lnTo>
                      <a:pt x="1410" y="1883"/>
                    </a:lnTo>
                    <a:lnTo>
                      <a:pt x="1410" y="1825"/>
                    </a:lnTo>
                    <a:lnTo>
                      <a:pt x="1409" y="1768"/>
                    </a:lnTo>
                    <a:lnTo>
                      <a:pt x="1408" y="1711"/>
                    </a:lnTo>
                    <a:lnTo>
                      <a:pt x="1405" y="1653"/>
                    </a:lnTo>
                    <a:lnTo>
                      <a:pt x="1402" y="1596"/>
                    </a:lnTo>
                    <a:lnTo>
                      <a:pt x="1398" y="1538"/>
                    </a:lnTo>
                    <a:lnTo>
                      <a:pt x="1393" y="1481"/>
                    </a:lnTo>
                    <a:lnTo>
                      <a:pt x="1388" y="1423"/>
                    </a:lnTo>
                    <a:lnTo>
                      <a:pt x="1381" y="1366"/>
                    </a:lnTo>
                    <a:lnTo>
                      <a:pt x="1368" y="1251"/>
                    </a:lnTo>
                    <a:lnTo>
                      <a:pt x="1352" y="1136"/>
                    </a:lnTo>
                    <a:lnTo>
                      <a:pt x="1336" y="1020"/>
                    </a:lnTo>
                    <a:lnTo>
                      <a:pt x="1319" y="903"/>
                    </a:lnTo>
                    <a:lnTo>
                      <a:pt x="1312" y="850"/>
                    </a:lnTo>
                    <a:lnTo>
                      <a:pt x="1304" y="797"/>
                    </a:lnTo>
                    <a:lnTo>
                      <a:pt x="1297" y="744"/>
                    </a:lnTo>
                    <a:lnTo>
                      <a:pt x="1288" y="690"/>
                    </a:lnTo>
                    <a:lnTo>
                      <a:pt x="1281" y="636"/>
                    </a:lnTo>
                    <a:lnTo>
                      <a:pt x="1274" y="581"/>
                    </a:lnTo>
                    <a:lnTo>
                      <a:pt x="1268" y="528"/>
                    </a:lnTo>
                    <a:lnTo>
                      <a:pt x="1260" y="473"/>
                    </a:lnTo>
                    <a:lnTo>
                      <a:pt x="1254" y="417"/>
                    </a:lnTo>
                    <a:lnTo>
                      <a:pt x="1248" y="362"/>
                    </a:lnTo>
                    <a:lnTo>
                      <a:pt x="1243" y="306"/>
                    </a:lnTo>
                    <a:lnTo>
                      <a:pt x="1238" y="249"/>
                    </a:lnTo>
                    <a:lnTo>
                      <a:pt x="1234" y="194"/>
                    </a:lnTo>
                    <a:lnTo>
                      <a:pt x="1229" y="137"/>
                    </a:lnTo>
                    <a:lnTo>
                      <a:pt x="1226" y="79"/>
                    </a:lnTo>
                    <a:lnTo>
                      <a:pt x="1223" y="22"/>
                    </a:lnTo>
                    <a:lnTo>
                      <a:pt x="1222" y="0"/>
                    </a:lnTo>
                    <a:lnTo>
                      <a:pt x="1200" y="0"/>
                    </a:lnTo>
                    <a:close/>
                    <a:moveTo>
                      <a:pt x="1180" y="45"/>
                    </a:moveTo>
                    <a:lnTo>
                      <a:pt x="1183" y="102"/>
                    </a:lnTo>
                    <a:lnTo>
                      <a:pt x="1186" y="157"/>
                    </a:lnTo>
                    <a:lnTo>
                      <a:pt x="1190" y="213"/>
                    </a:lnTo>
                    <a:lnTo>
                      <a:pt x="1195" y="269"/>
                    </a:lnTo>
                    <a:lnTo>
                      <a:pt x="1199" y="324"/>
                    </a:lnTo>
                    <a:lnTo>
                      <a:pt x="1206" y="379"/>
                    </a:lnTo>
                    <a:lnTo>
                      <a:pt x="1211" y="434"/>
                    </a:lnTo>
                    <a:lnTo>
                      <a:pt x="1217" y="487"/>
                    </a:lnTo>
                    <a:lnTo>
                      <a:pt x="1224" y="541"/>
                    </a:lnTo>
                    <a:lnTo>
                      <a:pt x="1230" y="595"/>
                    </a:lnTo>
                    <a:lnTo>
                      <a:pt x="1238" y="648"/>
                    </a:lnTo>
                    <a:lnTo>
                      <a:pt x="1245" y="700"/>
                    </a:lnTo>
                    <a:lnTo>
                      <a:pt x="1252" y="753"/>
                    </a:lnTo>
                    <a:lnTo>
                      <a:pt x="1260" y="806"/>
                    </a:lnTo>
                    <a:lnTo>
                      <a:pt x="1268" y="857"/>
                    </a:lnTo>
                    <a:lnTo>
                      <a:pt x="1275" y="910"/>
                    </a:lnTo>
                    <a:lnTo>
                      <a:pt x="1283" y="969"/>
                    </a:lnTo>
                    <a:lnTo>
                      <a:pt x="1292" y="1027"/>
                    </a:lnTo>
                    <a:lnTo>
                      <a:pt x="1301" y="1086"/>
                    </a:lnTo>
                    <a:lnTo>
                      <a:pt x="1308" y="1145"/>
                    </a:lnTo>
                    <a:lnTo>
                      <a:pt x="1316" y="1203"/>
                    </a:lnTo>
                    <a:lnTo>
                      <a:pt x="1323" y="1261"/>
                    </a:lnTo>
                    <a:lnTo>
                      <a:pt x="1331" y="1319"/>
                    </a:lnTo>
                    <a:lnTo>
                      <a:pt x="1337" y="1378"/>
                    </a:lnTo>
                    <a:lnTo>
                      <a:pt x="1343" y="1435"/>
                    </a:lnTo>
                    <a:lnTo>
                      <a:pt x="1349" y="1493"/>
                    </a:lnTo>
                    <a:lnTo>
                      <a:pt x="1353" y="1551"/>
                    </a:lnTo>
                    <a:lnTo>
                      <a:pt x="1358" y="1609"/>
                    </a:lnTo>
                    <a:lnTo>
                      <a:pt x="1361" y="1667"/>
                    </a:lnTo>
                    <a:lnTo>
                      <a:pt x="1364" y="1725"/>
                    </a:lnTo>
                    <a:lnTo>
                      <a:pt x="1365" y="1783"/>
                    </a:lnTo>
                    <a:lnTo>
                      <a:pt x="1366" y="1841"/>
                    </a:lnTo>
                    <a:lnTo>
                      <a:pt x="1365" y="1898"/>
                    </a:lnTo>
                    <a:lnTo>
                      <a:pt x="1364" y="1954"/>
                    </a:lnTo>
                    <a:lnTo>
                      <a:pt x="1361" y="2009"/>
                    </a:lnTo>
                    <a:lnTo>
                      <a:pt x="1358" y="2066"/>
                    </a:lnTo>
                    <a:lnTo>
                      <a:pt x="1352" y="2122"/>
                    </a:lnTo>
                    <a:lnTo>
                      <a:pt x="1346" y="2179"/>
                    </a:lnTo>
                    <a:lnTo>
                      <a:pt x="1339" y="2236"/>
                    </a:lnTo>
                    <a:lnTo>
                      <a:pt x="1330" y="2294"/>
                    </a:lnTo>
                    <a:lnTo>
                      <a:pt x="1319" y="2351"/>
                    </a:lnTo>
                    <a:lnTo>
                      <a:pt x="1308" y="2409"/>
                    </a:lnTo>
                    <a:lnTo>
                      <a:pt x="1295" y="2466"/>
                    </a:lnTo>
                    <a:lnTo>
                      <a:pt x="1280" y="2524"/>
                    </a:lnTo>
                    <a:lnTo>
                      <a:pt x="1264" y="2583"/>
                    </a:lnTo>
                    <a:lnTo>
                      <a:pt x="1245" y="2642"/>
                    </a:lnTo>
                    <a:lnTo>
                      <a:pt x="1225" y="2701"/>
                    </a:lnTo>
                    <a:lnTo>
                      <a:pt x="1204" y="2761"/>
                    </a:lnTo>
                    <a:lnTo>
                      <a:pt x="1167" y="2860"/>
                    </a:lnTo>
                    <a:lnTo>
                      <a:pt x="1132" y="2957"/>
                    </a:lnTo>
                    <a:lnTo>
                      <a:pt x="1100" y="3051"/>
                    </a:lnTo>
                    <a:lnTo>
                      <a:pt x="1071" y="3143"/>
                    </a:lnTo>
                    <a:lnTo>
                      <a:pt x="1043" y="3233"/>
                    </a:lnTo>
                    <a:lnTo>
                      <a:pt x="1019" y="3321"/>
                    </a:lnTo>
                    <a:lnTo>
                      <a:pt x="996" y="3407"/>
                    </a:lnTo>
                    <a:lnTo>
                      <a:pt x="976" y="3492"/>
                    </a:lnTo>
                    <a:lnTo>
                      <a:pt x="967" y="3534"/>
                    </a:lnTo>
                    <a:lnTo>
                      <a:pt x="959" y="3575"/>
                    </a:lnTo>
                    <a:lnTo>
                      <a:pt x="950" y="3616"/>
                    </a:lnTo>
                    <a:lnTo>
                      <a:pt x="943" y="3657"/>
                    </a:lnTo>
                    <a:lnTo>
                      <a:pt x="937" y="3698"/>
                    </a:lnTo>
                    <a:lnTo>
                      <a:pt x="931" y="3737"/>
                    </a:lnTo>
                    <a:lnTo>
                      <a:pt x="925" y="3778"/>
                    </a:lnTo>
                    <a:lnTo>
                      <a:pt x="919" y="3818"/>
                    </a:lnTo>
                    <a:lnTo>
                      <a:pt x="915" y="3857"/>
                    </a:lnTo>
                    <a:lnTo>
                      <a:pt x="911" y="3896"/>
                    </a:lnTo>
                    <a:lnTo>
                      <a:pt x="908" y="3936"/>
                    </a:lnTo>
                    <a:lnTo>
                      <a:pt x="906" y="3975"/>
                    </a:lnTo>
                    <a:lnTo>
                      <a:pt x="904" y="4014"/>
                    </a:lnTo>
                    <a:lnTo>
                      <a:pt x="902" y="4054"/>
                    </a:lnTo>
                    <a:lnTo>
                      <a:pt x="902" y="4092"/>
                    </a:lnTo>
                    <a:lnTo>
                      <a:pt x="901" y="4131"/>
                    </a:lnTo>
                    <a:lnTo>
                      <a:pt x="902" y="4197"/>
                    </a:lnTo>
                    <a:lnTo>
                      <a:pt x="905" y="4265"/>
                    </a:lnTo>
                    <a:lnTo>
                      <a:pt x="909" y="4331"/>
                    </a:lnTo>
                    <a:lnTo>
                      <a:pt x="915" y="4398"/>
                    </a:lnTo>
                    <a:lnTo>
                      <a:pt x="922" y="4465"/>
                    </a:lnTo>
                    <a:lnTo>
                      <a:pt x="932" y="4533"/>
                    </a:lnTo>
                    <a:lnTo>
                      <a:pt x="943" y="4602"/>
                    </a:lnTo>
                    <a:lnTo>
                      <a:pt x="957" y="4671"/>
                    </a:lnTo>
                    <a:lnTo>
                      <a:pt x="971" y="4740"/>
                    </a:lnTo>
                    <a:lnTo>
                      <a:pt x="988" y="4812"/>
                    </a:lnTo>
                    <a:lnTo>
                      <a:pt x="1005" y="4883"/>
                    </a:lnTo>
                    <a:lnTo>
                      <a:pt x="1025" y="4955"/>
                    </a:lnTo>
                    <a:lnTo>
                      <a:pt x="1045" y="5030"/>
                    </a:lnTo>
                    <a:lnTo>
                      <a:pt x="1069" y="5105"/>
                    </a:lnTo>
                    <a:lnTo>
                      <a:pt x="1093" y="5182"/>
                    </a:lnTo>
                    <a:lnTo>
                      <a:pt x="1120" y="5259"/>
                    </a:lnTo>
                    <a:lnTo>
                      <a:pt x="1100" y="5259"/>
                    </a:lnTo>
                    <a:lnTo>
                      <a:pt x="1065" y="5259"/>
                    </a:lnTo>
                    <a:lnTo>
                      <a:pt x="1017" y="5259"/>
                    </a:lnTo>
                    <a:lnTo>
                      <a:pt x="956" y="5258"/>
                    </a:lnTo>
                    <a:lnTo>
                      <a:pt x="887" y="5258"/>
                    </a:lnTo>
                    <a:lnTo>
                      <a:pt x="811" y="5257"/>
                    </a:lnTo>
                    <a:lnTo>
                      <a:pt x="731" y="5257"/>
                    </a:lnTo>
                    <a:lnTo>
                      <a:pt x="649" y="5256"/>
                    </a:lnTo>
                    <a:lnTo>
                      <a:pt x="567" y="5256"/>
                    </a:lnTo>
                    <a:lnTo>
                      <a:pt x="488" y="5255"/>
                    </a:lnTo>
                    <a:lnTo>
                      <a:pt x="414" y="5255"/>
                    </a:lnTo>
                    <a:lnTo>
                      <a:pt x="347" y="5255"/>
                    </a:lnTo>
                    <a:lnTo>
                      <a:pt x="289" y="5254"/>
                    </a:lnTo>
                    <a:lnTo>
                      <a:pt x="244" y="5254"/>
                    </a:lnTo>
                    <a:lnTo>
                      <a:pt x="213" y="5254"/>
                    </a:lnTo>
                    <a:lnTo>
                      <a:pt x="197" y="5254"/>
                    </a:lnTo>
                    <a:lnTo>
                      <a:pt x="179" y="5192"/>
                    </a:lnTo>
                    <a:lnTo>
                      <a:pt x="162" y="5131"/>
                    </a:lnTo>
                    <a:lnTo>
                      <a:pt x="146" y="5070"/>
                    </a:lnTo>
                    <a:lnTo>
                      <a:pt x="131" y="5011"/>
                    </a:lnTo>
                    <a:lnTo>
                      <a:pt x="117" y="4952"/>
                    </a:lnTo>
                    <a:lnTo>
                      <a:pt x="105" y="4893"/>
                    </a:lnTo>
                    <a:lnTo>
                      <a:pt x="94" y="4835"/>
                    </a:lnTo>
                    <a:lnTo>
                      <a:pt x="83" y="4778"/>
                    </a:lnTo>
                    <a:lnTo>
                      <a:pt x="75" y="4721"/>
                    </a:lnTo>
                    <a:lnTo>
                      <a:pt x="67" y="4665"/>
                    </a:lnTo>
                    <a:lnTo>
                      <a:pt x="61" y="4608"/>
                    </a:lnTo>
                    <a:lnTo>
                      <a:pt x="54" y="4552"/>
                    </a:lnTo>
                    <a:lnTo>
                      <a:pt x="50" y="4496"/>
                    </a:lnTo>
                    <a:lnTo>
                      <a:pt x="47" y="4440"/>
                    </a:lnTo>
                    <a:lnTo>
                      <a:pt x="46" y="4385"/>
                    </a:lnTo>
                    <a:lnTo>
                      <a:pt x="45" y="4329"/>
                    </a:lnTo>
                    <a:lnTo>
                      <a:pt x="45" y="4285"/>
                    </a:lnTo>
                    <a:lnTo>
                      <a:pt x="46" y="4243"/>
                    </a:lnTo>
                    <a:lnTo>
                      <a:pt x="48" y="4199"/>
                    </a:lnTo>
                    <a:lnTo>
                      <a:pt x="51" y="4156"/>
                    </a:lnTo>
                    <a:lnTo>
                      <a:pt x="54" y="4113"/>
                    </a:lnTo>
                    <a:lnTo>
                      <a:pt x="59" y="4068"/>
                    </a:lnTo>
                    <a:lnTo>
                      <a:pt x="63" y="4025"/>
                    </a:lnTo>
                    <a:lnTo>
                      <a:pt x="69" y="3980"/>
                    </a:lnTo>
                    <a:lnTo>
                      <a:pt x="75" y="3936"/>
                    </a:lnTo>
                    <a:lnTo>
                      <a:pt x="82" y="3891"/>
                    </a:lnTo>
                    <a:lnTo>
                      <a:pt x="90" y="3847"/>
                    </a:lnTo>
                    <a:lnTo>
                      <a:pt x="98" y="3801"/>
                    </a:lnTo>
                    <a:lnTo>
                      <a:pt x="107" y="3756"/>
                    </a:lnTo>
                    <a:lnTo>
                      <a:pt x="117" y="3709"/>
                    </a:lnTo>
                    <a:lnTo>
                      <a:pt x="129" y="3663"/>
                    </a:lnTo>
                    <a:lnTo>
                      <a:pt x="140" y="3616"/>
                    </a:lnTo>
                    <a:lnTo>
                      <a:pt x="153" y="3569"/>
                    </a:lnTo>
                    <a:lnTo>
                      <a:pt x="165" y="3521"/>
                    </a:lnTo>
                    <a:lnTo>
                      <a:pt x="179" y="3473"/>
                    </a:lnTo>
                    <a:lnTo>
                      <a:pt x="194" y="3424"/>
                    </a:lnTo>
                    <a:lnTo>
                      <a:pt x="209" y="3374"/>
                    </a:lnTo>
                    <a:lnTo>
                      <a:pt x="226" y="3324"/>
                    </a:lnTo>
                    <a:lnTo>
                      <a:pt x="243" y="3273"/>
                    </a:lnTo>
                    <a:lnTo>
                      <a:pt x="261" y="3222"/>
                    </a:lnTo>
                    <a:lnTo>
                      <a:pt x="298" y="3117"/>
                    </a:lnTo>
                    <a:lnTo>
                      <a:pt x="340" y="3009"/>
                    </a:lnTo>
                    <a:lnTo>
                      <a:pt x="384" y="2899"/>
                    </a:lnTo>
                    <a:lnTo>
                      <a:pt x="432" y="2784"/>
                    </a:lnTo>
                    <a:lnTo>
                      <a:pt x="448" y="2745"/>
                    </a:lnTo>
                    <a:lnTo>
                      <a:pt x="464" y="2706"/>
                    </a:lnTo>
                    <a:lnTo>
                      <a:pt x="478" y="2667"/>
                    </a:lnTo>
                    <a:lnTo>
                      <a:pt x="493" y="2629"/>
                    </a:lnTo>
                    <a:lnTo>
                      <a:pt x="505" y="2590"/>
                    </a:lnTo>
                    <a:lnTo>
                      <a:pt x="518" y="2551"/>
                    </a:lnTo>
                    <a:lnTo>
                      <a:pt x="530" y="2513"/>
                    </a:lnTo>
                    <a:lnTo>
                      <a:pt x="541" y="2475"/>
                    </a:lnTo>
                    <a:lnTo>
                      <a:pt x="553" y="2437"/>
                    </a:lnTo>
                    <a:lnTo>
                      <a:pt x="563" y="2399"/>
                    </a:lnTo>
                    <a:lnTo>
                      <a:pt x="572" y="2361"/>
                    </a:lnTo>
                    <a:lnTo>
                      <a:pt x="580" y="2324"/>
                    </a:lnTo>
                    <a:lnTo>
                      <a:pt x="597" y="2248"/>
                    </a:lnTo>
                    <a:lnTo>
                      <a:pt x="611" y="2173"/>
                    </a:lnTo>
                    <a:lnTo>
                      <a:pt x="623" y="2098"/>
                    </a:lnTo>
                    <a:lnTo>
                      <a:pt x="633" y="2024"/>
                    </a:lnTo>
                    <a:lnTo>
                      <a:pt x="641" y="1949"/>
                    </a:lnTo>
                    <a:lnTo>
                      <a:pt x="648" y="1875"/>
                    </a:lnTo>
                    <a:lnTo>
                      <a:pt x="652" y="1802"/>
                    </a:lnTo>
                    <a:lnTo>
                      <a:pt x="656" y="1728"/>
                    </a:lnTo>
                    <a:lnTo>
                      <a:pt x="657" y="1654"/>
                    </a:lnTo>
                    <a:lnTo>
                      <a:pt x="658" y="1580"/>
                    </a:lnTo>
                    <a:lnTo>
                      <a:pt x="658" y="1535"/>
                    </a:lnTo>
                    <a:lnTo>
                      <a:pt x="657" y="1489"/>
                    </a:lnTo>
                    <a:lnTo>
                      <a:pt x="656" y="1444"/>
                    </a:lnTo>
                    <a:lnTo>
                      <a:pt x="655" y="1397"/>
                    </a:lnTo>
                    <a:lnTo>
                      <a:pt x="653" y="1352"/>
                    </a:lnTo>
                    <a:lnTo>
                      <a:pt x="651" y="1306"/>
                    </a:lnTo>
                    <a:lnTo>
                      <a:pt x="649" y="1261"/>
                    </a:lnTo>
                    <a:lnTo>
                      <a:pt x="646" y="1214"/>
                    </a:lnTo>
                    <a:lnTo>
                      <a:pt x="643" y="1169"/>
                    </a:lnTo>
                    <a:lnTo>
                      <a:pt x="640" y="1122"/>
                    </a:lnTo>
                    <a:lnTo>
                      <a:pt x="637" y="1077"/>
                    </a:lnTo>
                    <a:lnTo>
                      <a:pt x="633" y="1030"/>
                    </a:lnTo>
                    <a:lnTo>
                      <a:pt x="630" y="984"/>
                    </a:lnTo>
                    <a:lnTo>
                      <a:pt x="627" y="937"/>
                    </a:lnTo>
                    <a:lnTo>
                      <a:pt x="623" y="891"/>
                    </a:lnTo>
                    <a:lnTo>
                      <a:pt x="620" y="844"/>
                    </a:lnTo>
                    <a:lnTo>
                      <a:pt x="616" y="796"/>
                    </a:lnTo>
                    <a:lnTo>
                      <a:pt x="612" y="748"/>
                    </a:lnTo>
                    <a:lnTo>
                      <a:pt x="608" y="700"/>
                    </a:lnTo>
                    <a:lnTo>
                      <a:pt x="605" y="652"/>
                    </a:lnTo>
                    <a:lnTo>
                      <a:pt x="601" y="602"/>
                    </a:lnTo>
                    <a:lnTo>
                      <a:pt x="598" y="553"/>
                    </a:lnTo>
                    <a:lnTo>
                      <a:pt x="595" y="504"/>
                    </a:lnTo>
                    <a:lnTo>
                      <a:pt x="592" y="454"/>
                    </a:lnTo>
                    <a:lnTo>
                      <a:pt x="589" y="405"/>
                    </a:lnTo>
                    <a:lnTo>
                      <a:pt x="587" y="355"/>
                    </a:lnTo>
                    <a:lnTo>
                      <a:pt x="585" y="304"/>
                    </a:lnTo>
                    <a:lnTo>
                      <a:pt x="583" y="254"/>
                    </a:lnTo>
                    <a:lnTo>
                      <a:pt x="580" y="203"/>
                    </a:lnTo>
                    <a:lnTo>
                      <a:pt x="579" y="151"/>
                    </a:lnTo>
                    <a:lnTo>
                      <a:pt x="578" y="101"/>
                    </a:lnTo>
                    <a:lnTo>
                      <a:pt x="578" y="49"/>
                    </a:lnTo>
                    <a:lnTo>
                      <a:pt x="615" y="49"/>
                    </a:lnTo>
                    <a:lnTo>
                      <a:pt x="685" y="48"/>
                    </a:lnTo>
                    <a:lnTo>
                      <a:pt x="777" y="48"/>
                    </a:lnTo>
                    <a:lnTo>
                      <a:pt x="880" y="47"/>
                    </a:lnTo>
                    <a:lnTo>
                      <a:pt x="983" y="47"/>
                    </a:lnTo>
                    <a:lnTo>
                      <a:pt x="1075" y="46"/>
                    </a:lnTo>
                    <a:lnTo>
                      <a:pt x="1145" y="46"/>
                    </a:lnTo>
                    <a:lnTo>
                      <a:pt x="1180" y="45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76" name="Freeform 11"/>
              <p:cNvSpPr>
                <a:spLocks noEditPoints="1"/>
              </p:cNvSpPr>
              <p:nvPr/>
            </p:nvSpPr>
            <p:spPr bwMode="auto">
              <a:xfrm>
                <a:off x="2965" y="1631"/>
                <a:ext cx="111" cy="79"/>
              </a:xfrm>
              <a:custGeom>
                <a:avLst/>
                <a:gdLst>
                  <a:gd name="T0" fmla="*/ 0 w 777"/>
                  <a:gd name="T1" fmla="*/ 0 h 553"/>
                  <a:gd name="T2" fmla="*/ 0 w 777"/>
                  <a:gd name="T3" fmla="*/ 0 h 553"/>
                  <a:gd name="T4" fmla="*/ 0 w 777"/>
                  <a:gd name="T5" fmla="*/ 0 h 553"/>
                  <a:gd name="T6" fmla="*/ 0 w 777"/>
                  <a:gd name="T7" fmla="*/ 0 h 553"/>
                  <a:gd name="T8" fmla="*/ 0 w 777"/>
                  <a:gd name="T9" fmla="*/ 0 h 553"/>
                  <a:gd name="T10" fmla="*/ 0 w 777"/>
                  <a:gd name="T11" fmla="*/ 0 h 553"/>
                  <a:gd name="T12" fmla="*/ 0 w 777"/>
                  <a:gd name="T13" fmla="*/ 0 h 553"/>
                  <a:gd name="T14" fmla="*/ 0 w 777"/>
                  <a:gd name="T15" fmla="*/ 0 h 553"/>
                  <a:gd name="T16" fmla="*/ 0 w 777"/>
                  <a:gd name="T17" fmla="*/ 0 h 553"/>
                  <a:gd name="T18" fmla="*/ 0 w 777"/>
                  <a:gd name="T19" fmla="*/ 0 h 553"/>
                  <a:gd name="T20" fmla="*/ 0 w 777"/>
                  <a:gd name="T21" fmla="*/ 0 h 553"/>
                  <a:gd name="T22" fmla="*/ 0 w 777"/>
                  <a:gd name="T23" fmla="*/ 0 h 553"/>
                  <a:gd name="T24" fmla="*/ 0 w 777"/>
                  <a:gd name="T25" fmla="*/ 0 h 553"/>
                  <a:gd name="T26" fmla="*/ 0 w 777"/>
                  <a:gd name="T27" fmla="*/ 0 h 553"/>
                  <a:gd name="T28" fmla="*/ 0 w 777"/>
                  <a:gd name="T29" fmla="*/ 0 h 553"/>
                  <a:gd name="T30" fmla="*/ 0 w 777"/>
                  <a:gd name="T31" fmla="*/ 0 h 553"/>
                  <a:gd name="T32" fmla="*/ 0 w 777"/>
                  <a:gd name="T33" fmla="*/ 0 h 553"/>
                  <a:gd name="T34" fmla="*/ 0 w 777"/>
                  <a:gd name="T35" fmla="*/ 0 h 553"/>
                  <a:gd name="T36" fmla="*/ 0 w 777"/>
                  <a:gd name="T37" fmla="*/ 0 h 553"/>
                  <a:gd name="T38" fmla="*/ 0 w 777"/>
                  <a:gd name="T39" fmla="*/ 0 h 553"/>
                  <a:gd name="T40" fmla="*/ 0 w 777"/>
                  <a:gd name="T41" fmla="*/ 0 h 553"/>
                  <a:gd name="T42" fmla="*/ 0 w 777"/>
                  <a:gd name="T43" fmla="*/ 0 h 553"/>
                  <a:gd name="T44" fmla="*/ 0 w 777"/>
                  <a:gd name="T45" fmla="*/ 0 h 553"/>
                  <a:gd name="T46" fmla="*/ 0 w 777"/>
                  <a:gd name="T47" fmla="*/ 0 h 553"/>
                  <a:gd name="T48" fmla="*/ 0 w 777"/>
                  <a:gd name="T49" fmla="*/ 0 h 553"/>
                  <a:gd name="T50" fmla="*/ 0 w 777"/>
                  <a:gd name="T51" fmla="*/ 0 h 553"/>
                  <a:gd name="T52" fmla="*/ 0 w 777"/>
                  <a:gd name="T53" fmla="*/ 0 h 553"/>
                  <a:gd name="T54" fmla="*/ 0 w 777"/>
                  <a:gd name="T55" fmla="*/ 0 h 553"/>
                  <a:gd name="T56" fmla="*/ 0 w 777"/>
                  <a:gd name="T57" fmla="*/ 0 h 553"/>
                  <a:gd name="T58" fmla="*/ 0 w 777"/>
                  <a:gd name="T59" fmla="*/ 0 h 553"/>
                  <a:gd name="T60" fmla="*/ 0 w 777"/>
                  <a:gd name="T61" fmla="*/ 0 h 553"/>
                  <a:gd name="T62" fmla="*/ 0 w 777"/>
                  <a:gd name="T63" fmla="*/ 0 h 553"/>
                  <a:gd name="T64" fmla="*/ 0 w 777"/>
                  <a:gd name="T65" fmla="*/ 0 h 553"/>
                  <a:gd name="T66" fmla="*/ 0 w 777"/>
                  <a:gd name="T67" fmla="*/ 0 h 553"/>
                  <a:gd name="T68" fmla="*/ 0 w 777"/>
                  <a:gd name="T69" fmla="*/ 0 h 553"/>
                  <a:gd name="T70" fmla="*/ 0 w 777"/>
                  <a:gd name="T71" fmla="*/ 0 h 553"/>
                  <a:gd name="T72" fmla="*/ 0 w 777"/>
                  <a:gd name="T73" fmla="*/ 0 h 553"/>
                  <a:gd name="T74" fmla="*/ 0 w 777"/>
                  <a:gd name="T75" fmla="*/ 0 h 553"/>
                  <a:gd name="T76" fmla="*/ 0 w 777"/>
                  <a:gd name="T77" fmla="*/ 0 h 553"/>
                  <a:gd name="T78" fmla="*/ 0 w 777"/>
                  <a:gd name="T79" fmla="*/ 0 h 553"/>
                  <a:gd name="T80" fmla="*/ 0 w 777"/>
                  <a:gd name="T81" fmla="*/ 0 h 553"/>
                  <a:gd name="T82" fmla="*/ 0 w 777"/>
                  <a:gd name="T83" fmla="*/ 0 h 553"/>
                  <a:gd name="T84" fmla="*/ 0 w 777"/>
                  <a:gd name="T85" fmla="*/ 0 h 553"/>
                  <a:gd name="T86" fmla="*/ 0 w 777"/>
                  <a:gd name="T87" fmla="*/ 0 h 553"/>
                  <a:gd name="T88" fmla="*/ 0 w 777"/>
                  <a:gd name="T89" fmla="*/ 0 h 553"/>
                  <a:gd name="T90" fmla="*/ 0 w 777"/>
                  <a:gd name="T91" fmla="*/ 0 h 553"/>
                  <a:gd name="T92" fmla="*/ 0 w 777"/>
                  <a:gd name="T93" fmla="*/ 0 h 553"/>
                  <a:gd name="T94" fmla="*/ 0 w 777"/>
                  <a:gd name="T95" fmla="*/ 0 h 553"/>
                  <a:gd name="T96" fmla="*/ 0 w 777"/>
                  <a:gd name="T97" fmla="*/ 0 h 553"/>
                  <a:gd name="T98" fmla="*/ 0 w 777"/>
                  <a:gd name="T99" fmla="*/ 0 h 553"/>
                  <a:gd name="T100" fmla="*/ 0 w 777"/>
                  <a:gd name="T101" fmla="*/ 0 h 553"/>
                  <a:gd name="T102" fmla="*/ 0 w 777"/>
                  <a:gd name="T103" fmla="*/ 0 h 553"/>
                  <a:gd name="T104" fmla="*/ 0 w 777"/>
                  <a:gd name="T105" fmla="*/ 0 h 553"/>
                  <a:gd name="T106" fmla="*/ 0 w 777"/>
                  <a:gd name="T107" fmla="*/ 0 h 553"/>
                  <a:gd name="T108" fmla="*/ 0 w 777"/>
                  <a:gd name="T109" fmla="*/ 0 h 553"/>
                  <a:gd name="T110" fmla="*/ 0 w 777"/>
                  <a:gd name="T111" fmla="*/ 0 h 553"/>
                  <a:gd name="T112" fmla="*/ 0 w 777"/>
                  <a:gd name="T113" fmla="*/ 0 h 553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777"/>
                  <a:gd name="T172" fmla="*/ 0 h 553"/>
                  <a:gd name="T173" fmla="*/ 777 w 777"/>
                  <a:gd name="T174" fmla="*/ 553 h 553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777" h="553">
                    <a:moveTo>
                      <a:pt x="639" y="0"/>
                    </a:moveTo>
                    <a:lnTo>
                      <a:pt x="0" y="0"/>
                    </a:lnTo>
                    <a:lnTo>
                      <a:pt x="1" y="19"/>
                    </a:lnTo>
                    <a:lnTo>
                      <a:pt x="6" y="78"/>
                    </a:lnTo>
                    <a:lnTo>
                      <a:pt x="13" y="138"/>
                    </a:lnTo>
                    <a:lnTo>
                      <a:pt x="21" y="200"/>
                    </a:lnTo>
                    <a:lnTo>
                      <a:pt x="31" y="264"/>
                    </a:lnTo>
                    <a:lnTo>
                      <a:pt x="44" y="329"/>
                    </a:lnTo>
                    <a:lnTo>
                      <a:pt x="57" y="397"/>
                    </a:lnTo>
                    <a:lnTo>
                      <a:pt x="72" y="466"/>
                    </a:lnTo>
                    <a:lnTo>
                      <a:pt x="90" y="536"/>
                    </a:lnTo>
                    <a:lnTo>
                      <a:pt x="93" y="549"/>
                    </a:lnTo>
                    <a:lnTo>
                      <a:pt x="777" y="553"/>
                    </a:lnTo>
                    <a:lnTo>
                      <a:pt x="771" y="532"/>
                    </a:lnTo>
                    <a:lnTo>
                      <a:pt x="750" y="460"/>
                    </a:lnTo>
                    <a:lnTo>
                      <a:pt x="732" y="389"/>
                    </a:lnTo>
                    <a:lnTo>
                      <a:pt x="715" y="322"/>
                    </a:lnTo>
                    <a:lnTo>
                      <a:pt x="700" y="257"/>
                    </a:lnTo>
                    <a:lnTo>
                      <a:pt x="686" y="194"/>
                    </a:lnTo>
                    <a:lnTo>
                      <a:pt x="674" y="132"/>
                    </a:lnTo>
                    <a:lnTo>
                      <a:pt x="664" y="73"/>
                    </a:lnTo>
                    <a:lnTo>
                      <a:pt x="654" y="15"/>
                    </a:lnTo>
                    <a:lnTo>
                      <a:pt x="652" y="0"/>
                    </a:lnTo>
                    <a:lnTo>
                      <a:pt x="639" y="0"/>
                    </a:lnTo>
                    <a:close/>
                    <a:moveTo>
                      <a:pt x="625" y="35"/>
                    </a:moveTo>
                    <a:lnTo>
                      <a:pt x="634" y="88"/>
                    </a:lnTo>
                    <a:lnTo>
                      <a:pt x="644" y="145"/>
                    </a:lnTo>
                    <a:lnTo>
                      <a:pt x="655" y="203"/>
                    </a:lnTo>
                    <a:lnTo>
                      <a:pt x="668" y="262"/>
                    </a:lnTo>
                    <a:lnTo>
                      <a:pt x="682" y="324"/>
                    </a:lnTo>
                    <a:lnTo>
                      <a:pt x="698" y="387"/>
                    </a:lnTo>
                    <a:lnTo>
                      <a:pt x="715" y="452"/>
                    </a:lnTo>
                    <a:lnTo>
                      <a:pt x="734" y="520"/>
                    </a:lnTo>
                    <a:lnTo>
                      <a:pt x="698" y="520"/>
                    </a:lnTo>
                    <a:lnTo>
                      <a:pt x="624" y="519"/>
                    </a:lnTo>
                    <a:lnTo>
                      <a:pt x="528" y="519"/>
                    </a:lnTo>
                    <a:lnTo>
                      <a:pt x="421" y="518"/>
                    </a:lnTo>
                    <a:lnTo>
                      <a:pt x="313" y="518"/>
                    </a:lnTo>
                    <a:lnTo>
                      <a:pt x="219" y="516"/>
                    </a:lnTo>
                    <a:lnTo>
                      <a:pt x="150" y="516"/>
                    </a:lnTo>
                    <a:lnTo>
                      <a:pt x="118" y="515"/>
                    </a:lnTo>
                    <a:lnTo>
                      <a:pt x="102" y="450"/>
                    </a:lnTo>
                    <a:lnTo>
                      <a:pt x="88" y="386"/>
                    </a:lnTo>
                    <a:lnTo>
                      <a:pt x="76" y="323"/>
                    </a:lnTo>
                    <a:lnTo>
                      <a:pt x="64" y="263"/>
                    </a:lnTo>
                    <a:lnTo>
                      <a:pt x="55" y="203"/>
                    </a:lnTo>
                    <a:lnTo>
                      <a:pt x="47" y="146"/>
                    </a:lnTo>
                    <a:lnTo>
                      <a:pt x="40" y="89"/>
                    </a:lnTo>
                    <a:lnTo>
                      <a:pt x="35" y="35"/>
                    </a:lnTo>
                    <a:lnTo>
                      <a:pt x="69" y="35"/>
                    </a:lnTo>
                    <a:lnTo>
                      <a:pt x="138" y="35"/>
                    </a:lnTo>
                    <a:lnTo>
                      <a:pt x="230" y="35"/>
                    </a:lnTo>
                    <a:lnTo>
                      <a:pt x="333" y="35"/>
                    </a:lnTo>
                    <a:lnTo>
                      <a:pt x="436" y="35"/>
                    </a:lnTo>
                    <a:lnTo>
                      <a:pt x="527" y="35"/>
                    </a:lnTo>
                    <a:lnTo>
                      <a:pt x="593" y="35"/>
                    </a:lnTo>
                    <a:lnTo>
                      <a:pt x="625" y="35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77" name="Freeform 12"/>
              <p:cNvSpPr>
                <a:spLocks noEditPoints="1"/>
              </p:cNvSpPr>
              <p:nvPr/>
            </p:nvSpPr>
            <p:spPr bwMode="auto">
              <a:xfrm>
                <a:off x="2978" y="1641"/>
                <a:ext cx="84" cy="60"/>
              </a:xfrm>
              <a:custGeom>
                <a:avLst/>
                <a:gdLst>
                  <a:gd name="T0" fmla="*/ 0 w 589"/>
                  <a:gd name="T1" fmla="*/ 0 h 421"/>
                  <a:gd name="T2" fmla="*/ 0 w 589"/>
                  <a:gd name="T3" fmla="*/ 0 h 421"/>
                  <a:gd name="T4" fmla="*/ 0 w 589"/>
                  <a:gd name="T5" fmla="*/ 0 h 421"/>
                  <a:gd name="T6" fmla="*/ 0 w 589"/>
                  <a:gd name="T7" fmla="*/ 0 h 421"/>
                  <a:gd name="T8" fmla="*/ 0 w 589"/>
                  <a:gd name="T9" fmla="*/ 0 h 421"/>
                  <a:gd name="T10" fmla="*/ 0 w 589"/>
                  <a:gd name="T11" fmla="*/ 0 h 421"/>
                  <a:gd name="T12" fmla="*/ 0 w 589"/>
                  <a:gd name="T13" fmla="*/ 0 h 421"/>
                  <a:gd name="T14" fmla="*/ 0 w 589"/>
                  <a:gd name="T15" fmla="*/ 0 h 421"/>
                  <a:gd name="T16" fmla="*/ 0 w 589"/>
                  <a:gd name="T17" fmla="*/ 0 h 421"/>
                  <a:gd name="T18" fmla="*/ 0 w 589"/>
                  <a:gd name="T19" fmla="*/ 0 h 421"/>
                  <a:gd name="T20" fmla="*/ 0 w 589"/>
                  <a:gd name="T21" fmla="*/ 0 h 421"/>
                  <a:gd name="T22" fmla="*/ 0 w 589"/>
                  <a:gd name="T23" fmla="*/ 0 h 421"/>
                  <a:gd name="T24" fmla="*/ 0 w 589"/>
                  <a:gd name="T25" fmla="*/ 0 h 421"/>
                  <a:gd name="T26" fmla="*/ 0 w 589"/>
                  <a:gd name="T27" fmla="*/ 0 h 421"/>
                  <a:gd name="T28" fmla="*/ 0 w 589"/>
                  <a:gd name="T29" fmla="*/ 0 h 421"/>
                  <a:gd name="T30" fmla="*/ 0 w 589"/>
                  <a:gd name="T31" fmla="*/ 0 h 421"/>
                  <a:gd name="T32" fmla="*/ 0 w 589"/>
                  <a:gd name="T33" fmla="*/ 0 h 421"/>
                  <a:gd name="T34" fmla="*/ 0 w 589"/>
                  <a:gd name="T35" fmla="*/ 0 h 421"/>
                  <a:gd name="T36" fmla="*/ 0 w 589"/>
                  <a:gd name="T37" fmla="*/ 0 h 421"/>
                  <a:gd name="T38" fmla="*/ 0 w 589"/>
                  <a:gd name="T39" fmla="*/ 0 h 421"/>
                  <a:gd name="T40" fmla="*/ 0 w 589"/>
                  <a:gd name="T41" fmla="*/ 0 h 421"/>
                  <a:gd name="T42" fmla="*/ 0 w 589"/>
                  <a:gd name="T43" fmla="*/ 0 h 421"/>
                  <a:gd name="T44" fmla="*/ 0 w 589"/>
                  <a:gd name="T45" fmla="*/ 0 h 421"/>
                  <a:gd name="T46" fmla="*/ 0 w 589"/>
                  <a:gd name="T47" fmla="*/ 0 h 421"/>
                  <a:gd name="T48" fmla="*/ 0 w 589"/>
                  <a:gd name="T49" fmla="*/ 0 h 421"/>
                  <a:gd name="T50" fmla="*/ 0 w 589"/>
                  <a:gd name="T51" fmla="*/ 0 h 421"/>
                  <a:gd name="T52" fmla="*/ 0 w 589"/>
                  <a:gd name="T53" fmla="*/ 0 h 421"/>
                  <a:gd name="T54" fmla="*/ 0 w 589"/>
                  <a:gd name="T55" fmla="*/ 0 h 421"/>
                  <a:gd name="T56" fmla="*/ 0 w 589"/>
                  <a:gd name="T57" fmla="*/ 0 h 421"/>
                  <a:gd name="T58" fmla="*/ 0 w 589"/>
                  <a:gd name="T59" fmla="*/ 0 h 421"/>
                  <a:gd name="T60" fmla="*/ 0 w 589"/>
                  <a:gd name="T61" fmla="*/ 0 h 421"/>
                  <a:gd name="T62" fmla="*/ 0 w 589"/>
                  <a:gd name="T63" fmla="*/ 0 h 421"/>
                  <a:gd name="T64" fmla="*/ 0 w 589"/>
                  <a:gd name="T65" fmla="*/ 0 h 421"/>
                  <a:gd name="T66" fmla="*/ 0 w 589"/>
                  <a:gd name="T67" fmla="*/ 0 h 421"/>
                  <a:gd name="T68" fmla="*/ 0 w 589"/>
                  <a:gd name="T69" fmla="*/ 0 h 421"/>
                  <a:gd name="T70" fmla="*/ 0 w 589"/>
                  <a:gd name="T71" fmla="*/ 0 h 421"/>
                  <a:gd name="T72" fmla="*/ 0 w 589"/>
                  <a:gd name="T73" fmla="*/ 0 h 421"/>
                  <a:gd name="T74" fmla="*/ 0 w 589"/>
                  <a:gd name="T75" fmla="*/ 0 h 421"/>
                  <a:gd name="T76" fmla="*/ 0 w 589"/>
                  <a:gd name="T77" fmla="*/ 0 h 421"/>
                  <a:gd name="T78" fmla="*/ 0 w 589"/>
                  <a:gd name="T79" fmla="*/ 0 h 421"/>
                  <a:gd name="T80" fmla="*/ 0 w 589"/>
                  <a:gd name="T81" fmla="*/ 0 h 421"/>
                  <a:gd name="T82" fmla="*/ 0 w 589"/>
                  <a:gd name="T83" fmla="*/ 0 h 421"/>
                  <a:gd name="T84" fmla="*/ 0 w 589"/>
                  <a:gd name="T85" fmla="*/ 0 h 421"/>
                  <a:gd name="T86" fmla="*/ 0 w 589"/>
                  <a:gd name="T87" fmla="*/ 0 h 421"/>
                  <a:gd name="T88" fmla="*/ 0 w 589"/>
                  <a:gd name="T89" fmla="*/ 0 h 421"/>
                  <a:gd name="T90" fmla="*/ 0 w 589"/>
                  <a:gd name="T91" fmla="*/ 0 h 421"/>
                  <a:gd name="T92" fmla="*/ 0 w 589"/>
                  <a:gd name="T93" fmla="*/ 0 h 421"/>
                  <a:gd name="T94" fmla="*/ 0 w 589"/>
                  <a:gd name="T95" fmla="*/ 0 h 421"/>
                  <a:gd name="T96" fmla="*/ 0 w 589"/>
                  <a:gd name="T97" fmla="*/ 0 h 421"/>
                  <a:gd name="T98" fmla="*/ 0 w 589"/>
                  <a:gd name="T99" fmla="*/ 0 h 421"/>
                  <a:gd name="T100" fmla="*/ 0 w 589"/>
                  <a:gd name="T101" fmla="*/ 0 h 421"/>
                  <a:gd name="T102" fmla="*/ 0 w 589"/>
                  <a:gd name="T103" fmla="*/ 0 h 421"/>
                  <a:gd name="T104" fmla="*/ 0 w 589"/>
                  <a:gd name="T105" fmla="*/ 0 h 421"/>
                  <a:gd name="T106" fmla="*/ 0 w 589"/>
                  <a:gd name="T107" fmla="*/ 0 h 421"/>
                  <a:gd name="T108" fmla="*/ 0 w 589"/>
                  <a:gd name="T109" fmla="*/ 0 h 421"/>
                  <a:gd name="T110" fmla="*/ 0 w 589"/>
                  <a:gd name="T111" fmla="*/ 0 h 421"/>
                  <a:gd name="T112" fmla="*/ 0 w 589"/>
                  <a:gd name="T113" fmla="*/ 0 h 421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589"/>
                  <a:gd name="T172" fmla="*/ 0 h 421"/>
                  <a:gd name="T173" fmla="*/ 589 w 589"/>
                  <a:gd name="T174" fmla="*/ 421 h 421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589" h="421">
                    <a:moveTo>
                      <a:pt x="481" y="0"/>
                    </a:moveTo>
                    <a:lnTo>
                      <a:pt x="0" y="0"/>
                    </a:lnTo>
                    <a:lnTo>
                      <a:pt x="1" y="17"/>
                    </a:lnTo>
                    <a:lnTo>
                      <a:pt x="5" y="62"/>
                    </a:lnTo>
                    <a:lnTo>
                      <a:pt x="11" y="107"/>
                    </a:lnTo>
                    <a:lnTo>
                      <a:pt x="17" y="154"/>
                    </a:lnTo>
                    <a:lnTo>
                      <a:pt x="24" y="201"/>
                    </a:lnTo>
                    <a:lnTo>
                      <a:pt x="32" y="250"/>
                    </a:lnTo>
                    <a:lnTo>
                      <a:pt x="43" y="300"/>
                    </a:lnTo>
                    <a:lnTo>
                      <a:pt x="54" y="351"/>
                    </a:lnTo>
                    <a:lnTo>
                      <a:pt x="67" y="405"/>
                    </a:lnTo>
                    <a:lnTo>
                      <a:pt x="70" y="416"/>
                    </a:lnTo>
                    <a:lnTo>
                      <a:pt x="589" y="421"/>
                    </a:lnTo>
                    <a:lnTo>
                      <a:pt x="583" y="399"/>
                    </a:lnTo>
                    <a:lnTo>
                      <a:pt x="568" y="345"/>
                    </a:lnTo>
                    <a:lnTo>
                      <a:pt x="554" y="292"/>
                    </a:lnTo>
                    <a:lnTo>
                      <a:pt x="542" y="243"/>
                    </a:lnTo>
                    <a:lnTo>
                      <a:pt x="530" y="194"/>
                    </a:lnTo>
                    <a:lnTo>
                      <a:pt x="520" y="147"/>
                    </a:lnTo>
                    <a:lnTo>
                      <a:pt x="511" y="101"/>
                    </a:lnTo>
                    <a:lnTo>
                      <a:pt x="502" y="57"/>
                    </a:lnTo>
                    <a:lnTo>
                      <a:pt x="496" y="14"/>
                    </a:lnTo>
                    <a:lnTo>
                      <a:pt x="494" y="0"/>
                    </a:lnTo>
                    <a:lnTo>
                      <a:pt x="481" y="0"/>
                    </a:lnTo>
                    <a:close/>
                    <a:moveTo>
                      <a:pt x="467" y="33"/>
                    </a:moveTo>
                    <a:lnTo>
                      <a:pt x="473" y="73"/>
                    </a:lnTo>
                    <a:lnTo>
                      <a:pt x="481" y="114"/>
                    </a:lnTo>
                    <a:lnTo>
                      <a:pt x="489" y="156"/>
                    </a:lnTo>
                    <a:lnTo>
                      <a:pt x="498" y="199"/>
                    </a:lnTo>
                    <a:lnTo>
                      <a:pt x="509" y="245"/>
                    </a:lnTo>
                    <a:lnTo>
                      <a:pt x="520" y="290"/>
                    </a:lnTo>
                    <a:lnTo>
                      <a:pt x="532" y="338"/>
                    </a:lnTo>
                    <a:lnTo>
                      <a:pt x="547" y="386"/>
                    </a:lnTo>
                    <a:lnTo>
                      <a:pt x="517" y="386"/>
                    </a:lnTo>
                    <a:lnTo>
                      <a:pt x="463" y="386"/>
                    </a:lnTo>
                    <a:lnTo>
                      <a:pt x="393" y="385"/>
                    </a:lnTo>
                    <a:lnTo>
                      <a:pt x="315" y="385"/>
                    </a:lnTo>
                    <a:lnTo>
                      <a:pt x="238" y="384"/>
                    </a:lnTo>
                    <a:lnTo>
                      <a:pt x="171" y="384"/>
                    </a:lnTo>
                    <a:lnTo>
                      <a:pt x="120" y="384"/>
                    </a:lnTo>
                    <a:lnTo>
                      <a:pt x="96" y="384"/>
                    </a:lnTo>
                    <a:lnTo>
                      <a:pt x="84" y="336"/>
                    </a:lnTo>
                    <a:lnTo>
                      <a:pt x="74" y="289"/>
                    </a:lnTo>
                    <a:lnTo>
                      <a:pt x="64" y="244"/>
                    </a:lnTo>
                    <a:lnTo>
                      <a:pt x="57" y="200"/>
                    </a:lnTo>
                    <a:lnTo>
                      <a:pt x="50" y="157"/>
                    </a:lnTo>
                    <a:lnTo>
                      <a:pt x="44" y="114"/>
                    </a:lnTo>
                    <a:lnTo>
                      <a:pt x="39" y="73"/>
                    </a:lnTo>
                    <a:lnTo>
                      <a:pt x="35" y="33"/>
                    </a:lnTo>
                    <a:lnTo>
                      <a:pt x="62" y="33"/>
                    </a:lnTo>
                    <a:lnTo>
                      <a:pt x="113" y="33"/>
                    </a:lnTo>
                    <a:lnTo>
                      <a:pt x="179" y="33"/>
                    </a:lnTo>
                    <a:lnTo>
                      <a:pt x="253" y="33"/>
                    </a:lnTo>
                    <a:lnTo>
                      <a:pt x="328" y="33"/>
                    </a:lnTo>
                    <a:lnTo>
                      <a:pt x="394" y="33"/>
                    </a:lnTo>
                    <a:lnTo>
                      <a:pt x="442" y="33"/>
                    </a:lnTo>
                    <a:lnTo>
                      <a:pt x="467" y="33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78" name="Freeform 13"/>
              <p:cNvSpPr>
                <a:spLocks noEditPoints="1"/>
              </p:cNvSpPr>
              <p:nvPr/>
            </p:nvSpPr>
            <p:spPr bwMode="auto">
              <a:xfrm>
                <a:off x="2993" y="1651"/>
                <a:ext cx="55" cy="40"/>
              </a:xfrm>
              <a:custGeom>
                <a:avLst/>
                <a:gdLst>
                  <a:gd name="T0" fmla="*/ 0 w 388"/>
                  <a:gd name="T1" fmla="*/ 0 h 278"/>
                  <a:gd name="T2" fmla="*/ 0 w 388"/>
                  <a:gd name="T3" fmla="*/ 0 h 278"/>
                  <a:gd name="T4" fmla="*/ 0 w 388"/>
                  <a:gd name="T5" fmla="*/ 0 h 278"/>
                  <a:gd name="T6" fmla="*/ 0 w 388"/>
                  <a:gd name="T7" fmla="*/ 0 h 278"/>
                  <a:gd name="T8" fmla="*/ 0 w 388"/>
                  <a:gd name="T9" fmla="*/ 0 h 278"/>
                  <a:gd name="T10" fmla="*/ 0 w 388"/>
                  <a:gd name="T11" fmla="*/ 0 h 278"/>
                  <a:gd name="T12" fmla="*/ 0 w 388"/>
                  <a:gd name="T13" fmla="*/ 0 h 278"/>
                  <a:gd name="T14" fmla="*/ 0 w 388"/>
                  <a:gd name="T15" fmla="*/ 0 h 278"/>
                  <a:gd name="T16" fmla="*/ 0 w 388"/>
                  <a:gd name="T17" fmla="*/ 0 h 278"/>
                  <a:gd name="T18" fmla="*/ 0 w 388"/>
                  <a:gd name="T19" fmla="*/ 0 h 278"/>
                  <a:gd name="T20" fmla="*/ 0 w 388"/>
                  <a:gd name="T21" fmla="*/ 0 h 278"/>
                  <a:gd name="T22" fmla="*/ 0 w 388"/>
                  <a:gd name="T23" fmla="*/ 0 h 278"/>
                  <a:gd name="T24" fmla="*/ 0 w 388"/>
                  <a:gd name="T25" fmla="*/ 0 h 278"/>
                  <a:gd name="T26" fmla="*/ 0 w 388"/>
                  <a:gd name="T27" fmla="*/ 0 h 278"/>
                  <a:gd name="T28" fmla="*/ 0 w 388"/>
                  <a:gd name="T29" fmla="*/ 0 h 278"/>
                  <a:gd name="T30" fmla="*/ 0 w 388"/>
                  <a:gd name="T31" fmla="*/ 0 h 278"/>
                  <a:gd name="T32" fmla="*/ 0 w 388"/>
                  <a:gd name="T33" fmla="*/ 0 h 278"/>
                  <a:gd name="T34" fmla="*/ 0 w 388"/>
                  <a:gd name="T35" fmla="*/ 0 h 278"/>
                  <a:gd name="T36" fmla="*/ 0 w 388"/>
                  <a:gd name="T37" fmla="*/ 0 h 278"/>
                  <a:gd name="T38" fmla="*/ 0 w 388"/>
                  <a:gd name="T39" fmla="*/ 0 h 278"/>
                  <a:gd name="T40" fmla="*/ 0 w 388"/>
                  <a:gd name="T41" fmla="*/ 0 h 278"/>
                  <a:gd name="T42" fmla="*/ 0 w 388"/>
                  <a:gd name="T43" fmla="*/ 0 h 278"/>
                  <a:gd name="T44" fmla="*/ 0 w 388"/>
                  <a:gd name="T45" fmla="*/ 0 h 278"/>
                  <a:gd name="T46" fmla="*/ 0 w 388"/>
                  <a:gd name="T47" fmla="*/ 0 h 278"/>
                  <a:gd name="T48" fmla="*/ 0 w 388"/>
                  <a:gd name="T49" fmla="*/ 0 h 278"/>
                  <a:gd name="T50" fmla="*/ 0 w 388"/>
                  <a:gd name="T51" fmla="*/ 0 h 278"/>
                  <a:gd name="T52" fmla="*/ 0 w 388"/>
                  <a:gd name="T53" fmla="*/ 0 h 278"/>
                  <a:gd name="T54" fmla="*/ 0 w 388"/>
                  <a:gd name="T55" fmla="*/ 0 h 278"/>
                  <a:gd name="T56" fmla="*/ 0 w 388"/>
                  <a:gd name="T57" fmla="*/ 0 h 278"/>
                  <a:gd name="T58" fmla="*/ 0 w 388"/>
                  <a:gd name="T59" fmla="*/ 0 h 278"/>
                  <a:gd name="T60" fmla="*/ 0 w 388"/>
                  <a:gd name="T61" fmla="*/ 0 h 278"/>
                  <a:gd name="T62" fmla="*/ 0 w 388"/>
                  <a:gd name="T63" fmla="*/ 0 h 278"/>
                  <a:gd name="T64" fmla="*/ 0 w 388"/>
                  <a:gd name="T65" fmla="*/ 0 h 278"/>
                  <a:gd name="T66" fmla="*/ 0 w 388"/>
                  <a:gd name="T67" fmla="*/ 0 h 278"/>
                  <a:gd name="T68" fmla="*/ 0 w 388"/>
                  <a:gd name="T69" fmla="*/ 0 h 278"/>
                  <a:gd name="T70" fmla="*/ 0 w 388"/>
                  <a:gd name="T71" fmla="*/ 0 h 278"/>
                  <a:gd name="T72" fmla="*/ 0 w 388"/>
                  <a:gd name="T73" fmla="*/ 0 h 278"/>
                  <a:gd name="T74" fmla="*/ 0 w 388"/>
                  <a:gd name="T75" fmla="*/ 0 h 278"/>
                  <a:gd name="T76" fmla="*/ 0 w 388"/>
                  <a:gd name="T77" fmla="*/ 0 h 278"/>
                  <a:gd name="T78" fmla="*/ 0 w 388"/>
                  <a:gd name="T79" fmla="*/ 0 h 278"/>
                  <a:gd name="T80" fmla="*/ 0 w 388"/>
                  <a:gd name="T81" fmla="*/ 0 h 278"/>
                  <a:gd name="T82" fmla="*/ 0 w 388"/>
                  <a:gd name="T83" fmla="*/ 0 h 278"/>
                  <a:gd name="T84" fmla="*/ 0 w 388"/>
                  <a:gd name="T85" fmla="*/ 0 h 278"/>
                  <a:gd name="T86" fmla="*/ 0 w 388"/>
                  <a:gd name="T87" fmla="*/ 0 h 278"/>
                  <a:gd name="T88" fmla="*/ 0 w 388"/>
                  <a:gd name="T89" fmla="*/ 0 h 278"/>
                  <a:gd name="T90" fmla="*/ 0 w 388"/>
                  <a:gd name="T91" fmla="*/ 0 h 278"/>
                  <a:gd name="T92" fmla="*/ 0 w 388"/>
                  <a:gd name="T93" fmla="*/ 0 h 278"/>
                  <a:gd name="T94" fmla="*/ 0 w 388"/>
                  <a:gd name="T95" fmla="*/ 0 h 278"/>
                  <a:gd name="T96" fmla="*/ 0 w 388"/>
                  <a:gd name="T97" fmla="*/ 0 h 278"/>
                  <a:gd name="T98" fmla="*/ 0 w 388"/>
                  <a:gd name="T99" fmla="*/ 0 h 278"/>
                  <a:gd name="T100" fmla="*/ 0 w 388"/>
                  <a:gd name="T101" fmla="*/ 0 h 278"/>
                  <a:gd name="T102" fmla="*/ 0 w 388"/>
                  <a:gd name="T103" fmla="*/ 0 h 278"/>
                  <a:gd name="T104" fmla="*/ 0 w 388"/>
                  <a:gd name="T105" fmla="*/ 0 h 278"/>
                  <a:gd name="T106" fmla="*/ 0 w 388"/>
                  <a:gd name="T107" fmla="*/ 0 h 278"/>
                  <a:gd name="T108" fmla="*/ 0 w 388"/>
                  <a:gd name="T109" fmla="*/ 0 h 278"/>
                  <a:gd name="T110" fmla="*/ 0 w 388"/>
                  <a:gd name="T111" fmla="*/ 0 h 278"/>
                  <a:gd name="T112" fmla="*/ 0 w 388"/>
                  <a:gd name="T113" fmla="*/ 0 h 278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88"/>
                  <a:gd name="T172" fmla="*/ 0 h 278"/>
                  <a:gd name="T173" fmla="*/ 388 w 388"/>
                  <a:gd name="T174" fmla="*/ 278 h 278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88" h="278">
                    <a:moveTo>
                      <a:pt x="310" y="0"/>
                    </a:moveTo>
                    <a:lnTo>
                      <a:pt x="0" y="0"/>
                    </a:lnTo>
                    <a:lnTo>
                      <a:pt x="1" y="18"/>
                    </a:lnTo>
                    <a:lnTo>
                      <a:pt x="4" y="46"/>
                    </a:lnTo>
                    <a:lnTo>
                      <a:pt x="7" y="74"/>
                    </a:lnTo>
                    <a:lnTo>
                      <a:pt x="11" y="104"/>
                    </a:lnTo>
                    <a:lnTo>
                      <a:pt x="16" y="134"/>
                    </a:lnTo>
                    <a:lnTo>
                      <a:pt x="21" y="165"/>
                    </a:lnTo>
                    <a:lnTo>
                      <a:pt x="27" y="198"/>
                    </a:lnTo>
                    <a:lnTo>
                      <a:pt x="35" y="230"/>
                    </a:lnTo>
                    <a:lnTo>
                      <a:pt x="43" y="264"/>
                    </a:lnTo>
                    <a:lnTo>
                      <a:pt x="47" y="276"/>
                    </a:lnTo>
                    <a:lnTo>
                      <a:pt x="388" y="278"/>
                    </a:lnTo>
                    <a:lnTo>
                      <a:pt x="382" y="256"/>
                    </a:lnTo>
                    <a:lnTo>
                      <a:pt x="371" y="222"/>
                    </a:lnTo>
                    <a:lnTo>
                      <a:pt x="363" y="190"/>
                    </a:lnTo>
                    <a:lnTo>
                      <a:pt x="355" y="158"/>
                    </a:lnTo>
                    <a:lnTo>
                      <a:pt x="348" y="127"/>
                    </a:lnTo>
                    <a:lnTo>
                      <a:pt x="341" y="98"/>
                    </a:lnTo>
                    <a:lnTo>
                      <a:pt x="335" y="69"/>
                    </a:lnTo>
                    <a:lnTo>
                      <a:pt x="331" y="41"/>
                    </a:lnTo>
                    <a:lnTo>
                      <a:pt x="327" y="14"/>
                    </a:lnTo>
                    <a:lnTo>
                      <a:pt x="325" y="0"/>
                    </a:lnTo>
                    <a:lnTo>
                      <a:pt x="310" y="0"/>
                    </a:lnTo>
                    <a:close/>
                    <a:moveTo>
                      <a:pt x="297" y="33"/>
                    </a:moveTo>
                    <a:lnTo>
                      <a:pt x="301" y="57"/>
                    </a:lnTo>
                    <a:lnTo>
                      <a:pt x="305" y="82"/>
                    </a:lnTo>
                    <a:lnTo>
                      <a:pt x="310" y="108"/>
                    </a:lnTo>
                    <a:lnTo>
                      <a:pt x="317" y="133"/>
                    </a:lnTo>
                    <a:lnTo>
                      <a:pt x="323" y="160"/>
                    </a:lnTo>
                    <a:lnTo>
                      <a:pt x="329" y="187"/>
                    </a:lnTo>
                    <a:lnTo>
                      <a:pt x="336" y="216"/>
                    </a:lnTo>
                    <a:lnTo>
                      <a:pt x="345" y="245"/>
                    </a:lnTo>
                    <a:lnTo>
                      <a:pt x="324" y="244"/>
                    </a:lnTo>
                    <a:lnTo>
                      <a:pt x="291" y="244"/>
                    </a:lnTo>
                    <a:lnTo>
                      <a:pt x="248" y="244"/>
                    </a:lnTo>
                    <a:lnTo>
                      <a:pt x="203" y="244"/>
                    </a:lnTo>
                    <a:lnTo>
                      <a:pt x="159" y="244"/>
                    </a:lnTo>
                    <a:lnTo>
                      <a:pt x="119" y="243"/>
                    </a:lnTo>
                    <a:lnTo>
                      <a:pt x="88" y="243"/>
                    </a:lnTo>
                    <a:lnTo>
                      <a:pt x="72" y="243"/>
                    </a:lnTo>
                    <a:lnTo>
                      <a:pt x="66" y="214"/>
                    </a:lnTo>
                    <a:lnTo>
                      <a:pt x="59" y="187"/>
                    </a:lnTo>
                    <a:lnTo>
                      <a:pt x="53" y="159"/>
                    </a:lnTo>
                    <a:lnTo>
                      <a:pt x="49" y="133"/>
                    </a:lnTo>
                    <a:lnTo>
                      <a:pt x="45" y="108"/>
                    </a:lnTo>
                    <a:lnTo>
                      <a:pt x="41" y="82"/>
                    </a:lnTo>
                    <a:lnTo>
                      <a:pt x="38" y="57"/>
                    </a:lnTo>
                    <a:lnTo>
                      <a:pt x="36" y="33"/>
                    </a:lnTo>
                    <a:lnTo>
                      <a:pt x="54" y="33"/>
                    </a:lnTo>
                    <a:lnTo>
                      <a:pt x="86" y="33"/>
                    </a:lnTo>
                    <a:lnTo>
                      <a:pt x="126" y="33"/>
                    </a:lnTo>
                    <a:lnTo>
                      <a:pt x="169" y="33"/>
                    </a:lnTo>
                    <a:lnTo>
                      <a:pt x="212" y="33"/>
                    </a:lnTo>
                    <a:lnTo>
                      <a:pt x="251" y="33"/>
                    </a:lnTo>
                    <a:lnTo>
                      <a:pt x="281" y="33"/>
                    </a:lnTo>
                    <a:lnTo>
                      <a:pt x="297" y="33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79" name="Freeform 14"/>
              <p:cNvSpPr>
                <a:spLocks/>
              </p:cNvSpPr>
              <p:nvPr/>
            </p:nvSpPr>
            <p:spPr bwMode="auto">
              <a:xfrm>
                <a:off x="3008" y="1662"/>
                <a:ext cx="24" cy="17"/>
              </a:xfrm>
              <a:custGeom>
                <a:avLst/>
                <a:gdLst>
                  <a:gd name="T0" fmla="*/ 0 w 171"/>
                  <a:gd name="T1" fmla="*/ 0 h 121"/>
                  <a:gd name="T2" fmla="*/ 0 w 171"/>
                  <a:gd name="T3" fmla="*/ 0 h 121"/>
                  <a:gd name="T4" fmla="*/ 0 w 171"/>
                  <a:gd name="T5" fmla="*/ 0 h 121"/>
                  <a:gd name="T6" fmla="*/ 0 w 171"/>
                  <a:gd name="T7" fmla="*/ 0 h 121"/>
                  <a:gd name="T8" fmla="*/ 0 w 171"/>
                  <a:gd name="T9" fmla="*/ 0 h 121"/>
                  <a:gd name="T10" fmla="*/ 0 w 171"/>
                  <a:gd name="T11" fmla="*/ 0 h 121"/>
                  <a:gd name="T12" fmla="*/ 0 w 171"/>
                  <a:gd name="T13" fmla="*/ 0 h 121"/>
                  <a:gd name="T14" fmla="*/ 0 w 171"/>
                  <a:gd name="T15" fmla="*/ 0 h 121"/>
                  <a:gd name="T16" fmla="*/ 0 w 171"/>
                  <a:gd name="T17" fmla="*/ 0 h 121"/>
                  <a:gd name="T18" fmla="*/ 0 w 171"/>
                  <a:gd name="T19" fmla="*/ 0 h 121"/>
                  <a:gd name="T20" fmla="*/ 0 w 171"/>
                  <a:gd name="T21" fmla="*/ 0 h 12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71"/>
                  <a:gd name="T34" fmla="*/ 0 h 121"/>
                  <a:gd name="T35" fmla="*/ 171 w 171"/>
                  <a:gd name="T36" fmla="*/ 121 h 121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71" h="121">
                    <a:moveTo>
                      <a:pt x="21" y="120"/>
                    </a:moveTo>
                    <a:lnTo>
                      <a:pt x="171" y="121"/>
                    </a:lnTo>
                    <a:lnTo>
                      <a:pt x="162" y="86"/>
                    </a:lnTo>
                    <a:lnTo>
                      <a:pt x="155" y="55"/>
                    </a:lnTo>
                    <a:lnTo>
                      <a:pt x="149" y="26"/>
                    </a:lnTo>
                    <a:lnTo>
                      <a:pt x="145" y="0"/>
                    </a:lnTo>
                    <a:lnTo>
                      <a:pt x="0" y="0"/>
                    </a:lnTo>
                    <a:lnTo>
                      <a:pt x="2" y="26"/>
                    </a:lnTo>
                    <a:lnTo>
                      <a:pt x="6" y="55"/>
                    </a:lnTo>
                    <a:lnTo>
                      <a:pt x="12" y="86"/>
                    </a:lnTo>
                    <a:lnTo>
                      <a:pt x="21" y="120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80" name="Freeform 15"/>
              <p:cNvSpPr>
                <a:spLocks noEditPoints="1"/>
              </p:cNvSpPr>
              <p:nvPr/>
            </p:nvSpPr>
            <p:spPr bwMode="auto">
              <a:xfrm>
                <a:off x="2956" y="1507"/>
                <a:ext cx="97" cy="83"/>
              </a:xfrm>
              <a:custGeom>
                <a:avLst/>
                <a:gdLst>
                  <a:gd name="T0" fmla="*/ 0 w 682"/>
                  <a:gd name="T1" fmla="*/ 0 h 579"/>
                  <a:gd name="T2" fmla="*/ 0 w 682"/>
                  <a:gd name="T3" fmla="*/ 0 h 579"/>
                  <a:gd name="T4" fmla="*/ 0 w 682"/>
                  <a:gd name="T5" fmla="*/ 0 h 579"/>
                  <a:gd name="T6" fmla="*/ 0 w 682"/>
                  <a:gd name="T7" fmla="*/ 0 h 579"/>
                  <a:gd name="T8" fmla="*/ 0 w 682"/>
                  <a:gd name="T9" fmla="*/ 0 h 579"/>
                  <a:gd name="T10" fmla="*/ 0 w 682"/>
                  <a:gd name="T11" fmla="*/ 0 h 579"/>
                  <a:gd name="T12" fmla="*/ 0 w 682"/>
                  <a:gd name="T13" fmla="*/ 0 h 579"/>
                  <a:gd name="T14" fmla="*/ 0 w 682"/>
                  <a:gd name="T15" fmla="*/ 0 h 579"/>
                  <a:gd name="T16" fmla="*/ 0 w 682"/>
                  <a:gd name="T17" fmla="*/ 0 h 579"/>
                  <a:gd name="T18" fmla="*/ 0 w 682"/>
                  <a:gd name="T19" fmla="*/ 0 h 579"/>
                  <a:gd name="T20" fmla="*/ 0 w 682"/>
                  <a:gd name="T21" fmla="*/ 0 h 579"/>
                  <a:gd name="T22" fmla="*/ 0 w 682"/>
                  <a:gd name="T23" fmla="*/ 0 h 579"/>
                  <a:gd name="T24" fmla="*/ 0 w 682"/>
                  <a:gd name="T25" fmla="*/ 0 h 579"/>
                  <a:gd name="T26" fmla="*/ 0 w 682"/>
                  <a:gd name="T27" fmla="*/ 0 h 579"/>
                  <a:gd name="T28" fmla="*/ 0 w 682"/>
                  <a:gd name="T29" fmla="*/ 0 h 579"/>
                  <a:gd name="T30" fmla="*/ 0 w 682"/>
                  <a:gd name="T31" fmla="*/ 0 h 579"/>
                  <a:gd name="T32" fmla="*/ 0 w 682"/>
                  <a:gd name="T33" fmla="*/ 0 h 579"/>
                  <a:gd name="T34" fmla="*/ 0 w 682"/>
                  <a:gd name="T35" fmla="*/ 0 h 579"/>
                  <a:gd name="T36" fmla="*/ 0 w 682"/>
                  <a:gd name="T37" fmla="*/ 0 h 579"/>
                  <a:gd name="T38" fmla="*/ 0 w 682"/>
                  <a:gd name="T39" fmla="*/ 0 h 579"/>
                  <a:gd name="T40" fmla="*/ 0 w 682"/>
                  <a:gd name="T41" fmla="*/ 0 h 579"/>
                  <a:gd name="T42" fmla="*/ 0 w 682"/>
                  <a:gd name="T43" fmla="*/ 0 h 579"/>
                  <a:gd name="T44" fmla="*/ 0 w 682"/>
                  <a:gd name="T45" fmla="*/ 0 h 579"/>
                  <a:gd name="T46" fmla="*/ 0 w 682"/>
                  <a:gd name="T47" fmla="*/ 0 h 579"/>
                  <a:gd name="T48" fmla="*/ 0 w 682"/>
                  <a:gd name="T49" fmla="*/ 0 h 579"/>
                  <a:gd name="T50" fmla="*/ 0 w 682"/>
                  <a:gd name="T51" fmla="*/ 0 h 579"/>
                  <a:gd name="T52" fmla="*/ 0 w 682"/>
                  <a:gd name="T53" fmla="*/ 0 h 579"/>
                  <a:gd name="T54" fmla="*/ 0 w 682"/>
                  <a:gd name="T55" fmla="*/ 0 h 579"/>
                  <a:gd name="T56" fmla="*/ 0 w 682"/>
                  <a:gd name="T57" fmla="*/ 0 h 579"/>
                  <a:gd name="T58" fmla="*/ 0 w 682"/>
                  <a:gd name="T59" fmla="*/ 0 h 579"/>
                  <a:gd name="T60" fmla="*/ 0 w 682"/>
                  <a:gd name="T61" fmla="*/ 0 h 579"/>
                  <a:gd name="T62" fmla="*/ 0 w 682"/>
                  <a:gd name="T63" fmla="*/ 0 h 579"/>
                  <a:gd name="T64" fmla="*/ 0 w 682"/>
                  <a:gd name="T65" fmla="*/ 0 h 579"/>
                  <a:gd name="T66" fmla="*/ 0 w 682"/>
                  <a:gd name="T67" fmla="*/ 0 h 579"/>
                  <a:gd name="T68" fmla="*/ 0 w 682"/>
                  <a:gd name="T69" fmla="*/ 0 h 579"/>
                  <a:gd name="T70" fmla="*/ 0 w 682"/>
                  <a:gd name="T71" fmla="*/ 0 h 579"/>
                  <a:gd name="T72" fmla="*/ 0 w 682"/>
                  <a:gd name="T73" fmla="*/ 0 h 579"/>
                  <a:gd name="T74" fmla="*/ 0 w 682"/>
                  <a:gd name="T75" fmla="*/ 0 h 579"/>
                  <a:gd name="T76" fmla="*/ 0 w 682"/>
                  <a:gd name="T77" fmla="*/ 0 h 579"/>
                  <a:gd name="T78" fmla="*/ 0 w 682"/>
                  <a:gd name="T79" fmla="*/ 0 h 579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682"/>
                  <a:gd name="T121" fmla="*/ 0 h 579"/>
                  <a:gd name="T122" fmla="*/ 682 w 682"/>
                  <a:gd name="T123" fmla="*/ 579 h 579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682" h="579">
                    <a:moveTo>
                      <a:pt x="101" y="11"/>
                    </a:moveTo>
                    <a:lnTo>
                      <a:pt x="90" y="51"/>
                    </a:lnTo>
                    <a:lnTo>
                      <a:pt x="79" y="88"/>
                    </a:lnTo>
                    <a:lnTo>
                      <a:pt x="68" y="125"/>
                    </a:lnTo>
                    <a:lnTo>
                      <a:pt x="59" y="161"/>
                    </a:lnTo>
                    <a:lnTo>
                      <a:pt x="51" y="196"/>
                    </a:lnTo>
                    <a:lnTo>
                      <a:pt x="43" y="232"/>
                    </a:lnTo>
                    <a:lnTo>
                      <a:pt x="35" y="266"/>
                    </a:lnTo>
                    <a:lnTo>
                      <a:pt x="29" y="300"/>
                    </a:lnTo>
                    <a:lnTo>
                      <a:pt x="23" y="333"/>
                    </a:lnTo>
                    <a:lnTo>
                      <a:pt x="18" y="366"/>
                    </a:lnTo>
                    <a:lnTo>
                      <a:pt x="14" y="399"/>
                    </a:lnTo>
                    <a:lnTo>
                      <a:pt x="9" y="431"/>
                    </a:lnTo>
                    <a:lnTo>
                      <a:pt x="6" y="464"/>
                    </a:lnTo>
                    <a:lnTo>
                      <a:pt x="3" y="496"/>
                    </a:lnTo>
                    <a:lnTo>
                      <a:pt x="2" y="529"/>
                    </a:lnTo>
                    <a:lnTo>
                      <a:pt x="0" y="562"/>
                    </a:lnTo>
                    <a:lnTo>
                      <a:pt x="0" y="579"/>
                    </a:lnTo>
                    <a:lnTo>
                      <a:pt x="640" y="579"/>
                    </a:lnTo>
                    <a:lnTo>
                      <a:pt x="639" y="561"/>
                    </a:lnTo>
                    <a:lnTo>
                      <a:pt x="638" y="530"/>
                    </a:lnTo>
                    <a:lnTo>
                      <a:pt x="637" y="500"/>
                    </a:lnTo>
                    <a:lnTo>
                      <a:pt x="637" y="469"/>
                    </a:lnTo>
                    <a:lnTo>
                      <a:pt x="637" y="438"/>
                    </a:lnTo>
                    <a:lnTo>
                      <a:pt x="637" y="408"/>
                    </a:lnTo>
                    <a:lnTo>
                      <a:pt x="638" y="377"/>
                    </a:lnTo>
                    <a:lnTo>
                      <a:pt x="640" y="347"/>
                    </a:lnTo>
                    <a:lnTo>
                      <a:pt x="642" y="316"/>
                    </a:lnTo>
                    <a:lnTo>
                      <a:pt x="645" y="285"/>
                    </a:lnTo>
                    <a:lnTo>
                      <a:pt x="648" y="254"/>
                    </a:lnTo>
                    <a:lnTo>
                      <a:pt x="651" y="223"/>
                    </a:lnTo>
                    <a:lnTo>
                      <a:pt x="656" y="192"/>
                    </a:lnTo>
                    <a:lnTo>
                      <a:pt x="666" y="129"/>
                    </a:lnTo>
                    <a:lnTo>
                      <a:pt x="678" y="65"/>
                    </a:lnTo>
                    <a:lnTo>
                      <a:pt x="682" y="47"/>
                    </a:lnTo>
                    <a:lnTo>
                      <a:pt x="106" y="0"/>
                    </a:lnTo>
                    <a:lnTo>
                      <a:pt x="101" y="11"/>
                    </a:lnTo>
                    <a:close/>
                    <a:moveTo>
                      <a:pt x="128" y="34"/>
                    </a:moveTo>
                    <a:lnTo>
                      <a:pt x="156" y="36"/>
                    </a:lnTo>
                    <a:lnTo>
                      <a:pt x="214" y="41"/>
                    </a:lnTo>
                    <a:lnTo>
                      <a:pt x="294" y="47"/>
                    </a:lnTo>
                    <a:lnTo>
                      <a:pt x="384" y="55"/>
                    </a:lnTo>
                    <a:lnTo>
                      <a:pt x="473" y="63"/>
                    </a:lnTo>
                    <a:lnTo>
                      <a:pt x="554" y="69"/>
                    </a:lnTo>
                    <a:lnTo>
                      <a:pt x="615" y="74"/>
                    </a:lnTo>
                    <a:lnTo>
                      <a:pt x="645" y="76"/>
                    </a:lnTo>
                    <a:lnTo>
                      <a:pt x="636" y="126"/>
                    </a:lnTo>
                    <a:lnTo>
                      <a:pt x="627" y="175"/>
                    </a:lnTo>
                    <a:lnTo>
                      <a:pt x="620" y="222"/>
                    </a:lnTo>
                    <a:lnTo>
                      <a:pt x="615" y="270"/>
                    </a:lnTo>
                    <a:lnTo>
                      <a:pt x="611" y="317"/>
                    </a:lnTo>
                    <a:lnTo>
                      <a:pt x="608" y="365"/>
                    </a:lnTo>
                    <a:lnTo>
                      <a:pt x="606" y="411"/>
                    </a:lnTo>
                    <a:lnTo>
                      <a:pt x="605" y="459"/>
                    </a:lnTo>
                    <a:lnTo>
                      <a:pt x="605" y="481"/>
                    </a:lnTo>
                    <a:lnTo>
                      <a:pt x="606" y="502"/>
                    </a:lnTo>
                    <a:lnTo>
                      <a:pt x="607" y="524"/>
                    </a:lnTo>
                    <a:lnTo>
                      <a:pt x="608" y="547"/>
                    </a:lnTo>
                    <a:lnTo>
                      <a:pt x="576" y="547"/>
                    </a:lnTo>
                    <a:lnTo>
                      <a:pt x="510" y="547"/>
                    </a:lnTo>
                    <a:lnTo>
                      <a:pt x="421" y="547"/>
                    </a:lnTo>
                    <a:lnTo>
                      <a:pt x="321" y="547"/>
                    </a:lnTo>
                    <a:lnTo>
                      <a:pt x="220" y="547"/>
                    </a:lnTo>
                    <a:lnTo>
                      <a:pt x="131" y="547"/>
                    </a:lnTo>
                    <a:lnTo>
                      <a:pt x="65" y="547"/>
                    </a:lnTo>
                    <a:lnTo>
                      <a:pt x="33" y="547"/>
                    </a:lnTo>
                    <a:lnTo>
                      <a:pt x="34" y="516"/>
                    </a:lnTo>
                    <a:lnTo>
                      <a:pt x="36" y="486"/>
                    </a:lnTo>
                    <a:lnTo>
                      <a:pt x="39" y="455"/>
                    </a:lnTo>
                    <a:lnTo>
                      <a:pt x="43" y="425"/>
                    </a:lnTo>
                    <a:lnTo>
                      <a:pt x="46" y="394"/>
                    </a:lnTo>
                    <a:lnTo>
                      <a:pt x="50" y="364"/>
                    </a:lnTo>
                    <a:lnTo>
                      <a:pt x="55" y="333"/>
                    </a:lnTo>
                    <a:lnTo>
                      <a:pt x="61" y="302"/>
                    </a:lnTo>
                    <a:lnTo>
                      <a:pt x="66" y="270"/>
                    </a:lnTo>
                    <a:lnTo>
                      <a:pt x="74" y="238"/>
                    </a:lnTo>
                    <a:lnTo>
                      <a:pt x="81" y="206"/>
                    </a:lnTo>
                    <a:lnTo>
                      <a:pt x="89" y="173"/>
                    </a:lnTo>
                    <a:lnTo>
                      <a:pt x="107" y="104"/>
                    </a:lnTo>
                    <a:lnTo>
                      <a:pt x="128" y="34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81" name="Freeform 16"/>
              <p:cNvSpPr>
                <a:spLocks noEditPoints="1"/>
              </p:cNvSpPr>
              <p:nvPr/>
            </p:nvSpPr>
            <p:spPr bwMode="auto">
              <a:xfrm>
                <a:off x="2968" y="1517"/>
                <a:ext cx="74" cy="63"/>
              </a:xfrm>
              <a:custGeom>
                <a:avLst/>
                <a:gdLst>
                  <a:gd name="T0" fmla="*/ 0 w 521"/>
                  <a:gd name="T1" fmla="*/ 0 h 443"/>
                  <a:gd name="T2" fmla="*/ 0 w 521"/>
                  <a:gd name="T3" fmla="*/ 0 h 443"/>
                  <a:gd name="T4" fmla="*/ 0 w 521"/>
                  <a:gd name="T5" fmla="*/ 0 h 443"/>
                  <a:gd name="T6" fmla="*/ 0 w 521"/>
                  <a:gd name="T7" fmla="*/ 0 h 443"/>
                  <a:gd name="T8" fmla="*/ 0 w 521"/>
                  <a:gd name="T9" fmla="*/ 0 h 443"/>
                  <a:gd name="T10" fmla="*/ 0 w 521"/>
                  <a:gd name="T11" fmla="*/ 0 h 443"/>
                  <a:gd name="T12" fmla="*/ 0 w 521"/>
                  <a:gd name="T13" fmla="*/ 0 h 443"/>
                  <a:gd name="T14" fmla="*/ 0 w 521"/>
                  <a:gd name="T15" fmla="*/ 0 h 443"/>
                  <a:gd name="T16" fmla="*/ 0 w 521"/>
                  <a:gd name="T17" fmla="*/ 0 h 443"/>
                  <a:gd name="T18" fmla="*/ 0 w 521"/>
                  <a:gd name="T19" fmla="*/ 0 h 443"/>
                  <a:gd name="T20" fmla="*/ 0 w 521"/>
                  <a:gd name="T21" fmla="*/ 0 h 443"/>
                  <a:gd name="T22" fmla="*/ 0 w 521"/>
                  <a:gd name="T23" fmla="*/ 0 h 443"/>
                  <a:gd name="T24" fmla="*/ 0 w 521"/>
                  <a:gd name="T25" fmla="*/ 0 h 443"/>
                  <a:gd name="T26" fmla="*/ 0 w 521"/>
                  <a:gd name="T27" fmla="*/ 0 h 443"/>
                  <a:gd name="T28" fmla="*/ 0 w 521"/>
                  <a:gd name="T29" fmla="*/ 0 h 443"/>
                  <a:gd name="T30" fmla="*/ 0 w 521"/>
                  <a:gd name="T31" fmla="*/ 0 h 443"/>
                  <a:gd name="T32" fmla="*/ 0 w 521"/>
                  <a:gd name="T33" fmla="*/ 0 h 443"/>
                  <a:gd name="T34" fmla="*/ 0 w 521"/>
                  <a:gd name="T35" fmla="*/ 0 h 443"/>
                  <a:gd name="T36" fmla="*/ 0 w 521"/>
                  <a:gd name="T37" fmla="*/ 0 h 443"/>
                  <a:gd name="T38" fmla="*/ 0 w 521"/>
                  <a:gd name="T39" fmla="*/ 0 h 443"/>
                  <a:gd name="T40" fmla="*/ 0 w 521"/>
                  <a:gd name="T41" fmla="*/ 0 h 443"/>
                  <a:gd name="T42" fmla="*/ 0 w 521"/>
                  <a:gd name="T43" fmla="*/ 0 h 443"/>
                  <a:gd name="T44" fmla="*/ 0 w 521"/>
                  <a:gd name="T45" fmla="*/ 0 h 443"/>
                  <a:gd name="T46" fmla="*/ 0 w 521"/>
                  <a:gd name="T47" fmla="*/ 0 h 443"/>
                  <a:gd name="T48" fmla="*/ 0 w 521"/>
                  <a:gd name="T49" fmla="*/ 0 h 443"/>
                  <a:gd name="T50" fmla="*/ 0 w 521"/>
                  <a:gd name="T51" fmla="*/ 0 h 443"/>
                  <a:gd name="T52" fmla="*/ 0 w 521"/>
                  <a:gd name="T53" fmla="*/ 0 h 443"/>
                  <a:gd name="T54" fmla="*/ 0 w 521"/>
                  <a:gd name="T55" fmla="*/ 0 h 443"/>
                  <a:gd name="T56" fmla="*/ 0 w 521"/>
                  <a:gd name="T57" fmla="*/ 0 h 443"/>
                  <a:gd name="T58" fmla="*/ 0 w 521"/>
                  <a:gd name="T59" fmla="*/ 0 h 443"/>
                  <a:gd name="T60" fmla="*/ 0 w 521"/>
                  <a:gd name="T61" fmla="*/ 0 h 443"/>
                  <a:gd name="T62" fmla="*/ 0 w 521"/>
                  <a:gd name="T63" fmla="*/ 0 h 443"/>
                  <a:gd name="T64" fmla="*/ 0 w 521"/>
                  <a:gd name="T65" fmla="*/ 0 h 443"/>
                  <a:gd name="T66" fmla="*/ 0 w 521"/>
                  <a:gd name="T67" fmla="*/ 0 h 443"/>
                  <a:gd name="T68" fmla="*/ 0 w 521"/>
                  <a:gd name="T69" fmla="*/ 0 h 443"/>
                  <a:gd name="T70" fmla="*/ 0 w 521"/>
                  <a:gd name="T71" fmla="*/ 0 h 443"/>
                  <a:gd name="T72" fmla="*/ 0 w 521"/>
                  <a:gd name="T73" fmla="*/ 0 h 443"/>
                  <a:gd name="T74" fmla="*/ 0 w 521"/>
                  <a:gd name="T75" fmla="*/ 0 h 443"/>
                  <a:gd name="T76" fmla="*/ 0 w 521"/>
                  <a:gd name="T77" fmla="*/ 0 h 443"/>
                  <a:gd name="T78" fmla="*/ 0 w 521"/>
                  <a:gd name="T79" fmla="*/ 0 h 443"/>
                  <a:gd name="T80" fmla="*/ 0 w 521"/>
                  <a:gd name="T81" fmla="*/ 0 h 443"/>
                  <a:gd name="T82" fmla="*/ 0 w 521"/>
                  <a:gd name="T83" fmla="*/ 0 h 443"/>
                  <a:gd name="T84" fmla="*/ 0 w 521"/>
                  <a:gd name="T85" fmla="*/ 0 h 443"/>
                  <a:gd name="T86" fmla="*/ 0 w 521"/>
                  <a:gd name="T87" fmla="*/ 0 h 443"/>
                  <a:gd name="T88" fmla="*/ 0 w 521"/>
                  <a:gd name="T89" fmla="*/ 0 h 443"/>
                  <a:gd name="T90" fmla="*/ 0 w 521"/>
                  <a:gd name="T91" fmla="*/ 0 h 443"/>
                  <a:gd name="T92" fmla="*/ 0 w 521"/>
                  <a:gd name="T93" fmla="*/ 0 h 443"/>
                  <a:gd name="T94" fmla="*/ 0 w 521"/>
                  <a:gd name="T95" fmla="*/ 0 h 443"/>
                  <a:gd name="T96" fmla="*/ 0 w 521"/>
                  <a:gd name="T97" fmla="*/ 0 h 443"/>
                  <a:gd name="T98" fmla="*/ 0 w 521"/>
                  <a:gd name="T99" fmla="*/ 0 h 443"/>
                  <a:gd name="T100" fmla="*/ 0 w 521"/>
                  <a:gd name="T101" fmla="*/ 0 h 443"/>
                  <a:gd name="T102" fmla="*/ 0 w 521"/>
                  <a:gd name="T103" fmla="*/ 0 h 443"/>
                  <a:gd name="T104" fmla="*/ 0 w 521"/>
                  <a:gd name="T105" fmla="*/ 0 h 443"/>
                  <a:gd name="T106" fmla="*/ 0 w 521"/>
                  <a:gd name="T107" fmla="*/ 0 h 443"/>
                  <a:gd name="T108" fmla="*/ 0 w 521"/>
                  <a:gd name="T109" fmla="*/ 0 h 443"/>
                  <a:gd name="T110" fmla="*/ 0 w 521"/>
                  <a:gd name="T111" fmla="*/ 0 h 443"/>
                  <a:gd name="T112" fmla="*/ 0 w 521"/>
                  <a:gd name="T113" fmla="*/ 0 h 443"/>
                  <a:gd name="T114" fmla="*/ 0 w 521"/>
                  <a:gd name="T115" fmla="*/ 0 h 443"/>
                  <a:gd name="T116" fmla="*/ 0 w 521"/>
                  <a:gd name="T117" fmla="*/ 0 h 443"/>
                  <a:gd name="T118" fmla="*/ 0 w 521"/>
                  <a:gd name="T119" fmla="*/ 0 h 443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521"/>
                  <a:gd name="T181" fmla="*/ 0 h 443"/>
                  <a:gd name="T182" fmla="*/ 521 w 521"/>
                  <a:gd name="T183" fmla="*/ 443 h 443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521" h="443">
                    <a:moveTo>
                      <a:pt x="76" y="13"/>
                    </a:moveTo>
                    <a:lnTo>
                      <a:pt x="60" y="69"/>
                    </a:lnTo>
                    <a:lnTo>
                      <a:pt x="44" y="124"/>
                    </a:lnTo>
                    <a:lnTo>
                      <a:pt x="32" y="177"/>
                    </a:lnTo>
                    <a:lnTo>
                      <a:pt x="21" y="229"/>
                    </a:lnTo>
                    <a:lnTo>
                      <a:pt x="13" y="278"/>
                    </a:lnTo>
                    <a:lnTo>
                      <a:pt x="7" y="327"/>
                    </a:lnTo>
                    <a:lnTo>
                      <a:pt x="3" y="377"/>
                    </a:lnTo>
                    <a:lnTo>
                      <a:pt x="1" y="425"/>
                    </a:lnTo>
                    <a:lnTo>
                      <a:pt x="0" y="443"/>
                    </a:lnTo>
                    <a:lnTo>
                      <a:pt x="488" y="443"/>
                    </a:lnTo>
                    <a:lnTo>
                      <a:pt x="487" y="425"/>
                    </a:lnTo>
                    <a:lnTo>
                      <a:pt x="485" y="380"/>
                    </a:lnTo>
                    <a:lnTo>
                      <a:pt x="484" y="333"/>
                    </a:lnTo>
                    <a:lnTo>
                      <a:pt x="487" y="288"/>
                    </a:lnTo>
                    <a:lnTo>
                      <a:pt x="489" y="242"/>
                    </a:lnTo>
                    <a:lnTo>
                      <a:pt x="494" y="196"/>
                    </a:lnTo>
                    <a:lnTo>
                      <a:pt x="500" y="149"/>
                    </a:lnTo>
                    <a:lnTo>
                      <a:pt x="507" y="103"/>
                    </a:lnTo>
                    <a:lnTo>
                      <a:pt x="516" y="55"/>
                    </a:lnTo>
                    <a:lnTo>
                      <a:pt x="521" y="36"/>
                    </a:lnTo>
                    <a:lnTo>
                      <a:pt x="80" y="0"/>
                    </a:lnTo>
                    <a:lnTo>
                      <a:pt x="76" y="13"/>
                    </a:lnTo>
                    <a:close/>
                    <a:moveTo>
                      <a:pt x="103" y="34"/>
                    </a:moveTo>
                    <a:lnTo>
                      <a:pt x="125" y="36"/>
                    </a:lnTo>
                    <a:lnTo>
                      <a:pt x="168" y="39"/>
                    </a:lnTo>
                    <a:lnTo>
                      <a:pt x="225" y="45"/>
                    </a:lnTo>
                    <a:lnTo>
                      <a:pt x="290" y="50"/>
                    </a:lnTo>
                    <a:lnTo>
                      <a:pt x="355" y="55"/>
                    </a:lnTo>
                    <a:lnTo>
                      <a:pt x="414" y="60"/>
                    </a:lnTo>
                    <a:lnTo>
                      <a:pt x="459" y="64"/>
                    </a:lnTo>
                    <a:lnTo>
                      <a:pt x="482" y="66"/>
                    </a:lnTo>
                    <a:lnTo>
                      <a:pt x="476" y="103"/>
                    </a:lnTo>
                    <a:lnTo>
                      <a:pt x="470" y="138"/>
                    </a:lnTo>
                    <a:lnTo>
                      <a:pt x="465" y="174"/>
                    </a:lnTo>
                    <a:lnTo>
                      <a:pt x="461" y="209"/>
                    </a:lnTo>
                    <a:lnTo>
                      <a:pt x="458" y="244"/>
                    </a:lnTo>
                    <a:lnTo>
                      <a:pt x="456" y="278"/>
                    </a:lnTo>
                    <a:lnTo>
                      <a:pt x="453" y="313"/>
                    </a:lnTo>
                    <a:lnTo>
                      <a:pt x="453" y="349"/>
                    </a:lnTo>
                    <a:lnTo>
                      <a:pt x="453" y="364"/>
                    </a:lnTo>
                    <a:lnTo>
                      <a:pt x="454" y="379"/>
                    </a:lnTo>
                    <a:lnTo>
                      <a:pt x="454" y="394"/>
                    </a:lnTo>
                    <a:lnTo>
                      <a:pt x="456" y="410"/>
                    </a:lnTo>
                    <a:lnTo>
                      <a:pt x="430" y="410"/>
                    </a:lnTo>
                    <a:lnTo>
                      <a:pt x="381" y="410"/>
                    </a:lnTo>
                    <a:lnTo>
                      <a:pt x="317" y="410"/>
                    </a:lnTo>
                    <a:lnTo>
                      <a:pt x="245" y="410"/>
                    </a:lnTo>
                    <a:lnTo>
                      <a:pt x="172" y="410"/>
                    </a:lnTo>
                    <a:lnTo>
                      <a:pt x="107" y="410"/>
                    </a:lnTo>
                    <a:lnTo>
                      <a:pt x="59" y="410"/>
                    </a:lnTo>
                    <a:lnTo>
                      <a:pt x="33" y="410"/>
                    </a:lnTo>
                    <a:lnTo>
                      <a:pt x="36" y="365"/>
                    </a:lnTo>
                    <a:lnTo>
                      <a:pt x="40" y="321"/>
                    </a:lnTo>
                    <a:lnTo>
                      <a:pt x="46" y="276"/>
                    </a:lnTo>
                    <a:lnTo>
                      <a:pt x="54" y="231"/>
                    </a:lnTo>
                    <a:lnTo>
                      <a:pt x="63" y="184"/>
                    </a:lnTo>
                    <a:lnTo>
                      <a:pt x="74" y="136"/>
                    </a:lnTo>
                    <a:lnTo>
                      <a:pt x="88" y="86"/>
                    </a:lnTo>
                    <a:lnTo>
                      <a:pt x="103" y="34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82" name="Freeform 17"/>
              <p:cNvSpPr>
                <a:spLocks noEditPoints="1"/>
              </p:cNvSpPr>
              <p:nvPr/>
            </p:nvSpPr>
            <p:spPr bwMode="auto">
              <a:xfrm>
                <a:off x="2979" y="1526"/>
                <a:ext cx="52" cy="45"/>
              </a:xfrm>
              <a:custGeom>
                <a:avLst/>
                <a:gdLst>
                  <a:gd name="T0" fmla="*/ 0 w 366"/>
                  <a:gd name="T1" fmla="*/ 0 h 313"/>
                  <a:gd name="T2" fmla="*/ 0 w 366"/>
                  <a:gd name="T3" fmla="*/ 0 h 313"/>
                  <a:gd name="T4" fmla="*/ 0 w 366"/>
                  <a:gd name="T5" fmla="*/ 0 h 313"/>
                  <a:gd name="T6" fmla="*/ 0 w 366"/>
                  <a:gd name="T7" fmla="*/ 0 h 313"/>
                  <a:gd name="T8" fmla="*/ 0 w 366"/>
                  <a:gd name="T9" fmla="*/ 0 h 313"/>
                  <a:gd name="T10" fmla="*/ 0 w 366"/>
                  <a:gd name="T11" fmla="*/ 0 h 313"/>
                  <a:gd name="T12" fmla="*/ 0 w 366"/>
                  <a:gd name="T13" fmla="*/ 0 h 313"/>
                  <a:gd name="T14" fmla="*/ 0 w 366"/>
                  <a:gd name="T15" fmla="*/ 0 h 313"/>
                  <a:gd name="T16" fmla="*/ 0 w 366"/>
                  <a:gd name="T17" fmla="*/ 0 h 313"/>
                  <a:gd name="T18" fmla="*/ 0 w 366"/>
                  <a:gd name="T19" fmla="*/ 0 h 313"/>
                  <a:gd name="T20" fmla="*/ 0 w 366"/>
                  <a:gd name="T21" fmla="*/ 0 h 313"/>
                  <a:gd name="T22" fmla="*/ 0 w 366"/>
                  <a:gd name="T23" fmla="*/ 0 h 313"/>
                  <a:gd name="T24" fmla="*/ 0 w 366"/>
                  <a:gd name="T25" fmla="*/ 0 h 313"/>
                  <a:gd name="T26" fmla="*/ 0 w 366"/>
                  <a:gd name="T27" fmla="*/ 0 h 313"/>
                  <a:gd name="T28" fmla="*/ 0 w 366"/>
                  <a:gd name="T29" fmla="*/ 0 h 313"/>
                  <a:gd name="T30" fmla="*/ 0 w 366"/>
                  <a:gd name="T31" fmla="*/ 0 h 313"/>
                  <a:gd name="T32" fmla="*/ 0 w 366"/>
                  <a:gd name="T33" fmla="*/ 0 h 313"/>
                  <a:gd name="T34" fmla="*/ 0 w 366"/>
                  <a:gd name="T35" fmla="*/ 0 h 313"/>
                  <a:gd name="T36" fmla="*/ 0 w 366"/>
                  <a:gd name="T37" fmla="*/ 0 h 313"/>
                  <a:gd name="T38" fmla="*/ 0 w 366"/>
                  <a:gd name="T39" fmla="*/ 0 h 313"/>
                  <a:gd name="T40" fmla="*/ 0 w 366"/>
                  <a:gd name="T41" fmla="*/ 0 h 313"/>
                  <a:gd name="T42" fmla="*/ 0 w 366"/>
                  <a:gd name="T43" fmla="*/ 0 h 313"/>
                  <a:gd name="T44" fmla="*/ 0 w 366"/>
                  <a:gd name="T45" fmla="*/ 0 h 313"/>
                  <a:gd name="T46" fmla="*/ 0 w 366"/>
                  <a:gd name="T47" fmla="*/ 0 h 313"/>
                  <a:gd name="T48" fmla="*/ 0 w 366"/>
                  <a:gd name="T49" fmla="*/ 0 h 313"/>
                  <a:gd name="T50" fmla="*/ 0 w 366"/>
                  <a:gd name="T51" fmla="*/ 0 h 313"/>
                  <a:gd name="T52" fmla="*/ 0 w 366"/>
                  <a:gd name="T53" fmla="*/ 0 h 313"/>
                  <a:gd name="T54" fmla="*/ 0 w 366"/>
                  <a:gd name="T55" fmla="*/ 0 h 313"/>
                  <a:gd name="T56" fmla="*/ 0 w 366"/>
                  <a:gd name="T57" fmla="*/ 0 h 313"/>
                  <a:gd name="T58" fmla="*/ 0 w 366"/>
                  <a:gd name="T59" fmla="*/ 0 h 313"/>
                  <a:gd name="T60" fmla="*/ 0 w 366"/>
                  <a:gd name="T61" fmla="*/ 0 h 313"/>
                  <a:gd name="T62" fmla="*/ 0 w 366"/>
                  <a:gd name="T63" fmla="*/ 0 h 313"/>
                  <a:gd name="T64" fmla="*/ 0 w 366"/>
                  <a:gd name="T65" fmla="*/ 0 h 313"/>
                  <a:gd name="T66" fmla="*/ 0 w 366"/>
                  <a:gd name="T67" fmla="*/ 0 h 313"/>
                  <a:gd name="T68" fmla="*/ 0 w 366"/>
                  <a:gd name="T69" fmla="*/ 0 h 313"/>
                  <a:gd name="T70" fmla="*/ 0 w 366"/>
                  <a:gd name="T71" fmla="*/ 0 h 313"/>
                  <a:gd name="T72" fmla="*/ 0 w 366"/>
                  <a:gd name="T73" fmla="*/ 0 h 313"/>
                  <a:gd name="T74" fmla="*/ 0 w 366"/>
                  <a:gd name="T75" fmla="*/ 0 h 313"/>
                  <a:gd name="T76" fmla="*/ 0 w 366"/>
                  <a:gd name="T77" fmla="*/ 0 h 313"/>
                  <a:gd name="T78" fmla="*/ 0 w 366"/>
                  <a:gd name="T79" fmla="*/ 0 h 313"/>
                  <a:gd name="T80" fmla="*/ 0 w 366"/>
                  <a:gd name="T81" fmla="*/ 0 h 313"/>
                  <a:gd name="T82" fmla="*/ 0 w 366"/>
                  <a:gd name="T83" fmla="*/ 0 h 313"/>
                  <a:gd name="T84" fmla="*/ 0 w 366"/>
                  <a:gd name="T85" fmla="*/ 0 h 313"/>
                  <a:gd name="T86" fmla="*/ 0 w 366"/>
                  <a:gd name="T87" fmla="*/ 0 h 313"/>
                  <a:gd name="T88" fmla="*/ 0 w 366"/>
                  <a:gd name="T89" fmla="*/ 0 h 313"/>
                  <a:gd name="T90" fmla="*/ 0 w 366"/>
                  <a:gd name="T91" fmla="*/ 0 h 313"/>
                  <a:gd name="T92" fmla="*/ 0 w 366"/>
                  <a:gd name="T93" fmla="*/ 0 h 313"/>
                  <a:gd name="T94" fmla="*/ 0 w 366"/>
                  <a:gd name="T95" fmla="*/ 0 h 313"/>
                  <a:gd name="T96" fmla="*/ 0 w 366"/>
                  <a:gd name="T97" fmla="*/ 0 h 313"/>
                  <a:gd name="T98" fmla="*/ 0 w 366"/>
                  <a:gd name="T99" fmla="*/ 0 h 313"/>
                  <a:gd name="T100" fmla="*/ 0 w 366"/>
                  <a:gd name="T101" fmla="*/ 0 h 313"/>
                  <a:gd name="T102" fmla="*/ 0 w 366"/>
                  <a:gd name="T103" fmla="*/ 0 h 313"/>
                  <a:gd name="T104" fmla="*/ 0 w 366"/>
                  <a:gd name="T105" fmla="*/ 0 h 313"/>
                  <a:gd name="T106" fmla="*/ 0 w 366"/>
                  <a:gd name="T107" fmla="*/ 0 h 313"/>
                  <a:gd name="T108" fmla="*/ 0 w 366"/>
                  <a:gd name="T109" fmla="*/ 0 h 313"/>
                  <a:gd name="T110" fmla="*/ 0 w 366"/>
                  <a:gd name="T111" fmla="*/ 0 h 313"/>
                  <a:gd name="T112" fmla="*/ 0 w 366"/>
                  <a:gd name="T113" fmla="*/ 0 h 313"/>
                  <a:gd name="T114" fmla="*/ 0 w 366"/>
                  <a:gd name="T115" fmla="*/ 0 h 313"/>
                  <a:gd name="T116" fmla="*/ 0 w 366"/>
                  <a:gd name="T117" fmla="*/ 0 h 313"/>
                  <a:gd name="T118" fmla="*/ 0 w 366"/>
                  <a:gd name="T119" fmla="*/ 0 h 313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366"/>
                  <a:gd name="T181" fmla="*/ 0 h 313"/>
                  <a:gd name="T182" fmla="*/ 366 w 366"/>
                  <a:gd name="T183" fmla="*/ 313 h 313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366" h="313">
                    <a:moveTo>
                      <a:pt x="53" y="13"/>
                    </a:moveTo>
                    <a:lnTo>
                      <a:pt x="42" y="52"/>
                    </a:lnTo>
                    <a:lnTo>
                      <a:pt x="31" y="89"/>
                    </a:lnTo>
                    <a:lnTo>
                      <a:pt x="23" y="125"/>
                    </a:lnTo>
                    <a:lnTo>
                      <a:pt x="16" y="161"/>
                    </a:lnTo>
                    <a:lnTo>
                      <a:pt x="10" y="195"/>
                    </a:lnTo>
                    <a:lnTo>
                      <a:pt x="5" y="228"/>
                    </a:lnTo>
                    <a:lnTo>
                      <a:pt x="2" y="262"/>
                    </a:lnTo>
                    <a:lnTo>
                      <a:pt x="1" y="295"/>
                    </a:lnTo>
                    <a:lnTo>
                      <a:pt x="0" y="313"/>
                    </a:lnTo>
                    <a:lnTo>
                      <a:pt x="343" y="313"/>
                    </a:lnTo>
                    <a:lnTo>
                      <a:pt x="342" y="295"/>
                    </a:lnTo>
                    <a:lnTo>
                      <a:pt x="341" y="264"/>
                    </a:lnTo>
                    <a:lnTo>
                      <a:pt x="340" y="233"/>
                    </a:lnTo>
                    <a:lnTo>
                      <a:pt x="341" y="202"/>
                    </a:lnTo>
                    <a:lnTo>
                      <a:pt x="343" y="171"/>
                    </a:lnTo>
                    <a:lnTo>
                      <a:pt x="346" y="140"/>
                    </a:lnTo>
                    <a:lnTo>
                      <a:pt x="351" y="108"/>
                    </a:lnTo>
                    <a:lnTo>
                      <a:pt x="356" y="77"/>
                    </a:lnTo>
                    <a:lnTo>
                      <a:pt x="362" y="44"/>
                    </a:lnTo>
                    <a:lnTo>
                      <a:pt x="366" y="26"/>
                    </a:lnTo>
                    <a:lnTo>
                      <a:pt x="57" y="0"/>
                    </a:lnTo>
                    <a:lnTo>
                      <a:pt x="53" y="13"/>
                    </a:lnTo>
                    <a:close/>
                    <a:moveTo>
                      <a:pt x="80" y="34"/>
                    </a:moveTo>
                    <a:lnTo>
                      <a:pt x="95" y="36"/>
                    </a:lnTo>
                    <a:lnTo>
                      <a:pt x="123" y="39"/>
                    </a:lnTo>
                    <a:lnTo>
                      <a:pt x="160" y="42"/>
                    </a:lnTo>
                    <a:lnTo>
                      <a:pt x="202" y="45"/>
                    </a:lnTo>
                    <a:lnTo>
                      <a:pt x="243" y="48"/>
                    </a:lnTo>
                    <a:lnTo>
                      <a:pt x="280" y="51"/>
                    </a:lnTo>
                    <a:lnTo>
                      <a:pt x="310" y="54"/>
                    </a:lnTo>
                    <a:lnTo>
                      <a:pt x="329" y="55"/>
                    </a:lnTo>
                    <a:lnTo>
                      <a:pt x="324" y="79"/>
                    </a:lnTo>
                    <a:lnTo>
                      <a:pt x="321" y="103"/>
                    </a:lnTo>
                    <a:lnTo>
                      <a:pt x="317" y="126"/>
                    </a:lnTo>
                    <a:lnTo>
                      <a:pt x="314" y="150"/>
                    </a:lnTo>
                    <a:lnTo>
                      <a:pt x="312" y="173"/>
                    </a:lnTo>
                    <a:lnTo>
                      <a:pt x="310" y="197"/>
                    </a:lnTo>
                    <a:lnTo>
                      <a:pt x="309" y="220"/>
                    </a:lnTo>
                    <a:lnTo>
                      <a:pt x="309" y="243"/>
                    </a:lnTo>
                    <a:lnTo>
                      <a:pt x="309" y="253"/>
                    </a:lnTo>
                    <a:lnTo>
                      <a:pt x="309" y="261"/>
                    </a:lnTo>
                    <a:lnTo>
                      <a:pt x="310" y="270"/>
                    </a:lnTo>
                    <a:lnTo>
                      <a:pt x="310" y="279"/>
                    </a:lnTo>
                    <a:lnTo>
                      <a:pt x="292" y="279"/>
                    </a:lnTo>
                    <a:lnTo>
                      <a:pt x="260" y="279"/>
                    </a:lnTo>
                    <a:lnTo>
                      <a:pt x="218" y="279"/>
                    </a:lnTo>
                    <a:lnTo>
                      <a:pt x="172" y="279"/>
                    </a:lnTo>
                    <a:lnTo>
                      <a:pt x="126" y="279"/>
                    </a:lnTo>
                    <a:lnTo>
                      <a:pt x="85" y="279"/>
                    </a:lnTo>
                    <a:lnTo>
                      <a:pt x="52" y="279"/>
                    </a:lnTo>
                    <a:lnTo>
                      <a:pt x="33" y="279"/>
                    </a:lnTo>
                    <a:lnTo>
                      <a:pt x="35" y="251"/>
                    </a:lnTo>
                    <a:lnTo>
                      <a:pt x="39" y="222"/>
                    </a:lnTo>
                    <a:lnTo>
                      <a:pt x="43" y="193"/>
                    </a:lnTo>
                    <a:lnTo>
                      <a:pt x="48" y="163"/>
                    </a:lnTo>
                    <a:lnTo>
                      <a:pt x="54" y="133"/>
                    </a:lnTo>
                    <a:lnTo>
                      <a:pt x="61" y="101"/>
                    </a:lnTo>
                    <a:lnTo>
                      <a:pt x="70" y="69"/>
                    </a:lnTo>
                    <a:lnTo>
                      <a:pt x="80" y="34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83" name="Freeform 18"/>
              <p:cNvSpPr>
                <a:spLocks/>
              </p:cNvSpPr>
              <p:nvPr/>
            </p:nvSpPr>
            <p:spPr bwMode="auto">
              <a:xfrm>
                <a:off x="2993" y="1539"/>
                <a:ext cx="23" cy="19"/>
              </a:xfrm>
              <a:custGeom>
                <a:avLst/>
                <a:gdLst>
                  <a:gd name="T0" fmla="*/ 0 w 162"/>
                  <a:gd name="T1" fmla="*/ 0 h 138"/>
                  <a:gd name="T2" fmla="*/ 0 w 162"/>
                  <a:gd name="T3" fmla="*/ 0 h 138"/>
                  <a:gd name="T4" fmla="*/ 0 w 162"/>
                  <a:gd name="T5" fmla="*/ 0 h 138"/>
                  <a:gd name="T6" fmla="*/ 0 w 162"/>
                  <a:gd name="T7" fmla="*/ 0 h 138"/>
                  <a:gd name="T8" fmla="*/ 0 w 162"/>
                  <a:gd name="T9" fmla="*/ 0 h 138"/>
                  <a:gd name="T10" fmla="*/ 0 w 162"/>
                  <a:gd name="T11" fmla="*/ 0 h 138"/>
                  <a:gd name="T12" fmla="*/ 0 w 162"/>
                  <a:gd name="T13" fmla="*/ 0 h 138"/>
                  <a:gd name="T14" fmla="*/ 0 w 162"/>
                  <a:gd name="T15" fmla="*/ 0 h 138"/>
                  <a:gd name="T16" fmla="*/ 0 w 162"/>
                  <a:gd name="T17" fmla="*/ 0 h 138"/>
                  <a:gd name="T18" fmla="*/ 0 w 162"/>
                  <a:gd name="T19" fmla="*/ 0 h 138"/>
                  <a:gd name="T20" fmla="*/ 0 w 162"/>
                  <a:gd name="T21" fmla="*/ 0 h 138"/>
                  <a:gd name="T22" fmla="*/ 0 w 162"/>
                  <a:gd name="T23" fmla="*/ 0 h 138"/>
                  <a:gd name="T24" fmla="*/ 0 w 162"/>
                  <a:gd name="T25" fmla="*/ 0 h 138"/>
                  <a:gd name="T26" fmla="*/ 0 w 162"/>
                  <a:gd name="T27" fmla="*/ 0 h 138"/>
                  <a:gd name="T28" fmla="*/ 0 w 162"/>
                  <a:gd name="T29" fmla="*/ 0 h 13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62"/>
                  <a:gd name="T46" fmla="*/ 0 h 138"/>
                  <a:gd name="T47" fmla="*/ 162 w 162"/>
                  <a:gd name="T48" fmla="*/ 138 h 13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62" h="138">
                    <a:moveTo>
                      <a:pt x="0" y="138"/>
                    </a:moveTo>
                    <a:lnTo>
                      <a:pt x="152" y="138"/>
                    </a:lnTo>
                    <a:lnTo>
                      <a:pt x="151" y="121"/>
                    </a:lnTo>
                    <a:lnTo>
                      <a:pt x="151" y="105"/>
                    </a:lnTo>
                    <a:lnTo>
                      <a:pt x="151" y="89"/>
                    </a:lnTo>
                    <a:lnTo>
                      <a:pt x="152" y="74"/>
                    </a:lnTo>
                    <a:lnTo>
                      <a:pt x="157" y="43"/>
                    </a:lnTo>
                    <a:lnTo>
                      <a:pt x="162" y="12"/>
                    </a:lnTo>
                    <a:lnTo>
                      <a:pt x="24" y="0"/>
                    </a:lnTo>
                    <a:lnTo>
                      <a:pt x="15" y="33"/>
                    </a:lnTo>
                    <a:lnTo>
                      <a:pt x="7" y="67"/>
                    </a:lnTo>
                    <a:lnTo>
                      <a:pt x="5" y="84"/>
                    </a:lnTo>
                    <a:lnTo>
                      <a:pt x="2" y="102"/>
                    </a:lnTo>
                    <a:lnTo>
                      <a:pt x="1" y="119"/>
                    </a:lnTo>
                    <a:lnTo>
                      <a:pt x="0" y="138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84" name="Freeform 19"/>
              <p:cNvSpPr>
                <a:spLocks noEditPoints="1"/>
              </p:cNvSpPr>
              <p:nvPr/>
            </p:nvSpPr>
            <p:spPr bwMode="auto">
              <a:xfrm>
                <a:off x="2979" y="1406"/>
                <a:ext cx="95" cy="68"/>
              </a:xfrm>
              <a:custGeom>
                <a:avLst/>
                <a:gdLst>
                  <a:gd name="T0" fmla="*/ 0 w 664"/>
                  <a:gd name="T1" fmla="*/ 0 h 480"/>
                  <a:gd name="T2" fmla="*/ 0 w 664"/>
                  <a:gd name="T3" fmla="*/ 0 h 480"/>
                  <a:gd name="T4" fmla="*/ 0 w 664"/>
                  <a:gd name="T5" fmla="*/ 0 h 480"/>
                  <a:gd name="T6" fmla="*/ 0 w 664"/>
                  <a:gd name="T7" fmla="*/ 0 h 480"/>
                  <a:gd name="T8" fmla="*/ 0 w 664"/>
                  <a:gd name="T9" fmla="*/ 0 h 480"/>
                  <a:gd name="T10" fmla="*/ 0 w 664"/>
                  <a:gd name="T11" fmla="*/ 0 h 480"/>
                  <a:gd name="T12" fmla="*/ 0 w 664"/>
                  <a:gd name="T13" fmla="*/ 0 h 480"/>
                  <a:gd name="T14" fmla="*/ 0 w 664"/>
                  <a:gd name="T15" fmla="*/ 0 h 480"/>
                  <a:gd name="T16" fmla="*/ 0 w 664"/>
                  <a:gd name="T17" fmla="*/ 0 h 480"/>
                  <a:gd name="T18" fmla="*/ 0 w 664"/>
                  <a:gd name="T19" fmla="*/ 0 h 480"/>
                  <a:gd name="T20" fmla="*/ 0 w 664"/>
                  <a:gd name="T21" fmla="*/ 0 h 480"/>
                  <a:gd name="T22" fmla="*/ 0 w 664"/>
                  <a:gd name="T23" fmla="*/ 0 h 480"/>
                  <a:gd name="T24" fmla="*/ 0 w 664"/>
                  <a:gd name="T25" fmla="*/ 0 h 480"/>
                  <a:gd name="T26" fmla="*/ 0 w 664"/>
                  <a:gd name="T27" fmla="*/ 0 h 480"/>
                  <a:gd name="T28" fmla="*/ 0 w 664"/>
                  <a:gd name="T29" fmla="*/ 0 h 480"/>
                  <a:gd name="T30" fmla="*/ 0 w 664"/>
                  <a:gd name="T31" fmla="*/ 0 h 480"/>
                  <a:gd name="T32" fmla="*/ 0 w 664"/>
                  <a:gd name="T33" fmla="*/ 0 h 480"/>
                  <a:gd name="T34" fmla="*/ 0 w 664"/>
                  <a:gd name="T35" fmla="*/ 0 h 480"/>
                  <a:gd name="T36" fmla="*/ 0 w 664"/>
                  <a:gd name="T37" fmla="*/ 0 h 480"/>
                  <a:gd name="T38" fmla="*/ 0 w 664"/>
                  <a:gd name="T39" fmla="*/ 0 h 480"/>
                  <a:gd name="T40" fmla="*/ 0 w 664"/>
                  <a:gd name="T41" fmla="*/ 0 h 480"/>
                  <a:gd name="T42" fmla="*/ 0 w 664"/>
                  <a:gd name="T43" fmla="*/ 0 h 480"/>
                  <a:gd name="T44" fmla="*/ 0 w 664"/>
                  <a:gd name="T45" fmla="*/ 0 h 480"/>
                  <a:gd name="T46" fmla="*/ 0 w 664"/>
                  <a:gd name="T47" fmla="*/ 0 h 480"/>
                  <a:gd name="T48" fmla="*/ 0 w 664"/>
                  <a:gd name="T49" fmla="*/ 0 h 480"/>
                  <a:gd name="T50" fmla="*/ 0 w 664"/>
                  <a:gd name="T51" fmla="*/ 0 h 480"/>
                  <a:gd name="T52" fmla="*/ 0 w 664"/>
                  <a:gd name="T53" fmla="*/ 0 h 480"/>
                  <a:gd name="T54" fmla="*/ 0 w 664"/>
                  <a:gd name="T55" fmla="*/ 0 h 480"/>
                  <a:gd name="T56" fmla="*/ 0 w 664"/>
                  <a:gd name="T57" fmla="*/ 0 h 480"/>
                  <a:gd name="T58" fmla="*/ 0 w 664"/>
                  <a:gd name="T59" fmla="*/ 0 h 480"/>
                  <a:gd name="T60" fmla="*/ 0 w 664"/>
                  <a:gd name="T61" fmla="*/ 0 h 480"/>
                  <a:gd name="T62" fmla="*/ 0 w 664"/>
                  <a:gd name="T63" fmla="*/ 0 h 480"/>
                  <a:gd name="T64" fmla="*/ 0 w 664"/>
                  <a:gd name="T65" fmla="*/ 0 h 480"/>
                  <a:gd name="T66" fmla="*/ 0 w 664"/>
                  <a:gd name="T67" fmla="*/ 0 h 480"/>
                  <a:gd name="T68" fmla="*/ 0 w 664"/>
                  <a:gd name="T69" fmla="*/ 0 h 480"/>
                  <a:gd name="T70" fmla="*/ 0 w 664"/>
                  <a:gd name="T71" fmla="*/ 0 h 480"/>
                  <a:gd name="T72" fmla="*/ 0 w 664"/>
                  <a:gd name="T73" fmla="*/ 0 h 480"/>
                  <a:gd name="T74" fmla="*/ 0 w 664"/>
                  <a:gd name="T75" fmla="*/ 0 h 480"/>
                  <a:gd name="T76" fmla="*/ 0 w 664"/>
                  <a:gd name="T77" fmla="*/ 0 h 480"/>
                  <a:gd name="T78" fmla="*/ 0 w 664"/>
                  <a:gd name="T79" fmla="*/ 0 h 480"/>
                  <a:gd name="T80" fmla="*/ 0 w 664"/>
                  <a:gd name="T81" fmla="*/ 0 h 480"/>
                  <a:gd name="T82" fmla="*/ 0 w 664"/>
                  <a:gd name="T83" fmla="*/ 0 h 480"/>
                  <a:gd name="T84" fmla="*/ 0 w 664"/>
                  <a:gd name="T85" fmla="*/ 0 h 480"/>
                  <a:gd name="T86" fmla="*/ 0 w 664"/>
                  <a:gd name="T87" fmla="*/ 0 h 480"/>
                  <a:gd name="T88" fmla="*/ 0 w 664"/>
                  <a:gd name="T89" fmla="*/ 0 h 480"/>
                  <a:gd name="T90" fmla="*/ 0 w 664"/>
                  <a:gd name="T91" fmla="*/ 0 h 480"/>
                  <a:gd name="T92" fmla="*/ 0 w 664"/>
                  <a:gd name="T93" fmla="*/ 0 h 480"/>
                  <a:gd name="T94" fmla="*/ 0 w 664"/>
                  <a:gd name="T95" fmla="*/ 0 h 480"/>
                  <a:gd name="T96" fmla="*/ 0 w 664"/>
                  <a:gd name="T97" fmla="*/ 0 h 480"/>
                  <a:gd name="T98" fmla="*/ 0 w 664"/>
                  <a:gd name="T99" fmla="*/ 0 h 480"/>
                  <a:gd name="T100" fmla="*/ 0 w 664"/>
                  <a:gd name="T101" fmla="*/ 0 h 480"/>
                  <a:gd name="T102" fmla="*/ 0 w 664"/>
                  <a:gd name="T103" fmla="*/ 0 h 480"/>
                  <a:gd name="T104" fmla="*/ 0 w 664"/>
                  <a:gd name="T105" fmla="*/ 0 h 480"/>
                  <a:gd name="T106" fmla="*/ 0 w 664"/>
                  <a:gd name="T107" fmla="*/ 0 h 480"/>
                  <a:gd name="T108" fmla="*/ 0 w 664"/>
                  <a:gd name="T109" fmla="*/ 0 h 480"/>
                  <a:gd name="T110" fmla="*/ 0 w 664"/>
                  <a:gd name="T111" fmla="*/ 0 h 480"/>
                  <a:gd name="T112" fmla="*/ 0 w 664"/>
                  <a:gd name="T113" fmla="*/ 0 h 480"/>
                  <a:gd name="T114" fmla="*/ 0 w 664"/>
                  <a:gd name="T115" fmla="*/ 0 h 480"/>
                  <a:gd name="T116" fmla="*/ 0 w 664"/>
                  <a:gd name="T117" fmla="*/ 0 h 480"/>
                  <a:gd name="T118" fmla="*/ 0 w 664"/>
                  <a:gd name="T119" fmla="*/ 0 h 480"/>
                  <a:gd name="T120" fmla="*/ 0 w 664"/>
                  <a:gd name="T121" fmla="*/ 0 h 480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664"/>
                  <a:gd name="T184" fmla="*/ 0 h 480"/>
                  <a:gd name="T185" fmla="*/ 664 w 664"/>
                  <a:gd name="T186" fmla="*/ 480 h 480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664" h="480">
                    <a:moveTo>
                      <a:pt x="648" y="0"/>
                    </a:moveTo>
                    <a:lnTo>
                      <a:pt x="160" y="0"/>
                    </a:lnTo>
                    <a:lnTo>
                      <a:pt x="157" y="12"/>
                    </a:lnTo>
                    <a:lnTo>
                      <a:pt x="144" y="68"/>
                    </a:lnTo>
                    <a:lnTo>
                      <a:pt x="130" y="123"/>
                    </a:lnTo>
                    <a:lnTo>
                      <a:pt x="113" y="176"/>
                    </a:lnTo>
                    <a:lnTo>
                      <a:pt x="96" y="229"/>
                    </a:lnTo>
                    <a:lnTo>
                      <a:pt x="77" y="281"/>
                    </a:lnTo>
                    <a:lnTo>
                      <a:pt x="55" y="333"/>
                    </a:lnTo>
                    <a:lnTo>
                      <a:pt x="34" y="383"/>
                    </a:lnTo>
                    <a:lnTo>
                      <a:pt x="9" y="433"/>
                    </a:lnTo>
                    <a:lnTo>
                      <a:pt x="0" y="448"/>
                    </a:lnTo>
                    <a:lnTo>
                      <a:pt x="509" y="480"/>
                    </a:lnTo>
                    <a:lnTo>
                      <a:pt x="513" y="471"/>
                    </a:lnTo>
                    <a:lnTo>
                      <a:pt x="526" y="444"/>
                    </a:lnTo>
                    <a:lnTo>
                      <a:pt x="539" y="416"/>
                    </a:lnTo>
                    <a:lnTo>
                      <a:pt x="550" y="389"/>
                    </a:lnTo>
                    <a:lnTo>
                      <a:pt x="562" y="361"/>
                    </a:lnTo>
                    <a:lnTo>
                      <a:pt x="573" y="334"/>
                    </a:lnTo>
                    <a:lnTo>
                      <a:pt x="583" y="306"/>
                    </a:lnTo>
                    <a:lnTo>
                      <a:pt x="594" y="278"/>
                    </a:lnTo>
                    <a:lnTo>
                      <a:pt x="603" y="249"/>
                    </a:lnTo>
                    <a:lnTo>
                      <a:pt x="621" y="192"/>
                    </a:lnTo>
                    <a:lnTo>
                      <a:pt x="636" y="134"/>
                    </a:lnTo>
                    <a:lnTo>
                      <a:pt x="649" y="75"/>
                    </a:lnTo>
                    <a:lnTo>
                      <a:pt x="662" y="14"/>
                    </a:lnTo>
                    <a:lnTo>
                      <a:pt x="664" y="0"/>
                    </a:lnTo>
                    <a:lnTo>
                      <a:pt x="648" y="0"/>
                    </a:lnTo>
                    <a:close/>
                    <a:moveTo>
                      <a:pt x="628" y="27"/>
                    </a:moveTo>
                    <a:lnTo>
                      <a:pt x="616" y="83"/>
                    </a:lnTo>
                    <a:lnTo>
                      <a:pt x="604" y="138"/>
                    </a:lnTo>
                    <a:lnTo>
                      <a:pt x="588" y="192"/>
                    </a:lnTo>
                    <a:lnTo>
                      <a:pt x="573" y="246"/>
                    </a:lnTo>
                    <a:lnTo>
                      <a:pt x="554" y="298"/>
                    </a:lnTo>
                    <a:lnTo>
                      <a:pt x="535" y="350"/>
                    </a:lnTo>
                    <a:lnTo>
                      <a:pt x="513" y="402"/>
                    </a:lnTo>
                    <a:lnTo>
                      <a:pt x="489" y="452"/>
                    </a:lnTo>
                    <a:lnTo>
                      <a:pt x="466" y="450"/>
                    </a:lnTo>
                    <a:lnTo>
                      <a:pt x="415" y="447"/>
                    </a:lnTo>
                    <a:lnTo>
                      <a:pt x="347" y="443"/>
                    </a:lnTo>
                    <a:lnTo>
                      <a:pt x="269" y="439"/>
                    </a:lnTo>
                    <a:lnTo>
                      <a:pt x="192" y="435"/>
                    </a:lnTo>
                    <a:lnTo>
                      <a:pt x="121" y="431"/>
                    </a:lnTo>
                    <a:lnTo>
                      <a:pt x="69" y="428"/>
                    </a:lnTo>
                    <a:lnTo>
                      <a:pt x="41" y="426"/>
                    </a:lnTo>
                    <a:lnTo>
                      <a:pt x="64" y="378"/>
                    </a:lnTo>
                    <a:lnTo>
                      <a:pt x="84" y="330"/>
                    </a:lnTo>
                    <a:lnTo>
                      <a:pt x="104" y="282"/>
                    </a:lnTo>
                    <a:lnTo>
                      <a:pt x="122" y="232"/>
                    </a:lnTo>
                    <a:lnTo>
                      <a:pt x="139" y="182"/>
                    </a:lnTo>
                    <a:lnTo>
                      <a:pt x="154" y="131"/>
                    </a:lnTo>
                    <a:lnTo>
                      <a:pt x="168" y="79"/>
                    </a:lnTo>
                    <a:lnTo>
                      <a:pt x="181" y="25"/>
                    </a:lnTo>
                    <a:lnTo>
                      <a:pt x="205" y="26"/>
                    </a:lnTo>
                    <a:lnTo>
                      <a:pt x="256" y="26"/>
                    </a:lnTo>
                    <a:lnTo>
                      <a:pt x="325" y="26"/>
                    </a:lnTo>
                    <a:lnTo>
                      <a:pt x="401" y="26"/>
                    </a:lnTo>
                    <a:lnTo>
                      <a:pt x="480" y="27"/>
                    </a:lnTo>
                    <a:lnTo>
                      <a:pt x="549" y="27"/>
                    </a:lnTo>
                    <a:lnTo>
                      <a:pt x="601" y="27"/>
                    </a:lnTo>
                    <a:lnTo>
                      <a:pt x="628" y="27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85" name="Freeform 20"/>
              <p:cNvSpPr>
                <a:spLocks noEditPoints="1"/>
              </p:cNvSpPr>
              <p:nvPr/>
            </p:nvSpPr>
            <p:spPr bwMode="auto">
              <a:xfrm>
                <a:off x="2991" y="1414"/>
                <a:ext cx="70" cy="51"/>
              </a:xfrm>
              <a:custGeom>
                <a:avLst/>
                <a:gdLst>
                  <a:gd name="T0" fmla="*/ 0 w 494"/>
                  <a:gd name="T1" fmla="*/ 0 h 357"/>
                  <a:gd name="T2" fmla="*/ 0 w 494"/>
                  <a:gd name="T3" fmla="*/ 0 h 357"/>
                  <a:gd name="T4" fmla="*/ 0 w 494"/>
                  <a:gd name="T5" fmla="*/ 0 h 357"/>
                  <a:gd name="T6" fmla="*/ 0 w 494"/>
                  <a:gd name="T7" fmla="*/ 0 h 357"/>
                  <a:gd name="T8" fmla="*/ 0 w 494"/>
                  <a:gd name="T9" fmla="*/ 0 h 357"/>
                  <a:gd name="T10" fmla="*/ 0 w 494"/>
                  <a:gd name="T11" fmla="*/ 0 h 357"/>
                  <a:gd name="T12" fmla="*/ 0 w 494"/>
                  <a:gd name="T13" fmla="*/ 0 h 357"/>
                  <a:gd name="T14" fmla="*/ 0 w 494"/>
                  <a:gd name="T15" fmla="*/ 0 h 357"/>
                  <a:gd name="T16" fmla="*/ 0 w 494"/>
                  <a:gd name="T17" fmla="*/ 0 h 357"/>
                  <a:gd name="T18" fmla="*/ 0 w 494"/>
                  <a:gd name="T19" fmla="*/ 0 h 357"/>
                  <a:gd name="T20" fmla="*/ 0 w 494"/>
                  <a:gd name="T21" fmla="*/ 0 h 357"/>
                  <a:gd name="T22" fmla="*/ 0 w 494"/>
                  <a:gd name="T23" fmla="*/ 0 h 357"/>
                  <a:gd name="T24" fmla="*/ 0 w 494"/>
                  <a:gd name="T25" fmla="*/ 0 h 357"/>
                  <a:gd name="T26" fmla="*/ 0 w 494"/>
                  <a:gd name="T27" fmla="*/ 0 h 357"/>
                  <a:gd name="T28" fmla="*/ 0 w 494"/>
                  <a:gd name="T29" fmla="*/ 0 h 357"/>
                  <a:gd name="T30" fmla="*/ 0 w 494"/>
                  <a:gd name="T31" fmla="*/ 0 h 357"/>
                  <a:gd name="T32" fmla="*/ 0 w 494"/>
                  <a:gd name="T33" fmla="*/ 0 h 357"/>
                  <a:gd name="T34" fmla="*/ 0 w 494"/>
                  <a:gd name="T35" fmla="*/ 0 h 357"/>
                  <a:gd name="T36" fmla="*/ 0 w 494"/>
                  <a:gd name="T37" fmla="*/ 0 h 357"/>
                  <a:gd name="T38" fmla="*/ 0 w 494"/>
                  <a:gd name="T39" fmla="*/ 0 h 357"/>
                  <a:gd name="T40" fmla="*/ 0 w 494"/>
                  <a:gd name="T41" fmla="*/ 0 h 357"/>
                  <a:gd name="T42" fmla="*/ 0 w 494"/>
                  <a:gd name="T43" fmla="*/ 0 h 357"/>
                  <a:gd name="T44" fmla="*/ 0 w 494"/>
                  <a:gd name="T45" fmla="*/ 0 h 357"/>
                  <a:gd name="T46" fmla="*/ 0 w 494"/>
                  <a:gd name="T47" fmla="*/ 0 h 357"/>
                  <a:gd name="T48" fmla="*/ 0 w 494"/>
                  <a:gd name="T49" fmla="*/ 0 h 357"/>
                  <a:gd name="T50" fmla="*/ 0 w 494"/>
                  <a:gd name="T51" fmla="*/ 0 h 357"/>
                  <a:gd name="T52" fmla="*/ 0 w 494"/>
                  <a:gd name="T53" fmla="*/ 0 h 357"/>
                  <a:gd name="T54" fmla="*/ 0 w 494"/>
                  <a:gd name="T55" fmla="*/ 0 h 357"/>
                  <a:gd name="T56" fmla="*/ 0 w 494"/>
                  <a:gd name="T57" fmla="*/ 0 h 357"/>
                  <a:gd name="T58" fmla="*/ 0 w 494"/>
                  <a:gd name="T59" fmla="*/ 0 h 357"/>
                  <a:gd name="T60" fmla="*/ 0 w 494"/>
                  <a:gd name="T61" fmla="*/ 0 h 357"/>
                  <a:gd name="T62" fmla="*/ 0 w 494"/>
                  <a:gd name="T63" fmla="*/ 0 h 357"/>
                  <a:gd name="T64" fmla="*/ 0 w 494"/>
                  <a:gd name="T65" fmla="*/ 0 h 357"/>
                  <a:gd name="T66" fmla="*/ 0 w 494"/>
                  <a:gd name="T67" fmla="*/ 0 h 357"/>
                  <a:gd name="T68" fmla="*/ 0 w 494"/>
                  <a:gd name="T69" fmla="*/ 0 h 357"/>
                  <a:gd name="T70" fmla="*/ 0 w 494"/>
                  <a:gd name="T71" fmla="*/ 0 h 357"/>
                  <a:gd name="T72" fmla="*/ 0 w 494"/>
                  <a:gd name="T73" fmla="*/ 0 h 357"/>
                  <a:gd name="T74" fmla="*/ 0 w 494"/>
                  <a:gd name="T75" fmla="*/ 0 h 357"/>
                  <a:gd name="T76" fmla="*/ 0 w 494"/>
                  <a:gd name="T77" fmla="*/ 0 h 357"/>
                  <a:gd name="T78" fmla="*/ 0 w 494"/>
                  <a:gd name="T79" fmla="*/ 0 h 357"/>
                  <a:gd name="T80" fmla="*/ 0 w 494"/>
                  <a:gd name="T81" fmla="*/ 0 h 357"/>
                  <a:gd name="T82" fmla="*/ 0 w 494"/>
                  <a:gd name="T83" fmla="*/ 0 h 357"/>
                  <a:gd name="T84" fmla="*/ 0 w 494"/>
                  <a:gd name="T85" fmla="*/ 0 h 357"/>
                  <a:gd name="T86" fmla="*/ 0 w 494"/>
                  <a:gd name="T87" fmla="*/ 0 h 357"/>
                  <a:gd name="T88" fmla="*/ 0 w 494"/>
                  <a:gd name="T89" fmla="*/ 0 h 357"/>
                  <a:gd name="T90" fmla="*/ 0 w 494"/>
                  <a:gd name="T91" fmla="*/ 0 h 357"/>
                  <a:gd name="T92" fmla="*/ 0 w 494"/>
                  <a:gd name="T93" fmla="*/ 0 h 357"/>
                  <a:gd name="T94" fmla="*/ 0 w 494"/>
                  <a:gd name="T95" fmla="*/ 0 h 357"/>
                  <a:gd name="T96" fmla="*/ 0 w 494"/>
                  <a:gd name="T97" fmla="*/ 0 h 357"/>
                  <a:gd name="T98" fmla="*/ 0 w 494"/>
                  <a:gd name="T99" fmla="*/ 0 h 357"/>
                  <a:gd name="T100" fmla="*/ 0 w 494"/>
                  <a:gd name="T101" fmla="*/ 0 h 357"/>
                  <a:gd name="T102" fmla="*/ 0 w 494"/>
                  <a:gd name="T103" fmla="*/ 0 h 357"/>
                  <a:gd name="T104" fmla="*/ 0 w 494"/>
                  <a:gd name="T105" fmla="*/ 0 h 357"/>
                  <a:gd name="T106" fmla="*/ 0 w 494"/>
                  <a:gd name="T107" fmla="*/ 0 h 357"/>
                  <a:gd name="T108" fmla="*/ 0 w 494"/>
                  <a:gd name="T109" fmla="*/ 0 h 357"/>
                  <a:gd name="T110" fmla="*/ 0 w 494"/>
                  <a:gd name="T111" fmla="*/ 0 h 357"/>
                  <a:gd name="T112" fmla="*/ 0 w 494"/>
                  <a:gd name="T113" fmla="*/ 0 h 357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494"/>
                  <a:gd name="T172" fmla="*/ 0 h 357"/>
                  <a:gd name="T173" fmla="*/ 494 w 494"/>
                  <a:gd name="T174" fmla="*/ 357 h 357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494" h="357">
                    <a:moveTo>
                      <a:pt x="479" y="3"/>
                    </a:moveTo>
                    <a:lnTo>
                      <a:pt x="120" y="0"/>
                    </a:lnTo>
                    <a:lnTo>
                      <a:pt x="117" y="12"/>
                    </a:lnTo>
                    <a:lnTo>
                      <a:pt x="108" y="52"/>
                    </a:lnTo>
                    <a:lnTo>
                      <a:pt x="97" y="93"/>
                    </a:lnTo>
                    <a:lnTo>
                      <a:pt x="86" y="132"/>
                    </a:lnTo>
                    <a:lnTo>
                      <a:pt x="72" y="170"/>
                    </a:lnTo>
                    <a:lnTo>
                      <a:pt x="58" y="208"/>
                    </a:lnTo>
                    <a:lnTo>
                      <a:pt x="42" y="246"/>
                    </a:lnTo>
                    <a:lnTo>
                      <a:pt x="26" y="283"/>
                    </a:lnTo>
                    <a:lnTo>
                      <a:pt x="8" y="320"/>
                    </a:lnTo>
                    <a:lnTo>
                      <a:pt x="0" y="337"/>
                    </a:lnTo>
                    <a:lnTo>
                      <a:pt x="379" y="357"/>
                    </a:lnTo>
                    <a:lnTo>
                      <a:pt x="383" y="347"/>
                    </a:lnTo>
                    <a:lnTo>
                      <a:pt x="402" y="308"/>
                    </a:lnTo>
                    <a:lnTo>
                      <a:pt x="420" y="267"/>
                    </a:lnTo>
                    <a:lnTo>
                      <a:pt x="434" y="227"/>
                    </a:lnTo>
                    <a:lnTo>
                      <a:pt x="449" y="187"/>
                    </a:lnTo>
                    <a:lnTo>
                      <a:pt x="461" y="145"/>
                    </a:lnTo>
                    <a:lnTo>
                      <a:pt x="472" y="103"/>
                    </a:lnTo>
                    <a:lnTo>
                      <a:pt x="483" y="61"/>
                    </a:lnTo>
                    <a:lnTo>
                      <a:pt x="491" y="16"/>
                    </a:lnTo>
                    <a:lnTo>
                      <a:pt x="494" y="3"/>
                    </a:lnTo>
                    <a:lnTo>
                      <a:pt x="479" y="3"/>
                    </a:lnTo>
                    <a:close/>
                    <a:moveTo>
                      <a:pt x="458" y="29"/>
                    </a:moveTo>
                    <a:lnTo>
                      <a:pt x="450" y="69"/>
                    </a:lnTo>
                    <a:lnTo>
                      <a:pt x="440" y="107"/>
                    </a:lnTo>
                    <a:lnTo>
                      <a:pt x="430" y="145"/>
                    </a:lnTo>
                    <a:lnTo>
                      <a:pt x="419" y="183"/>
                    </a:lnTo>
                    <a:lnTo>
                      <a:pt x="405" y="220"/>
                    </a:lnTo>
                    <a:lnTo>
                      <a:pt x="392" y="257"/>
                    </a:lnTo>
                    <a:lnTo>
                      <a:pt x="377" y="293"/>
                    </a:lnTo>
                    <a:lnTo>
                      <a:pt x="361" y="328"/>
                    </a:lnTo>
                    <a:lnTo>
                      <a:pt x="342" y="327"/>
                    </a:lnTo>
                    <a:lnTo>
                      <a:pt x="306" y="326"/>
                    </a:lnTo>
                    <a:lnTo>
                      <a:pt x="258" y="323"/>
                    </a:lnTo>
                    <a:lnTo>
                      <a:pt x="204" y="321"/>
                    </a:lnTo>
                    <a:lnTo>
                      <a:pt x="149" y="318"/>
                    </a:lnTo>
                    <a:lnTo>
                      <a:pt x="100" y="316"/>
                    </a:lnTo>
                    <a:lnTo>
                      <a:pt x="62" y="314"/>
                    </a:lnTo>
                    <a:lnTo>
                      <a:pt x="40" y="312"/>
                    </a:lnTo>
                    <a:lnTo>
                      <a:pt x="56" y="278"/>
                    </a:lnTo>
                    <a:lnTo>
                      <a:pt x="71" y="244"/>
                    </a:lnTo>
                    <a:lnTo>
                      <a:pt x="86" y="208"/>
                    </a:lnTo>
                    <a:lnTo>
                      <a:pt x="98" y="173"/>
                    </a:lnTo>
                    <a:lnTo>
                      <a:pt x="111" y="137"/>
                    </a:lnTo>
                    <a:lnTo>
                      <a:pt x="122" y="101"/>
                    </a:lnTo>
                    <a:lnTo>
                      <a:pt x="132" y="64"/>
                    </a:lnTo>
                    <a:lnTo>
                      <a:pt x="141" y="25"/>
                    </a:lnTo>
                    <a:lnTo>
                      <a:pt x="159" y="26"/>
                    </a:lnTo>
                    <a:lnTo>
                      <a:pt x="195" y="26"/>
                    </a:lnTo>
                    <a:lnTo>
                      <a:pt x="243" y="26"/>
                    </a:lnTo>
                    <a:lnTo>
                      <a:pt x="297" y="27"/>
                    </a:lnTo>
                    <a:lnTo>
                      <a:pt x="350" y="28"/>
                    </a:lnTo>
                    <a:lnTo>
                      <a:pt x="399" y="28"/>
                    </a:lnTo>
                    <a:lnTo>
                      <a:pt x="437" y="29"/>
                    </a:lnTo>
                    <a:lnTo>
                      <a:pt x="458" y="29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86" name="Freeform 21"/>
              <p:cNvSpPr>
                <a:spLocks noEditPoints="1"/>
              </p:cNvSpPr>
              <p:nvPr/>
            </p:nvSpPr>
            <p:spPr bwMode="auto">
              <a:xfrm>
                <a:off x="3002" y="1422"/>
                <a:ext cx="47" cy="34"/>
              </a:xfrm>
              <a:custGeom>
                <a:avLst/>
                <a:gdLst>
                  <a:gd name="T0" fmla="*/ 0 w 328"/>
                  <a:gd name="T1" fmla="*/ 0 h 238"/>
                  <a:gd name="T2" fmla="*/ 0 w 328"/>
                  <a:gd name="T3" fmla="*/ 0 h 238"/>
                  <a:gd name="T4" fmla="*/ 0 w 328"/>
                  <a:gd name="T5" fmla="*/ 0 h 238"/>
                  <a:gd name="T6" fmla="*/ 0 w 328"/>
                  <a:gd name="T7" fmla="*/ 0 h 238"/>
                  <a:gd name="T8" fmla="*/ 0 w 328"/>
                  <a:gd name="T9" fmla="*/ 0 h 238"/>
                  <a:gd name="T10" fmla="*/ 0 w 328"/>
                  <a:gd name="T11" fmla="*/ 0 h 238"/>
                  <a:gd name="T12" fmla="*/ 0 w 328"/>
                  <a:gd name="T13" fmla="*/ 0 h 238"/>
                  <a:gd name="T14" fmla="*/ 0 w 328"/>
                  <a:gd name="T15" fmla="*/ 0 h 238"/>
                  <a:gd name="T16" fmla="*/ 0 w 328"/>
                  <a:gd name="T17" fmla="*/ 0 h 238"/>
                  <a:gd name="T18" fmla="*/ 0 w 328"/>
                  <a:gd name="T19" fmla="*/ 0 h 238"/>
                  <a:gd name="T20" fmla="*/ 0 w 328"/>
                  <a:gd name="T21" fmla="*/ 0 h 238"/>
                  <a:gd name="T22" fmla="*/ 0 w 328"/>
                  <a:gd name="T23" fmla="*/ 0 h 238"/>
                  <a:gd name="T24" fmla="*/ 0 w 328"/>
                  <a:gd name="T25" fmla="*/ 0 h 238"/>
                  <a:gd name="T26" fmla="*/ 0 w 328"/>
                  <a:gd name="T27" fmla="*/ 0 h 238"/>
                  <a:gd name="T28" fmla="*/ 0 w 328"/>
                  <a:gd name="T29" fmla="*/ 0 h 238"/>
                  <a:gd name="T30" fmla="*/ 0 w 328"/>
                  <a:gd name="T31" fmla="*/ 0 h 238"/>
                  <a:gd name="T32" fmla="*/ 0 w 328"/>
                  <a:gd name="T33" fmla="*/ 0 h 238"/>
                  <a:gd name="T34" fmla="*/ 0 w 328"/>
                  <a:gd name="T35" fmla="*/ 0 h 238"/>
                  <a:gd name="T36" fmla="*/ 0 w 328"/>
                  <a:gd name="T37" fmla="*/ 0 h 238"/>
                  <a:gd name="T38" fmla="*/ 0 w 328"/>
                  <a:gd name="T39" fmla="*/ 0 h 238"/>
                  <a:gd name="T40" fmla="*/ 0 w 328"/>
                  <a:gd name="T41" fmla="*/ 0 h 238"/>
                  <a:gd name="T42" fmla="*/ 0 w 328"/>
                  <a:gd name="T43" fmla="*/ 0 h 238"/>
                  <a:gd name="T44" fmla="*/ 0 w 328"/>
                  <a:gd name="T45" fmla="*/ 0 h 238"/>
                  <a:gd name="T46" fmla="*/ 0 w 328"/>
                  <a:gd name="T47" fmla="*/ 0 h 238"/>
                  <a:gd name="T48" fmla="*/ 0 w 328"/>
                  <a:gd name="T49" fmla="*/ 0 h 238"/>
                  <a:gd name="T50" fmla="*/ 0 w 328"/>
                  <a:gd name="T51" fmla="*/ 0 h 238"/>
                  <a:gd name="T52" fmla="*/ 0 w 328"/>
                  <a:gd name="T53" fmla="*/ 0 h 238"/>
                  <a:gd name="T54" fmla="*/ 0 w 328"/>
                  <a:gd name="T55" fmla="*/ 0 h 238"/>
                  <a:gd name="T56" fmla="*/ 0 w 328"/>
                  <a:gd name="T57" fmla="*/ 0 h 238"/>
                  <a:gd name="T58" fmla="*/ 0 w 328"/>
                  <a:gd name="T59" fmla="*/ 0 h 238"/>
                  <a:gd name="T60" fmla="*/ 0 w 328"/>
                  <a:gd name="T61" fmla="*/ 0 h 238"/>
                  <a:gd name="T62" fmla="*/ 0 w 328"/>
                  <a:gd name="T63" fmla="*/ 0 h 238"/>
                  <a:gd name="T64" fmla="*/ 0 w 328"/>
                  <a:gd name="T65" fmla="*/ 0 h 238"/>
                  <a:gd name="T66" fmla="*/ 0 w 328"/>
                  <a:gd name="T67" fmla="*/ 0 h 238"/>
                  <a:gd name="T68" fmla="*/ 0 w 328"/>
                  <a:gd name="T69" fmla="*/ 0 h 238"/>
                  <a:gd name="T70" fmla="*/ 0 w 328"/>
                  <a:gd name="T71" fmla="*/ 0 h 238"/>
                  <a:gd name="T72" fmla="*/ 0 w 328"/>
                  <a:gd name="T73" fmla="*/ 0 h 238"/>
                  <a:gd name="T74" fmla="*/ 0 w 328"/>
                  <a:gd name="T75" fmla="*/ 0 h 238"/>
                  <a:gd name="T76" fmla="*/ 0 w 328"/>
                  <a:gd name="T77" fmla="*/ 0 h 238"/>
                  <a:gd name="T78" fmla="*/ 0 w 328"/>
                  <a:gd name="T79" fmla="*/ 0 h 238"/>
                  <a:gd name="T80" fmla="*/ 0 w 328"/>
                  <a:gd name="T81" fmla="*/ 0 h 238"/>
                  <a:gd name="T82" fmla="*/ 0 w 328"/>
                  <a:gd name="T83" fmla="*/ 0 h 238"/>
                  <a:gd name="T84" fmla="*/ 0 w 328"/>
                  <a:gd name="T85" fmla="*/ 0 h 238"/>
                  <a:gd name="T86" fmla="*/ 0 w 328"/>
                  <a:gd name="T87" fmla="*/ 0 h 238"/>
                  <a:gd name="T88" fmla="*/ 0 w 328"/>
                  <a:gd name="T89" fmla="*/ 0 h 238"/>
                  <a:gd name="T90" fmla="*/ 0 w 328"/>
                  <a:gd name="T91" fmla="*/ 0 h 238"/>
                  <a:gd name="T92" fmla="*/ 0 w 328"/>
                  <a:gd name="T93" fmla="*/ 0 h 238"/>
                  <a:gd name="T94" fmla="*/ 0 w 328"/>
                  <a:gd name="T95" fmla="*/ 0 h 238"/>
                  <a:gd name="T96" fmla="*/ 0 w 328"/>
                  <a:gd name="T97" fmla="*/ 0 h 238"/>
                  <a:gd name="T98" fmla="*/ 0 w 328"/>
                  <a:gd name="T99" fmla="*/ 0 h 238"/>
                  <a:gd name="T100" fmla="*/ 0 w 328"/>
                  <a:gd name="T101" fmla="*/ 0 h 238"/>
                  <a:gd name="T102" fmla="*/ 0 w 328"/>
                  <a:gd name="T103" fmla="*/ 0 h 238"/>
                  <a:gd name="T104" fmla="*/ 0 w 328"/>
                  <a:gd name="T105" fmla="*/ 0 h 238"/>
                  <a:gd name="T106" fmla="*/ 0 w 328"/>
                  <a:gd name="T107" fmla="*/ 0 h 238"/>
                  <a:gd name="T108" fmla="*/ 0 w 328"/>
                  <a:gd name="T109" fmla="*/ 0 h 238"/>
                  <a:gd name="T110" fmla="*/ 0 w 328"/>
                  <a:gd name="T111" fmla="*/ 0 h 238"/>
                  <a:gd name="T112" fmla="*/ 0 w 328"/>
                  <a:gd name="T113" fmla="*/ 0 h 238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28"/>
                  <a:gd name="T172" fmla="*/ 0 h 238"/>
                  <a:gd name="T173" fmla="*/ 328 w 328"/>
                  <a:gd name="T174" fmla="*/ 238 h 238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28" h="238">
                    <a:moveTo>
                      <a:pt x="314" y="4"/>
                    </a:moveTo>
                    <a:lnTo>
                      <a:pt x="80" y="0"/>
                    </a:lnTo>
                    <a:lnTo>
                      <a:pt x="78" y="12"/>
                    </a:lnTo>
                    <a:lnTo>
                      <a:pt x="72" y="39"/>
                    </a:lnTo>
                    <a:lnTo>
                      <a:pt x="65" y="63"/>
                    </a:lnTo>
                    <a:lnTo>
                      <a:pt x="57" y="89"/>
                    </a:lnTo>
                    <a:lnTo>
                      <a:pt x="49" y="114"/>
                    </a:lnTo>
                    <a:lnTo>
                      <a:pt x="40" y="138"/>
                    </a:lnTo>
                    <a:lnTo>
                      <a:pt x="31" y="162"/>
                    </a:lnTo>
                    <a:lnTo>
                      <a:pt x="19" y="186"/>
                    </a:lnTo>
                    <a:lnTo>
                      <a:pt x="8" y="209"/>
                    </a:lnTo>
                    <a:lnTo>
                      <a:pt x="0" y="226"/>
                    </a:lnTo>
                    <a:lnTo>
                      <a:pt x="254" y="238"/>
                    </a:lnTo>
                    <a:lnTo>
                      <a:pt x="258" y="229"/>
                    </a:lnTo>
                    <a:lnTo>
                      <a:pt x="269" y="203"/>
                    </a:lnTo>
                    <a:lnTo>
                      <a:pt x="281" y="177"/>
                    </a:lnTo>
                    <a:lnTo>
                      <a:pt x="290" y="152"/>
                    </a:lnTo>
                    <a:lnTo>
                      <a:pt x="299" y="126"/>
                    </a:lnTo>
                    <a:lnTo>
                      <a:pt x="307" y="100"/>
                    </a:lnTo>
                    <a:lnTo>
                      <a:pt x="314" y="73"/>
                    </a:lnTo>
                    <a:lnTo>
                      <a:pt x="321" y="46"/>
                    </a:lnTo>
                    <a:lnTo>
                      <a:pt x="326" y="18"/>
                    </a:lnTo>
                    <a:lnTo>
                      <a:pt x="328" y="4"/>
                    </a:lnTo>
                    <a:lnTo>
                      <a:pt x="314" y="4"/>
                    </a:lnTo>
                    <a:close/>
                    <a:moveTo>
                      <a:pt x="293" y="30"/>
                    </a:moveTo>
                    <a:lnTo>
                      <a:pt x="288" y="54"/>
                    </a:lnTo>
                    <a:lnTo>
                      <a:pt x="283" y="77"/>
                    </a:lnTo>
                    <a:lnTo>
                      <a:pt x="277" y="100"/>
                    </a:lnTo>
                    <a:lnTo>
                      <a:pt x="269" y="122"/>
                    </a:lnTo>
                    <a:lnTo>
                      <a:pt x="262" y="144"/>
                    </a:lnTo>
                    <a:lnTo>
                      <a:pt x="254" y="167"/>
                    </a:lnTo>
                    <a:lnTo>
                      <a:pt x="245" y="189"/>
                    </a:lnTo>
                    <a:lnTo>
                      <a:pt x="235" y="210"/>
                    </a:lnTo>
                    <a:lnTo>
                      <a:pt x="222" y="209"/>
                    </a:lnTo>
                    <a:lnTo>
                      <a:pt x="200" y="208"/>
                    </a:lnTo>
                    <a:lnTo>
                      <a:pt x="172" y="207"/>
                    </a:lnTo>
                    <a:lnTo>
                      <a:pt x="141" y="206"/>
                    </a:lnTo>
                    <a:lnTo>
                      <a:pt x="109" y="205"/>
                    </a:lnTo>
                    <a:lnTo>
                      <a:pt x="80" y="203"/>
                    </a:lnTo>
                    <a:lnTo>
                      <a:pt x="55" y="202"/>
                    </a:lnTo>
                    <a:lnTo>
                      <a:pt x="40" y="202"/>
                    </a:lnTo>
                    <a:lnTo>
                      <a:pt x="50" y="181"/>
                    </a:lnTo>
                    <a:lnTo>
                      <a:pt x="60" y="160"/>
                    </a:lnTo>
                    <a:lnTo>
                      <a:pt x="68" y="138"/>
                    </a:lnTo>
                    <a:lnTo>
                      <a:pt x="76" y="116"/>
                    </a:lnTo>
                    <a:lnTo>
                      <a:pt x="83" y="95"/>
                    </a:lnTo>
                    <a:lnTo>
                      <a:pt x="91" y="72"/>
                    </a:lnTo>
                    <a:lnTo>
                      <a:pt x="97" y="50"/>
                    </a:lnTo>
                    <a:lnTo>
                      <a:pt x="102" y="26"/>
                    </a:lnTo>
                    <a:lnTo>
                      <a:pt x="115" y="26"/>
                    </a:lnTo>
                    <a:lnTo>
                      <a:pt x="137" y="27"/>
                    </a:lnTo>
                    <a:lnTo>
                      <a:pt x="164" y="27"/>
                    </a:lnTo>
                    <a:lnTo>
                      <a:pt x="195" y="28"/>
                    </a:lnTo>
                    <a:lnTo>
                      <a:pt x="227" y="29"/>
                    </a:lnTo>
                    <a:lnTo>
                      <a:pt x="255" y="29"/>
                    </a:lnTo>
                    <a:lnTo>
                      <a:pt x="279" y="30"/>
                    </a:lnTo>
                    <a:lnTo>
                      <a:pt x="293" y="30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87" name="Freeform 22"/>
              <p:cNvSpPr>
                <a:spLocks/>
              </p:cNvSpPr>
              <p:nvPr/>
            </p:nvSpPr>
            <p:spPr bwMode="auto">
              <a:xfrm>
                <a:off x="3015" y="1432"/>
                <a:ext cx="21" cy="15"/>
              </a:xfrm>
              <a:custGeom>
                <a:avLst/>
                <a:gdLst>
                  <a:gd name="T0" fmla="*/ 0 w 144"/>
                  <a:gd name="T1" fmla="*/ 0 h 104"/>
                  <a:gd name="T2" fmla="*/ 0 w 144"/>
                  <a:gd name="T3" fmla="*/ 0 h 104"/>
                  <a:gd name="T4" fmla="*/ 0 w 144"/>
                  <a:gd name="T5" fmla="*/ 0 h 104"/>
                  <a:gd name="T6" fmla="*/ 0 w 144"/>
                  <a:gd name="T7" fmla="*/ 0 h 104"/>
                  <a:gd name="T8" fmla="*/ 0 w 144"/>
                  <a:gd name="T9" fmla="*/ 0 h 104"/>
                  <a:gd name="T10" fmla="*/ 0 w 144"/>
                  <a:gd name="T11" fmla="*/ 0 h 104"/>
                  <a:gd name="T12" fmla="*/ 0 w 144"/>
                  <a:gd name="T13" fmla="*/ 0 h 104"/>
                  <a:gd name="T14" fmla="*/ 0 w 144"/>
                  <a:gd name="T15" fmla="*/ 0 h 104"/>
                  <a:gd name="T16" fmla="*/ 0 w 144"/>
                  <a:gd name="T17" fmla="*/ 0 h 104"/>
                  <a:gd name="T18" fmla="*/ 0 w 144"/>
                  <a:gd name="T19" fmla="*/ 0 h 104"/>
                  <a:gd name="T20" fmla="*/ 0 w 144"/>
                  <a:gd name="T21" fmla="*/ 0 h 104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44"/>
                  <a:gd name="T34" fmla="*/ 0 h 104"/>
                  <a:gd name="T35" fmla="*/ 144 w 144"/>
                  <a:gd name="T36" fmla="*/ 104 h 104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44" h="104">
                    <a:moveTo>
                      <a:pt x="36" y="0"/>
                    </a:moveTo>
                    <a:lnTo>
                      <a:pt x="30" y="24"/>
                    </a:lnTo>
                    <a:lnTo>
                      <a:pt x="21" y="49"/>
                    </a:lnTo>
                    <a:lnTo>
                      <a:pt x="12" y="74"/>
                    </a:lnTo>
                    <a:lnTo>
                      <a:pt x="0" y="100"/>
                    </a:lnTo>
                    <a:lnTo>
                      <a:pt x="111" y="104"/>
                    </a:lnTo>
                    <a:lnTo>
                      <a:pt x="123" y="78"/>
                    </a:lnTo>
                    <a:lnTo>
                      <a:pt x="132" y="52"/>
                    </a:lnTo>
                    <a:lnTo>
                      <a:pt x="139" y="26"/>
                    </a:lnTo>
                    <a:lnTo>
                      <a:pt x="144" y="2"/>
                    </a:lnTo>
                    <a:lnTo>
                      <a:pt x="36" y="0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88" name="Freeform 23"/>
              <p:cNvSpPr>
                <a:spLocks noEditPoints="1"/>
              </p:cNvSpPr>
              <p:nvPr/>
            </p:nvSpPr>
            <p:spPr bwMode="auto">
              <a:xfrm>
                <a:off x="3035" y="1323"/>
                <a:ext cx="55" cy="41"/>
              </a:xfrm>
              <a:custGeom>
                <a:avLst/>
                <a:gdLst>
                  <a:gd name="T0" fmla="*/ 0 w 385"/>
                  <a:gd name="T1" fmla="*/ 0 h 284"/>
                  <a:gd name="T2" fmla="*/ 0 w 385"/>
                  <a:gd name="T3" fmla="*/ 0 h 284"/>
                  <a:gd name="T4" fmla="*/ 0 w 385"/>
                  <a:gd name="T5" fmla="*/ 0 h 284"/>
                  <a:gd name="T6" fmla="*/ 0 w 385"/>
                  <a:gd name="T7" fmla="*/ 0 h 284"/>
                  <a:gd name="T8" fmla="*/ 0 w 385"/>
                  <a:gd name="T9" fmla="*/ 0 h 284"/>
                  <a:gd name="T10" fmla="*/ 0 w 385"/>
                  <a:gd name="T11" fmla="*/ 0 h 284"/>
                  <a:gd name="T12" fmla="*/ 0 w 385"/>
                  <a:gd name="T13" fmla="*/ 0 h 284"/>
                  <a:gd name="T14" fmla="*/ 0 w 385"/>
                  <a:gd name="T15" fmla="*/ 0 h 284"/>
                  <a:gd name="T16" fmla="*/ 0 w 385"/>
                  <a:gd name="T17" fmla="*/ 0 h 284"/>
                  <a:gd name="T18" fmla="*/ 0 w 385"/>
                  <a:gd name="T19" fmla="*/ 0 h 284"/>
                  <a:gd name="T20" fmla="*/ 0 w 385"/>
                  <a:gd name="T21" fmla="*/ 0 h 284"/>
                  <a:gd name="T22" fmla="*/ 0 w 385"/>
                  <a:gd name="T23" fmla="*/ 0 h 284"/>
                  <a:gd name="T24" fmla="*/ 0 w 385"/>
                  <a:gd name="T25" fmla="*/ 0 h 284"/>
                  <a:gd name="T26" fmla="*/ 0 w 385"/>
                  <a:gd name="T27" fmla="*/ 0 h 284"/>
                  <a:gd name="T28" fmla="*/ 0 w 385"/>
                  <a:gd name="T29" fmla="*/ 0 h 284"/>
                  <a:gd name="T30" fmla="*/ 0 w 385"/>
                  <a:gd name="T31" fmla="*/ 0 h 284"/>
                  <a:gd name="T32" fmla="*/ 0 w 385"/>
                  <a:gd name="T33" fmla="*/ 0 h 284"/>
                  <a:gd name="T34" fmla="*/ 0 w 385"/>
                  <a:gd name="T35" fmla="*/ 0 h 284"/>
                  <a:gd name="T36" fmla="*/ 0 w 385"/>
                  <a:gd name="T37" fmla="*/ 0 h 284"/>
                  <a:gd name="T38" fmla="*/ 0 w 385"/>
                  <a:gd name="T39" fmla="*/ 0 h 284"/>
                  <a:gd name="T40" fmla="*/ 0 w 385"/>
                  <a:gd name="T41" fmla="*/ 0 h 284"/>
                  <a:gd name="T42" fmla="*/ 0 w 385"/>
                  <a:gd name="T43" fmla="*/ 0 h 284"/>
                  <a:gd name="T44" fmla="*/ 0 w 385"/>
                  <a:gd name="T45" fmla="*/ 0 h 284"/>
                  <a:gd name="T46" fmla="*/ 0 w 385"/>
                  <a:gd name="T47" fmla="*/ 0 h 284"/>
                  <a:gd name="T48" fmla="*/ 0 w 385"/>
                  <a:gd name="T49" fmla="*/ 0 h 284"/>
                  <a:gd name="T50" fmla="*/ 0 w 385"/>
                  <a:gd name="T51" fmla="*/ 0 h 284"/>
                  <a:gd name="T52" fmla="*/ 0 w 385"/>
                  <a:gd name="T53" fmla="*/ 0 h 284"/>
                  <a:gd name="T54" fmla="*/ 0 w 385"/>
                  <a:gd name="T55" fmla="*/ 0 h 284"/>
                  <a:gd name="T56" fmla="*/ 0 w 385"/>
                  <a:gd name="T57" fmla="*/ 0 h 284"/>
                  <a:gd name="T58" fmla="*/ 0 w 385"/>
                  <a:gd name="T59" fmla="*/ 0 h 284"/>
                  <a:gd name="T60" fmla="*/ 0 w 385"/>
                  <a:gd name="T61" fmla="*/ 0 h 284"/>
                  <a:gd name="T62" fmla="*/ 0 w 385"/>
                  <a:gd name="T63" fmla="*/ 0 h 284"/>
                  <a:gd name="T64" fmla="*/ 0 w 385"/>
                  <a:gd name="T65" fmla="*/ 0 h 284"/>
                  <a:gd name="T66" fmla="*/ 0 w 385"/>
                  <a:gd name="T67" fmla="*/ 0 h 284"/>
                  <a:gd name="T68" fmla="*/ 0 w 385"/>
                  <a:gd name="T69" fmla="*/ 0 h 284"/>
                  <a:gd name="T70" fmla="*/ 0 w 385"/>
                  <a:gd name="T71" fmla="*/ 0 h 284"/>
                  <a:gd name="T72" fmla="*/ 0 w 385"/>
                  <a:gd name="T73" fmla="*/ 0 h 284"/>
                  <a:gd name="T74" fmla="*/ 0 w 385"/>
                  <a:gd name="T75" fmla="*/ 0 h 284"/>
                  <a:gd name="T76" fmla="*/ 0 w 385"/>
                  <a:gd name="T77" fmla="*/ 0 h 284"/>
                  <a:gd name="T78" fmla="*/ 0 w 385"/>
                  <a:gd name="T79" fmla="*/ 0 h 284"/>
                  <a:gd name="T80" fmla="*/ 0 w 385"/>
                  <a:gd name="T81" fmla="*/ 0 h 284"/>
                  <a:gd name="T82" fmla="*/ 0 w 385"/>
                  <a:gd name="T83" fmla="*/ 0 h 284"/>
                  <a:gd name="T84" fmla="*/ 0 w 385"/>
                  <a:gd name="T85" fmla="*/ 0 h 284"/>
                  <a:gd name="T86" fmla="*/ 0 w 385"/>
                  <a:gd name="T87" fmla="*/ 0 h 284"/>
                  <a:gd name="T88" fmla="*/ 0 w 385"/>
                  <a:gd name="T89" fmla="*/ 0 h 284"/>
                  <a:gd name="T90" fmla="*/ 0 w 385"/>
                  <a:gd name="T91" fmla="*/ 0 h 284"/>
                  <a:gd name="T92" fmla="*/ 0 w 385"/>
                  <a:gd name="T93" fmla="*/ 0 h 284"/>
                  <a:gd name="T94" fmla="*/ 0 w 385"/>
                  <a:gd name="T95" fmla="*/ 0 h 284"/>
                  <a:gd name="T96" fmla="*/ 0 w 385"/>
                  <a:gd name="T97" fmla="*/ 0 h 284"/>
                  <a:gd name="T98" fmla="*/ 0 w 385"/>
                  <a:gd name="T99" fmla="*/ 0 h 284"/>
                  <a:gd name="T100" fmla="*/ 0 w 385"/>
                  <a:gd name="T101" fmla="*/ 0 h 284"/>
                  <a:gd name="T102" fmla="*/ 0 w 385"/>
                  <a:gd name="T103" fmla="*/ 0 h 284"/>
                  <a:gd name="T104" fmla="*/ 0 w 385"/>
                  <a:gd name="T105" fmla="*/ 0 h 284"/>
                  <a:gd name="T106" fmla="*/ 0 w 385"/>
                  <a:gd name="T107" fmla="*/ 0 h 284"/>
                  <a:gd name="T108" fmla="*/ 0 w 385"/>
                  <a:gd name="T109" fmla="*/ 0 h 284"/>
                  <a:gd name="T110" fmla="*/ 0 w 385"/>
                  <a:gd name="T111" fmla="*/ 0 h 284"/>
                  <a:gd name="T112" fmla="*/ 0 w 385"/>
                  <a:gd name="T113" fmla="*/ 0 h 284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85"/>
                  <a:gd name="T172" fmla="*/ 0 h 284"/>
                  <a:gd name="T173" fmla="*/ 385 w 385"/>
                  <a:gd name="T174" fmla="*/ 284 h 284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85" h="284">
                    <a:moveTo>
                      <a:pt x="373" y="19"/>
                    </a:moveTo>
                    <a:lnTo>
                      <a:pt x="53" y="0"/>
                    </a:lnTo>
                    <a:lnTo>
                      <a:pt x="51" y="13"/>
                    </a:lnTo>
                    <a:lnTo>
                      <a:pt x="45" y="41"/>
                    </a:lnTo>
                    <a:lnTo>
                      <a:pt x="40" y="69"/>
                    </a:lnTo>
                    <a:lnTo>
                      <a:pt x="35" y="99"/>
                    </a:lnTo>
                    <a:lnTo>
                      <a:pt x="30" y="128"/>
                    </a:lnTo>
                    <a:lnTo>
                      <a:pt x="24" y="158"/>
                    </a:lnTo>
                    <a:lnTo>
                      <a:pt x="18" y="189"/>
                    </a:lnTo>
                    <a:lnTo>
                      <a:pt x="10" y="219"/>
                    </a:lnTo>
                    <a:lnTo>
                      <a:pt x="3" y="250"/>
                    </a:lnTo>
                    <a:lnTo>
                      <a:pt x="0" y="263"/>
                    </a:lnTo>
                    <a:lnTo>
                      <a:pt x="341" y="284"/>
                    </a:lnTo>
                    <a:lnTo>
                      <a:pt x="344" y="270"/>
                    </a:lnTo>
                    <a:lnTo>
                      <a:pt x="350" y="239"/>
                    </a:lnTo>
                    <a:lnTo>
                      <a:pt x="357" y="208"/>
                    </a:lnTo>
                    <a:lnTo>
                      <a:pt x="362" y="177"/>
                    </a:lnTo>
                    <a:lnTo>
                      <a:pt x="367" y="146"/>
                    </a:lnTo>
                    <a:lnTo>
                      <a:pt x="371" y="116"/>
                    </a:lnTo>
                    <a:lnTo>
                      <a:pt x="375" y="87"/>
                    </a:lnTo>
                    <a:lnTo>
                      <a:pt x="379" y="58"/>
                    </a:lnTo>
                    <a:lnTo>
                      <a:pt x="383" y="32"/>
                    </a:lnTo>
                    <a:lnTo>
                      <a:pt x="385" y="19"/>
                    </a:lnTo>
                    <a:lnTo>
                      <a:pt x="373" y="19"/>
                    </a:lnTo>
                    <a:close/>
                    <a:moveTo>
                      <a:pt x="353" y="44"/>
                    </a:moveTo>
                    <a:lnTo>
                      <a:pt x="350" y="69"/>
                    </a:lnTo>
                    <a:lnTo>
                      <a:pt x="347" y="95"/>
                    </a:lnTo>
                    <a:lnTo>
                      <a:pt x="343" y="120"/>
                    </a:lnTo>
                    <a:lnTo>
                      <a:pt x="339" y="146"/>
                    </a:lnTo>
                    <a:lnTo>
                      <a:pt x="334" y="173"/>
                    </a:lnTo>
                    <a:lnTo>
                      <a:pt x="330" y="201"/>
                    </a:lnTo>
                    <a:lnTo>
                      <a:pt x="324" y="228"/>
                    </a:lnTo>
                    <a:lnTo>
                      <a:pt x="319" y="256"/>
                    </a:lnTo>
                    <a:lnTo>
                      <a:pt x="301" y="255"/>
                    </a:lnTo>
                    <a:lnTo>
                      <a:pt x="267" y="253"/>
                    </a:lnTo>
                    <a:lnTo>
                      <a:pt x="224" y="250"/>
                    </a:lnTo>
                    <a:lnTo>
                      <a:pt x="176" y="247"/>
                    </a:lnTo>
                    <a:lnTo>
                      <a:pt x="127" y="245"/>
                    </a:lnTo>
                    <a:lnTo>
                      <a:pt x="85" y="241"/>
                    </a:lnTo>
                    <a:lnTo>
                      <a:pt x="52" y="239"/>
                    </a:lnTo>
                    <a:lnTo>
                      <a:pt x="33" y="238"/>
                    </a:lnTo>
                    <a:lnTo>
                      <a:pt x="39" y="211"/>
                    </a:lnTo>
                    <a:lnTo>
                      <a:pt x="45" y="184"/>
                    </a:lnTo>
                    <a:lnTo>
                      <a:pt x="52" y="157"/>
                    </a:lnTo>
                    <a:lnTo>
                      <a:pt x="57" y="130"/>
                    </a:lnTo>
                    <a:lnTo>
                      <a:pt x="62" y="104"/>
                    </a:lnTo>
                    <a:lnTo>
                      <a:pt x="67" y="77"/>
                    </a:lnTo>
                    <a:lnTo>
                      <a:pt x="71" y="52"/>
                    </a:lnTo>
                    <a:lnTo>
                      <a:pt x="75" y="27"/>
                    </a:lnTo>
                    <a:lnTo>
                      <a:pt x="94" y="28"/>
                    </a:lnTo>
                    <a:lnTo>
                      <a:pt x="126" y="31"/>
                    </a:lnTo>
                    <a:lnTo>
                      <a:pt x="168" y="33"/>
                    </a:lnTo>
                    <a:lnTo>
                      <a:pt x="216" y="36"/>
                    </a:lnTo>
                    <a:lnTo>
                      <a:pt x="262" y="39"/>
                    </a:lnTo>
                    <a:lnTo>
                      <a:pt x="305" y="41"/>
                    </a:lnTo>
                    <a:lnTo>
                      <a:pt x="337" y="43"/>
                    </a:lnTo>
                    <a:lnTo>
                      <a:pt x="353" y="44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89" name="Freeform 24"/>
              <p:cNvSpPr>
                <a:spLocks noEditPoints="1"/>
              </p:cNvSpPr>
              <p:nvPr/>
            </p:nvSpPr>
            <p:spPr bwMode="auto">
              <a:xfrm>
                <a:off x="3047" y="1332"/>
                <a:ext cx="31" cy="23"/>
              </a:xfrm>
              <a:custGeom>
                <a:avLst/>
                <a:gdLst>
                  <a:gd name="T0" fmla="*/ 0 w 219"/>
                  <a:gd name="T1" fmla="*/ 0 h 164"/>
                  <a:gd name="T2" fmla="*/ 0 w 219"/>
                  <a:gd name="T3" fmla="*/ 0 h 164"/>
                  <a:gd name="T4" fmla="*/ 0 w 219"/>
                  <a:gd name="T5" fmla="*/ 0 h 164"/>
                  <a:gd name="T6" fmla="*/ 0 w 219"/>
                  <a:gd name="T7" fmla="*/ 0 h 164"/>
                  <a:gd name="T8" fmla="*/ 0 w 219"/>
                  <a:gd name="T9" fmla="*/ 0 h 164"/>
                  <a:gd name="T10" fmla="*/ 0 w 219"/>
                  <a:gd name="T11" fmla="*/ 0 h 164"/>
                  <a:gd name="T12" fmla="*/ 0 w 219"/>
                  <a:gd name="T13" fmla="*/ 0 h 164"/>
                  <a:gd name="T14" fmla="*/ 0 w 219"/>
                  <a:gd name="T15" fmla="*/ 0 h 164"/>
                  <a:gd name="T16" fmla="*/ 0 w 219"/>
                  <a:gd name="T17" fmla="*/ 0 h 164"/>
                  <a:gd name="T18" fmla="*/ 0 w 219"/>
                  <a:gd name="T19" fmla="*/ 0 h 164"/>
                  <a:gd name="T20" fmla="*/ 0 w 219"/>
                  <a:gd name="T21" fmla="*/ 0 h 164"/>
                  <a:gd name="T22" fmla="*/ 0 w 219"/>
                  <a:gd name="T23" fmla="*/ 0 h 164"/>
                  <a:gd name="T24" fmla="*/ 0 w 219"/>
                  <a:gd name="T25" fmla="*/ 0 h 164"/>
                  <a:gd name="T26" fmla="*/ 0 w 219"/>
                  <a:gd name="T27" fmla="*/ 0 h 164"/>
                  <a:gd name="T28" fmla="*/ 0 w 219"/>
                  <a:gd name="T29" fmla="*/ 0 h 164"/>
                  <a:gd name="T30" fmla="*/ 0 w 219"/>
                  <a:gd name="T31" fmla="*/ 0 h 164"/>
                  <a:gd name="T32" fmla="*/ 0 w 219"/>
                  <a:gd name="T33" fmla="*/ 0 h 164"/>
                  <a:gd name="T34" fmla="*/ 0 w 219"/>
                  <a:gd name="T35" fmla="*/ 0 h 164"/>
                  <a:gd name="T36" fmla="*/ 0 w 219"/>
                  <a:gd name="T37" fmla="*/ 0 h 164"/>
                  <a:gd name="T38" fmla="*/ 0 w 219"/>
                  <a:gd name="T39" fmla="*/ 0 h 164"/>
                  <a:gd name="T40" fmla="*/ 0 w 219"/>
                  <a:gd name="T41" fmla="*/ 0 h 164"/>
                  <a:gd name="T42" fmla="*/ 0 w 219"/>
                  <a:gd name="T43" fmla="*/ 0 h 164"/>
                  <a:gd name="T44" fmla="*/ 0 w 219"/>
                  <a:gd name="T45" fmla="*/ 0 h 164"/>
                  <a:gd name="T46" fmla="*/ 0 w 219"/>
                  <a:gd name="T47" fmla="*/ 0 h 16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219"/>
                  <a:gd name="T73" fmla="*/ 0 h 164"/>
                  <a:gd name="T74" fmla="*/ 219 w 219"/>
                  <a:gd name="T75" fmla="*/ 164 h 164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219" h="164">
                    <a:moveTo>
                      <a:pt x="205" y="12"/>
                    </a:moveTo>
                    <a:lnTo>
                      <a:pt x="30" y="0"/>
                    </a:lnTo>
                    <a:lnTo>
                      <a:pt x="0" y="152"/>
                    </a:lnTo>
                    <a:lnTo>
                      <a:pt x="12" y="154"/>
                    </a:lnTo>
                    <a:lnTo>
                      <a:pt x="193" y="164"/>
                    </a:lnTo>
                    <a:lnTo>
                      <a:pt x="219" y="12"/>
                    </a:lnTo>
                    <a:lnTo>
                      <a:pt x="205" y="12"/>
                    </a:lnTo>
                    <a:close/>
                    <a:moveTo>
                      <a:pt x="187" y="37"/>
                    </a:moveTo>
                    <a:lnTo>
                      <a:pt x="184" y="56"/>
                    </a:lnTo>
                    <a:lnTo>
                      <a:pt x="179" y="85"/>
                    </a:lnTo>
                    <a:lnTo>
                      <a:pt x="173" y="115"/>
                    </a:lnTo>
                    <a:lnTo>
                      <a:pt x="170" y="136"/>
                    </a:lnTo>
                    <a:lnTo>
                      <a:pt x="142" y="135"/>
                    </a:lnTo>
                    <a:lnTo>
                      <a:pt x="100" y="132"/>
                    </a:lnTo>
                    <a:lnTo>
                      <a:pt x="59" y="130"/>
                    </a:lnTo>
                    <a:lnTo>
                      <a:pt x="32" y="128"/>
                    </a:lnTo>
                    <a:lnTo>
                      <a:pt x="36" y="107"/>
                    </a:lnTo>
                    <a:lnTo>
                      <a:pt x="42" y="79"/>
                    </a:lnTo>
                    <a:lnTo>
                      <a:pt x="47" y="50"/>
                    </a:lnTo>
                    <a:lnTo>
                      <a:pt x="51" y="28"/>
                    </a:lnTo>
                    <a:lnTo>
                      <a:pt x="79" y="30"/>
                    </a:lnTo>
                    <a:lnTo>
                      <a:pt x="120" y="33"/>
                    </a:lnTo>
                    <a:lnTo>
                      <a:pt x="160" y="36"/>
                    </a:lnTo>
                    <a:lnTo>
                      <a:pt x="187" y="37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90" name="Freeform 25"/>
              <p:cNvSpPr>
                <a:spLocks/>
              </p:cNvSpPr>
              <p:nvPr/>
            </p:nvSpPr>
            <p:spPr bwMode="auto">
              <a:xfrm>
                <a:off x="3057" y="1339"/>
                <a:ext cx="12" cy="9"/>
              </a:xfrm>
              <a:custGeom>
                <a:avLst/>
                <a:gdLst>
                  <a:gd name="T0" fmla="*/ 0 w 89"/>
                  <a:gd name="T1" fmla="*/ 0 h 65"/>
                  <a:gd name="T2" fmla="*/ 0 w 89"/>
                  <a:gd name="T3" fmla="*/ 0 h 65"/>
                  <a:gd name="T4" fmla="*/ 0 w 89"/>
                  <a:gd name="T5" fmla="*/ 0 h 65"/>
                  <a:gd name="T6" fmla="*/ 0 w 89"/>
                  <a:gd name="T7" fmla="*/ 0 h 65"/>
                  <a:gd name="T8" fmla="*/ 0 w 89"/>
                  <a:gd name="T9" fmla="*/ 0 h 65"/>
                  <a:gd name="T10" fmla="*/ 0 w 89"/>
                  <a:gd name="T11" fmla="*/ 0 h 65"/>
                  <a:gd name="T12" fmla="*/ 0 w 89"/>
                  <a:gd name="T13" fmla="*/ 0 h 65"/>
                  <a:gd name="T14" fmla="*/ 0 w 89"/>
                  <a:gd name="T15" fmla="*/ 0 h 65"/>
                  <a:gd name="T16" fmla="*/ 0 w 89"/>
                  <a:gd name="T17" fmla="*/ 0 h 65"/>
                  <a:gd name="T18" fmla="*/ 0 w 89"/>
                  <a:gd name="T19" fmla="*/ 0 h 65"/>
                  <a:gd name="T20" fmla="*/ 0 w 89"/>
                  <a:gd name="T21" fmla="*/ 0 h 6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89"/>
                  <a:gd name="T34" fmla="*/ 0 h 65"/>
                  <a:gd name="T35" fmla="*/ 89 w 89"/>
                  <a:gd name="T36" fmla="*/ 65 h 6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89" h="65">
                    <a:moveTo>
                      <a:pt x="11" y="0"/>
                    </a:moveTo>
                    <a:lnTo>
                      <a:pt x="9" y="16"/>
                    </a:lnTo>
                    <a:lnTo>
                      <a:pt x="6" y="30"/>
                    </a:lnTo>
                    <a:lnTo>
                      <a:pt x="3" y="46"/>
                    </a:lnTo>
                    <a:lnTo>
                      <a:pt x="0" y="60"/>
                    </a:lnTo>
                    <a:lnTo>
                      <a:pt x="78" y="65"/>
                    </a:lnTo>
                    <a:lnTo>
                      <a:pt x="82" y="50"/>
                    </a:lnTo>
                    <a:lnTo>
                      <a:pt x="85" y="35"/>
                    </a:lnTo>
                    <a:lnTo>
                      <a:pt x="87" y="20"/>
                    </a:lnTo>
                    <a:lnTo>
                      <a:pt x="89" y="5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91" name="Freeform 26"/>
              <p:cNvSpPr>
                <a:spLocks noEditPoints="1"/>
              </p:cNvSpPr>
              <p:nvPr/>
            </p:nvSpPr>
            <p:spPr bwMode="auto">
              <a:xfrm>
                <a:off x="3024" y="1315"/>
                <a:ext cx="76" cy="56"/>
              </a:xfrm>
              <a:custGeom>
                <a:avLst/>
                <a:gdLst>
                  <a:gd name="T0" fmla="*/ 0 w 532"/>
                  <a:gd name="T1" fmla="*/ 0 h 391"/>
                  <a:gd name="T2" fmla="*/ 0 w 532"/>
                  <a:gd name="T3" fmla="*/ 0 h 391"/>
                  <a:gd name="T4" fmla="*/ 0 w 532"/>
                  <a:gd name="T5" fmla="*/ 0 h 391"/>
                  <a:gd name="T6" fmla="*/ 0 w 532"/>
                  <a:gd name="T7" fmla="*/ 0 h 391"/>
                  <a:gd name="T8" fmla="*/ 0 w 532"/>
                  <a:gd name="T9" fmla="*/ 0 h 391"/>
                  <a:gd name="T10" fmla="*/ 0 w 532"/>
                  <a:gd name="T11" fmla="*/ 0 h 391"/>
                  <a:gd name="T12" fmla="*/ 0 w 532"/>
                  <a:gd name="T13" fmla="*/ 0 h 391"/>
                  <a:gd name="T14" fmla="*/ 0 w 532"/>
                  <a:gd name="T15" fmla="*/ 0 h 391"/>
                  <a:gd name="T16" fmla="*/ 0 w 532"/>
                  <a:gd name="T17" fmla="*/ 0 h 391"/>
                  <a:gd name="T18" fmla="*/ 0 w 532"/>
                  <a:gd name="T19" fmla="*/ 0 h 391"/>
                  <a:gd name="T20" fmla="*/ 0 w 532"/>
                  <a:gd name="T21" fmla="*/ 0 h 391"/>
                  <a:gd name="T22" fmla="*/ 0 w 532"/>
                  <a:gd name="T23" fmla="*/ 0 h 391"/>
                  <a:gd name="T24" fmla="*/ 0 w 532"/>
                  <a:gd name="T25" fmla="*/ 0 h 391"/>
                  <a:gd name="T26" fmla="*/ 0 w 532"/>
                  <a:gd name="T27" fmla="*/ 0 h 391"/>
                  <a:gd name="T28" fmla="*/ 0 w 532"/>
                  <a:gd name="T29" fmla="*/ 0 h 391"/>
                  <a:gd name="T30" fmla="*/ 0 w 532"/>
                  <a:gd name="T31" fmla="*/ 0 h 391"/>
                  <a:gd name="T32" fmla="*/ 0 w 532"/>
                  <a:gd name="T33" fmla="*/ 0 h 391"/>
                  <a:gd name="T34" fmla="*/ 0 w 532"/>
                  <a:gd name="T35" fmla="*/ 0 h 391"/>
                  <a:gd name="T36" fmla="*/ 0 w 532"/>
                  <a:gd name="T37" fmla="*/ 0 h 391"/>
                  <a:gd name="T38" fmla="*/ 0 w 532"/>
                  <a:gd name="T39" fmla="*/ 0 h 391"/>
                  <a:gd name="T40" fmla="*/ 0 w 532"/>
                  <a:gd name="T41" fmla="*/ 0 h 391"/>
                  <a:gd name="T42" fmla="*/ 0 w 532"/>
                  <a:gd name="T43" fmla="*/ 0 h 391"/>
                  <a:gd name="T44" fmla="*/ 0 w 532"/>
                  <a:gd name="T45" fmla="*/ 0 h 391"/>
                  <a:gd name="T46" fmla="*/ 0 w 532"/>
                  <a:gd name="T47" fmla="*/ 0 h 391"/>
                  <a:gd name="T48" fmla="*/ 0 w 532"/>
                  <a:gd name="T49" fmla="*/ 0 h 391"/>
                  <a:gd name="T50" fmla="*/ 0 w 532"/>
                  <a:gd name="T51" fmla="*/ 0 h 391"/>
                  <a:gd name="T52" fmla="*/ 0 w 532"/>
                  <a:gd name="T53" fmla="*/ 0 h 391"/>
                  <a:gd name="T54" fmla="*/ 0 w 532"/>
                  <a:gd name="T55" fmla="*/ 0 h 391"/>
                  <a:gd name="T56" fmla="*/ 0 w 532"/>
                  <a:gd name="T57" fmla="*/ 0 h 391"/>
                  <a:gd name="T58" fmla="*/ 0 w 532"/>
                  <a:gd name="T59" fmla="*/ 0 h 391"/>
                  <a:gd name="T60" fmla="*/ 0 w 532"/>
                  <a:gd name="T61" fmla="*/ 0 h 391"/>
                  <a:gd name="T62" fmla="*/ 0 w 532"/>
                  <a:gd name="T63" fmla="*/ 0 h 391"/>
                  <a:gd name="T64" fmla="*/ 0 w 532"/>
                  <a:gd name="T65" fmla="*/ 0 h 391"/>
                  <a:gd name="T66" fmla="*/ 0 w 532"/>
                  <a:gd name="T67" fmla="*/ 0 h 391"/>
                  <a:gd name="T68" fmla="*/ 0 w 532"/>
                  <a:gd name="T69" fmla="*/ 0 h 391"/>
                  <a:gd name="T70" fmla="*/ 0 w 532"/>
                  <a:gd name="T71" fmla="*/ 0 h 391"/>
                  <a:gd name="T72" fmla="*/ 0 w 532"/>
                  <a:gd name="T73" fmla="*/ 0 h 391"/>
                  <a:gd name="T74" fmla="*/ 0 w 532"/>
                  <a:gd name="T75" fmla="*/ 0 h 391"/>
                  <a:gd name="T76" fmla="*/ 0 w 532"/>
                  <a:gd name="T77" fmla="*/ 0 h 391"/>
                  <a:gd name="T78" fmla="*/ 0 w 532"/>
                  <a:gd name="T79" fmla="*/ 0 h 391"/>
                  <a:gd name="T80" fmla="*/ 0 w 532"/>
                  <a:gd name="T81" fmla="*/ 0 h 391"/>
                  <a:gd name="T82" fmla="*/ 0 w 532"/>
                  <a:gd name="T83" fmla="*/ 0 h 391"/>
                  <a:gd name="T84" fmla="*/ 0 w 532"/>
                  <a:gd name="T85" fmla="*/ 0 h 391"/>
                  <a:gd name="T86" fmla="*/ 0 w 532"/>
                  <a:gd name="T87" fmla="*/ 0 h 391"/>
                  <a:gd name="T88" fmla="*/ 0 w 532"/>
                  <a:gd name="T89" fmla="*/ 0 h 391"/>
                  <a:gd name="T90" fmla="*/ 0 w 532"/>
                  <a:gd name="T91" fmla="*/ 0 h 391"/>
                  <a:gd name="T92" fmla="*/ 0 w 532"/>
                  <a:gd name="T93" fmla="*/ 0 h 391"/>
                  <a:gd name="T94" fmla="*/ 0 w 532"/>
                  <a:gd name="T95" fmla="*/ 0 h 391"/>
                  <a:gd name="T96" fmla="*/ 0 w 532"/>
                  <a:gd name="T97" fmla="*/ 0 h 391"/>
                  <a:gd name="T98" fmla="*/ 0 w 532"/>
                  <a:gd name="T99" fmla="*/ 0 h 391"/>
                  <a:gd name="T100" fmla="*/ 0 w 532"/>
                  <a:gd name="T101" fmla="*/ 0 h 391"/>
                  <a:gd name="T102" fmla="*/ 0 w 532"/>
                  <a:gd name="T103" fmla="*/ 0 h 391"/>
                  <a:gd name="T104" fmla="*/ 0 w 532"/>
                  <a:gd name="T105" fmla="*/ 0 h 391"/>
                  <a:gd name="T106" fmla="*/ 0 w 532"/>
                  <a:gd name="T107" fmla="*/ 0 h 391"/>
                  <a:gd name="T108" fmla="*/ 0 w 532"/>
                  <a:gd name="T109" fmla="*/ 0 h 391"/>
                  <a:gd name="T110" fmla="*/ 0 w 532"/>
                  <a:gd name="T111" fmla="*/ 0 h 391"/>
                  <a:gd name="T112" fmla="*/ 0 w 532"/>
                  <a:gd name="T113" fmla="*/ 0 h 391"/>
                  <a:gd name="T114" fmla="*/ 0 w 532"/>
                  <a:gd name="T115" fmla="*/ 0 h 391"/>
                  <a:gd name="T116" fmla="*/ 0 w 532"/>
                  <a:gd name="T117" fmla="*/ 0 h 391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532"/>
                  <a:gd name="T178" fmla="*/ 0 h 391"/>
                  <a:gd name="T179" fmla="*/ 532 w 532"/>
                  <a:gd name="T180" fmla="*/ 391 h 391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532" h="391">
                    <a:moveTo>
                      <a:pt x="519" y="27"/>
                    </a:moveTo>
                    <a:lnTo>
                      <a:pt x="73" y="0"/>
                    </a:lnTo>
                    <a:lnTo>
                      <a:pt x="70" y="14"/>
                    </a:lnTo>
                    <a:lnTo>
                      <a:pt x="64" y="52"/>
                    </a:lnTo>
                    <a:lnTo>
                      <a:pt x="56" y="93"/>
                    </a:lnTo>
                    <a:lnTo>
                      <a:pt x="48" y="134"/>
                    </a:lnTo>
                    <a:lnTo>
                      <a:pt x="41" y="177"/>
                    </a:lnTo>
                    <a:lnTo>
                      <a:pt x="32" y="219"/>
                    </a:lnTo>
                    <a:lnTo>
                      <a:pt x="22" y="262"/>
                    </a:lnTo>
                    <a:lnTo>
                      <a:pt x="13" y="306"/>
                    </a:lnTo>
                    <a:lnTo>
                      <a:pt x="3" y="349"/>
                    </a:lnTo>
                    <a:lnTo>
                      <a:pt x="0" y="363"/>
                    </a:lnTo>
                    <a:lnTo>
                      <a:pt x="472" y="391"/>
                    </a:lnTo>
                    <a:lnTo>
                      <a:pt x="474" y="377"/>
                    </a:lnTo>
                    <a:lnTo>
                      <a:pt x="482" y="338"/>
                    </a:lnTo>
                    <a:lnTo>
                      <a:pt x="490" y="298"/>
                    </a:lnTo>
                    <a:lnTo>
                      <a:pt x="498" y="257"/>
                    </a:lnTo>
                    <a:lnTo>
                      <a:pt x="505" y="216"/>
                    </a:lnTo>
                    <a:lnTo>
                      <a:pt x="511" y="174"/>
                    </a:lnTo>
                    <a:lnTo>
                      <a:pt x="517" y="131"/>
                    </a:lnTo>
                    <a:lnTo>
                      <a:pt x="523" y="86"/>
                    </a:lnTo>
                    <a:lnTo>
                      <a:pt x="531" y="39"/>
                    </a:lnTo>
                    <a:lnTo>
                      <a:pt x="532" y="28"/>
                    </a:lnTo>
                    <a:lnTo>
                      <a:pt x="519" y="27"/>
                    </a:lnTo>
                    <a:close/>
                    <a:moveTo>
                      <a:pt x="501" y="52"/>
                    </a:moveTo>
                    <a:lnTo>
                      <a:pt x="495" y="95"/>
                    </a:lnTo>
                    <a:lnTo>
                      <a:pt x="489" y="136"/>
                    </a:lnTo>
                    <a:lnTo>
                      <a:pt x="483" y="176"/>
                    </a:lnTo>
                    <a:lnTo>
                      <a:pt x="477" y="215"/>
                    </a:lnTo>
                    <a:lnTo>
                      <a:pt x="471" y="252"/>
                    </a:lnTo>
                    <a:lnTo>
                      <a:pt x="464" y="290"/>
                    </a:lnTo>
                    <a:lnTo>
                      <a:pt x="457" y="326"/>
                    </a:lnTo>
                    <a:lnTo>
                      <a:pt x="449" y="363"/>
                    </a:lnTo>
                    <a:lnTo>
                      <a:pt x="425" y="362"/>
                    </a:lnTo>
                    <a:lnTo>
                      <a:pt x="377" y="359"/>
                    </a:lnTo>
                    <a:lnTo>
                      <a:pt x="313" y="355"/>
                    </a:lnTo>
                    <a:lnTo>
                      <a:pt x="241" y="350"/>
                    </a:lnTo>
                    <a:lnTo>
                      <a:pt x="169" y="346"/>
                    </a:lnTo>
                    <a:lnTo>
                      <a:pt x="105" y="342"/>
                    </a:lnTo>
                    <a:lnTo>
                      <a:pt x="57" y="340"/>
                    </a:lnTo>
                    <a:lnTo>
                      <a:pt x="33" y="338"/>
                    </a:lnTo>
                    <a:lnTo>
                      <a:pt x="34" y="336"/>
                    </a:lnTo>
                    <a:lnTo>
                      <a:pt x="35" y="333"/>
                    </a:lnTo>
                    <a:lnTo>
                      <a:pt x="44" y="293"/>
                    </a:lnTo>
                    <a:lnTo>
                      <a:pt x="52" y="254"/>
                    </a:lnTo>
                    <a:lnTo>
                      <a:pt x="61" y="215"/>
                    </a:lnTo>
                    <a:lnTo>
                      <a:pt x="68" y="176"/>
                    </a:lnTo>
                    <a:lnTo>
                      <a:pt x="75" y="137"/>
                    </a:lnTo>
                    <a:lnTo>
                      <a:pt x="82" y="100"/>
                    </a:lnTo>
                    <a:lnTo>
                      <a:pt x="88" y="64"/>
                    </a:lnTo>
                    <a:lnTo>
                      <a:pt x="96" y="28"/>
                    </a:lnTo>
                    <a:lnTo>
                      <a:pt x="119" y="30"/>
                    </a:lnTo>
                    <a:lnTo>
                      <a:pt x="166" y="32"/>
                    </a:lnTo>
                    <a:lnTo>
                      <a:pt x="229" y="36"/>
                    </a:lnTo>
                    <a:lnTo>
                      <a:pt x="299" y="40"/>
                    </a:lnTo>
                    <a:lnTo>
                      <a:pt x="370" y="44"/>
                    </a:lnTo>
                    <a:lnTo>
                      <a:pt x="432" y="48"/>
                    </a:lnTo>
                    <a:lnTo>
                      <a:pt x="478" y="51"/>
                    </a:lnTo>
                    <a:lnTo>
                      <a:pt x="501" y="52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92" name="Freeform 27"/>
              <p:cNvSpPr>
                <a:spLocks/>
              </p:cNvSpPr>
              <p:nvPr/>
            </p:nvSpPr>
            <p:spPr bwMode="auto">
              <a:xfrm>
                <a:off x="3058" y="1251"/>
                <a:ext cx="39" cy="33"/>
              </a:xfrm>
              <a:custGeom>
                <a:avLst/>
                <a:gdLst>
                  <a:gd name="T0" fmla="*/ 0 w 270"/>
                  <a:gd name="T1" fmla="*/ 0 h 232"/>
                  <a:gd name="T2" fmla="*/ 0 w 270"/>
                  <a:gd name="T3" fmla="*/ 0 h 232"/>
                  <a:gd name="T4" fmla="*/ 0 w 270"/>
                  <a:gd name="T5" fmla="*/ 0 h 232"/>
                  <a:gd name="T6" fmla="*/ 0 w 270"/>
                  <a:gd name="T7" fmla="*/ 0 h 232"/>
                  <a:gd name="T8" fmla="*/ 0 w 270"/>
                  <a:gd name="T9" fmla="*/ 0 h 23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70"/>
                  <a:gd name="T16" fmla="*/ 0 h 232"/>
                  <a:gd name="T17" fmla="*/ 270 w 270"/>
                  <a:gd name="T18" fmla="*/ 232 h 23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70" h="232">
                    <a:moveTo>
                      <a:pt x="136" y="232"/>
                    </a:moveTo>
                    <a:lnTo>
                      <a:pt x="0" y="116"/>
                    </a:lnTo>
                    <a:lnTo>
                      <a:pt x="136" y="0"/>
                    </a:lnTo>
                    <a:lnTo>
                      <a:pt x="270" y="116"/>
                    </a:lnTo>
                    <a:lnTo>
                      <a:pt x="136" y="232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93" name="Freeform 28"/>
              <p:cNvSpPr>
                <a:spLocks/>
              </p:cNvSpPr>
              <p:nvPr/>
            </p:nvSpPr>
            <p:spPr bwMode="auto">
              <a:xfrm>
                <a:off x="3065" y="1213"/>
                <a:ext cx="25" cy="22"/>
              </a:xfrm>
              <a:custGeom>
                <a:avLst/>
                <a:gdLst>
                  <a:gd name="T0" fmla="*/ 0 w 172"/>
                  <a:gd name="T1" fmla="*/ 0 h 148"/>
                  <a:gd name="T2" fmla="*/ 0 w 172"/>
                  <a:gd name="T3" fmla="*/ 0 h 148"/>
                  <a:gd name="T4" fmla="*/ 0 w 172"/>
                  <a:gd name="T5" fmla="*/ 0 h 148"/>
                  <a:gd name="T6" fmla="*/ 0 w 172"/>
                  <a:gd name="T7" fmla="*/ 0 h 148"/>
                  <a:gd name="T8" fmla="*/ 0 w 172"/>
                  <a:gd name="T9" fmla="*/ 0 h 1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2"/>
                  <a:gd name="T16" fmla="*/ 0 h 148"/>
                  <a:gd name="T17" fmla="*/ 172 w 172"/>
                  <a:gd name="T18" fmla="*/ 148 h 1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2" h="148">
                    <a:moveTo>
                      <a:pt x="87" y="148"/>
                    </a:moveTo>
                    <a:lnTo>
                      <a:pt x="0" y="74"/>
                    </a:lnTo>
                    <a:lnTo>
                      <a:pt x="87" y="0"/>
                    </a:lnTo>
                    <a:lnTo>
                      <a:pt x="172" y="74"/>
                    </a:lnTo>
                    <a:lnTo>
                      <a:pt x="87" y="148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94" name="Freeform 29"/>
              <p:cNvSpPr>
                <a:spLocks/>
              </p:cNvSpPr>
              <p:nvPr/>
            </p:nvSpPr>
            <p:spPr bwMode="auto">
              <a:xfrm>
                <a:off x="3068" y="1178"/>
                <a:ext cx="18" cy="16"/>
              </a:xfrm>
              <a:custGeom>
                <a:avLst/>
                <a:gdLst>
                  <a:gd name="T0" fmla="*/ 0 w 127"/>
                  <a:gd name="T1" fmla="*/ 0 h 110"/>
                  <a:gd name="T2" fmla="*/ 0 w 127"/>
                  <a:gd name="T3" fmla="*/ 0 h 110"/>
                  <a:gd name="T4" fmla="*/ 0 w 127"/>
                  <a:gd name="T5" fmla="*/ 0 h 110"/>
                  <a:gd name="T6" fmla="*/ 0 w 127"/>
                  <a:gd name="T7" fmla="*/ 0 h 110"/>
                  <a:gd name="T8" fmla="*/ 0 w 127"/>
                  <a:gd name="T9" fmla="*/ 0 h 1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27"/>
                  <a:gd name="T16" fmla="*/ 0 h 110"/>
                  <a:gd name="T17" fmla="*/ 127 w 127"/>
                  <a:gd name="T18" fmla="*/ 110 h 1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27" h="110">
                    <a:moveTo>
                      <a:pt x="64" y="110"/>
                    </a:moveTo>
                    <a:lnTo>
                      <a:pt x="0" y="55"/>
                    </a:lnTo>
                    <a:lnTo>
                      <a:pt x="64" y="0"/>
                    </a:lnTo>
                    <a:lnTo>
                      <a:pt x="127" y="55"/>
                    </a:lnTo>
                    <a:lnTo>
                      <a:pt x="64" y="110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95" name="Freeform 30"/>
              <p:cNvSpPr>
                <a:spLocks/>
              </p:cNvSpPr>
              <p:nvPr/>
            </p:nvSpPr>
            <p:spPr bwMode="auto">
              <a:xfrm>
                <a:off x="3073" y="1149"/>
                <a:ext cx="9" cy="8"/>
              </a:xfrm>
              <a:custGeom>
                <a:avLst/>
                <a:gdLst>
                  <a:gd name="T0" fmla="*/ 0 w 67"/>
                  <a:gd name="T1" fmla="*/ 0 h 57"/>
                  <a:gd name="T2" fmla="*/ 0 w 67"/>
                  <a:gd name="T3" fmla="*/ 0 h 57"/>
                  <a:gd name="T4" fmla="*/ 0 w 67"/>
                  <a:gd name="T5" fmla="*/ 0 h 57"/>
                  <a:gd name="T6" fmla="*/ 0 w 67"/>
                  <a:gd name="T7" fmla="*/ 0 h 57"/>
                  <a:gd name="T8" fmla="*/ 0 w 67"/>
                  <a:gd name="T9" fmla="*/ 0 h 5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7"/>
                  <a:gd name="T16" fmla="*/ 0 h 57"/>
                  <a:gd name="T17" fmla="*/ 67 w 67"/>
                  <a:gd name="T18" fmla="*/ 57 h 5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7" h="57">
                    <a:moveTo>
                      <a:pt x="34" y="57"/>
                    </a:moveTo>
                    <a:lnTo>
                      <a:pt x="0" y="29"/>
                    </a:lnTo>
                    <a:lnTo>
                      <a:pt x="34" y="0"/>
                    </a:lnTo>
                    <a:lnTo>
                      <a:pt x="67" y="29"/>
                    </a:lnTo>
                    <a:lnTo>
                      <a:pt x="34" y="57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96" name="Freeform 31"/>
              <p:cNvSpPr>
                <a:spLocks/>
              </p:cNvSpPr>
              <p:nvPr/>
            </p:nvSpPr>
            <p:spPr bwMode="auto">
              <a:xfrm>
                <a:off x="3976" y="963"/>
                <a:ext cx="220" cy="780"/>
              </a:xfrm>
              <a:custGeom>
                <a:avLst/>
                <a:gdLst>
                  <a:gd name="T0" fmla="*/ 0 w 1538"/>
                  <a:gd name="T1" fmla="*/ 0 h 5457"/>
                  <a:gd name="T2" fmla="*/ 0 w 1538"/>
                  <a:gd name="T3" fmla="*/ 0 h 5457"/>
                  <a:gd name="T4" fmla="*/ 0 w 1538"/>
                  <a:gd name="T5" fmla="*/ 0 h 5457"/>
                  <a:gd name="T6" fmla="*/ 0 w 1538"/>
                  <a:gd name="T7" fmla="*/ 0 h 5457"/>
                  <a:gd name="T8" fmla="*/ 0 w 1538"/>
                  <a:gd name="T9" fmla="*/ 0 h 5457"/>
                  <a:gd name="T10" fmla="*/ 0 w 1538"/>
                  <a:gd name="T11" fmla="*/ 0 h 5457"/>
                  <a:gd name="T12" fmla="*/ 0 w 1538"/>
                  <a:gd name="T13" fmla="*/ 0 h 5457"/>
                  <a:gd name="T14" fmla="*/ 0 w 1538"/>
                  <a:gd name="T15" fmla="*/ 0 h 5457"/>
                  <a:gd name="T16" fmla="*/ 0 w 1538"/>
                  <a:gd name="T17" fmla="*/ 0 h 5457"/>
                  <a:gd name="T18" fmla="*/ 0 w 1538"/>
                  <a:gd name="T19" fmla="*/ 0 h 5457"/>
                  <a:gd name="T20" fmla="*/ 0 w 1538"/>
                  <a:gd name="T21" fmla="*/ 0 h 5457"/>
                  <a:gd name="T22" fmla="*/ 0 w 1538"/>
                  <a:gd name="T23" fmla="*/ 0 h 5457"/>
                  <a:gd name="T24" fmla="*/ 0 w 1538"/>
                  <a:gd name="T25" fmla="*/ 0 h 5457"/>
                  <a:gd name="T26" fmla="*/ 0 w 1538"/>
                  <a:gd name="T27" fmla="*/ 0 h 5457"/>
                  <a:gd name="T28" fmla="*/ 0 w 1538"/>
                  <a:gd name="T29" fmla="*/ 0 h 5457"/>
                  <a:gd name="T30" fmla="*/ 0 w 1538"/>
                  <a:gd name="T31" fmla="*/ 0 h 5457"/>
                  <a:gd name="T32" fmla="*/ 0 w 1538"/>
                  <a:gd name="T33" fmla="*/ 0 h 5457"/>
                  <a:gd name="T34" fmla="*/ 0 w 1538"/>
                  <a:gd name="T35" fmla="*/ 0 h 5457"/>
                  <a:gd name="T36" fmla="*/ 0 w 1538"/>
                  <a:gd name="T37" fmla="*/ 0 h 5457"/>
                  <a:gd name="T38" fmla="*/ 0 w 1538"/>
                  <a:gd name="T39" fmla="*/ 0 h 5457"/>
                  <a:gd name="T40" fmla="*/ 0 w 1538"/>
                  <a:gd name="T41" fmla="*/ 0 h 5457"/>
                  <a:gd name="T42" fmla="*/ 0 w 1538"/>
                  <a:gd name="T43" fmla="*/ 0 h 5457"/>
                  <a:gd name="T44" fmla="*/ 0 w 1538"/>
                  <a:gd name="T45" fmla="*/ 0 h 5457"/>
                  <a:gd name="T46" fmla="*/ 0 w 1538"/>
                  <a:gd name="T47" fmla="*/ 0 h 5457"/>
                  <a:gd name="T48" fmla="*/ 0 w 1538"/>
                  <a:gd name="T49" fmla="*/ 0 h 5457"/>
                  <a:gd name="T50" fmla="*/ 0 w 1538"/>
                  <a:gd name="T51" fmla="*/ 0 h 5457"/>
                  <a:gd name="T52" fmla="*/ 0 w 1538"/>
                  <a:gd name="T53" fmla="*/ 0 h 5457"/>
                  <a:gd name="T54" fmla="*/ 0 w 1538"/>
                  <a:gd name="T55" fmla="*/ 0 h 5457"/>
                  <a:gd name="T56" fmla="*/ 0 w 1538"/>
                  <a:gd name="T57" fmla="*/ 0 h 5457"/>
                  <a:gd name="T58" fmla="*/ 0 w 1538"/>
                  <a:gd name="T59" fmla="*/ 0 h 5457"/>
                  <a:gd name="T60" fmla="*/ 0 w 1538"/>
                  <a:gd name="T61" fmla="*/ 0 h 5457"/>
                  <a:gd name="T62" fmla="*/ 0 w 1538"/>
                  <a:gd name="T63" fmla="*/ 0 h 5457"/>
                  <a:gd name="T64" fmla="*/ 0 w 1538"/>
                  <a:gd name="T65" fmla="*/ 0 h 5457"/>
                  <a:gd name="T66" fmla="*/ 0 w 1538"/>
                  <a:gd name="T67" fmla="*/ 0 h 5457"/>
                  <a:gd name="T68" fmla="*/ 0 w 1538"/>
                  <a:gd name="T69" fmla="*/ 0 h 5457"/>
                  <a:gd name="T70" fmla="*/ 0 w 1538"/>
                  <a:gd name="T71" fmla="*/ 0 h 5457"/>
                  <a:gd name="T72" fmla="*/ 0 w 1538"/>
                  <a:gd name="T73" fmla="*/ 0 h 5457"/>
                  <a:gd name="T74" fmla="*/ 0 w 1538"/>
                  <a:gd name="T75" fmla="*/ 0 h 5457"/>
                  <a:gd name="T76" fmla="*/ 0 w 1538"/>
                  <a:gd name="T77" fmla="*/ 0 h 5457"/>
                  <a:gd name="T78" fmla="*/ 0 w 1538"/>
                  <a:gd name="T79" fmla="*/ 0 h 5457"/>
                  <a:gd name="T80" fmla="*/ 0 w 1538"/>
                  <a:gd name="T81" fmla="*/ 0 h 5457"/>
                  <a:gd name="T82" fmla="*/ 0 w 1538"/>
                  <a:gd name="T83" fmla="*/ 0 h 5457"/>
                  <a:gd name="T84" fmla="*/ 0 w 1538"/>
                  <a:gd name="T85" fmla="*/ 0 h 5457"/>
                  <a:gd name="T86" fmla="*/ 0 w 1538"/>
                  <a:gd name="T87" fmla="*/ 0 h 5457"/>
                  <a:gd name="T88" fmla="*/ 0 w 1538"/>
                  <a:gd name="T89" fmla="*/ 0 h 5457"/>
                  <a:gd name="T90" fmla="*/ 0 w 1538"/>
                  <a:gd name="T91" fmla="*/ 0 h 5457"/>
                  <a:gd name="T92" fmla="*/ 0 w 1538"/>
                  <a:gd name="T93" fmla="*/ 0 h 5457"/>
                  <a:gd name="T94" fmla="*/ 0 w 1538"/>
                  <a:gd name="T95" fmla="*/ 0 h 5457"/>
                  <a:gd name="T96" fmla="*/ 0 w 1538"/>
                  <a:gd name="T97" fmla="*/ 0 h 5457"/>
                  <a:gd name="T98" fmla="*/ 0 w 1538"/>
                  <a:gd name="T99" fmla="*/ 0 h 5457"/>
                  <a:gd name="T100" fmla="*/ 0 w 1538"/>
                  <a:gd name="T101" fmla="*/ 0 h 5457"/>
                  <a:gd name="T102" fmla="*/ 0 w 1538"/>
                  <a:gd name="T103" fmla="*/ 0 h 5457"/>
                  <a:gd name="T104" fmla="*/ 0 w 1538"/>
                  <a:gd name="T105" fmla="*/ 0 h 5457"/>
                  <a:gd name="T106" fmla="*/ 0 w 1538"/>
                  <a:gd name="T107" fmla="*/ 0 h 5457"/>
                  <a:gd name="T108" fmla="*/ 0 w 1538"/>
                  <a:gd name="T109" fmla="*/ 0 h 5457"/>
                  <a:gd name="T110" fmla="*/ 0 w 1538"/>
                  <a:gd name="T111" fmla="*/ 0 h 5457"/>
                  <a:gd name="T112" fmla="*/ 0 w 1538"/>
                  <a:gd name="T113" fmla="*/ 0 h 5457"/>
                  <a:gd name="T114" fmla="*/ 0 w 1538"/>
                  <a:gd name="T115" fmla="*/ 0 h 5457"/>
                  <a:gd name="T116" fmla="*/ 0 w 1538"/>
                  <a:gd name="T117" fmla="*/ 0 h 5457"/>
                  <a:gd name="T118" fmla="*/ 0 w 1538"/>
                  <a:gd name="T119" fmla="*/ 0 h 5457"/>
                  <a:gd name="T120" fmla="*/ 0 w 1538"/>
                  <a:gd name="T121" fmla="*/ 0 h 5457"/>
                  <a:gd name="T122" fmla="*/ 0 w 1538"/>
                  <a:gd name="T123" fmla="*/ 0 h 5457"/>
                  <a:gd name="T124" fmla="*/ 0 w 1538"/>
                  <a:gd name="T125" fmla="*/ 0 h 5457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538"/>
                  <a:gd name="T190" fmla="*/ 0 h 5457"/>
                  <a:gd name="T191" fmla="*/ 1538 w 1538"/>
                  <a:gd name="T192" fmla="*/ 5457 h 5457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538" h="5457">
                    <a:moveTo>
                      <a:pt x="1380" y="5451"/>
                    </a:moveTo>
                    <a:lnTo>
                      <a:pt x="1405" y="5366"/>
                    </a:lnTo>
                    <a:lnTo>
                      <a:pt x="1428" y="5283"/>
                    </a:lnTo>
                    <a:lnTo>
                      <a:pt x="1448" y="5201"/>
                    </a:lnTo>
                    <a:lnTo>
                      <a:pt x="1466" y="5119"/>
                    </a:lnTo>
                    <a:lnTo>
                      <a:pt x="1483" y="5038"/>
                    </a:lnTo>
                    <a:lnTo>
                      <a:pt x="1497" y="4958"/>
                    </a:lnTo>
                    <a:lnTo>
                      <a:pt x="1510" y="4878"/>
                    </a:lnTo>
                    <a:lnTo>
                      <a:pt x="1519" y="4800"/>
                    </a:lnTo>
                    <a:lnTo>
                      <a:pt x="1527" y="4721"/>
                    </a:lnTo>
                    <a:lnTo>
                      <a:pt x="1532" y="4643"/>
                    </a:lnTo>
                    <a:lnTo>
                      <a:pt x="1536" y="4566"/>
                    </a:lnTo>
                    <a:lnTo>
                      <a:pt x="1538" y="4488"/>
                    </a:lnTo>
                    <a:lnTo>
                      <a:pt x="1537" y="4411"/>
                    </a:lnTo>
                    <a:lnTo>
                      <a:pt x="1535" y="4333"/>
                    </a:lnTo>
                    <a:lnTo>
                      <a:pt x="1531" y="4257"/>
                    </a:lnTo>
                    <a:lnTo>
                      <a:pt x="1524" y="4179"/>
                    </a:lnTo>
                    <a:lnTo>
                      <a:pt x="1516" y="4102"/>
                    </a:lnTo>
                    <a:lnTo>
                      <a:pt x="1505" y="4023"/>
                    </a:lnTo>
                    <a:lnTo>
                      <a:pt x="1493" y="3944"/>
                    </a:lnTo>
                    <a:lnTo>
                      <a:pt x="1479" y="3866"/>
                    </a:lnTo>
                    <a:lnTo>
                      <a:pt x="1462" y="3786"/>
                    </a:lnTo>
                    <a:lnTo>
                      <a:pt x="1443" y="3707"/>
                    </a:lnTo>
                    <a:lnTo>
                      <a:pt x="1423" y="3626"/>
                    </a:lnTo>
                    <a:lnTo>
                      <a:pt x="1400" y="3544"/>
                    </a:lnTo>
                    <a:lnTo>
                      <a:pt x="1375" y="3461"/>
                    </a:lnTo>
                    <a:lnTo>
                      <a:pt x="1349" y="3378"/>
                    </a:lnTo>
                    <a:lnTo>
                      <a:pt x="1320" y="3293"/>
                    </a:lnTo>
                    <a:lnTo>
                      <a:pt x="1290" y="3207"/>
                    </a:lnTo>
                    <a:lnTo>
                      <a:pt x="1257" y="3120"/>
                    </a:lnTo>
                    <a:lnTo>
                      <a:pt x="1223" y="3032"/>
                    </a:lnTo>
                    <a:lnTo>
                      <a:pt x="1187" y="2942"/>
                    </a:lnTo>
                    <a:lnTo>
                      <a:pt x="1149" y="2850"/>
                    </a:lnTo>
                    <a:lnTo>
                      <a:pt x="1114" y="2762"/>
                    </a:lnTo>
                    <a:lnTo>
                      <a:pt x="1082" y="2675"/>
                    </a:lnTo>
                    <a:lnTo>
                      <a:pt x="1054" y="2587"/>
                    </a:lnTo>
                    <a:lnTo>
                      <a:pt x="1028" y="2498"/>
                    </a:lnTo>
                    <a:lnTo>
                      <a:pt x="1006" y="2411"/>
                    </a:lnTo>
                    <a:lnTo>
                      <a:pt x="988" y="2323"/>
                    </a:lnTo>
                    <a:lnTo>
                      <a:pt x="971" y="2235"/>
                    </a:lnTo>
                    <a:lnTo>
                      <a:pt x="958" y="2147"/>
                    </a:lnTo>
                    <a:lnTo>
                      <a:pt x="947" y="2059"/>
                    </a:lnTo>
                    <a:lnTo>
                      <a:pt x="939" y="1971"/>
                    </a:lnTo>
                    <a:lnTo>
                      <a:pt x="932" y="1884"/>
                    </a:lnTo>
                    <a:lnTo>
                      <a:pt x="928" y="1797"/>
                    </a:lnTo>
                    <a:lnTo>
                      <a:pt x="926" y="1709"/>
                    </a:lnTo>
                    <a:lnTo>
                      <a:pt x="925" y="1621"/>
                    </a:lnTo>
                    <a:lnTo>
                      <a:pt x="926" y="1532"/>
                    </a:lnTo>
                    <a:lnTo>
                      <a:pt x="928" y="1444"/>
                    </a:lnTo>
                    <a:lnTo>
                      <a:pt x="931" y="1356"/>
                    </a:lnTo>
                    <a:lnTo>
                      <a:pt x="935" y="1267"/>
                    </a:lnTo>
                    <a:lnTo>
                      <a:pt x="940" y="1179"/>
                    </a:lnTo>
                    <a:lnTo>
                      <a:pt x="945" y="1090"/>
                    </a:lnTo>
                    <a:lnTo>
                      <a:pt x="958" y="912"/>
                    </a:lnTo>
                    <a:lnTo>
                      <a:pt x="971" y="733"/>
                    </a:lnTo>
                    <a:lnTo>
                      <a:pt x="978" y="643"/>
                    </a:lnTo>
                    <a:lnTo>
                      <a:pt x="985" y="553"/>
                    </a:lnTo>
                    <a:lnTo>
                      <a:pt x="990" y="462"/>
                    </a:lnTo>
                    <a:lnTo>
                      <a:pt x="995" y="371"/>
                    </a:lnTo>
                    <a:lnTo>
                      <a:pt x="999" y="280"/>
                    </a:lnTo>
                    <a:lnTo>
                      <a:pt x="1002" y="188"/>
                    </a:lnTo>
                    <a:lnTo>
                      <a:pt x="1004" y="96"/>
                    </a:lnTo>
                    <a:lnTo>
                      <a:pt x="1005" y="3"/>
                    </a:lnTo>
                    <a:lnTo>
                      <a:pt x="187" y="0"/>
                    </a:lnTo>
                    <a:lnTo>
                      <a:pt x="182" y="92"/>
                    </a:lnTo>
                    <a:lnTo>
                      <a:pt x="175" y="184"/>
                    </a:lnTo>
                    <a:lnTo>
                      <a:pt x="168" y="276"/>
                    </a:lnTo>
                    <a:lnTo>
                      <a:pt x="159" y="367"/>
                    </a:lnTo>
                    <a:lnTo>
                      <a:pt x="149" y="457"/>
                    </a:lnTo>
                    <a:lnTo>
                      <a:pt x="138" y="548"/>
                    </a:lnTo>
                    <a:lnTo>
                      <a:pt x="127" y="638"/>
                    </a:lnTo>
                    <a:lnTo>
                      <a:pt x="114" y="726"/>
                    </a:lnTo>
                    <a:lnTo>
                      <a:pt x="91" y="905"/>
                    </a:lnTo>
                    <a:lnTo>
                      <a:pt x="66" y="1082"/>
                    </a:lnTo>
                    <a:lnTo>
                      <a:pt x="55" y="1171"/>
                    </a:lnTo>
                    <a:lnTo>
                      <a:pt x="43" y="1259"/>
                    </a:lnTo>
                    <a:lnTo>
                      <a:pt x="33" y="1347"/>
                    </a:lnTo>
                    <a:lnTo>
                      <a:pt x="24" y="1435"/>
                    </a:lnTo>
                    <a:lnTo>
                      <a:pt x="16" y="1523"/>
                    </a:lnTo>
                    <a:lnTo>
                      <a:pt x="9" y="1610"/>
                    </a:lnTo>
                    <a:lnTo>
                      <a:pt x="4" y="1697"/>
                    </a:lnTo>
                    <a:lnTo>
                      <a:pt x="1" y="1785"/>
                    </a:lnTo>
                    <a:lnTo>
                      <a:pt x="0" y="1873"/>
                    </a:lnTo>
                    <a:lnTo>
                      <a:pt x="0" y="1961"/>
                    </a:lnTo>
                    <a:lnTo>
                      <a:pt x="3" y="2048"/>
                    </a:lnTo>
                    <a:lnTo>
                      <a:pt x="8" y="2136"/>
                    </a:lnTo>
                    <a:lnTo>
                      <a:pt x="16" y="2224"/>
                    </a:lnTo>
                    <a:lnTo>
                      <a:pt x="28" y="2312"/>
                    </a:lnTo>
                    <a:lnTo>
                      <a:pt x="41" y="2401"/>
                    </a:lnTo>
                    <a:lnTo>
                      <a:pt x="59" y="2488"/>
                    </a:lnTo>
                    <a:lnTo>
                      <a:pt x="78" y="2577"/>
                    </a:lnTo>
                    <a:lnTo>
                      <a:pt x="103" y="2666"/>
                    </a:lnTo>
                    <a:lnTo>
                      <a:pt x="131" y="2755"/>
                    </a:lnTo>
                    <a:lnTo>
                      <a:pt x="162" y="2844"/>
                    </a:lnTo>
                    <a:lnTo>
                      <a:pt x="197" y="2938"/>
                    </a:lnTo>
                    <a:lnTo>
                      <a:pt x="229" y="3031"/>
                    </a:lnTo>
                    <a:lnTo>
                      <a:pt x="259" y="3122"/>
                    </a:lnTo>
                    <a:lnTo>
                      <a:pt x="287" y="3211"/>
                    </a:lnTo>
                    <a:lnTo>
                      <a:pt x="312" y="3298"/>
                    </a:lnTo>
                    <a:lnTo>
                      <a:pt x="335" y="3384"/>
                    </a:lnTo>
                    <a:lnTo>
                      <a:pt x="354" y="3469"/>
                    </a:lnTo>
                    <a:lnTo>
                      <a:pt x="373" y="3552"/>
                    </a:lnTo>
                    <a:lnTo>
                      <a:pt x="388" y="3634"/>
                    </a:lnTo>
                    <a:lnTo>
                      <a:pt x="402" y="3716"/>
                    </a:lnTo>
                    <a:lnTo>
                      <a:pt x="412" y="3795"/>
                    </a:lnTo>
                    <a:lnTo>
                      <a:pt x="421" y="3875"/>
                    </a:lnTo>
                    <a:lnTo>
                      <a:pt x="428" y="3954"/>
                    </a:lnTo>
                    <a:lnTo>
                      <a:pt x="433" y="4031"/>
                    </a:lnTo>
                    <a:lnTo>
                      <a:pt x="435" y="4109"/>
                    </a:lnTo>
                    <a:lnTo>
                      <a:pt x="435" y="4186"/>
                    </a:lnTo>
                    <a:lnTo>
                      <a:pt x="434" y="4263"/>
                    </a:lnTo>
                    <a:lnTo>
                      <a:pt x="430" y="4340"/>
                    </a:lnTo>
                    <a:lnTo>
                      <a:pt x="424" y="4417"/>
                    </a:lnTo>
                    <a:lnTo>
                      <a:pt x="416" y="4493"/>
                    </a:lnTo>
                    <a:lnTo>
                      <a:pt x="407" y="4570"/>
                    </a:lnTo>
                    <a:lnTo>
                      <a:pt x="394" y="4648"/>
                    </a:lnTo>
                    <a:lnTo>
                      <a:pt x="381" y="4725"/>
                    </a:lnTo>
                    <a:lnTo>
                      <a:pt x="366" y="4803"/>
                    </a:lnTo>
                    <a:lnTo>
                      <a:pt x="349" y="4881"/>
                    </a:lnTo>
                    <a:lnTo>
                      <a:pt x="329" y="4961"/>
                    </a:lnTo>
                    <a:lnTo>
                      <a:pt x="309" y="5040"/>
                    </a:lnTo>
                    <a:lnTo>
                      <a:pt x="286" y="5122"/>
                    </a:lnTo>
                    <a:lnTo>
                      <a:pt x="262" y="5204"/>
                    </a:lnTo>
                    <a:lnTo>
                      <a:pt x="236" y="5287"/>
                    </a:lnTo>
                    <a:lnTo>
                      <a:pt x="208" y="5371"/>
                    </a:lnTo>
                    <a:lnTo>
                      <a:pt x="180" y="5457"/>
                    </a:lnTo>
                    <a:lnTo>
                      <a:pt x="1380" y="5451"/>
                    </a:lnTo>
                    <a:close/>
                  </a:path>
                </a:pathLst>
              </a:custGeom>
              <a:solidFill>
                <a:srgbClr val="CB382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97" name="Freeform 32"/>
              <p:cNvSpPr>
                <a:spLocks/>
              </p:cNvSpPr>
              <p:nvPr/>
            </p:nvSpPr>
            <p:spPr bwMode="auto">
              <a:xfrm>
                <a:off x="3991" y="963"/>
                <a:ext cx="108" cy="108"/>
              </a:xfrm>
              <a:custGeom>
                <a:avLst/>
                <a:gdLst>
                  <a:gd name="T0" fmla="*/ 0 w 758"/>
                  <a:gd name="T1" fmla="*/ 0 h 756"/>
                  <a:gd name="T2" fmla="*/ 0 w 758"/>
                  <a:gd name="T3" fmla="*/ 0 h 756"/>
                  <a:gd name="T4" fmla="*/ 0 w 758"/>
                  <a:gd name="T5" fmla="*/ 0 h 756"/>
                  <a:gd name="T6" fmla="*/ 0 w 758"/>
                  <a:gd name="T7" fmla="*/ 0 h 756"/>
                  <a:gd name="T8" fmla="*/ 0 w 758"/>
                  <a:gd name="T9" fmla="*/ 0 h 756"/>
                  <a:gd name="T10" fmla="*/ 0 w 758"/>
                  <a:gd name="T11" fmla="*/ 0 h 756"/>
                  <a:gd name="T12" fmla="*/ 0 w 758"/>
                  <a:gd name="T13" fmla="*/ 0 h 756"/>
                  <a:gd name="T14" fmla="*/ 0 w 758"/>
                  <a:gd name="T15" fmla="*/ 0 h 756"/>
                  <a:gd name="T16" fmla="*/ 0 w 758"/>
                  <a:gd name="T17" fmla="*/ 0 h 756"/>
                  <a:gd name="T18" fmla="*/ 0 w 758"/>
                  <a:gd name="T19" fmla="*/ 0 h 756"/>
                  <a:gd name="T20" fmla="*/ 0 w 758"/>
                  <a:gd name="T21" fmla="*/ 0 h 756"/>
                  <a:gd name="T22" fmla="*/ 0 w 758"/>
                  <a:gd name="T23" fmla="*/ 0 h 756"/>
                  <a:gd name="T24" fmla="*/ 0 w 758"/>
                  <a:gd name="T25" fmla="*/ 0 h 756"/>
                  <a:gd name="T26" fmla="*/ 0 w 758"/>
                  <a:gd name="T27" fmla="*/ 0 h 756"/>
                  <a:gd name="T28" fmla="*/ 0 w 758"/>
                  <a:gd name="T29" fmla="*/ 0 h 756"/>
                  <a:gd name="T30" fmla="*/ 0 w 758"/>
                  <a:gd name="T31" fmla="*/ 0 h 756"/>
                  <a:gd name="T32" fmla="*/ 0 w 758"/>
                  <a:gd name="T33" fmla="*/ 0 h 756"/>
                  <a:gd name="T34" fmla="*/ 0 w 758"/>
                  <a:gd name="T35" fmla="*/ 0 h 756"/>
                  <a:gd name="T36" fmla="*/ 0 w 758"/>
                  <a:gd name="T37" fmla="*/ 0 h 756"/>
                  <a:gd name="T38" fmla="*/ 0 w 758"/>
                  <a:gd name="T39" fmla="*/ 0 h 756"/>
                  <a:gd name="T40" fmla="*/ 0 w 758"/>
                  <a:gd name="T41" fmla="*/ 0 h 756"/>
                  <a:gd name="T42" fmla="*/ 0 w 758"/>
                  <a:gd name="T43" fmla="*/ 0 h 756"/>
                  <a:gd name="T44" fmla="*/ 0 w 758"/>
                  <a:gd name="T45" fmla="*/ 0 h 756"/>
                  <a:gd name="T46" fmla="*/ 0 w 758"/>
                  <a:gd name="T47" fmla="*/ 0 h 756"/>
                  <a:gd name="T48" fmla="*/ 0 w 758"/>
                  <a:gd name="T49" fmla="*/ 0 h 756"/>
                  <a:gd name="T50" fmla="*/ 0 w 758"/>
                  <a:gd name="T51" fmla="*/ 0 h 756"/>
                  <a:gd name="T52" fmla="*/ 0 w 758"/>
                  <a:gd name="T53" fmla="*/ 0 h 756"/>
                  <a:gd name="T54" fmla="*/ 0 w 758"/>
                  <a:gd name="T55" fmla="*/ 0 h 756"/>
                  <a:gd name="T56" fmla="*/ 0 w 758"/>
                  <a:gd name="T57" fmla="*/ 0 h 756"/>
                  <a:gd name="T58" fmla="*/ 0 w 758"/>
                  <a:gd name="T59" fmla="*/ 0 h 756"/>
                  <a:gd name="T60" fmla="*/ 0 w 758"/>
                  <a:gd name="T61" fmla="*/ 0 h 756"/>
                  <a:gd name="T62" fmla="*/ 0 w 758"/>
                  <a:gd name="T63" fmla="*/ 0 h 756"/>
                  <a:gd name="T64" fmla="*/ 0 w 758"/>
                  <a:gd name="T65" fmla="*/ 0 h 756"/>
                  <a:gd name="T66" fmla="*/ 0 w 758"/>
                  <a:gd name="T67" fmla="*/ 0 h 756"/>
                  <a:gd name="T68" fmla="*/ 0 w 758"/>
                  <a:gd name="T69" fmla="*/ 0 h 756"/>
                  <a:gd name="T70" fmla="*/ 0 w 758"/>
                  <a:gd name="T71" fmla="*/ 0 h 756"/>
                  <a:gd name="T72" fmla="*/ 0 w 758"/>
                  <a:gd name="T73" fmla="*/ 0 h 756"/>
                  <a:gd name="T74" fmla="*/ 0 w 758"/>
                  <a:gd name="T75" fmla="*/ 0 h 756"/>
                  <a:gd name="T76" fmla="*/ 0 w 758"/>
                  <a:gd name="T77" fmla="*/ 0 h 756"/>
                  <a:gd name="T78" fmla="*/ 0 w 758"/>
                  <a:gd name="T79" fmla="*/ 0 h 756"/>
                  <a:gd name="T80" fmla="*/ 0 w 758"/>
                  <a:gd name="T81" fmla="*/ 0 h 756"/>
                  <a:gd name="T82" fmla="*/ 0 w 758"/>
                  <a:gd name="T83" fmla="*/ 0 h 756"/>
                  <a:gd name="T84" fmla="*/ 0 w 758"/>
                  <a:gd name="T85" fmla="*/ 0 h 756"/>
                  <a:gd name="T86" fmla="*/ 0 w 758"/>
                  <a:gd name="T87" fmla="*/ 0 h 75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758"/>
                  <a:gd name="T133" fmla="*/ 0 h 756"/>
                  <a:gd name="T134" fmla="*/ 758 w 758"/>
                  <a:gd name="T135" fmla="*/ 756 h 75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758" h="756">
                    <a:moveTo>
                      <a:pt x="758" y="0"/>
                    </a:moveTo>
                    <a:lnTo>
                      <a:pt x="0" y="4"/>
                    </a:lnTo>
                    <a:lnTo>
                      <a:pt x="0" y="53"/>
                    </a:lnTo>
                    <a:lnTo>
                      <a:pt x="1" y="102"/>
                    </a:lnTo>
                    <a:lnTo>
                      <a:pt x="2" y="151"/>
                    </a:lnTo>
                    <a:lnTo>
                      <a:pt x="3" y="199"/>
                    </a:lnTo>
                    <a:lnTo>
                      <a:pt x="5" y="247"/>
                    </a:lnTo>
                    <a:lnTo>
                      <a:pt x="6" y="294"/>
                    </a:lnTo>
                    <a:lnTo>
                      <a:pt x="9" y="342"/>
                    </a:lnTo>
                    <a:lnTo>
                      <a:pt x="12" y="388"/>
                    </a:lnTo>
                    <a:lnTo>
                      <a:pt x="15" y="436"/>
                    </a:lnTo>
                    <a:lnTo>
                      <a:pt x="17" y="482"/>
                    </a:lnTo>
                    <a:lnTo>
                      <a:pt x="20" y="528"/>
                    </a:lnTo>
                    <a:lnTo>
                      <a:pt x="24" y="574"/>
                    </a:lnTo>
                    <a:lnTo>
                      <a:pt x="27" y="620"/>
                    </a:lnTo>
                    <a:lnTo>
                      <a:pt x="30" y="665"/>
                    </a:lnTo>
                    <a:lnTo>
                      <a:pt x="34" y="711"/>
                    </a:lnTo>
                    <a:lnTo>
                      <a:pt x="37" y="756"/>
                    </a:lnTo>
                    <a:lnTo>
                      <a:pt x="66" y="740"/>
                    </a:lnTo>
                    <a:lnTo>
                      <a:pt x="95" y="723"/>
                    </a:lnTo>
                    <a:lnTo>
                      <a:pt x="124" y="706"/>
                    </a:lnTo>
                    <a:lnTo>
                      <a:pt x="152" y="689"/>
                    </a:lnTo>
                    <a:lnTo>
                      <a:pt x="180" y="673"/>
                    </a:lnTo>
                    <a:lnTo>
                      <a:pt x="207" y="655"/>
                    </a:lnTo>
                    <a:lnTo>
                      <a:pt x="234" y="638"/>
                    </a:lnTo>
                    <a:lnTo>
                      <a:pt x="261" y="620"/>
                    </a:lnTo>
                    <a:lnTo>
                      <a:pt x="280" y="607"/>
                    </a:lnTo>
                    <a:lnTo>
                      <a:pt x="300" y="592"/>
                    </a:lnTo>
                    <a:lnTo>
                      <a:pt x="319" y="577"/>
                    </a:lnTo>
                    <a:lnTo>
                      <a:pt x="338" y="561"/>
                    </a:lnTo>
                    <a:lnTo>
                      <a:pt x="357" y="546"/>
                    </a:lnTo>
                    <a:lnTo>
                      <a:pt x="374" y="528"/>
                    </a:lnTo>
                    <a:lnTo>
                      <a:pt x="393" y="511"/>
                    </a:lnTo>
                    <a:lnTo>
                      <a:pt x="410" y="494"/>
                    </a:lnTo>
                    <a:lnTo>
                      <a:pt x="443" y="458"/>
                    </a:lnTo>
                    <a:lnTo>
                      <a:pt x="477" y="420"/>
                    </a:lnTo>
                    <a:lnTo>
                      <a:pt x="509" y="381"/>
                    </a:lnTo>
                    <a:lnTo>
                      <a:pt x="540" y="342"/>
                    </a:lnTo>
                    <a:lnTo>
                      <a:pt x="570" y="300"/>
                    </a:lnTo>
                    <a:lnTo>
                      <a:pt x="599" y="259"/>
                    </a:lnTo>
                    <a:lnTo>
                      <a:pt x="626" y="217"/>
                    </a:lnTo>
                    <a:lnTo>
                      <a:pt x="653" y="173"/>
                    </a:lnTo>
                    <a:lnTo>
                      <a:pt x="707" y="86"/>
                    </a:lnTo>
                    <a:lnTo>
                      <a:pt x="758" y="0"/>
                    </a:lnTo>
                    <a:close/>
                  </a:path>
                </a:pathLst>
              </a:custGeom>
              <a:solidFill>
                <a:srgbClr val="AF34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98" name="Freeform 33"/>
              <p:cNvSpPr>
                <a:spLocks/>
              </p:cNvSpPr>
              <p:nvPr/>
            </p:nvSpPr>
            <p:spPr bwMode="auto">
              <a:xfrm>
                <a:off x="3996" y="1359"/>
                <a:ext cx="194" cy="166"/>
              </a:xfrm>
              <a:custGeom>
                <a:avLst/>
                <a:gdLst>
                  <a:gd name="T0" fmla="*/ 0 w 1359"/>
                  <a:gd name="T1" fmla="*/ 0 h 1157"/>
                  <a:gd name="T2" fmla="*/ 0 w 1359"/>
                  <a:gd name="T3" fmla="*/ 0 h 1157"/>
                  <a:gd name="T4" fmla="*/ 0 w 1359"/>
                  <a:gd name="T5" fmla="*/ 0 h 1157"/>
                  <a:gd name="T6" fmla="*/ 0 w 1359"/>
                  <a:gd name="T7" fmla="*/ 0 h 1157"/>
                  <a:gd name="T8" fmla="*/ 0 w 1359"/>
                  <a:gd name="T9" fmla="*/ 0 h 1157"/>
                  <a:gd name="T10" fmla="*/ 0 w 1359"/>
                  <a:gd name="T11" fmla="*/ 0 h 1157"/>
                  <a:gd name="T12" fmla="*/ 0 w 1359"/>
                  <a:gd name="T13" fmla="*/ 0 h 1157"/>
                  <a:gd name="T14" fmla="*/ 0 w 1359"/>
                  <a:gd name="T15" fmla="*/ 0 h 1157"/>
                  <a:gd name="T16" fmla="*/ 0 w 1359"/>
                  <a:gd name="T17" fmla="*/ 0 h 1157"/>
                  <a:gd name="T18" fmla="*/ 0 w 1359"/>
                  <a:gd name="T19" fmla="*/ 0 h 1157"/>
                  <a:gd name="T20" fmla="*/ 0 w 1359"/>
                  <a:gd name="T21" fmla="*/ 0 h 1157"/>
                  <a:gd name="T22" fmla="*/ 0 w 1359"/>
                  <a:gd name="T23" fmla="*/ 0 h 1157"/>
                  <a:gd name="T24" fmla="*/ 0 w 1359"/>
                  <a:gd name="T25" fmla="*/ 0 h 1157"/>
                  <a:gd name="T26" fmla="*/ 0 w 1359"/>
                  <a:gd name="T27" fmla="*/ 0 h 1157"/>
                  <a:gd name="T28" fmla="*/ 0 w 1359"/>
                  <a:gd name="T29" fmla="*/ 0 h 1157"/>
                  <a:gd name="T30" fmla="*/ 0 w 1359"/>
                  <a:gd name="T31" fmla="*/ 0 h 1157"/>
                  <a:gd name="T32" fmla="*/ 0 w 1359"/>
                  <a:gd name="T33" fmla="*/ 0 h 1157"/>
                  <a:gd name="T34" fmla="*/ 0 w 1359"/>
                  <a:gd name="T35" fmla="*/ 0 h 1157"/>
                  <a:gd name="T36" fmla="*/ 0 w 1359"/>
                  <a:gd name="T37" fmla="*/ 0 h 1157"/>
                  <a:gd name="T38" fmla="*/ 0 w 1359"/>
                  <a:gd name="T39" fmla="*/ 0 h 1157"/>
                  <a:gd name="T40" fmla="*/ 0 w 1359"/>
                  <a:gd name="T41" fmla="*/ 0 h 1157"/>
                  <a:gd name="T42" fmla="*/ 0 w 1359"/>
                  <a:gd name="T43" fmla="*/ 0 h 1157"/>
                  <a:gd name="T44" fmla="*/ 0 w 1359"/>
                  <a:gd name="T45" fmla="*/ 0 h 1157"/>
                  <a:gd name="T46" fmla="*/ 0 w 1359"/>
                  <a:gd name="T47" fmla="*/ 0 h 1157"/>
                  <a:gd name="T48" fmla="*/ 0 w 1359"/>
                  <a:gd name="T49" fmla="*/ 0 h 1157"/>
                  <a:gd name="T50" fmla="*/ 0 w 1359"/>
                  <a:gd name="T51" fmla="*/ 0 h 1157"/>
                  <a:gd name="T52" fmla="*/ 0 w 1359"/>
                  <a:gd name="T53" fmla="*/ 0 h 1157"/>
                  <a:gd name="T54" fmla="*/ 0 w 1359"/>
                  <a:gd name="T55" fmla="*/ 0 h 1157"/>
                  <a:gd name="T56" fmla="*/ 0 w 1359"/>
                  <a:gd name="T57" fmla="*/ 0 h 1157"/>
                  <a:gd name="T58" fmla="*/ 0 w 1359"/>
                  <a:gd name="T59" fmla="*/ 0 h 1157"/>
                  <a:gd name="T60" fmla="*/ 0 w 1359"/>
                  <a:gd name="T61" fmla="*/ 0 h 1157"/>
                  <a:gd name="T62" fmla="*/ 0 w 1359"/>
                  <a:gd name="T63" fmla="*/ 0 h 1157"/>
                  <a:gd name="T64" fmla="*/ 0 w 1359"/>
                  <a:gd name="T65" fmla="*/ 0 h 1157"/>
                  <a:gd name="T66" fmla="*/ 0 w 1359"/>
                  <a:gd name="T67" fmla="*/ 0 h 1157"/>
                  <a:gd name="T68" fmla="*/ 0 w 1359"/>
                  <a:gd name="T69" fmla="*/ 0 h 1157"/>
                  <a:gd name="T70" fmla="*/ 0 w 1359"/>
                  <a:gd name="T71" fmla="*/ 0 h 1157"/>
                  <a:gd name="T72" fmla="*/ 0 w 1359"/>
                  <a:gd name="T73" fmla="*/ 0 h 1157"/>
                  <a:gd name="T74" fmla="*/ 0 w 1359"/>
                  <a:gd name="T75" fmla="*/ 0 h 1157"/>
                  <a:gd name="T76" fmla="*/ 0 w 1359"/>
                  <a:gd name="T77" fmla="*/ 0 h 1157"/>
                  <a:gd name="T78" fmla="*/ 0 w 1359"/>
                  <a:gd name="T79" fmla="*/ 0 h 1157"/>
                  <a:gd name="T80" fmla="*/ 0 w 1359"/>
                  <a:gd name="T81" fmla="*/ 0 h 1157"/>
                  <a:gd name="T82" fmla="*/ 0 w 1359"/>
                  <a:gd name="T83" fmla="*/ 0 h 1157"/>
                  <a:gd name="T84" fmla="*/ 0 w 1359"/>
                  <a:gd name="T85" fmla="*/ 0 h 1157"/>
                  <a:gd name="T86" fmla="*/ 0 w 1359"/>
                  <a:gd name="T87" fmla="*/ 0 h 1157"/>
                  <a:gd name="T88" fmla="*/ 0 w 1359"/>
                  <a:gd name="T89" fmla="*/ 0 h 1157"/>
                  <a:gd name="T90" fmla="*/ 0 w 1359"/>
                  <a:gd name="T91" fmla="*/ 0 h 1157"/>
                  <a:gd name="T92" fmla="*/ 0 w 1359"/>
                  <a:gd name="T93" fmla="*/ 0 h 1157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359"/>
                  <a:gd name="T142" fmla="*/ 0 h 1157"/>
                  <a:gd name="T143" fmla="*/ 1359 w 1359"/>
                  <a:gd name="T144" fmla="*/ 1157 h 1157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359" h="1157">
                    <a:moveTo>
                      <a:pt x="0" y="21"/>
                    </a:moveTo>
                    <a:lnTo>
                      <a:pt x="5" y="23"/>
                    </a:lnTo>
                    <a:lnTo>
                      <a:pt x="10" y="24"/>
                    </a:lnTo>
                    <a:lnTo>
                      <a:pt x="47" y="35"/>
                    </a:lnTo>
                    <a:lnTo>
                      <a:pt x="84" y="44"/>
                    </a:lnTo>
                    <a:lnTo>
                      <a:pt x="122" y="53"/>
                    </a:lnTo>
                    <a:lnTo>
                      <a:pt x="161" y="60"/>
                    </a:lnTo>
                    <a:lnTo>
                      <a:pt x="201" y="66"/>
                    </a:lnTo>
                    <a:lnTo>
                      <a:pt x="241" y="70"/>
                    </a:lnTo>
                    <a:lnTo>
                      <a:pt x="280" y="74"/>
                    </a:lnTo>
                    <a:lnTo>
                      <a:pt x="322" y="77"/>
                    </a:lnTo>
                    <a:lnTo>
                      <a:pt x="362" y="80"/>
                    </a:lnTo>
                    <a:lnTo>
                      <a:pt x="402" y="80"/>
                    </a:lnTo>
                    <a:lnTo>
                      <a:pt x="443" y="80"/>
                    </a:lnTo>
                    <a:lnTo>
                      <a:pt x="483" y="80"/>
                    </a:lnTo>
                    <a:lnTo>
                      <a:pt x="522" y="77"/>
                    </a:lnTo>
                    <a:lnTo>
                      <a:pt x="562" y="75"/>
                    </a:lnTo>
                    <a:lnTo>
                      <a:pt x="601" y="72"/>
                    </a:lnTo>
                    <a:lnTo>
                      <a:pt x="640" y="69"/>
                    </a:lnTo>
                    <a:lnTo>
                      <a:pt x="683" y="64"/>
                    </a:lnTo>
                    <a:lnTo>
                      <a:pt x="727" y="58"/>
                    </a:lnTo>
                    <a:lnTo>
                      <a:pt x="769" y="51"/>
                    </a:lnTo>
                    <a:lnTo>
                      <a:pt x="810" y="42"/>
                    </a:lnTo>
                    <a:lnTo>
                      <a:pt x="852" y="33"/>
                    </a:lnTo>
                    <a:lnTo>
                      <a:pt x="893" y="23"/>
                    </a:lnTo>
                    <a:lnTo>
                      <a:pt x="933" y="12"/>
                    </a:lnTo>
                    <a:lnTo>
                      <a:pt x="974" y="0"/>
                    </a:lnTo>
                    <a:lnTo>
                      <a:pt x="983" y="24"/>
                    </a:lnTo>
                    <a:lnTo>
                      <a:pt x="991" y="46"/>
                    </a:lnTo>
                    <a:lnTo>
                      <a:pt x="1001" y="69"/>
                    </a:lnTo>
                    <a:lnTo>
                      <a:pt x="1011" y="93"/>
                    </a:lnTo>
                    <a:lnTo>
                      <a:pt x="1042" y="167"/>
                    </a:lnTo>
                    <a:lnTo>
                      <a:pt x="1072" y="243"/>
                    </a:lnTo>
                    <a:lnTo>
                      <a:pt x="1101" y="316"/>
                    </a:lnTo>
                    <a:lnTo>
                      <a:pt x="1129" y="391"/>
                    </a:lnTo>
                    <a:lnTo>
                      <a:pt x="1155" y="463"/>
                    </a:lnTo>
                    <a:lnTo>
                      <a:pt x="1180" y="534"/>
                    </a:lnTo>
                    <a:lnTo>
                      <a:pt x="1204" y="606"/>
                    </a:lnTo>
                    <a:lnTo>
                      <a:pt x="1227" y="675"/>
                    </a:lnTo>
                    <a:lnTo>
                      <a:pt x="1248" y="742"/>
                    </a:lnTo>
                    <a:lnTo>
                      <a:pt x="1268" y="808"/>
                    </a:lnTo>
                    <a:lnTo>
                      <a:pt x="1287" y="873"/>
                    </a:lnTo>
                    <a:lnTo>
                      <a:pt x="1304" y="934"/>
                    </a:lnTo>
                    <a:lnTo>
                      <a:pt x="1320" y="994"/>
                    </a:lnTo>
                    <a:lnTo>
                      <a:pt x="1334" y="1050"/>
                    </a:lnTo>
                    <a:lnTo>
                      <a:pt x="1348" y="1105"/>
                    </a:lnTo>
                    <a:lnTo>
                      <a:pt x="1359" y="1156"/>
                    </a:lnTo>
                    <a:lnTo>
                      <a:pt x="1305" y="1157"/>
                    </a:lnTo>
                    <a:lnTo>
                      <a:pt x="1241" y="1156"/>
                    </a:lnTo>
                    <a:lnTo>
                      <a:pt x="1169" y="1153"/>
                    </a:lnTo>
                    <a:lnTo>
                      <a:pt x="1092" y="1147"/>
                    </a:lnTo>
                    <a:lnTo>
                      <a:pt x="1050" y="1144"/>
                    </a:lnTo>
                    <a:lnTo>
                      <a:pt x="1009" y="1139"/>
                    </a:lnTo>
                    <a:lnTo>
                      <a:pt x="966" y="1134"/>
                    </a:lnTo>
                    <a:lnTo>
                      <a:pt x="923" y="1129"/>
                    </a:lnTo>
                    <a:lnTo>
                      <a:pt x="880" y="1123"/>
                    </a:lnTo>
                    <a:lnTo>
                      <a:pt x="836" y="1117"/>
                    </a:lnTo>
                    <a:lnTo>
                      <a:pt x="793" y="1109"/>
                    </a:lnTo>
                    <a:lnTo>
                      <a:pt x="749" y="1101"/>
                    </a:lnTo>
                    <a:lnTo>
                      <a:pt x="706" y="1093"/>
                    </a:lnTo>
                    <a:lnTo>
                      <a:pt x="665" y="1084"/>
                    </a:lnTo>
                    <a:lnTo>
                      <a:pt x="622" y="1074"/>
                    </a:lnTo>
                    <a:lnTo>
                      <a:pt x="582" y="1063"/>
                    </a:lnTo>
                    <a:lnTo>
                      <a:pt x="543" y="1051"/>
                    </a:lnTo>
                    <a:lnTo>
                      <a:pt x="506" y="1040"/>
                    </a:lnTo>
                    <a:lnTo>
                      <a:pt x="469" y="1027"/>
                    </a:lnTo>
                    <a:lnTo>
                      <a:pt x="435" y="1013"/>
                    </a:lnTo>
                    <a:lnTo>
                      <a:pt x="403" y="999"/>
                    </a:lnTo>
                    <a:lnTo>
                      <a:pt x="373" y="983"/>
                    </a:lnTo>
                    <a:lnTo>
                      <a:pt x="345" y="968"/>
                    </a:lnTo>
                    <a:lnTo>
                      <a:pt x="321" y="951"/>
                    </a:lnTo>
                    <a:lnTo>
                      <a:pt x="298" y="933"/>
                    </a:lnTo>
                    <a:lnTo>
                      <a:pt x="279" y="915"/>
                    </a:lnTo>
                    <a:lnTo>
                      <a:pt x="264" y="895"/>
                    </a:lnTo>
                    <a:lnTo>
                      <a:pt x="251" y="875"/>
                    </a:lnTo>
                    <a:lnTo>
                      <a:pt x="242" y="830"/>
                    </a:lnTo>
                    <a:lnTo>
                      <a:pt x="232" y="785"/>
                    </a:lnTo>
                    <a:lnTo>
                      <a:pt x="221" y="738"/>
                    </a:lnTo>
                    <a:lnTo>
                      <a:pt x="210" y="691"/>
                    </a:lnTo>
                    <a:lnTo>
                      <a:pt x="199" y="643"/>
                    </a:lnTo>
                    <a:lnTo>
                      <a:pt x="185" y="593"/>
                    </a:lnTo>
                    <a:lnTo>
                      <a:pt x="172" y="544"/>
                    </a:lnTo>
                    <a:lnTo>
                      <a:pt x="158" y="494"/>
                    </a:lnTo>
                    <a:lnTo>
                      <a:pt x="144" y="443"/>
                    </a:lnTo>
                    <a:lnTo>
                      <a:pt x="128" y="393"/>
                    </a:lnTo>
                    <a:lnTo>
                      <a:pt x="112" y="341"/>
                    </a:lnTo>
                    <a:lnTo>
                      <a:pt x="95" y="290"/>
                    </a:lnTo>
                    <a:lnTo>
                      <a:pt x="79" y="239"/>
                    </a:lnTo>
                    <a:lnTo>
                      <a:pt x="61" y="188"/>
                    </a:lnTo>
                    <a:lnTo>
                      <a:pt x="43" y="137"/>
                    </a:lnTo>
                    <a:lnTo>
                      <a:pt x="24" y="87"/>
                    </a:lnTo>
                    <a:lnTo>
                      <a:pt x="18" y="70"/>
                    </a:lnTo>
                    <a:lnTo>
                      <a:pt x="12" y="54"/>
                    </a:lnTo>
                    <a:lnTo>
                      <a:pt x="6" y="37"/>
                    </a:lnTo>
                    <a:lnTo>
                      <a:pt x="0" y="21"/>
                    </a:lnTo>
                    <a:close/>
                  </a:path>
                </a:pathLst>
              </a:custGeom>
              <a:solidFill>
                <a:srgbClr val="AF34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99" name="Freeform 34"/>
              <p:cNvSpPr>
                <a:spLocks noEditPoints="1"/>
              </p:cNvSpPr>
              <p:nvPr/>
            </p:nvSpPr>
            <p:spPr bwMode="auto">
              <a:xfrm>
                <a:off x="3982" y="970"/>
                <a:ext cx="202" cy="758"/>
              </a:xfrm>
              <a:custGeom>
                <a:avLst/>
                <a:gdLst>
                  <a:gd name="T0" fmla="*/ 0 w 1411"/>
                  <a:gd name="T1" fmla="*/ 0 h 5305"/>
                  <a:gd name="T2" fmla="*/ 0 w 1411"/>
                  <a:gd name="T3" fmla="*/ 0 h 5305"/>
                  <a:gd name="T4" fmla="*/ 0 w 1411"/>
                  <a:gd name="T5" fmla="*/ 0 h 5305"/>
                  <a:gd name="T6" fmla="*/ 0 w 1411"/>
                  <a:gd name="T7" fmla="*/ 0 h 5305"/>
                  <a:gd name="T8" fmla="*/ 0 w 1411"/>
                  <a:gd name="T9" fmla="*/ 0 h 5305"/>
                  <a:gd name="T10" fmla="*/ 0 w 1411"/>
                  <a:gd name="T11" fmla="*/ 0 h 5305"/>
                  <a:gd name="T12" fmla="*/ 0 w 1411"/>
                  <a:gd name="T13" fmla="*/ 0 h 5305"/>
                  <a:gd name="T14" fmla="*/ 0 w 1411"/>
                  <a:gd name="T15" fmla="*/ 0 h 5305"/>
                  <a:gd name="T16" fmla="*/ 0 w 1411"/>
                  <a:gd name="T17" fmla="*/ 0 h 5305"/>
                  <a:gd name="T18" fmla="*/ 0 w 1411"/>
                  <a:gd name="T19" fmla="*/ 0 h 5305"/>
                  <a:gd name="T20" fmla="*/ 0 w 1411"/>
                  <a:gd name="T21" fmla="*/ 0 h 5305"/>
                  <a:gd name="T22" fmla="*/ 0 w 1411"/>
                  <a:gd name="T23" fmla="*/ 0 h 5305"/>
                  <a:gd name="T24" fmla="*/ 0 w 1411"/>
                  <a:gd name="T25" fmla="*/ 0 h 5305"/>
                  <a:gd name="T26" fmla="*/ 0 w 1411"/>
                  <a:gd name="T27" fmla="*/ 0 h 5305"/>
                  <a:gd name="T28" fmla="*/ 0 w 1411"/>
                  <a:gd name="T29" fmla="*/ 0 h 5305"/>
                  <a:gd name="T30" fmla="*/ 0 w 1411"/>
                  <a:gd name="T31" fmla="*/ 0 h 5305"/>
                  <a:gd name="T32" fmla="*/ 0 w 1411"/>
                  <a:gd name="T33" fmla="*/ 0 h 5305"/>
                  <a:gd name="T34" fmla="*/ 0 w 1411"/>
                  <a:gd name="T35" fmla="*/ 0 h 5305"/>
                  <a:gd name="T36" fmla="*/ 0 w 1411"/>
                  <a:gd name="T37" fmla="*/ 0 h 5305"/>
                  <a:gd name="T38" fmla="*/ 0 w 1411"/>
                  <a:gd name="T39" fmla="*/ 0 h 5305"/>
                  <a:gd name="T40" fmla="*/ 0 w 1411"/>
                  <a:gd name="T41" fmla="*/ 0 h 5305"/>
                  <a:gd name="T42" fmla="*/ 0 w 1411"/>
                  <a:gd name="T43" fmla="*/ 0 h 5305"/>
                  <a:gd name="T44" fmla="*/ 0 w 1411"/>
                  <a:gd name="T45" fmla="*/ 0 h 5305"/>
                  <a:gd name="T46" fmla="*/ 0 w 1411"/>
                  <a:gd name="T47" fmla="*/ 0 h 5305"/>
                  <a:gd name="T48" fmla="*/ 0 w 1411"/>
                  <a:gd name="T49" fmla="*/ 0 h 5305"/>
                  <a:gd name="T50" fmla="*/ 0 w 1411"/>
                  <a:gd name="T51" fmla="*/ 0 h 5305"/>
                  <a:gd name="T52" fmla="*/ 0 w 1411"/>
                  <a:gd name="T53" fmla="*/ 0 h 5305"/>
                  <a:gd name="T54" fmla="*/ 0 w 1411"/>
                  <a:gd name="T55" fmla="*/ 0 h 5305"/>
                  <a:gd name="T56" fmla="*/ 0 w 1411"/>
                  <a:gd name="T57" fmla="*/ 0 h 5305"/>
                  <a:gd name="T58" fmla="*/ 0 w 1411"/>
                  <a:gd name="T59" fmla="*/ 0 h 5305"/>
                  <a:gd name="T60" fmla="*/ 0 w 1411"/>
                  <a:gd name="T61" fmla="*/ 0 h 5305"/>
                  <a:gd name="T62" fmla="*/ 0 w 1411"/>
                  <a:gd name="T63" fmla="*/ 0 h 5305"/>
                  <a:gd name="T64" fmla="*/ 0 w 1411"/>
                  <a:gd name="T65" fmla="*/ 0 h 5305"/>
                  <a:gd name="T66" fmla="*/ 0 w 1411"/>
                  <a:gd name="T67" fmla="*/ 0 h 5305"/>
                  <a:gd name="T68" fmla="*/ 0 w 1411"/>
                  <a:gd name="T69" fmla="*/ 0 h 5305"/>
                  <a:gd name="T70" fmla="*/ 0 w 1411"/>
                  <a:gd name="T71" fmla="*/ 0 h 5305"/>
                  <a:gd name="T72" fmla="*/ 0 w 1411"/>
                  <a:gd name="T73" fmla="*/ 0 h 5305"/>
                  <a:gd name="T74" fmla="*/ 0 w 1411"/>
                  <a:gd name="T75" fmla="*/ 0 h 5305"/>
                  <a:gd name="T76" fmla="*/ 0 w 1411"/>
                  <a:gd name="T77" fmla="*/ 0 h 5305"/>
                  <a:gd name="T78" fmla="*/ 0 w 1411"/>
                  <a:gd name="T79" fmla="*/ 0 h 5305"/>
                  <a:gd name="T80" fmla="*/ 0 w 1411"/>
                  <a:gd name="T81" fmla="*/ 0 h 5305"/>
                  <a:gd name="T82" fmla="*/ 0 w 1411"/>
                  <a:gd name="T83" fmla="*/ 0 h 5305"/>
                  <a:gd name="T84" fmla="*/ 0 w 1411"/>
                  <a:gd name="T85" fmla="*/ 0 h 5305"/>
                  <a:gd name="T86" fmla="*/ 0 w 1411"/>
                  <a:gd name="T87" fmla="*/ 0 h 5305"/>
                  <a:gd name="T88" fmla="*/ 0 w 1411"/>
                  <a:gd name="T89" fmla="*/ 0 h 5305"/>
                  <a:gd name="T90" fmla="*/ 0 w 1411"/>
                  <a:gd name="T91" fmla="*/ 0 h 5305"/>
                  <a:gd name="T92" fmla="*/ 0 w 1411"/>
                  <a:gd name="T93" fmla="*/ 0 h 5305"/>
                  <a:gd name="T94" fmla="*/ 0 w 1411"/>
                  <a:gd name="T95" fmla="*/ 0 h 5305"/>
                  <a:gd name="T96" fmla="*/ 0 w 1411"/>
                  <a:gd name="T97" fmla="*/ 0 h 5305"/>
                  <a:gd name="T98" fmla="*/ 0 w 1411"/>
                  <a:gd name="T99" fmla="*/ 0 h 5305"/>
                  <a:gd name="T100" fmla="*/ 0 w 1411"/>
                  <a:gd name="T101" fmla="*/ 0 h 5305"/>
                  <a:gd name="T102" fmla="*/ 0 w 1411"/>
                  <a:gd name="T103" fmla="*/ 0 h 5305"/>
                  <a:gd name="T104" fmla="*/ 0 w 1411"/>
                  <a:gd name="T105" fmla="*/ 0 h 5305"/>
                  <a:gd name="T106" fmla="*/ 0 w 1411"/>
                  <a:gd name="T107" fmla="*/ 0 h 5305"/>
                  <a:gd name="T108" fmla="*/ 0 w 1411"/>
                  <a:gd name="T109" fmla="*/ 0 h 5305"/>
                  <a:gd name="T110" fmla="*/ 0 w 1411"/>
                  <a:gd name="T111" fmla="*/ 0 h 5305"/>
                  <a:gd name="T112" fmla="*/ 0 w 1411"/>
                  <a:gd name="T113" fmla="*/ 0 h 5305"/>
                  <a:gd name="T114" fmla="*/ 0 w 1411"/>
                  <a:gd name="T115" fmla="*/ 0 h 5305"/>
                  <a:gd name="T116" fmla="*/ 0 w 1411"/>
                  <a:gd name="T117" fmla="*/ 0 h 5305"/>
                  <a:gd name="T118" fmla="*/ 0 w 1411"/>
                  <a:gd name="T119" fmla="*/ 0 h 5305"/>
                  <a:gd name="T120" fmla="*/ 0 w 1411"/>
                  <a:gd name="T121" fmla="*/ 0 h 5305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1411"/>
                  <a:gd name="T184" fmla="*/ 0 h 5305"/>
                  <a:gd name="T185" fmla="*/ 1411 w 1411"/>
                  <a:gd name="T186" fmla="*/ 5305 h 5305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1411" h="5305">
                    <a:moveTo>
                      <a:pt x="187" y="22"/>
                    </a:moveTo>
                    <a:lnTo>
                      <a:pt x="184" y="79"/>
                    </a:lnTo>
                    <a:lnTo>
                      <a:pt x="181" y="137"/>
                    </a:lnTo>
                    <a:lnTo>
                      <a:pt x="177" y="194"/>
                    </a:lnTo>
                    <a:lnTo>
                      <a:pt x="173" y="249"/>
                    </a:lnTo>
                    <a:lnTo>
                      <a:pt x="168" y="306"/>
                    </a:lnTo>
                    <a:lnTo>
                      <a:pt x="162" y="362"/>
                    </a:lnTo>
                    <a:lnTo>
                      <a:pt x="156" y="417"/>
                    </a:lnTo>
                    <a:lnTo>
                      <a:pt x="150" y="473"/>
                    </a:lnTo>
                    <a:lnTo>
                      <a:pt x="143" y="528"/>
                    </a:lnTo>
                    <a:lnTo>
                      <a:pt x="137" y="581"/>
                    </a:lnTo>
                    <a:lnTo>
                      <a:pt x="129" y="636"/>
                    </a:lnTo>
                    <a:lnTo>
                      <a:pt x="122" y="690"/>
                    </a:lnTo>
                    <a:lnTo>
                      <a:pt x="114" y="744"/>
                    </a:lnTo>
                    <a:lnTo>
                      <a:pt x="107" y="797"/>
                    </a:lnTo>
                    <a:lnTo>
                      <a:pt x="99" y="850"/>
                    </a:lnTo>
                    <a:lnTo>
                      <a:pt x="91" y="903"/>
                    </a:lnTo>
                    <a:lnTo>
                      <a:pt x="75" y="1020"/>
                    </a:lnTo>
                    <a:lnTo>
                      <a:pt x="58" y="1136"/>
                    </a:lnTo>
                    <a:lnTo>
                      <a:pt x="43" y="1251"/>
                    </a:lnTo>
                    <a:lnTo>
                      <a:pt x="29" y="1366"/>
                    </a:lnTo>
                    <a:lnTo>
                      <a:pt x="23" y="1423"/>
                    </a:lnTo>
                    <a:lnTo>
                      <a:pt x="18" y="1481"/>
                    </a:lnTo>
                    <a:lnTo>
                      <a:pt x="13" y="1538"/>
                    </a:lnTo>
                    <a:lnTo>
                      <a:pt x="8" y="1596"/>
                    </a:lnTo>
                    <a:lnTo>
                      <a:pt x="5" y="1653"/>
                    </a:lnTo>
                    <a:lnTo>
                      <a:pt x="2" y="1711"/>
                    </a:lnTo>
                    <a:lnTo>
                      <a:pt x="1" y="1768"/>
                    </a:lnTo>
                    <a:lnTo>
                      <a:pt x="0" y="1825"/>
                    </a:lnTo>
                    <a:lnTo>
                      <a:pt x="0" y="1883"/>
                    </a:lnTo>
                    <a:lnTo>
                      <a:pt x="2" y="1941"/>
                    </a:lnTo>
                    <a:lnTo>
                      <a:pt x="4" y="1999"/>
                    </a:lnTo>
                    <a:lnTo>
                      <a:pt x="7" y="2058"/>
                    </a:lnTo>
                    <a:lnTo>
                      <a:pt x="13" y="2116"/>
                    </a:lnTo>
                    <a:lnTo>
                      <a:pt x="19" y="2175"/>
                    </a:lnTo>
                    <a:lnTo>
                      <a:pt x="26" y="2234"/>
                    </a:lnTo>
                    <a:lnTo>
                      <a:pt x="35" y="2293"/>
                    </a:lnTo>
                    <a:lnTo>
                      <a:pt x="46" y="2352"/>
                    </a:lnTo>
                    <a:lnTo>
                      <a:pt x="57" y="2412"/>
                    </a:lnTo>
                    <a:lnTo>
                      <a:pt x="70" y="2472"/>
                    </a:lnTo>
                    <a:lnTo>
                      <a:pt x="86" y="2532"/>
                    </a:lnTo>
                    <a:lnTo>
                      <a:pt x="104" y="2593"/>
                    </a:lnTo>
                    <a:lnTo>
                      <a:pt x="122" y="2654"/>
                    </a:lnTo>
                    <a:lnTo>
                      <a:pt x="143" y="2715"/>
                    </a:lnTo>
                    <a:lnTo>
                      <a:pt x="164" y="2777"/>
                    </a:lnTo>
                    <a:lnTo>
                      <a:pt x="200" y="2870"/>
                    </a:lnTo>
                    <a:lnTo>
                      <a:pt x="232" y="2961"/>
                    </a:lnTo>
                    <a:lnTo>
                      <a:pt x="263" y="3050"/>
                    </a:lnTo>
                    <a:lnTo>
                      <a:pt x="291" y="3135"/>
                    </a:lnTo>
                    <a:lnTo>
                      <a:pt x="316" y="3219"/>
                    </a:lnTo>
                    <a:lnTo>
                      <a:pt x="341" y="3302"/>
                    </a:lnTo>
                    <a:lnTo>
                      <a:pt x="363" y="3383"/>
                    </a:lnTo>
                    <a:lnTo>
                      <a:pt x="383" y="3462"/>
                    </a:lnTo>
                    <a:lnTo>
                      <a:pt x="400" y="3540"/>
                    </a:lnTo>
                    <a:lnTo>
                      <a:pt x="416" y="3616"/>
                    </a:lnTo>
                    <a:lnTo>
                      <a:pt x="429" y="3691"/>
                    </a:lnTo>
                    <a:lnTo>
                      <a:pt x="441" y="3765"/>
                    </a:lnTo>
                    <a:lnTo>
                      <a:pt x="451" y="3839"/>
                    </a:lnTo>
                    <a:lnTo>
                      <a:pt x="458" y="3911"/>
                    </a:lnTo>
                    <a:lnTo>
                      <a:pt x="463" y="3983"/>
                    </a:lnTo>
                    <a:lnTo>
                      <a:pt x="466" y="4056"/>
                    </a:lnTo>
                    <a:lnTo>
                      <a:pt x="467" y="4127"/>
                    </a:lnTo>
                    <a:lnTo>
                      <a:pt x="466" y="4198"/>
                    </a:lnTo>
                    <a:lnTo>
                      <a:pt x="463" y="4270"/>
                    </a:lnTo>
                    <a:lnTo>
                      <a:pt x="458" y="4342"/>
                    </a:lnTo>
                    <a:lnTo>
                      <a:pt x="451" y="4415"/>
                    </a:lnTo>
                    <a:lnTo>
                      <a:pt x="441" y="4487"/>
                    </a:lnTo>
                    <a:lnTo>
                      <a:pt x="431" y="4560"/>
                    </a:lnTo>
                    <a:lnTo>
                      <a:pt x="418" y="4635"/>
                    </a:lnTo>
                    <a:lnTo>
                      <a:pt x="402" y="4709"/>
                    </a:lnTo>
                    <a:lnTo>
                      <a:pt x="385" y="4786"/>
                    </a:lnTo>
                    <a:lnTo>
                      <a:pt x="366" y="4863"/>
                    </a:lnTo>
                    <a:lnTo>
                      <a:pt x="344" y="4942"/>
                    </a:lnTo>
                    <a:lnTo>
                      <a:pt x="322" y="5023"/>
                    </a:lnTo>
                    <a:lnTo>
                      <a:pt x="296" y="5105"/>
                    </a:lnTo>
                    <a:lnTo>
                      <a:pt x="269" y="5189"/>
                    </a:lnTo>
                    <a:lnTo>
                      <a:pt x="239" y="5275"/>
                    </a:lnTo>
                    <a:lnTo>
                      <a:pt x="229" y="5305"/>
                    </a:lnTo>
                    <a:lnTo>
                      <a:pt x="1247" y="5299"/>
                    </a:lnTo>
                    <a:lnTo>
                      <a:pt x="1252" y="5283"/>
                    </a:lnTo>
                    <a:lnTo>
                      <a:pt x="1275" y="5202"/>
                    </a:lnTo>
                    <a:lnTo>
                      <a:pt x="1297" y="5123"/>
                    </a:lnTo>
                    <a:lnTo>
                      <a:pt x="1318" y="5045"/>
                    </a:lnTo>
                    <a:lnTo>
                      <a:pt x="1335" y="4968"/>
                    </a:lnTo>
                    <a:lnTo>
                      <a:pt x="1352" y="4892"/>
                    </a:lnTo>
                    <a:lnTo>
                      <a:pt x="1366" y="4817"/>
                    </a:lnTo>
                    <a:lnTo>
                      <a:pt x="1379" y="4742"/>
                    </a:lnTo>
                    <a:lnTo>
                      <a:pt x="1389" y="4669"/>
                    </a:lnTo>
                    <a:lnTo>
                      <a:pt x="1397" y="4595"/>
                    </a:lnTo>
                    <a:lnTo>
                      <a:pt x="1404" y="4523"/>
                    </a:lnTo>
                    <a:lnTo>
                      <a:pt x="1408" y="4451"/>
                    </a:lnTo>
                    <a:lnTo>
                      <a:pt x="1410" y="4378"/>
                    </a:lnTo>
                    <a:lnTo>
                      <a:pt x="1411" y="4306"/>
                    </a:lnTo>
                    <a:lnTo>
                      <a:pt x="1409" y="4234"/>
                    </a:lnTo>
                    <a:lnTo>
                      <a:pt x="1406" y="4161"/>
                    </a:lnTo>
                    <a:lnTo>
                      <a:pt x="1399" y="4088"/>
                    </a:lnTo>
                    <a:lnTo>
                      <a:pt x="1392" y="4014"/>
                    </a:lnTo>
                    <a:lnTo>
                      <a:pt x="1382" y="3940"/>
                    </a:lnTo>
                    <a:lnTo>
                      <a:pt x="1369" y="3865"/>
                    </a:lnTo>
                    <a:lnTo>
                      <a:pt x="1356" y="3789"/>
                    </a:lnTo>
                    <a:lnTo>
                      <a:pt x="1339" y="3712"/>
                    </a:lnTo>
                    <a:lnTo>
                      <a:pt x="1322" y="3635"/>
                    </a:lnTo>
                    <a:lnTo>
                      <a:pt x="1301" y="3555"/>
                    </a:lnTo>
                    <a:lnTo>
                      <a:pt x="1278" y="3475"/>
                    </a:lnTo>
                    <a:lnTo>
                      <a:pt x="1254" y="3393"/>
                    </a:lnTo>
                    <a:lnTo>
                      <a:pt x="1227" y="3309"/>
                    </a:lnTo>
                    <a:lnTo>
                      <a:pt x="1198" y="3223"/>
                    </a:lnTo>
                    <a:lnTo>
                      <a:pt x="1167" y="3136"/>
                    </a:lnTo>
                    <a:lnTo>
                      <a:pt x="1134" y="3048"/>
                    </a:lnTo>
                    <a:lnTo>
                      <a:pt x="1098" y="2956"/>
                    </a:lnTo>
                    <a:lnTo>
                      <a:pt x="1060" y="2862"/>
                    </a:lnTo>
                    <a:lnTo>
                      <a:pt x="1020" y="2766"/>
                    </a:lnTo>
                    <a:lnTo>
                      <a:pt x="994" y="2704"/>
                    </a:lnTo>
                    <a:lnTo>
                      <a:pt x="971" y="2642"/>
                    </a:lnTo>
                    <a:lnTo>
                      <a:pt x="949" y="2580"/>
                    </a:lnTo>
                    <a:lnTo>
                      <a:pt x="929" y="2519"/>
                    </a:lnTo>
                    <a:lnTo>
                      <a:pt x="911" y="2458"/>
                    </a:lnTo>
                    <a:lnTo>
                      <a:pt x="894" y="2397"/>
                    </a:lnTo>
                    <a:lnTo>
                      <a:pt x="879" y="2336"/>
                    </a:lnTo>
                    <a:lnTo>
                      <a:pt x="865" y="2276"/>
                    </a:lnTo>
                    <a:lnTo>
                      <a:pt x="853" y="2216"/>
                    </a:lnTo>
                    <a:lnTo>
                      <a:pt x="842" y="2156"/>
                    </a:lnTo>
                    <a:lnTo>
                      <a:pt x="833" y="2096"/>
                    </a:lnTo>
                    <a:lnTo>
                      <a:pt x="825" y="2036"/>
                    </a:lnTo>
                    <a:lnTo>
                      <a:pt x="818" y="1977"/>
                    </a:lnTo>
                    <a:lnTo>
                      <a:pt x="811" y="1917"/>
                    </a:lnTo>
                    <a:lnTo>
                      <a:pt x="807" y="1858"/>
                    </a:lnTo>
                    <a:lnTo>
                      <a:pt x="803" y="1798"/>
                    </a:lnTo>
                    <a:lnTo>
                      <a:pt x="800" y="1739"/>
                    </a:lnTo>
                    <a:lnTo>
                      <a:pt x="799" y="1681"/>
                    </a:lnTo>
                    <a:lnTo>
                      <a:pt x="798" y="1622"/>
                    </a:lnTo>
                    <a:lnTo>
                      <a:pt x="798" y="1563"/>
                    </a:lnTo>
                    <a:lnTo>
                      <a:pt x="798" y="1504"/>
                    </a:lnTo>
                    <a:lnTo>
                      <a:pt x="799" y="1444"/>
                    </a:lnTo>
                    <a:lnTo>
                      <a:pt x="801" y="1385"/>
                    </a:lnTo>
                    <a:lnTo>
                      <a:pt x="804" y="1326"/>
                    </a:lnTo>
                    <a:lnTo>
                      <a:pt x="810" y="1207"/>
                    </a:lnTo>
                    <a:lnTo>
                      <a:pt x="818" y="1088"/>
                    </a:lnTo>
                    <a:lnTo>
                      <a:pt x="827" y="968"/>
                    </a:lnTo>
                    <a:lnTo>
                      <a:pt x="836" y="848"/>
                    </a:lnTo>
                    <a:lnTo>
                      <a:pt x="839" y="799"/>
                    </a:lnTo>
                    <a:lnTo>
                      <a:pt x="843" y="749"/>
                    </a:lnTo>
                    <a:lnTo>
                      <a:pt x="848" y="699"/>
                    </a:lnTo>
                    <a:lnTo>
                      <a:pt x="851" y="649"/>
                    </a:lnTo>
                    <a:lnTo>
                      <a:pt x="855" y="598"/>
                    </a:lnTo>
                    <a:lnTo>
                      <a:pt x="858" y="548"/>
                    </a:lnTo>
                    <a:lnTo>
                      <a:pt x="861" y="497"/>
                    </a:lnTo>
                    <a:lnTo>
                      <a:pt x="864" y="446"/>
                    </a:lnTo>
                    <a:lnTo>
                      <a:pt x="867" y="394"/>
                    </a:lnTo>
                    <a:lnTo>
                      <a:pt x="870" y="343"/>
                    </a:lnTo>
                    <a:lnTo>
                      <a:pt x="872" y="291"/>
                    </a:lnTo>
                    <a:lnTo>
                      <a:pt x="874" y="238"/>
                    </a:lnTo>
                    <a:lnTo>
                      <a:pt x="875" y="186"/>
                    </a:lnTo>
                    <a:lnTo>
                      <a:pt x="876" y="133"/>
                    </a:lnTo>
                    <a:lnTo>
                      <a:pt x="878" y="80"/>
                    </a:lnTo>
                    <a:lnTo>
                      <a:pt x="878" y="26"/>
                    </a:lnTo>
                    <a:lnTo>
                      <a:pt x="878" y="4"/>
                    </a:lnTo>
                    <a:lnTo>
                      <a:pt x="188" y="0"/>
                    </a:lnTo>
                    <a:lnTo>
                      <a:pt x="187" y="22"/>
                    </a:lnTo>
                    <a:close/>
                    <a:moveTo>
                      <a:pt x="510" y="4131"/>
                    </a:moveTo>
                    <a:lnTo>
                      <a:pt x="510" y="4092"/>
                    </a:lnTo>
                    <a:lnTo>
                      <a:pt x="509" y="4054"/>
                    </a:lnTo>
                    <a:lnTo>
                      <a:pt x="507" y="4014"/>
                    </a:lnTo>
                    <a:lnTo>
                      <a:pt x="504" y="3975"/>
                    </a:lnTo>
                    <a:lnTo>
                      <a:pt x="502" y="3936"/>
                    </a:lnTo>
                    <a:lnTo>
                      <a:pt x="499" y="3896"/>
                    </a:lnTo>
                    <a:lnTo>
                      <a:pt x="495" y="3857"/>
                    </a:lnTo>
                    <a:lnTo>
                      <a:pt x="491" y="3818"/>
                    </a:lnTo>
                    <a:lnTo>
                      <a:pt x="486" y="3778"/>
                    </a:lnTo>
                    <a:lnTo>
                      <a:pt x="480" y="3738"/>
                    </a:lnTo>
                    <a:lnTo>
                      <a:pt x="473" y="3698"/>
                    </a:lnTo>
                    <a:lnTo>
                      <a:pt x="467" y="3657"/>
                    </a:lnTo>
                    <a:lnTo>
                      <a:pt x="452" y="3575"/>
                    </a:lnTo>
                    <a:lnTo>
                      <a:pt x="434" y="3492"/>
                    </a:lnTo>
                    <a:lnTo>
                      <a:pt x="415" y="3407"/>
                    </a:lnTo>
                    <a:lnTo>
                      <a:pt x="392" y="3322"/>
                    </a:lnTo>
                    <a:lnTo>
                      <a:pt x="367" y="3233"/>
                    </a:lnTo>
                    <a:lnTo>
                      <a:pt x="340" y="3143"/>
                    </a:lnTo>
                    <a:lnTo>
                      <a:pt x="310" y="3051"/>
                    </a:lnTo>
                    <a:lnTo>
                      <a:pt x="278" y="2957"/>
                    </a:lnTo>
                    <a:lnTo>
                      <a:pt x="243" y="2860"/>
                    </a:lnTo>
                    <a:lnTo>
                      <a:pt x="207" y="2761"/>
                    </a:lnTo>
                    <a:lnTo>
                      <a:pt x="185" y="2701"/>
                    </a:lnTo>
                    <a:lnTo>
                      <a:pt x="166" y="2642"/>
                    </a:lnTo>
                    <a:lnTo>
                      <a:pt x="147" y="2583"/>
                    </a:lnTo>
                    <a:lnTo>
                      <a:pt x="130" y="2524"/>
                    </a:lnTo>
                    <a:lnTo>
                      <a:pt x="116" y="2466"/>
                    </a:lnTo>
                    <a:lnTo>
                      <a:pt x="102" y="2409"/>
                    </a:lnTo>
                    <a:lnTo>
                      <a:pt x="91" y="2351"/>
                    </a:lnTo>
                    <a:lnTo>
                      <a:pt x="81" y="2294"/>
                    </a:lnTo>
                    <a:lnTo>
                      <a:pt x="73" y="2236"/>
                    </a:lnTo>
                    <a:lnTo>
                      <a:pt x="64" y="2179"/>
                    </a:lnTo>
                    <a:lnTo>
                      <a:pt x="58" y="2122"/>
                    </a:lnTo>
                    <a:lnTo>
                      <a:pt x="54" y="2066"/>
                    </a:lnTo>
                    <a:lnTo>
                      <a:pt x="50" y="2009"/>
                    </a:lnTo>
                    <a:lnTo>
                      <a:pt x="48" y="1954"/>
                    </a:lnTo>
                    <a:lnTo>
                      <a:pt x="46" y="1898"/>
                    </a:lnTo>
                    <a:lnTo>
                      <a:pt x="46" y="1841"/>
                    </a:lnTo>
                    <a:lnTo>
                      <a:pt x="46" y="1783"/>
                    </a:lnTo>
                    <a:lnTo>
                      <a:pt x="48" y="1725"/>
                    </a:lnTo>
                    <a:lnTo>
                      <a:pt x="50" y="1667"/>
                    </a:lnTo>
                    <a:lnTo>
                      <a:pt x="53" y="1609"/>
                    </a:lnTo>
                    <a:lnTo>
                      <a:pt x="57" y="1551"/>
                    </a:lnTo>
                    <a:lnTo>
                      <a:pt x="62" y="1493"/>
                    </a:lnTo>
                    <a:lnTo>
                      <a:pt x="67" y="1435"/>
                    </a:lnTo>
                    <a:lnTo>
                      <a:pt x="74" y="1378"/>
                    </a:lnTo>
                    <a:lnTo>
                      <a:pt x="80" y="1319"/>
                    </a:lnTo>
                    <a:lnTo>
                      <a:pt x="87" y="1261"/>
                    </a:lnTo>
                    <a:lnTo>
                      <a:pt x="94" y="1203"/>
                    </a:lnTo>
                    <a:lnTo>
                      <a:pt x="102" y="1145"/>
                    </a:lnTo>
                    <a:lnTo>
                      <a:pt x="110" y="1086"/>
                    </a:lnTo>
                    <a:lnTo>
                      <a:pt x="118" y="1027"/>
                    </a:lnTo>
                    <a:lnTo>
                      <a:pt x="127" y="969"/>
                    </a:lnTo>
                    <a:lnTo>
                      <a:pt x="136" y="910"/>
                    </a:lnTo>
                    <a:lnTo>
                      <a:pt x="143" y="857"/>
                    </a:lnTo>
                    <a:lnTo>
                      <a:pt x="151" y="806"/>
                    </a:lnTo>
                    <a:lnTo>
                      <a:pt x="158" y="753"/>
                    </a:lnTo>
                    <a:lnTo>
                      <a:pt x="166" y="700"/>
                    </a:lnTo>
                    <a:lnTo>
                      <a:pt x="173" y="648"/>
                    </a:lnTo>
                    <a:lnTo>
                      <a:pt x="180" y="595"/>
                    </a:lnTo>
                    <a:lnTo>
                      <a:pt x="186" y="541"/>
                    </a:lnTo>
                    <a:lnTo>
                      <a:pt x="193" y="487"/>
                    </a:lnTo>
                    <a:lnTo>
                      <a:pt x="200" y="434"/>
                    </a:lnTo>
                    <a:lnTo>
                      <a:pt x="205" y="379"/>
                    </a:lnTo>
                    <a:lnTo>
                      <a:pt x="211" y="324"/>
                    </a:lnTo>
                    <a:lnTo>
                      <a:pt x="215" y="269"/>
                    </a:lnTo>
                    <a:lnTo>
                      <a:pt x="220" y="213"/>
                    </a:lnTo>
                    <a:lnTo>
                      <a:pt x="224" y="157"/>
                    </a:lnTo>
                    <a:lnTo>
                      <a:pt x="228" y="102"/>
                    </a:lnTo>
                    <a:lnTo>
                      <a:pt x="231" y="45"/>
                    </a:lnTo>
                    <a:lnTo>
                      <a:pt x="266" y="46"/>
                    </a:lnTo>
                    <a:lnTo>
                      <a:pt x="335" y="46"/>
                    </a:lnTo>
                    <a:lnTo>
                      <a:pt x="427" y="47"/>
                    </a:lnTo>
                    <a:lnTo>
                      <a:pt x="530" y="47"/>
                    </a:lnTo>
                    <a:lnTo>
                      <a:pt x="634" y="48"/>
                    </a:lnTo>
                    <a:lnTo>
                      <a:pt x="727" y="48"/>
                    </a:lnTo>
                    <a:lnTo>
                      <a:pt x="796" y="49"/>
                    </a:lnTo>
                    <a:lnTo>
                      <a:pt x="832" y="49"/>
                    </a:lnTo>
                    <a:lnTo>
                      <a:pt x="832" y="101"/>
                    </a:lnTo>
                    <a:lnTo>
                      <a:pt x="831" y="151"/>
                    </a:lnTo>
                    <a:lnTo>
                      <a:pt x="830" y="203"/>
                    </a:lnTo>
                    <a:lnTo>
                      <a:pt x="828" y="254"/>
                    </a:lnTo>
                    <a:lnTo>
                      <a:pt x="826" y="304"/>
                    </a:lnTo>
                    <a:lnTo>
                      <a:pt x="824" y="355"/>
                    </a:lnTo>
                    <a:lnTo>
                      <a:pt x="822" y="405"/>
                    </a:lnTo>
                    <a:lnTo>
                      <a:pt x="819" y="454"/>
                    </a:lnTo>
                    <a:lnTo>
                      <a:pt x="816" y="504"/>
                    </a:lnTo>
                    <a:lnTo>
                      <a:pt x="812" y="553"/>
                    </a:lnTo>
                    <a:lnTo>
                      <a:pt x="809" y="602"/>
                    </a:lnTo>
                    <a:lnTo>
                      <a:pt x="806" y="652"/>
                    </a:lnTo>
                    <a:lnTo>
                      <a:pt x="802" y="700"/>
                    </a:lnTo>
                    <a:lnTo>
                      <a:pt x="799" y="748"/>
                    </a:lnTo>
                    <a:lnTo>
                      <a:pt x="795" y="796"/>
                    </a:lnTo>
                    <a:lnTo>
                      <a:pt x="791" y="844"/>
                    </a:lnTo>
                    <a:lnTo>
                      <a:pt x="788" y="891"/>
                    </a:lnTo>
                    <a:lnTo>
                      <a:pt x="783" y="937"/>
                    </a:lnTo>
                    <a:lnTo>
                      <a:pt x="780" y="984"/>
                    </a:lnTo>
                    <a:lnTo>
                      <a:pt x="777" y="1030"/>
                    </a:lnTo>
                    <a:lnTo>
                      <a:pt x="773" y="1077"/>
                    </a:lnTo>
                    <a:lnTo>
                      <a:pt x="770" y="1122"/>
                    </a:lnTo>
                    <a:lnTo>
                      <a:pt x="767" y="1169"/>
                    </a:lnTo>
                    <a:lnTo>
                      <a:pt x="765" y="1214"/>
                    </a:lnTo>
                    <a:lnTo>
                      <a:pt x="762" y="1261"/>
                    </a:lnTo>
                    <a:lnTo>
                      <a:pt x="760" y="1306"/>
                    </a:lnTo>
                    <a:lnTo>
                      <a:pt x="758" y="1352"/>
                    </a:lnTo>
                    <a:lnTo>
                      <a:pt x="756" y="1397"/>
                    </a:lnTo>
                    <a:lnTo>
                      <a:pt x="755" y="1444"/>
                    </a:lnTo>
                    <a:lnTo>
                      <a:pt x="754" y="1489"/>
                    </a:lnTo>
                    <a:lnTo>
                      <a:pt x="752" y="1535"/>
                    </a:lnTo>
                    <a:lnTo>
                      <a:pt x="752" y="1580"/>
                    </a:lnTo>
                    <a:lnTo>
                      <a:pt x="754" y="1655"/>
                    </a:lnTo>
                    <a:lnTo>
                      <a:pt x="756" y="1728"/>
                    </a:lnTo>
                    <a:lnTo>
                      <a:pt x="759" y="1802"/>
                    </a:lnTo>
                    <a:lnTo>
                      <a:pt x="763" y="1876"/>
                    </a:lnTo>
                    <a:lnTo>
                      <a:pt x="769" y="1949"/>
                    </a:lnTo>
                    <a:lnTo>
                      <a:pt x="777" y="2024"/>
                    </a:lnTo>
                    <a:lnTo>
                      <a:pt x="788" y="2098"/>
                    </a:lnTo>
                    <a:lnTo>
                      <a:pt x="799" y="2173"/>
                    </a:lnTo>
                    <a:lnTo>
                      <a:pt x="806" y="2211"/>
                    </a:lnTo>
                    <a:lnTo>
                      <a:pt x="813" y="2248"/>
                    </a:lnTo>
                    <a:lnTo>
                      <a:pt x="821" y="2285"/>
                    </a:lnTo>
                    <a:lnTo>
                      <a:pt x="830" y="2324"/>
                    </a:lnTo>
                    <a:lnTo>
                      <a:pt x="838" y="2361"/>
                    </a:lnTo>
                    <a:lnTo>
                      <a:pt x="848" y="2399"/>
                    </a:lnTo>
                    <a:lnTo>
                      <a:pt x="858" y="2437"/>
                    </a:lnTo>
                    <a:lnTo>
                      <a:pt x="869" y="2475"/>
                    </a:lnTo>
                    <a:lnTo>
                      <a:pt x="881" y="2513"/>
                    </a:lnTo>
                    <a:lnTo>
                      <a:pt x="892" y="2551"/>
                    </a:lnTo>
                    <a:lnTo>
                      <a:pt x="905" y="2590"/>
                    </a:lnTo>
                    <a:lnTo>
                      <a:pt x="919" y="2629"/>
                    </a:lnTo>
                    <a:lnTo>
                      <a:pt x="932" y="2667"/>
                    </a:lnTo>
                    <a:lnTo>
                      <a:pt x="947" y="2706"/>
                    </a:lnTo>
                    <a:lnTo>
                      <a:pt x="962" y="2745"/>
                    </a:lnTo>
                    <a:lnTo>
                      <a:pt x="979" y="2784"/>
                    </a:lnTo>
                    <a:lnTo>
                      <a:pt x="1026" y="2899"/>
                    </a:lnTo>
                    <a:lnTo>
                      <a:pt x="1071" y="3009"/>
                    </a:lnTo>
                    <a:lnTo>
                      <a:pt x="1112" y="3117"/>
                    </a:lnTo>
                    <a:lnTo>
                      <a:pt x="1150" y="3221"/>
                    </a:lnTo>
                    <a:lnTo>
                      <a:pt x="1168" y="3273"/>
                    </a:lnTo>
                    <a:lnTo>
                      <a:pt x="1184" y="3324"/>
                    </a:lnTo>
                    <a:lnTo>
                      <a:pt x="1201" y="3374"/>
                    </a:lnTo>
                    <a:lnTo>
                      <a:pt x="1216" y="3423"/>
                    </a:lnTo>
                    <a:lnTo>
                      <a:pt x="1231" y="3473"/>
                    </a:lnTo>
                    <a:lnTo>
                      <a:pt x="1245" y="3521"/>
                    </a:lnTo>
                    <a:lnTo>
                      <a:pt x="1258" y="3569"/>
                    </a:lnTo>
                    <a:lnTo>
                      <a:pt x="1270" y="3616"/>
                    </a:lnTo>
                    <a:lnTo>
                      <a:pt x="1283" y="3663"/>
                    </a:lnTo>
                    <a:lnTo>
                      <a:pt x="1293" y="3709"/>
                    </a:lnTo>
                    <a:lnTo>
                      <a:pt x="1303" y="3755"/>
                    </a:lnTo>
                    <a:lnTo>
                      <a:pt x="1313" y="3801"/>
                    </a:lnTo>
                    <a:lnTo>
                      <a:pt x="1321" y="3846"/>
                    </a:lnTo>
                    <a:lnTo>
                      <a:pt x="1329" y="3891"/>
                    </a:lnTo>
                    <a:lnTo>
                      <a:pt x="1335" y="3936"/>
                    </a:lnTo>
                    <a:lnTo>
                      <a:pt x="1341" y="3980"/>
                    </a:lnTo>
                    <a:lnTo>
                      <a:pt x="1348" y="4025"/>
                    </a:lnTo>
                    <a:lnTo>
                      <a:pt x="1352" y="4068"/>
                    </a:lnTo>
                    <a:lnTo>
                      <a:pt x="1356" y="4112"/>
                    </a:lnTo>
                    <a:lnTo>
                      <a:pt x="1360" y="4156"/>
                    </a:lnTo>
                    <a:lnTo>
                      <a:pt x="1362" y="4199"/>
                    </a:lnTo>
                    <a:lnTo>
                      <a:pt x="1364" y="4242"/>
                    </a:lnTo>
                    <a:lnTo>
                      <a:pt x="1365" y="4285"/>
                    </a:lnTo>
                    <a:lnTo>
                      <a:pt x="1365" y="4329"/>
                    </a:lnTo>
                    <a:lnTo>
                      <a:pt x="1365" y="4385"/>
                    </a:lnTo>
                    <a:lnTo>
                      <a:pt x="1363" y="4440"/>
                    </a:lnTo>
                    <a:lnTo>
                      <a:pt x="1360" y="4496"/>
                    </a:lnTo>
                    <a:lnTo>
                      <a:pt x="1356" y="4552"/>
                    </a:lnTo>
                    <a:lnTo>
                      <a:pt x="1350" y="4608"/>
                    </a:lnTo>
                    <a:lnTo>
                      <a:pt x="1344" y="4665"/>
                    </a:lnTo>
                    <a:lnTo>
                      <a:pt x="1335" y="4721"/>
                    </a:lnTo>
                    <a:lnTo>
                      <a:pt x="1327" y="4777"/>
                    </a:lnTo>
                    <a:lnTo>
                      <a:pt x="1317" y="4835"/>
                    </a:lnTo>
                    <a:lnTo>
                      <a:pt x="1305" y="4893"/>
                    </a:lnTo>
                    <a:lnTo>
                      <a:pt x="1293" y="4952"/>
                    </a:lnTo>
                    <a:lnTo>
                      <a:pt x="1279" y="5011"/>
                    </a:lnTo>
                    <a:lnTo>
                      <a:pt x="1264" y="5070"/>
                    </a:lnTo>
                    <a:lnTo>
                      <a:pt x="1248" y="5131"/>
                    </a:lnTo>
                    <a:lnTo>
                      <a:pt x="1231" y="5192"/>
                    </a:lnTo>
                    <a:lnTo>
                      <a:pt x="1213" y="5254"/>
                    </a:lnTo>
                    <a:lnTo>
                      <a:pt x="1198" y="5254"/>
                    </a:lnTo>
                    <a:lnTo>
                      <a:pt x="1167" y="5254"/>
                    </a:lnTo>
                    <a:lnTo>
                      <a:pt x="1121" y="5254"/>
                    </a:lnTo>
                    <a:lnTo>
                      <a:pt x="1064" y="5255"/>
                    </a:lnTo>
                    <a:lnTo>
                      <a:pt x="996" y="5255"/>
                    </a:lnTo>
                    <a:lnTo>
                      <a:pt x="922" y="5255"/>
                    </a:lnTo>
                    <a:lnTo>
                      <a:pt x="843" y="5256"/>
                    </a:lnTo>
                    <a:lnTo>
                      <a:pt x="762" y="5256"/>
                    </a:lnTo>
                    <a:lnTo>
                      <a:pt x="679" y="5257"/>
                    </a:lnTo>
                    <a:lnTo>
                      <a:pt x="600" y="5257"/>
                    </a:lnTo>
                    <a:lnTo>
                      <a:pt x="524" y="5258"/>
                    </a:lnTo>
                    <a:lnTo>
                      <a:pt x="455" y="5258"/>
                    </a:lnTo>
                    <a:lnTo>
                      <a:pt x="395" y="5259"/>
                    </a:lnTo>
                    <a:lnTo>
                      <a:pt x="345" y="5259"/>
                    </a:lnTo>
                    <a:lnTo>
                      <a:pt x="310" y="5259"/>
                    </a:lnTo>
                    <a:lnTo>
                      <a:pt x="292" y="5259"/>
                    </a:lnTo>
                    <a:lnTo>
                      <a:pt x="317" y="5182"/>
                    </a:lnTo>
                    <a:lnTo>
                      <a:pt x="342" y="5105"/>
                    </a:lnTo>
                    <a:lnTo>
                      <a:pt x="365" y="5030"/>
                    </a:lnTo>
                    <a:lnTo>
                      <a:pt x="386" y="4955"/>
                    </a:lnTo>
                    <a:lnTo>
                      <a:pt x="405" y="4883"/>
                    </a:lnTo>
                    <a:lnTo>
                      <a:pt x="424" y="4812"/>
                    </a:lnTo>
                    <a:lnTo>
                      <a:pt x="439" y="4740"/>
                    </a:lnTo>
                    <a:lnTo>
                      <a:pt x="454" y="4671"/>
                    </a:lnTo>
                    <a:lnTo>
                      <a:pt x="467" y="4602"/>
                    </a:lnTo>
                    <a:lnTo>
                      <a:pt x="479" y="4533"/>
                    </a:lnTo>
                    <a:lnTo>
                      <a:pt x="488" y="4465"/>
                    </a:lnTo>
                    <a:lnTo>
                      <a:pt x="495" y="4398"/>
                    </a:lnTo>
                    <a:lnTo>
                      <a:pt x="501" y="4331"/>
                    </a:lnTo>
                    <a:lnTo>
                      <a:pt x="507" y="4265"/>
                    </a:lnTo>
                    <a:lnTo>
                      <a:pt x="509" y="4197"/>
                    </a:lnTo>
                    <a:lnTo>
                      <a:pt x="510" y="4131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00" name="Freeform 35"/>
              <p:cNvSpPr>
                <a:spLocks noEditPoints="1"/>
              </p:cNvSpPr>
              <p:nvPr/>
            </p:nvSpPr>
            <p:spPr bwMode="auto">
              <a:xfrm>
                <a:off x="4044" y="1631"/>
                <a:ext cx="111" cy="79"/>
              </a:xfrm>
              <a:custGeom>
                <a:avLst/>
                <a:gdLst>
                  <a:gd name="T0" fmla="*/ 0 w 777"/>
                  <a:gd name="T1" fmla="*/ 0 h 553"/>
                  <a:gd name="T2" fmla="*/ 0 w 777"/>
                  <a:gd name="T3" fmla="*/ 0 h 553"/>
                  <a:gd name="T4" fmla="*/ 0 w 777"/>
                  <a:gd name="T5" fmla="*/ 0 h 553"/>
                  <a:gd name="T6" fmla="*/ 0 w 777"/>
                  <a:gd name="T7" fmla="*/ 0 h 553"/>
                  <a:gd name="T8" fmla="*/ 0 w 777"/>
                  <a:gd name="T9" fmla="*/ 0 h 553"/>
                  <a:gd name="T10" fmla="*/ 0 w 777"/>
                  <a:gd name="T11" fmla="*/ 0 h 553"/>
                  <a:gd name="T12" fmla="*/ 0 w 777"/>
                  <a:gd name="T13" fmla="*/ 0 h 553"/>
                  <a:gd name="T14" fmla="*/ 0 w 777"/>
                  <a:gd name="T15" fmla="*/ 0 h 553"/>
                  <a:gd name="T16" fmla="*/ 0 w 777"/>
                  <a:gd name="T17" fmla="*/ 0 h 553"/>
                  <a:gd name="T18" fmla="*/ 0 w 777"/>
                  <a:gd name="T19" fmla="*/ 0 h 553"/>
                  <a:gd name="T20" fmla="*/ 0 w 777"/>
                  <a:gd name="T21" fmla="*/ 0 h 553"/>
                  <a:gd name="T22" fmla="*/ 0 w 777"/>
                  <a:gd name="T23" fmla="*/ 0 h 553"/>
                  <a:gd name="T24" fmla="*/ 0 w 777"/>
                  <a:gd name="T25" fmla="*/ 0 h 553"/>
                  <a:gd name="T26" fmla="*/ 0 w 777"/>
                  <a:gd name="T27" fmla="*/ 0 h 553"/>
                  <a:gd name="T28" fmla="*/ 0 w 777"/>
                  <a:gd name="T29" fmla="*/ 0 h 553"/>
                  <a:gd name="T30" fmla="*/ 0 w 777"/>
                  <a:gd name="T31" fmla="*/ 0 h 553"/>
                  <a:gd name="T32" fmla="*/ 0 w 777"/>
                  <a:gd name="T33" fmla="*/ 0 h 553"/>
                  <a:gd name="T34" fmla="*/ 0 w 777"/>
                  <a:gd name="T35" fmla="*/ 0 h 553"/>
                  <a:gd name="T36" fmla="*/ 0 w 777"/>
                  <a:gd name="T37" fmla="*/ 0 h 553"/>
                  <a:gd name="T38" fmla="*/ 0 w 777"/>
                  <a:gd name="T39" fmla="*/ 0 h 553"/>
                  <a:gd name="T40" fmla="*/ 0 w 777"/>
                  <a:gd name="T41" fmla="*/ 0 h 553"/>
                  <a:gd name="T42" fmla="*/ 0 w 777"/>
                  <a:gd name="T43" fmla="*/ 0 h 553"/>
                  <a:gd name="T44" fmla="*/ 0 w 777"/>
                  <a:gd name="T45" fmla="*/ 0 h 553"/>
                  <a:gd name="T46" fmla="*/ 0 w 777"/>
                  <a:gd name="T47" fmla="*/ 0 h 553"/>
                  <a:gd name="T48" fmla="*/ 0 w 777"/>
                  <a:gd name="T49" fmla="*/ 0 h 553"/>
                  <a:gd name="T50" fmla="*/ 0 w 777"/>
                  <a:gd name="T51" fmla="*/ 0 h 553"/>
                  <a:gd name="T52" fmla="*/ 0 w 777"/>
                  <a:gd name="T53" fmla="*/ 0 h 553"/>
                  <a:gd name="T54" fmla="*/ 0 w 777"/>
                  <a:gd name="T55" fmla="*/ 0 h 553"/>
                  <a:gd name="T56" fmla="*/ 0 w 777"/>
                  <a:gd name="T57" fmla="*/ 0 h 553"/>
                  <a:gd name="T58" fmla="*/ 0 w 777"/>
                  <a:gd name="T59" fmla="*/ 0 h 553"/>
                  <a:gd name="T60" fmla="*/ 0 w 777"/>
                  <a:gd name="T61" fmla="*/ 0 h 553"/>
                  <a:gd name="T62" fmla="*/ 0 w 777"/>
                  <a:gd name="T63" fmla="*/ 0 h 553"/>
                  <a:gd name="T64" fmla="*/ 0 w 777"/>
                  <a:gd name="T65" fmla="*/ 0 h 553"/>
                  <a:gd name="T66" fmla="*/ 0 w 777"/>
                  <a:gd name="T67" fmla="*/ 0 h 553"/>
                  <a:gd name="T68" fmla="*/ 0 w 777"/>
                  <a:gd name="T69" fmla="*/ 0 h 553"/>
                  <a:gd name="T70" fmla="*/ 0 w 777"/>
                  <a:gd name="T71" fmla="*/ 0 h 553"/>
                  <a:gd name="T72" fmla="*/ 0 w 777"/>
                  <a:gd name="T73" fmla="*/ 0 h 553"/>
                  <a:gd name="T74" fmla="*/ 0 w 777"/>
                  <a:gd name="T75" fmla="*/ 0 h 553"/>
                  <a:gd name="T76" fmla="*/ 0 w 777"/>
                  <a:gd name="T77" fmla="*/ 0 h 553"/>
                  <a:gd name="T78" fmla="*/ 0 w 777"/>
                  <a:gd name="T79" fmla="*/ 0 h 553"/>
                  <a:gd name="T80" fmla="*/ 0 w 777"/>
                  <a:gd name="T81" fmla="*/ 0 h 553"/>
                  <a:gd name="T82" fmla="*/ 0 w 777"/>
                  <a:gd name="T83" fmla="*/ 0 h 553"/>
                  <a:gd name="T84" fmla="*/ 0 w 777"/>
                  <a:gd name="T85" fmla="*/ 0 h 553"/>
                  <a:gd name="T86" fmla="*/ 0 w 777"/>
                  <a:gd name="T87" fmla="*/ 0 h 553"/>
                  <a:gd name="T88" fmla="*/ 0 w 777"/>
                  <a:gd name="T89" fmla="*/ 0 h 553"/>
                  <a:gd name="T90" fmla="*/ 0 w 777"/>
                  <a:gd name="T91" fmla="*/ 0 h 553"/>
                  <a:gd name="T92" fmla="*/ 0 w 777"/>
                  <a:gd name="T93" fmla="*/ 0 h 553"/>
                  <a:gd name="T94" fmla="*/ 0 w 777"/>
                  <a:gd name="T95" fmla="*/ 0 h 553"/>
                  <a:gd name="T96" fmla="*/ 0 w 777"/>
                  <a:gd name="T97" fmla="*/ 0 h 553"/>
                  <a:gd name="T98" fmla="*/ 0 w 777"/>
                  <a:gd name="T99" fmla="*/ 0 h 553"/>
                  <a:gd name="T100" fmla="*/ 0 w 777"/>
                  <a:gd name="T101" fmla="*/ 0 h 553"/>
                  <a:gd name="T102" fmla="*/ 0 w 777"/>
                  <a:gd name="T103" fmla="*/ 0 h 553"/>
                  <a:gd name="T104" fmla="*/ 0 w 777"/>
                  <a:gd name="T105" fmla="*/ 0 h 553"/>
                  <a:gd name="T106" fmla="*/ 0 w 777"/>
                  <a:gd name="T107" fmla="*/ 0 h 553"/>
                  <a:gd name="T108" fmla="*/ 0 w 777"/>
                  <a:gd name="T109" fmla="*/ 0 h 553"/>
                  <a:gd name="T110" fmla="*/ 0 w 777"/>
                  <a:gd name="T111" fmla="*/ 0 h 553"/>
                  <a:gd name="T112" fmla="*/ 0 w 777"/>
                  <a:gd name="T113" fmla="*/ 0 h 553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777"/>
                  <a:gd name="T172" fmla="*/ 0 h 553"/>
                  <a:gd name="T173" fmla="*/ 777 w 777"/>
                  <a:gd name="T174" fmla="*/ 553 h 553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777" h="553">
                    <a:moveTo>
                      <a:pt x="125" y="0"/>
                    </a:moveTo>
                    <a:lnTo>
                      <a:pt x="123" y="15"/>
                    </a:lnTo>
                    <a:lnTo>
                      <a:pt x="114" y="73"/>
                    </a:lnTo>
                    <a:lnTo>
                      <a:pt x="103" y="132"/>
                    </a:lnTo>
                    <a:lnTo>
                      <a:pt x="92" y="194"/>
                    </a:lnTo>
                    <a:lnTo>
                      <a:pt x="78" y="257"/>
                    </a:lnTo>
                    <a:lnTo>
                      <a:pt x="63" y="322"/>
                    </a:lnTo>
                    <a:lnTo>
                      <a:pt x="46" y="389"/>
                    </a:lnTo>
                    <a:lnTo>
                      <a:pt x="27" y="460"/>
                    </a:lnTo>
                    <a:lnTo>
                      <a:pt x="6" y="532"/>
                    </a:lnTo>
                    <a:lnTo>
                      <a:pt x="0" y="553"/>
                    </a:lnTo>
                    <a:lnTo>
                      <a:pt x="684" y="549"/>
                    </a:lnTo>
                    <a:lnTo>
                      <a:pt x="687" y="536"/>
                    </a:lnTo>
                    <a:lnTo>
                      <a:pt x="705" y="466"/>
                    </a:lnTo>
                    <a:lnTo>
                      <a:pt x="720" y="397"/>
                    </a:lnTo>
                    <a:lnTo>
                      <a:pt x="734" y="329"/>
                    </a:lnTo>
                    <a:lnTo>
                      <a:pt x="746" y="264"/>
                    </a:lnTo>
                    <a:lnTo>
                      <a:pt x="757" y="200"/>
                    </a:lnTo>
                    <a:lnTo>
                      <a:pt x="765" y="138"/>
                    </a:lnTo>
                    <a:lnTo>
                      <a:pt x="771" y="78"/>
                    </a:lnTo>
                    <a:lnTo>
                      <a:pt x="776" y="19"/>
                    </a:lnTo>
                    <a:lnTo>
                      <a:pt x="777" y="0"/>
                    </a:lnTo>
                    <a:lnTo>
                      <a:pt x="139" y="0"/>
                    </a:lnTo>
                    <a:lnTo>
                      <a:pt x="125" y="0"/>
                    </a:lnTo>
                    <a:close/>
                    <a:moveTo>
                      <a:pt x="742" y="35"/>
                    </a:moveTo>
                    <a:lnTo>
                      <a:pt x="737" y="89"/>
                    </a:lnTo>
                    <a:lnTo>
                      <a:pt x="731" y="146"/>
                    </a:lnTo>
                    <a:lnTo>
                      <a:pt x="722" y="203"/>
                    </a:lnTo>
                    <a:lnTo>
                      <a:pt x="713" y="263"/>
                    </a:lnTo>
                    <a:lnTo>
                      <a:pt x="702" y="323"/>
                    </a:lnTo>
                    <a:lnTo>
                      <a:pt x="689" y="386"/>
                    </a:lnTo>
                    <a:lnTo>
                      <a:pt x="675" y="450"/>
                    </a:lnTo>
                    <a:lnTo>
                      <a:pt x="659" y="515"/>
                    </a:lnTo>
                    <a:lnTo>
                      <a:pt x="627" y="516"/>
                    </a:lnTo>
                    <a:lnTo>
                      <a:pt x="559" y="516"/>
                    </a:lnTo>
                    <a:lnTo>
                      <a:pt x="464" y="518"/>
                    </a:lnTo>
                    <a:lnTo>
                      <a:pt x="358" y="518"/>
                    </a:lnTo>
                    <a:lnTo>
                      <a:pt x="249" y="519"/>
                    </a:lnTo>
                    <a:lnTo>
                      <a:pt x="153" y="519"/>
                    </a:lnTo>
                    <a:lnTo>
                      <a:pt x="80" y="520"/>
                    </a:lnTo>
                    <a:lnTo>
                      <a:pt x="44" y="520"/>
                    </a:lnTo>
                    <a:lnTo>
                      <a:pt x="62" y="452"/>
                    </a:lnTo>
                    <a:lnTo>
                      <a:pt x="80" y="387"/>
                    </a:lnTo>
                    <a:lnTo>
                      <a:pt x="95" y="324"/>
                    </a:lnTo>
                    <a:lnTo>
                      <a:pt x="110" y="262"/>
                    </a:lnTo>
                    <a:lnTo>
                      <a:pt x="122" y="203"/>
                    </a:lnTo>
                    <a:lnTo>
                      <a:pt x="133" y="145"/>
                    </a:lnTo>
                    <a:lnTo>
                      <a:pt x="144" y="88"/>
                    </a:lnTo>
                    <a:lnTo>
                      <a:pt x="153" y="35"/>
                    </a:lnTo>
                    <a:lnTo>
                      <a:pt x="184" y="35"/>
                    </a:lnTo>
                    <a:lnTo>
                      <a:pt x="251" y="35"/>
                    </a:lnTo>
                    <a:lnTo>
                      <a:pt x="341" y="35"/>
                    </a:lnTo>
                    <a:lnTo>
                      <a:pt x="445" y="35"/>
                    </a:lnTo>
                    <a:lnTo>
                      <a:pt x="548" y="35"/>
                    </a:lnTo>
                    <a:lnTo>
                      <a:pt x="640" y="35"/>
                    </a:lnTo>
                    <a:lnTo>
                      <a:pt x="708" y="35"/>
                    </a:lnTo>
                    <a:lnTo>
                      <a:pt x="742" y="35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01" name="Freeform 36"/>
              <p:cNvSpPr>
                <a:spLocks noEditPoints="1"/>
              </p:cNvSpPr>
              <p:nvPr/>
            </p:nvSpPr>
            <p:spPr bwMode="auto">
              <a:xfrm>
                <a:off x="4057" y="1641"/>
                <a:ext cx="85" cy="60"/>
              </a:xfrm>
              <a:custGeom>
                <a:avLst/>
                <a:gdLst>
                  <a:gd name="T0" fmla="*/ 0 w 589"/>
                  <a:gd name="T1" fmla="*/ 0 h 421"/>
                  <a:gd name="T2" fmla="*/ 0 w 589"/>
                  <a:gd name="T3" fmla="*/ 0 h 421"/>
                  <a:gd name="T4" fmla="*/ 0 w 589"/>
                  <a:gd name="T5" fmla="*/ 0 h 421"/>
                  <a:gd name="T6" fmla="*/ 0 w 589"/>
                  <a:gd name="T7" fmla="*/ 0 h 421"/>
                  <a:gd name="T8" fmla="*/ 0 w 589"/>
                  <a:gd name="T9" fmla="*/ 0 h 421"/>
                  <a:gd name="T10" fmla="*/ 0 w 589"/>
                  <a:gd name="T11" fmla="*/ 0 h 421"/>
                  <a:gd name="T12" fmla="*/ 0 w 589"/>
                  <a:gd name="T13" fmla="*/ 0 h 421"/>
                  <a:gd name="T14" fmla="*/ 0 w 589"/>
                  <a:gd name="T15" fmla="*/ 0 h 421"/>
                  <a:gd name="T16" fmla="*/ 0 w 589"/>
                  <a:gd name="T17" fmla="*/ 0 h 421"/>
                  <a:gd name="T18" fmla="*/ 0 w 589"/>
                  <a:gd name="T19" fmla="*/ 0 h 421"/>
                  <a:gd name="T20" fmla="*/ 0 w 589"/>
                  <a:gd name="T21" fmla="*/ 0 h 421"/>
                  <a:gd name="T22" fmla="*/ 0 w 589"/>
                  <a:gd name="T23" fmla="*/ 0 h 421"/>
                  <a:gd name="T24" fmla="*/ 0 w 589"/>
                  <a:gd name="T25" fmla="*/ 0 h 421"/>
                  <a:gd name="T26" fmla="*/ 0 w 589"/>
                  <a:gd name="T27" fmla="*/ 0 h 421"/>
                  <a:gd name="T28" fmla="*/ 0 w 589"/>
                  <a:gd name="T29" fmla="*/ 0 h 421"/>
                  <a:gd name="T30" fmla="*/ 0 w 589"/>
                  <a:gd name="T31" fmla="*/ 0 h 421"/>
                  <a:gd name="T32" fmla="*/ 0 w 589"/>
                  <a:gd name="T33" fmla="*/ 0 h 421"/>
                  <a:gd name="T34" fmla="*/ 0 w 589"/>
                  <a:gd name="T35" fmla="*/ 0 h 421"/>
                  <a:gd name="T36" fmla="*/ 0 w 589"/>
                  <a:gd name="T37" fmla="*/ 0 h 421"/>
                  <a:gd name="T38" fmla="*/ 0 w 589"/>
                  <a:gd name="T39" fmla="*/ 0 h 421"/>
                  <a:gd name="T40" fmla="*/ 0 w 589"/>
                  <a:gd name="T41" fmla="*/ 0 h 421"/>
                  <a:gd name="T42" fmla="*/ 0 w 589"/>
                  <a:gd name="T43" fmla="*/ 0 h 421"/>
                  <a:gd name="T44" fmla="*/ 0 w 589"/>
                  <a:gd name="T45" fmla="*/ 0 h 421"/>
                  <a:gd name="T46" fmla="*/ 0 w 589"/>
                  <a:gd name="T47" fmla="*/ 0 h 421"/>
                  <a:gd name="T48" fmla="*/ 0 w 589"/>
                  <a:gd name="T49" fmla="*/ 0 h 421"/>
                  <a:gd name="T50" fmla="*/ 0 w 589"/>
                  <a:gd name="T51" fmla="*/ 0 h 421"/>
                  <a:gd name="T52" fmla="*/ 0 w 589"/>
                  <a:gd name="T53" fmla="*/ 0 h 421"/>
                  <a:gd name="T54" fmla="*/ 0 w 589"/>
                  <a:gd name="T55" fmla="*/ 0 h 421"/>
                  <a:gd name="T56" fmla="*/ 0 w 589"/>
                  <a:gd name="T57" fmla="*/ 0 h 421"/>
                  <a:gd name="T58" fmla="*/ 0 w 589"/>
                  <a:gd name="T59" fmla="*/ 0 h 421"/>
                  <a:gd name="T60" fmla="*/ 0 w 589"/>
                  <a:gd name="T61" fmla="*/ 0 h 421"/>
                  <a:gd name="T62" fmla="*/ 0 w 589"/>
                  <a:gd name="T63" fmla="*/ 0 h 421"/>
                  <a:gd name="T64" fmla="*/ 0 w 589"/>
                  <a:gd name="T65" fmla="*/ 0 h 421"/>
                  <a:gd name="T66" fmla="*/ 0 w 589"/>
                  <a:gd name="T67" fmla="*/ 0 h 421"/>
                  <a:gd name="T68" fmla="*/ 0 w 589"/>
                  <a:gd name="T69" fmla="*/ 0 h 421"/>
                  <a:gd name="T70" fmla="*/ 0 w 589"/>
                  <a:gd name="T71" fmla="*/ 0 h 421"/>
                  <a:gd name="T72" fmla="*/ 0 w 589"/>
                  <a:gd name="T73" fmla="*/ 0 h 421"/>
                  <a:gd name="T74" fmla="*/ 0 w 589"/>
                  <a:gd name="T75" fmla="*/ 0 h 421"/>
                  <a:gd name="T76" fmla="*/ 0 w 589"/>
                  <a:gd name="T77" fmla="*/ 0 h 421"/>
                  <a:gd name="T78" fmla="*/ 0 w 589"/>
                  <a:gd name="T79" fmla="*/ 0 h 421"/>
                  <a:gd name="T80" fmla="*/ 0 w 589"/>
                  <a:gd name="T81" fmla="*/ 0 h 421"/>
                  <a:gd name="T82" fmla="*/ 0 w 589"/>
                  <a:gd name="T83" fmla="*/ 0 h 421"/>
                  <a:gd name="T84" fmla="*/ 0 w 589"/>
                  <a:gd name="T85" fmla="*/ 0 h 421"/>
                  <a:gd name="T86" fmla="*/ 0 w 589"/>
                  <a:gd name="T87" fmla="*/ 0 h 421"/>
                  <a:gd name="T88" fmla="*/ 0 w 589"/>
                  <a:gd name="T89" fmla="*/ 0 h 421"/>
                  <a:gd name="T90" fmla="*/ 0 w 589"/>
                  <a:gd name="T91" fmla="*/ 0 h 421"/>
                  <a:gd name="T92" fmla="*/ 0 w 589"/>
                  <a:gd name="T93" fmla="*/ 0 h 421"/>
                  <a:gd name="T94" fmla="*/ 0 w 589"/>
                  <a:gd name="T95" fmla="*/ 0 h 421"/>
                  <a:gd name="T96" fmla="*/ 0 w 589"/>
                  <a:gd name="T97" fmla="*/ 0 h 421"/>
                  <a:gd name="T98" fmla="*/ 0 w 589"/>
                  <a:gd name="T99" fmla="*/ 0 h 421"/>
                  <a:gd name="T100" fmla="*/ 0 w 589"/>
                  <a:gd name="T101" fmla="*/ 0 h 421"/>
                  <a:gd name="T102" fmla="*/ 0 w 589"/>
                  <a:gd name="T103" fmla="*/ 0 h 421"/>
                  <a:gd name="T104" fmla="*/ 0 w 589"/>
                  <a:gd name="T105" fmla="*/ 0 h 421"/>
                  <a:gd name="T106" fmla="*/ 0 w 589"/>
                  <a:gd name="T107" fmla="*/ 0 h 421"/>
                  <a:gd name="T108" fmla="*/ 0 w 589"/>
                  <a:gd name="T109" fmla="*/ 0 h 421"/>
                  <a:gd name="T110" fmla="*/ 0 w 589"/>
                  <a:gd name="T111" fmla="*/ 0 h 421"/>
                  <a:gd name="T112" fmla="*/ 0 w 589"/>
                  <a:gd name="T113" fmla="*/ 0 h 421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589"/>
                  <a:gd name="T172" fmla="*/ 0 h 421"/>
                  <a:gd name="T173" fmla="*/ 589 w 589"/>
                  <a:gd name="T174" fmla="*/ 421 h 421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589" h="421">
                    <a:moveTo>
                      <a:pt x="95" y="0"/>
                    </a:moveTo>
                    <a:lnTo>
                      <a:pt x="93" y="14"/>
                    </a:lnTo>
                    <a:lnTo>
                      <a:pt x="87" y="57"/>
                    </a:lnTo>
                    <a:lnTo>
                      <a:pt x="79" y="101"/>
                    </a:lnTo>
                    <a:lnTo>
                      <a:pt x="69" y="147"/>
                    </a:lnTo>
                    <a:lnTo>
                      <a:pt x="60" y="194"/>
                    </a:lnTo>
                    <a:lnTo>
                      <a:pt x="48" y="243"/>
                    </a:lnTo>
                    <a:lnTo>
                      <a:pt x="35" y="292"/>
                    </a:lnTo>
                    <a:lnTo>
                      <a:pt x="22" y="345"/>
                    </a:lnTo>
                    <a:lnTo>
                      <a:pt x="6" y="399"/>
                    </a:lnTo>
                    <a:lnTo>
                      <a:pt x="0" y="421"/>
                    </a:lnTo>
                    <a:lnTo>
                      <a:pt x="519" y="416"/>
                    </a:lnTo>
                    <a:lnTo>
                      <a:pt x="522" y="405"/>
                    </a:lnTo>
                    <a:lnTo>
                      <a:pt x="534" y="351"/>
                    </a:lnTo>
                    <a:lnTo>
                      <a:pt x="547" y="300"/>
                    </a:lnTo>
                    <a:lnTo>
                      <a:pt x="557" y="250"/>
                    </a:lnTo>
                    <a:lnTo>
                      <a:pt x="565" y="201"/>
                    </a:lnTo>
                    <a:lnTo>
                      <a:pt x="574" y="154"/>
                    </a:lnTo>
                    <a:lnTo>
                      <a:pt x="580" y="107"/>
                    </a:lnTo>
                    <a:lnTo>
                      <a:pt x="584" y="62"/>
                    </a:lnTo>
                    <a:lnTo>
                      <a:pt x="588" y="17"/>
                    </a:lnTo>
                    <a:lnTo>
                      <a:pt x="589" y="0"/>
                    </a:lnTo>
                    <a:lnTo>
                      <a:pt x="109" y="0"/>
                    </a:lnTo>
                    <a:lnTo>
                      <a:pt x="95" y="0"/>
                    </a:lnTo>
                    <a:close/>
                    <a:moveTo>
                      <a:pt x="554" y="33"/>
                    </a:moveTo>
                    <a:lnTo>
                      <a:pt x="551" y="73"/>
                    </a:lnTo>
                    <a:lnTo>
                      <a:pt x="546" y="114"/>
                    </a:lnTo>
                    <a:lnTo>
                      <a:pt x="540" y="157"/>
                    </a:lnTo>
                    <a:lnTo>
                      <a:pt x="533" y="200"/>
                    </a:lnTo>
                    <a:lnTo>
                      <a:pt x="525" y="244"/>
                    </a:lnTo>
                    <a:lnTo>
                      <a:pt x="516" y="289"/>
                    </a:lnTo>
                    <a:lnTo>
                      <a:pt x="506" y="336"/>
                    </a:lnTo>
                    <a:lnTo>
                      <a:pt x="494" y="384"/>
                    </a:lnTo>
                    <a:lnTo>
                      <a:pt x="469" y="384"/>
                    </a:lnTo>
                    <a:lnTo>
                      <a:pt x="419" y="384"/>
                    </a:lnTo>
                    <a:lnTo>
                      <a:pt x="352" y="384"/>
                    </a:lnTo>
                    <a:lnTo>
                      <a:pt x="274" y="385"/>
                    </a:lnTo>
                    <a:lnTo>
                      <a:pt x="197" y="385"/>
                    </a:lnTo>
                    <a:lnTo>
                      <a:pt x="126" y="386"/>
                    </a:lnTo>
                    <a:lnTo>
                      <a:pt x="73" y="386"/>
                    </a:lnTo>
                    <a:lnTo>
                      <a:pt x="44" y="386"/>
                    </a:lnTo>
                    <a:lnTo>
                      <a:pt x="57" y="338"/>
                    </a:lnTo>
                    <a:lnTo>
                      <a:pt x="69" y="290"/>
                    </a:lnTo>
                    <a:lnTo>
                      <a:pt x="81" y="245"/>
                    </a:lnTo>
                    <a:lnTo>
                      <a:pt x="91" y="199"/>
                    </a:lnTo>
                    <a:lnTo>
                      <a:pt x="100" y="156"/>
                    </a:lnTo>
                    <a:lnTo>
                      <a:pt x="109" y="114"/>
                    </a:lnTo>
                    <a:lnTo>
                      <a:pt x="116" y="73"/>
                    </a:lnTo>
                    <a:lnTo>
                      <a:pt x="123" y="33"/>
                    </a:lnTo>
                    <a:lnTo>
                      <a:pt x="147" y="33"/>
                    </a:lnTo>
                    <a:lnTo>
                      <a:pt x="197" y="33"/>
                    </a:lnTo>
                    <a:lnTo>
                      <a:pt x="262" y="33"/>
                    </a:lnTo>
                    <a:lnTo>
                      <a:pt x="336" y="33"/>
                    </a:lnTo>
                    <a:lnTo>
                      <a:pt x="410" y="33"/>
                    </a:lnTo>
                    <a:lnTo>
                      <a:pt x="477" y="33"/>
                    </a:lnTo>
                    <a:lnTo>
                      <a:pt x="527" y="33"/>
                    </a:lnTo>
                    <a:lnTo>
                      <a:pt x="554" y="33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02" name="Freeform 37"/>
              <p:cNvSpPr>
                <a:spLocks noEditPoints="1"/>
              </p:cNvSpPr>
              <p:nvPr/>
            </p:nvSpPr>
            <p:spPr bwMode="auto">
              <a:xfrm>
                <a:off x="4072" y="1651"/>
                <a:ext cx="55" cy="40"/>
              </a:xfrm>
              <a:custGeom>
                <a:avLst/>
                <a:gdLst>
                  <a:gd name="T0" fmla="*/ 0 w 388"/>
                  <a:gd name="T1" fmla="*/ 0 h 278"/>
                  <a:gd name="T2" fmla="*/ 0 w 388"/>
                  <a:gd name="T3" fmla="*/ 0 h 278"/>
                  <a:gd name="T4" fmla="*/ 0 w 388"/>
                  <a:gd name="T5" fmla="*/ 0 h 278"/>
                  <a:gd name="T6" fmla="*/ 0 w 388"/>
                  <a:gd name="T7" fmla="*/ 0 h 278"/>
                  <a:gd name="T8" fmla="*/ 0 w 388"/>
                  <a:gd name="T9" fmla="*/ 0 h 278"/>
                  <a:gd name="T10" fmla="*/ 0 w 388"/>
                  <a:gd name="T11" fmla="*/ 0 h 278"/>
                  <a:gd name="T12" fmla="*/ 0 w 388"/>
                  <a:gd name="T13" fmla="*/ 0 h 278"/>
                  <a:gd name="T14" fmla="*/ 0 w 388"/>
                  <a:gd name="T15" fmla="*/ 0 h 278"/>
                  <a:gd name="T16" fmla="*/ 0 w 388"/>
                  <a:gd name="T17" fmla="*/ 0 h 278"/>
                  <a:gd name="T18" fmla="*/ 0 w 388"/>
                  <a:gd name="T19" fmla="*/ 0 h 278"/>
                  <a:gd name="T20" fmla="*/ 0 w 388"/>
                  <a:gd name="T21" fmla="*/ 0 h 278"/>
                  <a:gd name="T22" fmla="*/ 0 w 388"/>
                  <a:gd name="T23" fmla="*/ 0 h 278"/>
                  <a:gd name="T24" fmla="*/ 0 w 388"/>
                  <a:gd name="T25" fmla="*/ 0 h 278"/>
                  <a:gd name="T26" fmla="*/ 0 w 388"/>
                  <a:gd name="T27" fmla="*/ 0 h 278"/>
                  <a:gd name="T28" fmla="*/ 0 w 388"/>
                  <a:gd name="T29" fmla="*/ 0 h 278"/>
                  <a:gd name="T30" fmla="*/ 0 w 388"/>
                  <a:gd name="T31" fmla="*/ 0 h 278"/>
                  <a:gd name="T32" fmla="*/ 0 w 388"/>
                  <a:gd name="T33" fmla="*/ 0 h 278"/>
                  <a:gd name="T34" fmla="*/ 0 w 388"/>
                  <a:gd name="T35" fmla="*/ 0 h 278"/>
                  <a:gd name="T36" fmla="*/ 0 w 388"/>
                  <a:gd name="T37" fmla="*/ 0 h 278"/>
                  <a:gd name="T38" fmla="*/ 0 w 388"/>
                  <a:gd name="T39" fmla="*/ 0 h 278"/>
                  <a:gd name="T40" fmla="*/ 0 w 388"/>
                  <a:gd name="T41" fmla="*/ 0 h 278"/>
                  <a:gd name="T42" fmla="*/ 0 w 388"/>
                  <a:gd name="T43" fmla="*/ 0 h 278"/>
                  <a:gd name="T44" fmla="*/ 0 w 388"/>
                  <a:gd name="T45" fmla="*/ 0 h 278"/>
                  <a:gd name="T46" fmla="*/ 0 w 388"/>
                  <a:gd name="T47" fmla="*/ 0 h 278"/>
                  <a:gd name="T48" fmla="*/ 0 w 388"/>
                  <a:gd name="T49" fmla="*/ 0 h 278"/>
                  <a:gd name="T50" fmla="*/ 0 w 388"/>
                  <a:gd name="T51" fmla="*/ 0 h 278"/>
                  <a:gd name="T52" fmla="*/ 0 w 388"/>
                  <a:gd name="T53" fmla="*/ 0 h 278"/>
                  <a:gd name="T54" fmla="*/ 0 w 388"/>
                  <a:gd name="T55" fmla="*/ 0 h 278"/>
                  <a:gd name="T56" fmla="*/ 0 w 388"/>
                  <a:gd name="T57" fmla="*/ 0 h 278"/>
                  <a:gd name="T58" fmla="*/ 0 w 388"/>
                  <a:gd name="T59" fmla="*/ 0 h 278"/>
                  <a:gd name="T60" fmla="*/ 0 w 388"/>
                  <a:gd name="T61" fmla="*/ 0 h 278"/>
                  <a:gd name="T62" fmla="*/ 0 w 388"/>
                  <a:gd name="T63" fmla="*/ 0 h 278"/>
                  <a:gd name="T64" fmla="*/ 0 w 388"/>
                  <a:gd name="T65" fmla="*/ 0 h 278"/>
                  <a:gd name="T66" fmla="*/ 0 w 388"/>
                  <a:gd name="T67" fmla="*/ 0 h 278"/>
                  <a:gd name="T68" fmla="*/ 0 w 388"/>
                  <a:gd name="T69" fmla="*/ 0 h 278"/>
                  <a:gd name="T70" fmla="*/ 0 w 388"/>
                  <a:gd name="T71" fmla="*/ 0 h 278"/>
                  <a:gd name="T72" fmla="*/ 0 w 388"/>
                  <a:gd name="T73" fmla="*/ 0 h 278"/>
                  <a:gd name="T74" fmla="*/ 0 w 388"/>
                  <a:gd name="T75" fmla="*/ 0 h 278"/>
                  <a:gd name="T76" fmla="*/ 0 w 388"/>
                  <a:gd name="T77" fmla="*/ 0 h 278"/>
                  <a:gd name="T78" fmla="*/ 0 w 388"/>
                  <a:gd name="T79" fmla="*/ 0 h 278"/>
                  <a:gd name="T80" fmla="*/ 0 w 388"/>
                  <a:gd name="T81" fmla="*/ 0 h 278"/>
                  <a:gd name="T82" fmla="*/ 0 w 388"/>
                  <a:gd name="T83" fmla="*/ 0 h 278"/>
                  <a:gd name="T84" fmla="*/ 0 w 388"/>
                  <a:gd name="T85" fmla="*/ 0 h 278"/>
                  <a:gd name="T86" fmla="*/ 0 w 388"/>
                  <a:gd name="T87" fmla="*/ 0 h 278"/>
                  <a:gd name="T88" fmla="*/ 0 w 388"/>
                  <a:gd name="T89" fmla="*/ 0 h 278"/>
                  <a:gd name="T90" fmla="*/ 0 w 388"/>
                  <a:gd name="T91" fmla="*/ 0 h 278"/>
                  <a:gd name="T92" fmla="*/ 0 w 388"/>
                  <a:gd name="T93" fmla="*/ 0 h 278"/>
                  <a:gd name="T94" fmla="*/ 0 w 388"/>
                  <a:gd name="T95" fmla="*/ 0 h 278"/>
                  <a:gd name="T96" fmla="*/ 0 w 388"/>
                  <a:gd name="T97" fmla="*/ 0 h 278"/>
                  <a:gd name="T98" fmla="*/ 0 w 388"/>
                  <a:gd name="T99" fmla="*/ 0 h 278"/>
                  <a:gd name="T100" fmla="*/ 0 w 388"/>
                  <a:gd name="T101" fmla="*/ 0 h 278"/>
                  <a:gd name="T102" fmla="*/ 0 w 388"/>
                  <a:gd name="T103" fmla="*/ 0 h 278"/>
                  <a:gd name="T104" fmla="*/ 0 w 388"/>
                  <a:gd name="T105" fmla="*/ 0 h 278"/>
                  <a:gd name="T106" fmla="*/ 0 w 388"/>
                  <a:gd name="T107" fmla="*/ 0 h 278"/>
                  <a:gd name="T108" fmla="*/ 0 w 388"/>
                  <a:gd name="T109" fmla="*/ 0 h 278"/>
                  <a:gd name="T110" fmla="*/ 0 w 388"/>
                  <a:gd name="T111" fmla="*/ 0 h 278"/>
                  <a:gd name="T112" fmla="*/ 0 w 388"/>
                  <a:gd name="T113" fmla="*/ 0 h 278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88"/>
                  <a:gd name="T172" fmla="*/ 0 h 278"/>
                  <a:gd name="T173" fmla="*/ 388 w 388"/>
                  <a:gd name="T174" fmla="*/ 278 h 278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88" h="278">
                    <a:moveTo>
                      <a:pt x="64" y="0"/>
                    </a:moveTo>
                    <a:lnTo>
                      <a:pt x="61" y="14"/>
                    </a:lnTo>
                    <a:lnTo>
                      <a:pt x="57" y="41"/>
                    </a:lnTo>
                    <a:lnTo>
                      <a:pt x="52" y="69"/>
                    </a:lnTo>
                    <a:lnTo>
                      <a:pt x="46" y="98"/>
                    </a:lnTo>
                    <a:lnTo>
                      <a:pt x="40" y="127"/>
                    </a:lnTo>
                    <a:lnTo>
                      <a:pt x="33" y="158"/>
                    </a:lnTo>
                    <a:lnTo>
                      <a:pt x="24" y="190"/>
                    </a:lnTo>
                    <a:lnTo>
                      <a:pt x="16" y="222"/>
                    </a:lnTo>
                    <a:lnTo>
                      <a:pt x="7" y="256"/>
                    </a:lnTo>
                    <a:lnTo>
                      <a:pt x="0" y="278"/>
                    </a:lnTo>
                    <a:lnTo>
                      <a:pt x="341" y="276"/>
                    </a:lnTo>
                    <a:lnTo>
                      <a:pt x="345" y="264"/>
                    </a:lnTo>
                    <a:lnTo>
                      <a:pt x="353" y="230"/>
                    </a:lnTo>
                    <a:lnTo>
                      <a:pt x="360" y="198"/>
                    </a:lnTo>
                    <a:lnTo>
                      <a:pt x="366" y="165"/>
                    </a:lnTo>
                    <a:lnTo>
                      <a:pt x="372" y="134"/>
                    </a:lnTo>
                    <a:lnTo>
                      <a:pt x="377" y="104"/>
                    </a:lnTo>
                    <a:lnTo>
                      <a:pt x="381" y="74"/>
                    </a:lnTo>
                    <a:lnTo>
                      <a:pt x="384" y="46"/>
                    </a:lnTo>
                    <a:lnTo>
                      <a:pt x="386" y="18"/>
                    </a:lnTo>
                    <a:lnTo>
                      <a:pt x="388" y="0"/>
                    </a:lnTo>
                    <a:lnTo>
                      <a:pt x="77" y="0"/>
                    </a:lnTo>
                    <a:lnTo>
                      <a:pt x="64" y="0"/>
                    </a:lnTo>
                    <a:close/>
                    <a:moveTo>
                      <a:pt x="352" y="33"/>
                    </a:moveTo>
                    <a:lnTo>
                      <a:pt x="350" y="57"/>
                    </a:lnTo>
                    <a:lnTo>
                      <a:pt x="347" y="82"/>
                    </a:lnTo>
                    <a:lnTo>
                      <a:pt x="344" y="108"/>
                    </a:lnTo>
                    <a:lnTo>
                      <a:pt x="338" y="133"/>
                    </a:lnTo>
                    <a:lnTo>
                      <a:pt x="334" y="159"/>
                    </a:lnTo>
                    <a:lnTo>
                      <a:pt x="329" y="187"/>
                    </a:lnTo>
                    <a:lnTo>
                      <a:pt x="323" y="214"/>
                    </a:lnTo>
                    <a:lnTo>
                      <a:pt x="316" y="243"/>
                    </a:lnTo>
                    <a:lnTo>
                      <a:pt x="299" y="243"/>
                    </a:lnTo>
                    <a:lnTo>
                      <a:pt x="269" y="243"/>
                    </a:lnTo>
                    <a:lnTo>
                      <a:pt x="229" y="244"/>
                    </a:lnTo>
                    <a:lnTo>
                      <a:pt x="184" y="244"/>
                    </a:lnTo>
                    <a:lnTo>
                      <a:pt x="139" y="244"/>
                    </a:lnTo>
                    <a:lnTo>
                      <a:pt x="98" y="244"/>
                    </a:lnTo>
                    <a:lnTo>
                      <a:pt x="64" y="244"/>
                    </a:lnTo>
                    <a:lnTo>
                      <a:pt x="43" y="245"/>
                    </a:lnTo>
                    <a:lnTo>
                      <a:pt x="51" y="216"/>
                    </a:lnTo>
                    <a:lnTo>
                      <a:pt x="58" y="187"/>
                    </a:lnTo>
                    <a:lnTo>
                      <a:pt x="65" y="160"/>
                    </a:lnTo>
                    <a:lnTo>
                      <a:pt x="71" y="133"/>
                    </a:lnTo>
                    <a:lnTo>
                      <a:pt x="77" y="108"/>
                    </a:lnTo>
                    <a:lnTo>
                      <a:pt x="82" y="82"/>
                    </a:lnTo>
                    <a:lnTo>
                      <a:pt x="86" y="57"/>
                    </a:lnTo>
                    <a:lnTo>
                      <a:pt x="90" y="33"/>
                    </a:lnTo>
                    <a:lnTo>
                      <a:pt x="107" y="33"/>
                    </a:lnTo>
                    <a:lnTo>
                      <a:pt x="137" y="33"/>
                    </a:lnTo>
                    <a:lnTo>
                      <a:pt x="175" y="33"/>
                    </a:lnTo>
                    <a:lnTo>
                      <a:pt x="219" y="33"/>
                    </a:lnTo>
                    <a:lnTo>
                      <a:pt x="262" y="33"/>
                    </a:lnTo>
                    <a:lnTo>
                      <a:pt x="301" y="33"/>
                    </a:lnTo>
                    <a:lnTo>
                      <a:pt x="333" y="33"/>
                    </a:lnTo>
                    <a:lnTo>
                      <a:pt x="352" y="33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03" name="Freeform 38"/>
              <p:cNvSpPr>
                <a:spLocks/>
              </p:cNvSpPr>
              <p:nvPr/>
            </p:nvSpPr>
            <p:spPr bwMode="auto">
              <a:xfrm>
                <a:off x="4088" y="1662"/>
                <a:ext cx="24" cy="17"/>
              </a:xfrm>
              <a:custGeom>
                <a:avLst/>
                <a:gdLst>
                  <a:gd name="T0" fmla="*/ 0 w 172"/>
                  <a:gd name="T1" fmla="*/ 0 h 121"/>
                  <a:gd name="T2" fmla="*/ 0 w 172"/>
                  <a:gd name="T3" fmla="*/ 0 h 121"/>
                  <a:gd name="T4" fmla="*/ 0 w 172"/>
                  <a:gd name="T5" fmla="*/ 0 h 121"/>
                  <a:gd name="T6" fmla="*/ 0 w 172"/>
                  <a:gd name="T7" fmla="*/ 0 h 121"/>
                  <a:gd name="T8" fmla="*/ 0 w 172"/>
                  <a:gd name="T9" fmla="*/ 0 h 121"/>
                  <a:gd name="T10" fmla="*/ 0 w 172"/>
                  <a:gd name="T11" fmla="*/ 0 h 121"/>
                  <a:gd name="T12" fmla="*/ 0 w 172"/>
                  <a:gd name="T13" fmla="*/ 0 h 121"/>
                  <a:gd name="T14" fmla="*/ 0 w 172"/>
                  <a:gd name="T15" fmla="*/ 0 h 121"/>
                  <a:gd name="T16" fmla="*/ 0 w 172"/>
                  <a:gd name="T17" fmla="*/ 0 h 121"/>
                  <a:gd name="T18" fmla="*/ 0 w 172"/>
                  <a:gd name="T19" fmla="*/ 0 h 121"/>
                  <a:gd name="T20" fmla="*/ 0 w 172"/>
                  <a:gd name="T21" fmla="*/ 0 h 121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172"/>
                  <a:gd name="T34" fmla="*/ 0 h 121"/>
                  <a:gd name="T35" fmla="*/ 172 w 172"/>
                  <a:gd name="T36" fmla="*/ 121 h 121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172" h="121">
                    <a:moveTo>
                      <a:pt x="152" y="120"/>
                    </a:moveTo>
                    <a:lnTo>
                      <a:pt x="0" y="121"/>
                    </a:lnTo>
                    <a:lnTo>
                      <a:pt x="9" y="86"/>
                    </a:lnTo>
                    <a:lnTo>
                      <a:pt x="17" y="55"/>
                    </a:lnTo>
                    <a:lnTo>
                      <a:pt x="23" y="26"/>
                    </a:lnTo>
                    <a:lnTo>
                      <a:pt x="27" y="0"/>
                    </a:lnTo>
                    <a:lnTo>
                      <a:pt x="172" y="0"/>
                    </a:lnTo>
                    <a:lnTo>
                      <a:pt x="169" y="26"/>
                    </a:lnTo>
                    <a:lnTo>
                      <a:pt x="165" y="55"/>
                    </a:lnTo>
                    <a:lnTo>
                      <a:pt x="159" y="86"/>
                    </a:lnTo>
                    <a:lnTo>
                      <a:pt x="152" y="120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04" name="Freeform 39"/>
              <p:cNvSpPr>
                <a:spLocks noEditPoints="1"/>
              </p:cNvSpPr>
              <p:nvPr/>
            </p:nvSpPr>
            <p:spPr bwMode="auto">
              <a:xfrm>
                <a:off x="4066" y="1507"/>
                <a:ext cx="98" cy="83"/>
              </a:xfrm>
              <a:custGeom>
                <a:avLst/>
                <a:gdLst>
                  <a:gd name="T0" fmla="*/ 0 w 683"/>
                  <a:gd name="T1" fmla="*/ 0 h 579"/>
                  <a:gd name="T2" fmla="*/ 0 w 683"/>
                  <a:gd name="T3" fmla="*/ 0 h 579"/>
                  <a:gd name="T4" fmla="*/ 0 w 683"/>
                  <a:gd name="T5" fmla="*/ 0 h 579"/>
                  <a:gd name="T6" fmla="*/ 0 w 683"/>
                  <a:gd name="T7" fmla="*/ 0 h 579"/>
                  <a:gd name="T8" fmla="*/ 0 w 683"/>
                  <a:gd name="T9" fmla="*/ 0 h 579"/>
                  <a:gd name="T10" fmla="*/ 0 w 683"/>
                  <a:gd name="T11" fmla="*/ 0 h 579"/>
                  <a:gd name="T12" fmla="*/ 0 w 683"/>
                  <a:gd name="T13" fmla="*/ 0 h 579"/>
                  <a:gd name="T14" fmla="*/ 0 w 683"/>
                  <a:gd name="T15" fmla="*/ 0 h 579"/>
                  <a:gd name="T16" fmla="*/ 0 w 683"/>
                  <a:gd name="T17" fmla="*/ 0 h 579"/>
                  <a:gd name="T18" fmla="*/ 0 w 683"/>
                  <a:gd name="T19" fmla="*/ 0 h 579"/>
                  <a:gd name="T20" fmla="*/ 0 w 683"/>
                  <a:gd name="T21" fmla="*/ 0 h 579"/>
                  <a:gd name="T22" fmla="*/ 0 w 683"/>
                  <a:gd name="T23" fmla="*/ 0 h 579"/>
                  <a:gd name="T24" fmla="*/ 0 w 683"/>
                  <a:gd name="T25" fmla="*/ 0 h 579"/>
                  <a:gd name="T26" fmla="*/ 0 w 683"/>
                  <a:gd name="T27" fmla="*/ 0 h 579"/>
                  <a:gd name="T28" fmla="*/ 0 w 683"/>
                  <a:gd name="T29" fmla="*/ 0 h 579"/>
                  <a:gd name="T30" fmla="*/ 0 w 683"/>
                  <a:gd name="T31" fmla="*/ 0 h 579"/>
                  <a:gd name="T32" fmla="*/ 0 w 683"/>
                  <a:gd name="T33" fmla="*/ 0 h 579"/>
                  <a:gd name="T34" fmla="*/ 0 w 683"/>
                  <a:gd name="T35" fmla="*/ 0 h 579"/>
                  <a:gd name="T36" fmla="*/ 0 w 683"/>
                  <a:gd name="T37" fmla="*/ 0 h 579"/>
                  <a:gd name="T38" fmla="*/ 0 w 683"/>
                  <a:gd name="T39" fmla="*/ 0 h 579"/>
                  <a:gd name="T40" fmla="*/ 0 w 683"/>
                  <a:gd name="T41" fmla="*/ 0 h 579"/>
                  <a:gd name="T42" fmla="*/ 0 w 683"/>
                  <a:gd name="T43" fmla="*/ 0 h 579"/>
                  <a:gd name="T44" fmla="*/ 0 w 683"/>
                  <a:gd name="T45" fmla="*/ 0 h 579"/>
                  <a:gd name="T46" fmla="*/ 0 w 683"/>
                  <a:gd name="T47" fmla="*/ 0 h 579"/>
                  <a:gd name="T48" fmla="*/ 0 w 683"/>
                  <a:gd name="T49" fmla="*/ 0 h 579"/>
                  <a:gd name="T50" fmla="*/ 0 w 683"/>
                  <a:gd name="T51" fmla="*/ 0 h 579"/>
                  <a:gd name="T52" fmla="*/ 0 w 683"/>
                  <a:gd name="T53" fmla="*/ 0 h 579"/>
                  <a:gd name="T54" fmla="*/ 0 w 683"/>
                  <a:gd name="T55" fmla="*/ 0 h 579"/>
                  <a:gd name="T56" fmla="*/ 0 w 683"/>
                  <a:gd name="T57" fmla="*/ 0 h 579"/>
                  <a:gd name="T58" fmla="*/ 0 w 683"/>
                  <a:gd name="T59" fmla="*/ 0 h 579"/>
                  <a:gd name="T60" fmla="*/ 0 w 683"/>
                  <a:gd name="T61" fmla="*/ 0 h 579"/>
                  <a:gd name="T62" fmla="*/ 0 w 683"/>
                  <a:gd name="T63" fmla="*/ 0 h 579"/>
                  <a:gd name="T64" fmla="*/ 0 w 683"/>
                  <a:gd name="T65" fmla="*/ 0 h 579"/>
                  <a:gd name="T66" fmla="*/ 0 w 683"/>
                  <a:gd name="T67" fmla="*/ 0 h 579"/>
                  <a:gd name="T68" fmla="*/ 0 w 683"/>
                  <a:gd name="T69" fmla="*/ 0 h 579"/>
                  <a:gd name="T70" fmla="*/ 0 w 683"/>
                  <a:gd name="T71" fmla="*/ 0 h 579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683"/>
                  <a:gd name="T109" fmla="*/ 0 h 579"/>
                  <a:gd name="T110" fmla="*/ 683 w 683"/>
                  <a:gd name="T111" fmla="*/ 579 h 579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683" h="579">
                    <a:moveTo>
                      <a:pt x="577" y="0"/>
                    </a:moveTo>
                    <a:lnTo>
                      <a:pt x="0" y="47"/>
                    </a:lnTo>
                    <a:lnTo>
                      <a:pt x="4" y="65"/>
                    </a:lnTo>
                    <a:lnTo>
                      <a:pt x="17" y="129"/>
                    </a:lnTo>
                    <a:lnTo>
                      <a:pt x="26" y="192"/>
                    </a:lnTo>
                    <a:lnTo>
                      <a:pt x="34" y="254"/>
                    </a:lnTo>
                    <a:lnTo>
                      <a:pt x="41" y="316"/>
                    </a:lnTo>
                    <a:lnTo>
                      <a:pt x="45" y="377"/>
                    </a:lnTo>
                    <a:lnTo>
                      <a:pt x="46" y="438"/>
                    </a:lnTo>
                    <a:lnTo>
                      <a:pt x="46" y="500"/>
                    </a:lnTo>
                    <a:lnTo>
                      <a:pt x="44" y="561"/>
                    </a:lnTo>
                    <a:lnTo>
                      <a:pt x="43" y="579"/>
                    </a:lnTo>
                    <a:lnTo>
                      <a:pt x="683" y="579"/>
                    </a:lnTo>
                    <a:lnTo>
                      <a:pt x="682" y="562"/>
                    </a:lnTo>
                    <a:lnTo>
                      <a:pt x="681" y="529"/>
                    </a:lnTo>
                    <a:lnTo>
                      <a:pt x="679" y="496"/>
                    </a:lnTo>
                    <a:lnTo>
                      <a:pt x="676" y="464"/>
                    </a:lnTo>
                    <a:lnTo>
                      <a:pt x="673" y="431"/>
                    </a:lnTo>
                    <a:lnTo>
                      <a:pt x="669" y="399"/>
                    </a:lnTo>
                    <a:lnTo>
                      <a:pt x="665" y="366"/>
                    </a:lnTo>
                    <a:lnTo>
                      <a:pt x="659" y="333"/>
                    </a:lnTo>
                    <a:lnTo>
                      <a:pt x="653" y="300"/>
                    </a:lnTo>
                    <a:lnTo>
                      <a:pt x="647" y="266"/>
                    </a:lnTo>
                    <a:lnTo>
                      <a:pt x="640" y="232"/>
                    </a:lnTo>
                    <a:lnTo>
                      <a:pt x="632" y="196"/>
                    </a:lnTo>
                    <a:lnTo>
                      <a:pt x="623" y="161"/>
                    </a:lnTo>
                    <a:lnTo>
                      <a:pt x="604" y="88"/>
                    </a:lnTo>
                    <a:lnTo>
                      <a:pt x="581" y="11"/>
                    </a:lnTo>
                    <a:lnTo>
                      <a:pt x="577" y="0"/>
                    </a:lnTo>
                    <a:close/>
                    <a:moveTo>
                      <a:pt x="650" y="547"/>
                    </a:moveTo>
                    <a:lnTo>
                      <a:pt x="617" y="547"/>
                    </a:lnTo>
                    <a:lnTo>
                      <a:pt x="551" y="547"/>
                    </a:lnTo>
                    <a:lnTo>
                      <a:pt x="462" y="547"/>
                    </a:lnTo>
                    <a:lnTo>
                      <a:pt x="362" y="547"/>
                    </a:lnTo>
                    <a:lnTo>
                      <a:pt x="262" y="547"/>
                    </a:lnTo>
                    <a:lnTo>
                      <a:pt x="173" y="547"/>
                    </a:lnTo>
                    <a:lnTo>
                      <a:pt x="107" y="547"/>
                    </a:lnTo>
                    <a:lnTo>
                      <a:pt x="76" y="547"/>
                    </a:lnTo>
                    <a:lnTo>
                      <a:pt x="76" y="524"/>
                    </a:lnTo>
                    <a:lnTo>
                      <a:pt x="77" y="502"/>
                    </a:lnTo>
                    <a:lnTo>
                      <a:pt x="78" y="481"/>
                    </a:lnTo>
                    <a:lnTo>
                      <a:pt x="78" y="459"/>
                    </a:lnTo>
                    <a:lnTo>
                      <a:pt x="77" y="411"/>
                    </a:lnTo>
                    <a:lnTo>
                      <a:pt x="75" y="365"/>
                    </a:lnTo>
                    <a:lnTo>
                      <a:pt x="72" y="317"/>
                    </a:lnTo>
                    <a:lnTo>
                      <a:pt x="67" y="270"/>
                    </a:lnTo>
                    <a:lnTo>
                      <a:pt x="62" y="222"/>
                    </a:lnTo>
                    <a:lnTo>
                      <a:pt x="55" y="175"/>
                    </a:lnTo>
                    <a:lnTo>
                      <a:pt x="47" y="126"/>
                    </a:lnTo>
                    <a:lnTo>
                      <a:pt x="37" y="76"/>
                    </a:lnTo>
                    <a:lnTo>
                      <a:pt x="67" y="74"/>
                    </a:lnTo>
                    <a:lnTo>
                      <a:pt x="128" y="69"/>
                    </a:lnTo>
                    <a:lnTo>
                      <a:pt x="209" y="63"/>
                    </a:lnTo>
                    <a:lnTo>
                      <a:pt x="299" y="55"/>
                    </a:lnTo>
                    <a:lnTo>
                      <a:pt x="389" y="47"/>
                    </a:lnTo>
                    <a:lnTo>
                      <a:pt x="468" y="41"/>
                    </a:lnTo>
                    <a:lnTo>
                      <a:pt x="527" y="36"/>
                    </a:lnTo>
                    <a:lnTo>
                      <a:pt x="555" y="34"/>
                    </a:lnTo>
                    <a:lnTo>
                      <a:pt x="576" y="104"/>
                    </a:lnTo>
                    <a:lnTo>
                      <a:pt x="593" y="173"/>
                    </a:lnTo>
                    <a:lnTo>
                      <a:pt x="602" y="206"/>
                    </a:lnTo>
                    <a:lnTo>
                      <a:pt x="609" y="238"/>
                    </a:lnTo>
                    <a:lnTo>
                      <a:pt x="616" y="270"/>
                    </a:lnTo>
                    <a:lnTo>
                      <a:pt x="622" y="302"/>
                    </a:lnTo>
                    <a:lnTo>
                      <a:pt x="627" y="333"/>
                    </a:lnTo>
                    <a:lnTo>
                      <a:pt x="633" y="364"/>
                    </a:lnTo>
                    <a:lnTo>
                      <a:pt x="637" y="394"/>
                    </a:lnTo>
                    <a:lnTo>
                      <a:pt x="640" y="425"/>
                    </a:lnTo>
                    <a:lnTo>
                      <a:pt x="643" y="455"/>
                    </a:lnTo>
                    <a:lnTo>
                      <a:pt x="646" y="486"/>
                    </a:lnTo>
                    <a:lnTo>
                      <a:pt x="648" y="516"/>
                    </a:lnTo>
                    <a:lnTo>
                      <a:pt x="650" y="547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05" name="Freeform 40"/>
              <p:cNvSpPr>
                <a:spLocks noEditPoints="1"/>
              </p:cNvSpPr>
              <p:nvPr/>
            </p:nvSpPr>
            <p:spPr bwMode="auto">
              <a:xfrm>
                <a:off x="4078" y="1517"/>
                <a:ext cx="74" cy="63"/>
              </a:xfrm>
              <a:custGeom>
                <a:avLst/>
                <a:gdLst>
                  <a:gd name="T0" fmla="*/ 0 w 520"/>
                  <a:gd name="T1" fmla="*/ 0 h 443"/>
                  <a:gd name="T2" fmla="*/ 0 w 520"/>
                  <a:gd name="T3" fmla="*/ 0 h 443"/>
                  <a:gd name="T4" fmla="*/ 0 w 520"/>
                  <a:gd name="T5" fmla="*/ 0 h 443"/>
                  <a:gd name="T6" fmla="*/ 0 w 520"/>
                  <a:gd name="T7" fmla="*/ 0 h 443"/>
                  <a:gd name="T8" fmla="*/ 0 w 520"/>
                  <a:gd name="T9" fmla="*/ 0 h 443"/>
                  <a:gd name="T10" fmla="*/ 0 w 520"/>
                  <a:gd name="T11" fmla="*/ 0 h 443"/>
                  <a:gd name="T12" fmla="*/ 0 w 520"/>
                  <a:gd name="T13" fmla="*/ 0 h 443"/>
                  <a:gd name="T14" fmla="*/ 0 w 520"/>
                  <a:gd name="T15" fmla="*/ 0 h 443"/>
                  <a:gd name="T16" fmla="*/ 0 w 520"/>
                  <a:gd name="T17" fmla="*/ 0 h 443"/>
                  <a:gd name="T18" fmla="*/ 0 w 520"/>
                  <a:gd name="T19" fmla="*/ 0 h 443"/>
                  <a:gd name="T20" fmla="*/ 0 w 520"/>
                  <a:gd name="T21" fmla="*/ 0 h 443"/>
                  <a:gd name="T22" fmla="*/ 0 w 520"/>
                  <a:gd name="T23" fmla="*/ 0 h 443"/>
                  <a:gd name="T24" fmla="*/ 0 w 520"/>
                  <a:gd name="T25" fmla="*/ 0 h 443"/>
                  <a:gd name="T26" fmla="*/ 0 w 520"/>
                  <a:gd name="T27" fmla="*/ 0 h 443"/>
                  <a:gd name="T28" fmla="*/ 0 w 520"/>
                  <a:gd name="T29" fmla="*/ 0 h 443"/>
                  <a:gd name="T30" fmla="*/ 0 w 520"/>
                  <a:gd name="T31" fmla="*/ 0 h 443"/>
                  <a:gd name="T32" fmla="*/ 0 w 520"/>
                  <a:gd name="T33" fmla="*/ 0 h 443"/>
                  <a:gd name="T34" fmla="*/ 0 w 520"/>
                  <a:gd name="T35" fmla="*/ 0 h 443"/>
                  <a:gd name="T36" fmla="*/ 0 w 520"/>
                  <a:gd name="T37" fmla="*/ 0 h 443"/>
                  <a:gd name="T38" fmla="*/ 0 w 520"/>
                  <a:gd name="T39" fmla="*/ 0 h 443"/>
                  <a:gd name="T40" fmla="*/ 0 w 520"/>
                  <a:gd name="T41" fmla="*/ 0 h 443"/>
                  <a:gd name="T42" fmla="*/ 0 w 520"/>
                  <a:gd name="T43" fmla="*/ 0 h 443"/>
                  <a:gd name="T44" fmla="*/ 0 w 520"/>
                  <a:gd name="T45" fmla="*/ 0 h 443"/>
                  <a:gd name="T46" fmla="*/ 0 w 520"/>
                  <a:gd name="T47" fmla="*/ 0 h 443"/>
                  <a:gd name="T48" fmla="*/ 0 w 520"/>
                  <a:gd name="T49" fmla="*/ 0 h 443"/>
                  <a:gd name="T50" fmla="*/ 0 w 520"/>
                  <a:gd name="T51" fmla="*/ 0 h 443"/>
                  <a:gd name="T52" fmla="*/ 0 w 520"/>
                  <a:gd name="T53" fmla="*/ 0 h 443"/>
                  <a:gd name="T54" fmla="*/ 0 w 520"/>
                  <a:gd name="T55" fmla="*/ 0 h 443"/>
                  <a:gd name="T56" fmla="*/ 0 w 520"/>
                  <a:gd name="T57" fmla="*/ 0 h 443"/>
                  <a:gd name="T58" fmla="*/ 0 w 520"/>
                  <a:gd name="T59" fmla="*/ 0 h 443"/>
                  <a:gd name="T60" fmla="*/ 0 w 520"/>
                  <a:gd name="T61" fmla="*/ 0 h 443"/>
                  <a:gd name="T62" fmla="*/ 0 w 520"/>
                  <a:gd name="T63" fmla="*/ 0 h 443"/>
                  <a:gd name="T64" fmla="*/ 0 w 520"/>
                  <a:gd name="T65" fmla="*/ 0 h 443"/>
                  <a:gd name="T66" fmla="*/ 0 w 520"/>
                  <a:gd name="T67" fmla="*/ 0 h 443"/>
                  <a:gd name="T68" fmla="*/ 0 w 520"/>
                  <a:gd name="T69" fmla="*/ 0 h 443"/>
                  <a:gd name="T70" fmla="*/ 0 w 520"/>
                  <a:gd name="T71" fmla="*/ 0 h 443"/>
                  <a:gd name="T72" fmla="*/ 0 w 520"/>
                  <a:gd name="T73" fmla="*/ 0 h 443"/>
                  <a:gd name="T74" fmla="*/ 0 w 520"/>
                  <a:gd name="T75" fmla="*/ 0 h 443"/>
                  <a:gd name="T76" fmla="*/ 0 w 520"/>
                  <a:gd name="T77" fmla="*/ 0 h 443"/>
                  <a:gd name="T78" fmla="*/ 0 w 520"/>
                  <a:gd name="T79" fmla="*/ 0 h 443"/>
                  <a:gd name="T80" fmla="*/ 0 w 520"/>
                  <a:gd name="T81" fmla="*/ 0 h 443"/>
                  <a:gd name="T82" fmla="*/ 0 w 520"/>
                  <a:gd name="T83" fmla="*/ 0 h 443"/>
                  <a:gd name="T84" fmla="*/ 0 w 520"/>
                  <a:gd name="T85" fmla="*/ 0 h 443"/>
                  <a:gd name="T86" fmla="*/ 0 w 520"/>
                  <a:gd name="T87" fmla="*/ 0 h 443"/>
                  <a:gd name="T88" fmla="*/ 0 w 520"/>
                  <a:gd name="T89" fmla="*/ 0 h 443"/>
                  <a:gd name="T90" fmla="*/ 0 w 520"/>
                  <a:gd name="T91" fmla="*/ 0 h 443"/>
                  <a:gd name="T92" fmla="*/ 0 w 520"/>
                  <a:gd name="T93" fmla="*/ 0 h 443"/>
                  <a:gd name="T94" fmla="*/ 0 w 520"/>
                  <a:gd name="T95" fmla="*/ 0 h 443"/>
                  <a:gd name="T96" fmla="*/ 0 w 520"/>
                  <a:gd name="T97" fmla="*/ 0 h 443"/>
                  <a:gd name="T98" fmla="*/ 0 w 520"/>
                  <a:gd name="T99" fmla="*/ 0 h 443"/>
                  <a:gd name="T100" fmla="*/ 0 w 520"/>
                  <a:gd name="T101" fmla="*/ 0 h 443"/>
                  <a:gd name="T102" fmla="*/ 0 w 520"/>
                  <a:gd name="T103" fmla="*/ 0 h 443"/>
                  <a:gd name="T104" fmla="*/ 0 w 520"/>
                  <a:gd name="T105" fmla="*/ 0 h 443"/>
                  <a:gd name="T106" fmla="*/ 0 w 520"/>
                  <a:gd name="T107" fmla="*/ 0 h 443"/>
                  <a:gd name="T108" fmla="*/ 0 w 520"/>
                  <a:gd name="T109" fmla="*/ 0 h 443"/>
                  <a:gd name="T110" fmla="*/ 0 w 520"/>
                  <a:gd name="T111" fmla="*/ 0 h 443"/>
                  <a:gd name="T112" fmla="*/ 0 w 520"/>
                  <a:gd name="T113" fmla="*/ 0 h 443"/>
                  <a:gd name="T114" fmla="*/ 0 w 520"/>
                  <a:gd name="T115" fmla="*/ 0 h 443"/>
                  <a:gd name="T116" fmla="*/ 0 w 520"/>
                  <a:gd name="T117" fmla="*/ 0 h 443"/>
                  <a:gd name="T118" fmla="*/ 0 w 520"/>
                  <a:gd name="T119" fmla="*/ 0 h 443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520"/>
                  <a:gd name="T181" fmla="*/ 0 h 443"/>
                  <a:gd name="T182" fmla="*/ 520 w 520"/>
                  <a:gd name="T183" fmla="*/ 443 h 443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520" h="443">
                    <a:moveTo>
                      <a:pt x="439" y="0"/>
                    </a:moveTo>
                    <a:lnTo>
                      <a:pt x="0" y="36"/>
                    </a:lnTo>
                    <a:lnTo>
                      <a:pt x="3" y="55"/>
                    </a:lnTo>
                    <a:lnTo>
                      <a:pt x="12" y="103"/>
                    </a:lnTo>
                    <a:lnTo>
                      <a:pt x="21" y="149"/>
                    </a:lnTo>
                    <a:lnTo>
                      <a:pt x="26" y="196"/>
                    </a:lnTo>
                    <a:lnTo>
                      <a:pt x="31" y="242"/>
                    </a:lnTo>
                    <a:lnTo>
                      <a:pt x="33" y="288"/>
                    </a:lnTo>
                    <a:lnTo>
                      <a:pt x="35" y="333"/>
                    </a:lnTo>
                    <a:lnTo>
                      <a:pt x="34" y="380"/>
                    </a:lnTo>
                    <a:lnTo>
                      <a:pt x="33" y="425"/>
                    </a:lnTo>
                    <a:lnTo>
                      <a:pt x="32" y="443"/>
                    </a:lnTo>
                    <a:lnTo>
                      <a:pt x="520" y="443"/>
                    </a:lnTo>
                    <a:lnTo>
                      <a:pt x="519" y="425"/>
                    </a:lnTo>
                    <a:lnTo>
                      <a:pt x="517" y="377"/>
                    </a:lnTo>
                    <a:lnTo>
                      <a:pt x="512" y="327"/>
                    </a:lnTo>
                    <a:lnTo>
                      <a:pt x="506" y="278"/>
                    </a:lnTo>
                    <a:lnTo>
                      <a:pt x="498" y="229"/>
                    </a:lnTo>
                    <a:lnTo>
                      <a:pt x="488" y="177"/>
                    </a:lnTo>
                    <a:lnTo>
                      <a:pt x="475" y="124"/>
                    </a:lnTo>
                    <a:lnTo>
                      <a:pt x="460" y="69"/>
                    </a:lnTo>
                    <a:lnTo>
                      <a:pt x="443" y="13"/>
                    </a:lnTo>
                    <a:lnTo>
                      <a:pt x="439" y="0"/>
                    </a:lnTo>
                    <a:close/>
                    <a:moveTo>
                      <a:pt x="487" y="410"/>
                    </a:moveTo>
                    <a:lnTo>
                      <a:pt x="461" y="410"/>
                    </a:lnTo>
                    <a:lnTo>
                      <a:pt x="412" y="410"/>
                    </a:lnTo>
                    <a:lnTo>
                      <a:pt x="347" y="410"/>
                    </a:lnTo>
                    <a:lnTo>
                      <a:pt x="275" y="410"/>
                    </a:lnTo>
                    <a:lnTo>
                      <a:pt x="202" y="410"/>
                    </a:lnTo>
                    <a:lnTo>
                      <a:pt x="138" y="410"/>
                    </a:lnTo>
                    <a:lnTo>
                      <a:pt x="90" y="410"/>
                    </a:lnTo>
                    <a:lnTo>
                      <a:pt x="64" y="410"/>
                    </a:lnTo>
                    <a:lnTo>
                      <a:pt x="65" y="394"/>
                    </a:lnTo>
                    <a:lnTo>
                      <a:pt x="66" y="379"/>
                    </a:lnTo>
                    <a:lnTo>
                      <a:pt x="66" y="364"/>
                    </a:lnTo>
                    <a:lnTo>
                      <a:pt x="66" y="349"/>
                    </a:lnTo>
                    <a:lnTo>
                      <a:pt x="66" y="313"/>
                    </a:lnTo>
                    <a:lnTo>
                      <a:pt x="64" y="278"/>
                    </a:lnTo>
                    <a:lnTo>
                      <a:pt x="62" y="244"/>
                    </a:lnTo>
                    <a:lnTo>
                      <a:pt x="59" y="209"/>
                    </a:lnTo>
                    <a:lnTo>
                      <a:pt x="55" y="174"/>
                    </a:lnTo>
                    <a:lnTo>
                      <a:pt x="49" y="138"/>
                    </a:lnTo>
                    <a:lnTo>
                      <a:pt x="43" y="103"/>
                    </a:lnTo>
                    <a:lnTo>
                      <a:pt x="37" y="66"/>
                    </a:lnTo>
                    <a:lnTo>
                      <a:pt x="61" y="64"/>
                    </a:lnTo>
                    <a:lnTo>
                      <a:pt x="105" y="60"/>
                    </a:lnTo>
                    <a:lnTo>
                      <a:pt x="164" y="55"/>
                    </a:lnTo>
                    <a:lnTo>
                      <a:pt x="229" y="50"/>
                    </a:lnTo>
                    <a:lnTo>
                      <a:pt x="294" y="45"/>
                    </a:lnTo>
                    <a:lnTo>
                      <a:pt x="352" y="39"/>
                    </a:lnTo>
                    <a:lnTo>
                      <a:pt x="395" y="36"/>
                    </a:lnTo>
                    <a:lnTo>
                      <a:pt x="416" y="34"/>
                    </a:lnTo>
                    <a:lnTo>
                      <a:pt x="432" y="86"/>
                    </a:lnTo>
                    <a:lnTo>
                      <a:pt x="445" y="136"/>
                    </a:lnTo>
                    <a:lnTo>
                      <a:pt x="457" y="184"/>
                    </a:lnTo>
                    <a:lnTo>
                      <a:pt x="466" y="231"/>
                    </a:lnTo>
                    <a:lnTo>
                      <a:pt x="473" y="276"/>
                    </a:lnTo>
                    <a:lnTo>
                      <a:pt x="479" y="321"/>
                    </a:lnTo>
                    <a:lnTo>
                      <a:pt x="483" y="365"/>
                    </a:lnTo>
                    <a:lnTo>
                      <a:pt x="487" y="410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06" name="Freeform 41"/>
              <p:cNvSpPr>
                <a:spLocks noEditPoints="1"/>
              </p:cNvSpPr>
              <p:nvPr/>
            </p:nvSpPr>
            <p:spPr bwMode="auto">
              <a:xfrm>
                <a:off x="4089" y="1526"/>
                <a:ext cx="52" cy="45"/>
              </a:xfrm>
              <a:custGeom>
                <a:avLst/>
                <a:gdLst>
                  <a:gd name="T0" fmla="*/ 0 w 365"/>
                  <a:gd name="T1" fmla="*/ 0 h 313"/>
                  <a:gd name="T2" fmla="*/ 0 w 365"/>
                  <a:gd name="T3" fmla="*/ 0 h 313"/>
                  <a:gd name="T4" fmla="*/ 0 w 365"/>
                  <a:gd name="T5" fmla="*/ 0 h 313"/>
                  <a:gd name="T6" fmla="*/ 0 w 365"/>
                  <a:gd name="T7" fmla="*/ 0 h 313"/>
                  <a:gd name="T8" fmla="*/ 0 w 365"/>
                  <a:gd name="T9" fmla="*/ 0 h 313"/>
                  <a:gd name="T10" fmla="*/ 0 w 365"/>
                  <a:gd name="T11" fmla="*/ 0 h 313"/>
                  <a:gd name="T12" fmla="*/ 0 w 365"/>
                  <a:gd name="T13" fmla="*/ 0 h 313"/>
                  <a:gd name="T14" fmla="*/ 0 w 365"/>
                  <a:gd name="T15" fmla="*/ 0 h 313"/>
                  <a:gd name="T16" fmla="*/ 0 w 365"/>
                  <a:gd name="T17" fmla="*/ 0 h 313"/>
                  <a:gd name="T18" fmla="*/ 0 w 365"/>
                  <a:gd name="T19" fmla="*/ 0 h 313"/>
                  <a:gd name="T20" fmla="*/ 0 w 365"/>
                  <a:gd name="T21" fmla="*/ 0 h 313"/>
                  <a:gd name="T22" fmla="*/ 0 w 365"/>
                  <a:gd name="T23" fmla="*/ 0 h 313"/>
                  <a:gd name="T24" fmla="*/ 0 w 365"/>
                  <a:gd name="T25" fmla="*/ 0 h 313"/>
                  <a:gd name="T26" fmla="*/ 0 w 365"/>
                  <a:gd name="T27" fmla="*/ 0 h 313"/>
                  <a:gd name="T28" fmla="*/ 0 w 365"/>
                  <a:gd name="T29" fmla="*/ 0 h 313"/>
                  <a:gd name="T30" fmla="*/ 0 w 365"/>
                  <a:gd name="T31" fmla="*/ 0 h 313"/>
                  <a:gd name="T32" fmla="*/ 0 w 365"/>
                  <a:gd name="T33" fmla="*/ 0 h 313"/>
                  <a:gd name="T34" fmla="*/ 0 w 365"/>
                  <a:gd name="T35" fmla="*/ 0 h 313"/>
                  <a:gd name="T36" fmla="*/ 0 w 365"/>
                  <a:gd name="T37" fmla="*/ 0 h 313"/>
                  <a:gd name="T38" fmla="*/ 0 w 365"/>
                  <a:gd name="T39" fmla="*/ 0 h 313"/>
                  <a:gd name="T40" fmla="*/ 0 w 365"/>
                  <a:gd name="T41" fmla="*/ 0 h 313"/>
                  <a:gd name="T42" fmla="*/ 0 w 365"/>
                  <a:gd name="T43" fmla="*/ 0 h 313"/>
                  <a:gd name="T44" fmla="*/ 0 w 365"/>
                  <a:gd name="T45" fmla="*/ 0 h 313"/>
                  <a:gd name="T46" fmla="*/ 0 w 365"/>
                  <a:gd name="T47" fmla="*/ 0 h 313"/>
                  <a:gd name="T48" fmla="*/ 0 w 365"/>
                  <a:gd name="T49" fmla="*/ 0 h 313"/>
                  <a:gd name="T50" fmla="*/ 0 w 365"/>
                  <a:gd name="T51" fmla="*/ 0 h 313"/>
                  <a:gd name="T52" fmla="*/ 0 w 365"/>
                  <a:gd name="T53" fmla="*/ 0 h 313"/>
                  <a:gd name="T54" fmla="*/ 0 w 365"/>
                  <a:gd name="T55" fmla="*/ 0 h 313"/>
                  <a:gd name="T56" fmla="*/ 0 w 365"/>
                  <a:gd name="T57" fmla="*/ 0 h 313"/>
                  <a:gd name="T58" fmla="*/ 0 w 365"/>
                  <a:gd name="T59" fmla="*/ 0 h 313"/>
                  <a:gd name="T60" fmla="*/ 0 w 365"/>
                  <a:gd name="T61" fmla="*/ 0 h 313"/>
                  <a:gd name="T62" fmla="*/ 0 w 365"/>
                  <a:gd name="T63" fmla="*/ 0 h 313"/>
                  <a:gd name="T64" fmla="*/ 0 w 365"/>
                  <a:gd name="T65" fmla="*/ 0 h 313"/>
                  <a:gd name="T66" fmla="*/ 0 w 365"/>
                  <a:gd name="T67" fmla="*/ 0 h 313"/>
                  <a:gd name="T68" fmla="*/ 0 w 365"/>
                  <a:gd name="T69" fmla="*/ 0 h 313"/>
                  <a:gd name="T70" fmla="*/ 0 w 365"/>
                  <a:gd name="T71" fmla="*/ 0 h 313"/>
                  <a:gd name="T72" fmla="*/ 0 w 365"/>
                  <a:gd name="T73" fmla="*/ 0 h 313"/>
                  <a:gd name="T74" fmla="*/ 0 w 365"/>
                  <a:gd name="T75" fmla="*/ 0 h 313"/>
                  <a:gd name="T76" fmla="*/ 0 w 365"/>
                  <a:gd name="T77" fmla="*/ 0 h 313"/>
                  <a:gd name="T78" fmla="*/ 0 w 365"/>
                  <a:gd name="T79" fmla="*/ 0 h 313"/>
                  <a:gd name="T80" fmla="*/ 0 w 365"/>
                  <a:gd name="T81" fmla="*/ 0 h 313"/>
                  <a:gd name="T82" fmla="*/ 0 w 365"/>
                  <a:gd name="T83" fmla="*/ 0 h 313"/>
                  <a:gd name="T84" fmla="*/ 0 w 365"/>
                  <a:gd name="T85" fmla="*/ 0 h 313"/>
                  <a:gd name="T86" fmla="*/ 0 w 365"/>
                  <a:gd name="T87" fmla="*/ 0 h 313"/>
                  <a:gd name="T88" fmla="*/ 0 w 365"/>
                  <a:gd name="T89" fmla="*/ 0 h 313"/>
                  <a:gd name="T90" fmla="*/ 0 w 365"/>
                  <a:gd name="T91" fmla="*/ 0 h 313"/>
                  <a:gd name="T92" fmla="*/ 0 w 365"/>
                  <a:gd name="T93" fmla="*/ 0 h 313"/>
                  <a:gd name="T94" fmla="*/ 0 w 365"/>
                  <a:gd name="T95" fmla="*/ 0 h 313"/>
                  <a:gd name="T96" fmla="*/ 0 w 365"/>
                  <a:gd name="T97" fmla="*/ 0 h 313"/>
                  <a:gd name="T98" fmla="*/ 0 w 365"/>
                  <a:gd name="T99" fmla="*/ 0 h 313"/>
                  <a:gd name="T100" fmla="*/ 0 w 365"/>
                  <a:gd name="T101" fmla="*/ 0 h 313"/>
                  <a:gd name="T102" fmla="*/ 0 w 365"/>
                  <a:gd name="T103" fmla="*/ 0 h 313"/>
                  <a:gd name="T104" fmla="*/ 0 w 365"/>
                  <a:gd name="T105" fmla="*/ 0 h 313"/>
                  <a:gd name="T106" fmla="*/ 0 w 365"/>
                  <a:gd name="T107" fmla="*/ 0 h 313"/>
                  <a:gd name="T108" fmla="*/ 0 w 365"/>
                  <a:gd name="T109" fmla="*/ 0 h 313"/>
                  <a:gd name="T110" fmla="*/ 0 w 365"/>
                  <a:gd name="T111" fmla="*/ 0 h 313"/>
                  <a:gd name="T112" fmla="*/ 0 w 365"/>
                  <a:gd name="T113" fmla="*/ 0 h 313"/>
                  <a:gd name="T114" fmla="*/ 0 w 365"/>
                  <a:gd name="T115" fmla="*/ 0 h 313"/>
                  <a:gd name="T116" fmla="*/ 0 w 365"/>
                  <a:gd name="T117" fmla="*/ 0 h 313"/>
                  <a:gd name="T118" fmla="*/ 0 w 365"/>
                  <a:gd name="T119" fmla="*/ 0 h 313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365"/>
                  <a:gd name="T181" fmla="*/ 0 h 313"/>
                  <a:gd name="T182" fmla="*/ 365 w 365"/>
                  <a:gd name="T183" fmla="*/ 313 h 313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365" h="313">
                    <a:moveTo>
                      <a:pt x="309" y="0"/>
                    </a:moveTo>
                    <a:lnTo>
                      <a:pt x="0" y="26"/>
                    </a:lnTo>
                    <a:lnTo>
                      <a:pt x="3" y="44"/>
                    </a:lnTo>
                    <a:lnTo>
                      <a:pt x="10" y="77"/>
                    </a:lnTo>
                    <a:lnTo>
                      <a:pt x="15" y="108"/>
                    </a:lnTo>
                    <a:lnTo>
                      <a:pt x="19" y="140"/>
                    </a:lnTo>
                    <a:lnTo>
                      <a:pt x="22" y="171"/>
                    </a:lnTo>
                    <a:lnTo>
                      <a:pt x="24" y="202"/>
                    </a:lnTo>
                    <a:lnTo>
                      <a:pt x="25" y="233"/>
                    </a:lnTo>
                    <a:lnTo>
                      <a:pt x="25" y="264"/>
                    </a:lnTo>
                    <a:lnTo>
                      <a:pt x="24" y="295"/>
                    </a:lnTo>
                    <a:lnTo>
                      <a:pt x="23" y="313"/>
                    </a:lnTo>
                    <a:lnTo>
                      <a:pt x="365" y="313"/>
                    </a:lnTo>
                    <a:lnTo>
                      <a:pt x="365" y="295"/>
                    </a:lnTo>
                    <a:lnTo>
                      <a:pt x="363" y="262"/>
                    </a:lnTo>
                    <a:lnTo>
                      <a:pt x="360" y="228"/>
                    </a:lnTo>
                    <a:lnTo>
                      <a:pt x="356" y="195"/>
                    </a:lnTo>
                    <a:lnTo>
                      <a:pt x="350" y="161"/>
                    </a:lnTo>
                    <a:lnTo>
                      <a:pt x="343" y="125"/>
                    </a:lnTo>
                    <a:lnTo>
                      <a:pt x="334" y="89"/>
                    </a:lnTo>
                    <a:lnTo>
                      <a:pt x="325" y="52"/>
                    </a:lnTo>
                    <a:lnTo>
                      <a:pt x="312" y="13"/>
                    </a:lnTo>
                    <a:lnTo>
                      <a:pt x="309" y="0"/>
                    </a:lnTo>
                    <a:close/>
                    <a:moveTo>
                      <a:pt x="332" y="279"/>
                    </a:moveTo>
                    <a:lnTo>
                      <a:pt x="313" y="279"/>
                    </a:lnTo>
                    <a:lnTo>
                      <a:pt x="280" y="279"/>
                    </a:lnTo>
                    <a:lnTo>
                      <a:pt x="239" y="279"/>
                    </a:lnTo>
                    <a:lnTo>
                      <a:pt x="194" y="279"/>
                    </a:lnTo>
                    <a:lnTo>
                      <a:pt x="147" y="279"/>
                    </a:lnTo>
                    <a:lnTo>
                      <a:pt x="106" y="279"/>
                    </a:lnTo>
                    <a:lnTo>
                      <a:pt x="74" y="279"/>
                    </a:lnTo>
                    <a:lnTo>
                      <a:pt x="55" y="279"/>
                    </a:lnTo>
                    <a:lnTo>
                      <a:pt x="55" y="270"/>
                    </a:lnTo>
                    <a:lnTo>
                      <a:pt x="56" y="261"/>
                    </a:lnTo>
                    <a:lnTo>
                      <a:pt x="56" y="253"/>
                    </a:lnTo>
                    <a:lnTo>
                      <a:pt x="56" y="243"/>
                    </a:lnTo>
                    <a:lnTo>
                      <a:pt x="56" y="220"/>
                    </a:lnTo>
                    <a:lnTo>
                      <a:pt x="55" y="197"/>
                    </a:lnTo>
                    <a:lnTo>
                      <a:pt x="53" y="173"/>
                    </a:lnTo>
                    <a:lnTo>
                      <a:pt x="51" y="150"/>
                    </a:lnTo>
                    <a:lnTo>
                      <a:pt x="49" y="126"/>
                    </a:lnTo>
                    <a:lnTo>
                      <a:pt x="46" y="103"/>
                    </a:lnTo>
                    <a:lnTo>
                      <a:pt x="42" y="79"/>
                    </a:lnTo>
                    <a:lnTo>
                      <a:pt x="38" y="55"/>
                    </a:lnTo>
                    <a:lnTo>
                      <a:pt x="55" y="54"/>
                    </a:lnTo>
                    <a:lnTo>
                      <a:pt x="85" y="51"/>
                    </a:lnTo>
                    <a:lnTo>
                      <a:pt x="122" y="48"/>
                    </a:lnTo>
                    <a:lnTo>
                      <a:pt x="165" y="45"/>
                    </a:lnTo>
                    <a:lnTo>
                      <a:pt x="205" y="42"/>
                    </a:lnTo>
                    <a:lnTo>
                      <a:pt x="242" y="39"/>
                    </a:lnTo>
                    <a:lnTo>
                      <a:pt x="270" y="36"/>
                    </a:lnTo>
                    <a:lnTo>
                      <a:pt x="287" y="34"/>
                    </a:lnTo>
                    <a:lnTo>
                      <a:pt x="296" y="69"/>
                    </a:lnTo>
                    <a:lnTo>
                      <a:pt x="304" y="101"/>
                    </a:lnTo>
                    <a:lnTo>
                      <a:pt x="312" y="133"/>
                    </a:lnTo>
                    <a:lnTo>
                      <a:pt x="319" y="163"/>
                    </a:lnTo>
                    <a:lnTo>
                      <a:pt x="323" y="193"/>
                    </a:lnTo>
                    <a:lnTo>
                      <a:pt x="327" y="222"/>
                    </a:lnTo>
                    <a:lnTo>
                      <a:pt x="330" y="251"/>
                    </a:lnTo>
                    <a:lnTo>
                      <a:pt x="332" y="279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07" name="Freeform 42"/>
              <p:cNvSpPr>
                <a:spLocks/>
              </p:cNvSpPr>
              <p:nvPr/>
            </p:nvSpPr>
            <p:spPr bwMode="auto">
              <a:xfrm>
                <a:off x="4104" y="1539"/>
                <a:ext cx="23" cy="19"/>
              </a:xfrm>
              <a:custGeom>
                <a:avLst/>
                <a:gdLst>
                  <a:gd name="T0" fmla="*/ 0 w 162"/>
                  <a:gd name="T1" fmla="*/ 0 h 138"/>
                  <a:gd name="T2" fmla="*/ 0 w 162"/>
                  <a:gd name="T3" fmla="*/ 0 h 138"/>
                  <a:gd name="T4" fmla="*/ 0 w 162"/>
                  <a:gd name="T5" fmla="*/ 0 h 138"/>
                  <a:gd name="T6" fmla="*/ 0 w 162"/>
                  <a:gd name="T7" fmla="*/ 0 h 138"/>
                  <a:gd name="T8" fmla="*/ 0 w 162"/>
                  <a:gd name="T9" fmla="*/ 0 h 138"/>
                  <a:gd name="T10" fmla="*/ 0 w 162"/>
                  <a:gd name="T11" fmla="*/ 0 h 138"/>
                  <a:gd name="T12" fmla="*/ 0 w 162"/>
                  <a:gd name="T13" fmla="*/ 0 h 138"/>
                  <a:gd name="T14" fmla="*/ 0 w 162"/>
                  <a:gd name="T15" fmla="*/ 0 h 138"/>
                  <a:gd name="T16" fmla="*/ 0 w 162"/>
                  <a:gd name="T17" fmla="*/ 0 h 138"/>
                  <a:gd name="T18" fmla="*/ 0 w 162"/>
                  <a:gd name="T19" fmla="*/ 0 h 138"/>
                  <a:gd name="T20" fmla="*/ 0 w 162"/>
                  <a:gd name="T21" fmla="*/ 0 h 138"/>
                  <a:gd name="T22" fmla="*/ 0 w 162"/>
                  <a:gd name="T23" fmla="*/ 0 h 138"/>
                  <a:gd name="T24" fmla="*/ 0 w 162"/>
                  <a:gd name="T25" fmla="*/ 0 h 138"/>
                  <a:gd name="T26" fmla="*/ 0 w 162"/>
                  <a:gd name="T27" fmla="*/ 0 h 138"/>
                  <a:gd name="T28" fmla="*/ 0 w 162"/>
                  <a:gd name="T29" fmla="*/ 0 h 138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62"/>
                  <a:gd name="T46" fmla="*/ 0 h 138"/>
                  <a:gd name="T47" fmla="*/ 162 w 162"/>
                  <a:gd name="T48" fmla="*/ 138 h 138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62" h="138">
                    <a:moveTo>
                      <a:pt x="162" y="138"/>
                    </a:moveTo>
                    <a:lnTo>
                      <a:pt x="10" y="138"/>
                    </a:lnTo>
                    <a:lnTo>
                      <a:pt x="10" y="121"/>
                    </a:lnTo>
                    <a:lnTo>
                      <a:pt x="10" y="105"/>
                    </a:lnTo>
                    <a:lnTo>
                      <a:pt x="10" y="89"/>
                    </a:lnTo>
                    <a:lnTo>
                      <a:pt x="9" y="74"/>
                    </a:lnTo>
                    <a:lnTo>
                      <a:pt x="5" y="43"/>
                    </a:lnTo>
                    <a:lnTo>
                      <a:pt x="0" y="12"/>
                    </a:lnTo>
                    <a:lnTo>
                      <a:pt x="137" y="0"/>
                    </a:lnTo>
                    <a:lnTo>
                      <a:pt x="146" y="33"/>
                    </a:lnTo>
                    <a:lnTo>
                      <a:pt x="155" y="67"/>
                    </a:lnTo>
                    <a:lnTo>
                      <a:pt x="157" y="84"/>
                    </a:lnTo>
                    <a:lnTo>
                      <a:pt x="160" y="102"/>
                    </a:lnTo>
                    <a:lnTo>
                      <a:pt x="161" y="119"/>
                    </a:lnTo>
                    <a:lnTo>
                      <a:pt x="162" y="138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08" name="Freeform 43"/>
              <p:cNvSpPr>
                <a:spLocks noEditPoints="1"/>
              </p:cNvSpPr>
              <p:nvPr/>
            </p:nvSpPr>
            <p:spPr bwMode="auto">
              <a:xfrm>
                <a:off x="4045" y="1406"/>
                <a:ext cx="95" cy="68"/>
              </a:xfrm>
              <a:custGeom>
                <a:avLst/>
                <a:gdLst>
                  <a:gd name="T0" fmla="*/ 0 w 664"/>
                  <a:gd name="T1" fmla="*/ 0 h 480"/>
                  <a:gd name="T2" fmla="*/ 0 w 664"/>
                  <a:gd name="T3" fmla="*/ 0 h 480"/>
                  <a:gd name="T4" fmla="*/ 0 w 664"/>
                  <a:gd name="T5" fmla="*/ 0 h 480"/>
                  <a:gd name="T6" fmla="*/ 0 w 664"/>
                  <a:gd name="T7" fmla="*/ 0 h 480"/>
                  <a:gd name="T8" fmla="*/ 0 w 664"/>
                  <a:gd name="T9" fmla="*/ 0 h 480"/>
                  <a:gd name="T10" fmla="*/ 0 w 664"/>
                  <a:gd name="T11" fmla="*/ 0 h 480"/>
                  <a:gd name="T12" fmla="*/ 0 w 664"/>
                  <a:gd name="T13" fmla="*/ 0 h 480"/>
                  <a:gd name="T14" fmla="*/ 0 w 664"/>
                  <a:gd name="T15" fmla="*/ 0 h 480"/>
                  <a:gd name="T16" fmla="*/ 0 w 664"/>
                  <a:gd name="T17" fmla="*/ 0 h 480"/>
                  <a:gd name="T18" fmla="*/ 0 w 664"/>
                  <a:gd name="T19" fmla="*/ 0 h 480"/>
                  <a:gd name="T20" fmla="*/ 0 w 664"/>
                  <a:gd name="T21" fmla="*/ 0 h 480"/>
                  <a:gd name="T22" fmla="*/ 0 w 664"/>
                  <a:gd name="T23" fmla="*/ 0 h 480"/>
                  <a:gd name="T24" fmla="*/ 0 w 664"/>
                  <a:gd name="T25" fmla="*/ 0 h 480"/>
                  <a:gd name="T26" fmla="*/ 0 w 664"/>
                  <a:gd name="T27" fmla="*/ 0 h 480"/>
                  <a:gd name="T28" fmla="*/ 0 w 664"/>
                  <a:gd name="T29" fmla="*/ 0 h 480"/>
                  <a:gd name="T30" fmla="*/ 0 w 664"/>
                  <a:gd name="T31" fmla="*/ 0 h 480"/>
                  <a:gd name="T32" fmla="*/ 0 w 664"/>
                  <a:gd name="T33" fmla="*/ 0 h 480"/>
                  <a:gd name="T34" fmla="*/ 0 w 664"/>
                  <a:gd name="T35" fmla="*/ 0 h 480"/>
                  <a:gd name="T36" fmla="*/ 0 w 664"/>
                  <a:gd name="T37" fmla="*/ 0 h 480"/>
                  <a:gd name="T38" fmla="*/ 0 w 664"/>
                  <a:gd name="T39" fmla="*/ 0 h 480"/>
                  <a:gd name="T40" fmla="*/ 0 w 664"/>
                  <a:gd name="T41" fmla="*/ 0 h 480"/>
                  <a:gd name="T42" fmla="*/ 0 w 664"/>
                  <a:gd name="T43" fmla="*/ 0 h 480"/>
                  <a:gd name="T44" fmla="*/ 0 w 664"/>
                  <a:gd name="T45" fmla="*/ 0 h 480"/>
                  <a:gd name="T46" fmla="*/ 0 w 664"/>
                  <a:gd name="T47" fmla="*/ 0 h 480"/>
                  <a:gd name="T48" fmla="*/ 0 w 664"/>
                  <a:gd name="T49" fmla="*/ 0 h 480"/>
                  <a:gd name="T50" fmla="*/ 0 w 664"/>
                  <a:gd name="T51" fmla="*/ 0 h 480"/>
                  <a:gd name="T52" fmla="*/ 0 w 664"/>
                  <a:gd name="T53" fmla="*/ 0 h 480"/>
                  <a:gd name="T54" fmla="*/ 0 w 664"/>
                  <a:gd name="T55" fmla="*/ 0 h 480"/>
                  <a:gd name="T56" fmla="*/ 0 w 664"/>
                  <a:gd name="T57" fmla="*/ 0 h 480"/>
                  <a:gd name="T58" fmla="*/ 0 w 664"/>
                  <a:gd name="T59" fmla="*/ 0 h 480"/>
                  <a:gd name="T60" fmla="*/ 0 w 664"/>
                  <a:gd name="T61" fmla="*/ 0 h 480"/>
                  <a:gd name="T62" fmla="*/ 0 w 664"/>
                  <a:gd name="T63" fmla="*/ 0 h 480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664"/>
                  <a:gd name="T97" fmla="*/ 0 h 480"/>
                  <a:gd name="T98" fmla="*/ 664 w 664"/>
                  <a:gd name="T99" fmla="*/ 480 h 480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664" h="480">
                    <a:moveTo>
                      <a:pt x="0" y="0"/>
                    </a:moveTo>
                    <a:lnTo>
                      <a:pt x="3" y="14"/>
                    </a:lnTo>
                    <a:lnTo>
                      <a:pt x="9" y="45"/>
                    </a:lnTo>
                    <a:lnTo>
                      <a:pt x="15" y="75"/>
                    </a:lnTo>
                    <a:lnTo>
                      <a:pt x="21" y="104"/>
                    </a:lnTo>
                    <a:lnTo>
                      <a:pt x="28" y="134"/>
                    </a:lnTo>
                    <a:lnTo>
                      <a:pt x="36" y="163"/>
                    </a:lnTo>
                    <a:lnTo>
                      <a:pt x="44" y="192"/>
                    </a:lnTo>
                    <a:lnTo>
                      <a:pt x="52" y="221"/>
                    </a:lnTo>
                    <a:lnTo>
                      <a:pt x="61" y="249"/>
                    </a:lnTo>
                    <a:lnTo>
                      <a:pt x="71" y="278"/>
                    </a:lnTo>
                    <a:lnTo>
                      <a:pt x="81" y="306"/>
                    </a:lnTo>
                    <a:lnTo>
                      <a:pt x="91" y="334"/>
                    </a:lnTo>
                    <a:lnTo>
                      <a:pt x="103" y="361"/>
                    </a:lnTo>
                    <a:lnTo>
                      <a:pt x="114" y="389"/>
                    </a:lnTo>
                    <a:lnTo>
                      <a:pt x="126" y="416"/>
                    </a:lnTo>
                    <a:lnTo>
                      <a:pt x="138" y="444"/>
                    </a:lnTo>
                    <a:lnTo>
                      <a:pt x="151" y="471"/>
                    </a:lnTo>
                    <a:lnTo>
                      <a:pt x="157" y="480"/>
                    </a:lnTo>
                    <a:lnTo>
                      <a:pt x="664" y="448"/>
                    </a:lnTo>
                    <a:lnTo>
                      <a:pt x="656" y="433"/>
                    </a:lnTo>
                    <a:lnTo>
                      <a:pt x="631" y="383"/>
                    </a:lnTo>
                    <a:lnTo>
                      <a:pt x="609" y="333"/>
                    </a:lnTo>
                    <a:lnTo>
                      <a:pt x="587" y="281"/>
                    </a:lnTo>
                    <a:lnTo>
                      <a:pt x="569" y="229"/>
                    </a:lnTo>
                    <a:lnTo>
                      <a:pt x="551" y="176"/>
                    </a:lnTo>
                    <a:lnTo>
                      <a:pt x="535" y="123"/>
                    </a:lnTo>
                    <a:lnTo>
                      <a:pt x="520" y="68"/>
                    </a:lnTo>
                    <a:lnTo>
                      <a:pt x="508" y="12"/>
                    </a:lnTo>
                    <a:lnTo>
                      <a:pt x="505" y="0"/>
                    </a:lnTo>
                    <a:lnTo>
                      <a:pt x="16" y="0"/>
                    </a:lnTo>
                    <a:lnTo>
                      <a:pt x="0" y="0"/>
                    </a:lnTo>
                    <a:close/>
                    <a:moveTo>
                      <a:pt x="484" y="25"/>
                    </a:moveTo>
                    <a:lnTo>
                      <a:pt x="497" y="79"/>
                    </a:lnTo>
                    <a:lnTo>
                      <a:pt x="510" y="131"/>
                    </a:lnTo>
                    <a:lnTo>
                      <a:pt x="525" y="182"/>
                    </a:lnTo>
                    <a:lnTo>
                      <a:pt x="542" y="232"/>
                    </a:lnTo>
                    <a:lnTo>
                      <a:pt x="561" y="282"/>
                    </a:lnTo>
                    <a:lnTo>
                      <a:pt x="580" y="330"/>
                    </a:lnTo>
                    <a:lnTo>
                      <a:pt x="601" y="378"/>
                    </a:lnTo>
                    <a:lnTo>
                      <a:pt x="624" y="426"/>
                    </a:lnTo>
                    <a:lnTo>
                      <a:pt x="597" y="428"/>
                    </a:lnTo>
                    <a:lnTo>
                      <a:pt x="543" y="431"/>
                    </a:lnTo>
                    <a:lnTo>
                      <a:pt x="473" y="435"/>
                    </a:lnTo>
                    <a:lnTo>
                      <a:pt x="395" y="439"/>
                    </a:lnTo>
                    <a:lnTo>
                      <a:pt x="318" y="443"/>
                    </a:lnTo>
                    <a:lnTo>
                      <a:pt x="250" y="447"/>
                    </a:lnTo>
                    <a:lnTo>
                      <a:pt x="199" y="450"/>
                    </a:lnTo>
                    <a:lnTo>
                      <a:pt x="175" y="452"/>
                    </a:lnTo>
                    <a:lnTo>
                      <a:pt x="151" y="402"/>
                    </a:lnTo>
                    <a:lnTo>
                      <a:pt x="130" y="350"/>
                    </a:lnTo>
                    <a:lnTo>
                      <a:pt x="110" y="298"/>
                    </a:lnTo>
                    <a:lnTo>
                      <a:pt x="92" y="246"/>
                    </a:lnTo>
                    <a:lnTo>
                      <a:pt x="76" y="192"/>
                    </a:lnTo>
                    <a:lnTo>
                      <a:pt x="61" y="138"/>
                    </a:lnTo>
                    <a:lnTo>
                      <a:pt x="48" y="83"/>
                    </a:lnTo>
                    <a:lnTo>
                      <a:pt x="37" y="27"/>
                    </a:lnTo>
                    <a:lnTo>
                      <a:pt x="64" y="27"/>
                    </a:lnTo>
                    <a:lnTo>
                      <a:pt x="115" y="27"/>
                    </a:lnTo>
                    <a:lnTo>
                      <a:pt x="185" y="27"/>
                    </a:lnTo>
                    <a:lnTo>
                      <a:pt x="263" y="26"/>
                    </a:lnTo>
                    <a:lnTo>
                      <a:pt x="340" y="26"/>
                    </a:lnTo>
                    <a:lnTo>
                      <a:pt x="409" y="26"/>
                    </a:lnTo>
                    <a:lnTo>
                      <a:pt x="459" y="26"/>
                    </a:lnTo>
                    <a:lnTo>
                      <a:pt x="484" y="25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09" name="Freeform 44"/>
              <p:cNvSpPr>
                <a:spLocks noEditPoints="1"/>
              </p:cNvSpPr>
              <p:nvPr/>
            </p:nvSpPr>
            <p:spPr bwMode="auto">
              <a:xfrm>
                <a:off x="4058" y="1414"/>
                <a:ext cx="71" cy="51"/>
              </a:xfrm>
              <a:custGeom>
                <a:avLst/>
                <a:gdLst>
                  <a:gd name="T0" fmla="*/ 0 w 493"/>
                  <a:gd name="T1" fmla="*/ 0 h 357"/>
                  <a:gd name="T2" fmla="*/ 0 w 493"/>
                  <a:gd name="T3" fmla="*/ 0 h 357"/>
                  <a:gd name="T4" fmla="*/ 0 w 493"/>
                  <a:gd name="T5" fmla="*/ 0 h 357"/>
                  <a:gd name="T6" fmla="*/ 0 w 493"/>
                  <a:gd name="T7" fmla="*/ 0 h 357"/>
                  <a:gd name="T8" fmla="*/ 0 w 493"/>
                  <a:gd name="T9" fmla="*/ 0 h 357"/>
                  <a:gd name="T10" fmla="*/ 0 w 493"/>
                  <a:gd name="T11" fmla="*/ 0 h 357"/>
                  <a:gd name="T12" fmla="*/ 0 w 493"/>
                  <a:gd name="T13" fmla="*/ 0 h 357"/>
                  <a:gd name="T14" fmla="*/ 0 w 493"/>
                  <a:gd name="T15" fmla="*/ 0 h 357"/>
                  <a:gd name="T16" fmla="*/ 0 w 493"/>
                  <a:gd name="T17" fmla="*/ 0 h 357"/>
                  <a:gd name="T18" fmla="*/ 0 w 493"/>
                  <a:gd name="T19" fmla="*/ 0 h 357"/>
                  <a:gd name="T20" fmla="*/ 0 w 493"/>
                  <a:gd name="T21" fmla="*/ 0 h 357"/>
                  <a:gd name="T22" fmla="*/ 0 w 493"/>
                  <a:gd name="T23" fmla="*/ 0 h 357"/>
                  <a:gd name="T24" fmla="*/ 0 w 493"/>
                  <a:gd name="T25" fmla="*/ 0 h 357"/>
                  <a:gd name="T26" fmla="*/ 0 w 493"/>
                  <a:gd name="T27" fmla="*/ 0 h 357"/>
                  <a:gd name="T28" fmla="*/ 0 w 493"/>
                  <a:gd name="T29" fmla="*/ 0 h 357"/>
                  <a:gd name="T30" fmla="*/ 0 w 493"/>
                  <a:gd name="T31" fmla="*/ 0 h 357"/>
                  <a:gd name="T32" fmla="*/ 0 w 493"/>
                  <a:gd name="T33" fmla="*/ 0 h 357"/>
                  <a:gd name="T34" fmla="*/ 0 w 493"/>
                  <a:gd name="T35" fmla="*/ 0 h 357"/>
                  <a:gd name="T36" fmla="*/ 0 w 493"/>
                  <a:gd name="T37" fmla="*/ 0 h 357"/>
                  <a:gd name="T38" fmla="*/ 0 w 493"/>
                  <a:gd name="T39" fmla="*/ 0 h 357"/>
                  <a:gd name="T40" fmla="*/ 0 w 493"/>
                  <a:gd name="T41" fmla="*/ 0 h 357"/>
                  <a:gd name="T42" fmla="*/ 0 w 493"/>
                  <a:gd name="T43" fmla="*/ 0 h 357"/>
                  <a:gd name="T44" fmla="*/ 0 w 493"/>
                  <a:gd name="T45" fmla="*/ 0 h 357"/>
                  <a:gd name="T46" fmla="*/ 0 w 493"/>
                  <a:gd name="T47" fmla="*/ 0 h 357"/>
                  <a:gd name="T48" fmla="*/ 0 w 493"/>
                  <a:gd name="T49" fmla="*/ 0 h 357"/>
                  <a:gd name="T50" fmla="*/ 0 w 493"/>
                  <a:gd name="T51" fmla="*/ 0 h 357"/>
                  <a:gd name="T52" fmla="*/ 0 w 493"/>
                  <a:gd name="T53" fmla="*/ 0 h 357"/>
                  <a:gd name="T54" fmla="*/ 0 w 493"/>
                  <a:gd name="T55" fmla="*/ 0 h 357"/>
                  <a:gd name="T56" fmla="*/ 0 w 493"/>
                  <a:gd name="T57" fmla="*/ 0 h 357"/>
                  <a:gd name="T58" fmla="*/ 0 w 493"/>
                  <a:gd name="T59" fmla="*/ 0 h 357"/>
                  <a:gd name="T60" fmla="*/ 0 w 493"/>
                  <a:gd name="T61" fmla="*/ 0 h 357"/>
                  <a:gd name="T62" fmla="*/ 0 w 493"/>
                  <a:gd name="T63" fmla="*/ 0 h 357"/>
                  <a:gd name="T64" fmla="*/ 0 w 493"/>
                  <a:gd name="T65" fmla="*/ 0 h 357"/>
                  <a:gd name="T66" fmla="*/ 0 w 493"/>
                  <a:gd name="T67" fmla="*/ 0 h 357"/>
                  <a:gd name="T68" fmla="*/ 0 w 493"/>
                  <a:gd name="T69" fmla="*/ 0 h 357"/>
                  <a:gd name="T70" fmla="*/ 0 w 493"/>
                  <a:gd name="T71" fmla="*/ 0 h 357"/>
                  <a:gd name="T72" fmla="*/ 0 w 493"/>
                  <a:gd name="T73" fmla="*/ 0 h 357"/>
                  <a:gd name="T74" fmla="*/ 0 w 493"/>
                  <a:gd name="T75" fmla="*/ 0 h 357"/>
                  <a:gd name="T76" fmla="*/ 0 w 493"/>
                  <a:gd name="T77" fmla="*/ 0 h 357"/>
                  <a:gd name="T78" fmla="*/ 0 w 493"/>
                  <a:gd name="T79" fmla="*/ 0 h 357"/>
                  <a:gd name="T80" fmla="*/ 0 w 493"/>
                  <a:gd name="T81" fmla="*/ 0 h 357"/>
                  <a:gd name="T82" fmla="*/ 0 w 493"/>
                  <a:gd name="T83" fmla="*/ 0 h 357"/>
                  <a:gd name="T84" fmla="*/ 0 w 493"/>
                  <a:gd name="T85" fmla="*/ 0 h 357"/>
                  <a:gd name="T86" fmla="*/ 0 w 493"/>
                  <a:gd name="T87" fmla="*/ 0 h 357"/>
                  <a:gd name="T88" fmla="*/ 0 w 493"/>
                  <a:gd name="T89" fmla="*/ 0 h 357"/>
                  <a:gd name="T90" fmla="*/ 0 w 493"/>
                  <a:gd name="T91" fmla="*/ 0 h 357"/>
                  <a:gd name="T92" fmla="*/ 0 w 493"/>
                  <a:gd name="T93" fmla="*/ 0 h 357"/>
                  <a:gd name="T94" fmla="*/ 0 w 493"/>
                  <a:gd name="T95" fmla="*/ 0 h 357"/>
                  <a:gd name="T96" fmla="*/ 0 w 493"/>
                  <a:gd name="T97" fmla="*/ 0 h 357"/>
                  <a:gd name="T98" fmla="*/ 0 w 493"/>
                  <a:gd name="T99" fmla="*/ 0 h 357"/>
                  <a:gd name="T100" fmla="*/ 0 w 493"/>
                  <a:gd name="T101" fmla="*/ 0 h 357"/>
                  <a:gd name="T102" fmla="*/ 0 w 493"/>
                  <a:gd name="T103" fmla="*/ 0 h 357"/>
                  <a:gd name="T104" fmla="*/ 0 w 493"/>
                  <a:gd name="T105" fmla="*/ 0 h 357"/>
                  <a:gd name="T106" fmla="*/ 0 w 493"/>
                  <a:gd name="T107" fmla="*/ 0 h 357"/>
                  <a:gd name="T108" fmla="*/ 0 w 493"/>
                  <a:gd name="T109" fmla="*/ 0 h 357"/>
                  <a:gd name="T110" fmla="*/ 0 w 493"/>
                  <a:gd name="T111" fmla="*/ 0 h 357"/>
                  <a:gd name="T112" fmla="*/ 0 w 493"/>
                  <a:gd name="T113" fmla="*/ 0 h 357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493"/>
                  <a:gd name="T172" fmla="*/ 0 h 357"/>
                  <a:gd name="T173" fmla="*/ 493 w 493"/>
                  <a:gd name="T174" fmla="*/ 357 h 357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493" h="357">
                    <a:moveTo>
                      <a:pt x="0" y="3"/>
                    </a:moveTo>
                    <a:lnTo>
                      <a:pt x="2" y="16"/>
                    </a:lnTo>
                    <a:lnTo>
                      <a:pt x="11" y="61"/>
                    </a:lnTo>
                    <a:lnTo>
                      <a:pt x="21" y="103"/>
                    </a:lnTo>
                    <a:lnTo>
                      <a:pt x="32" y="145"/>
                    </a:lnTo>
                    <a:lnTo>
                      <a:pt x="45" y="187"/>
                    </a:lnTo>
                    <a:lnTo>
                      <a:pt x="59" y="227"/>
                    </a:lnTo>
                    <a:lnTo>
                      <a:pt x="75" y="267"/>
                    </a:lnTo>
                    <a:lnTo>
                      <a:pt x="91" y="308"/>
                    </a:lnTo>
                    <a:lnTo>
                      <a:pt x="110" y="347"/>
                    </a:lnTo>
                    <a:lnTo>
                      <a:pt x="114" y="357"/>
                    </a:lnTo>
                    <a:lnTo>
                      <a:pt x="493" y="337"/>
                    </a:lnTo>
                    <a:lnTo>
                      <a:pt x="485" y="320"/>
                    </a:lnTo>
                    <a:lnTo>
                      <a:pt x="468" y="283"/>
                    </a:lnTo>
                    <a:lnTo>
                      <a:pt x="451" y="246"/>
                    </a:lnTo>
                    <a:lnTo>
                      <a:pt x="435" y="208"/>
                    </a:lnTo>
                    <a:lnTo>
                      <a:pt x="421" y="170"/>
                    </a:lnTo>
                    <a:lnTo>
                      <a:pt x="409" y="132"/>
                    </a:lnTo>
                    <a:lnTo>
                      <a:pt x="396" y="93"/>
                    </a:lnTo>
                    <a:lnTo>
                      <a:pt x="386" y="52"/>
                    </a:lnTo>
                    <a:lnTo>
                      <a:pt x="377" y="12"/>
                    </a:lnTo>
                    <a:lnTo>
                      <a:pt x="373" y="0"/>
                    </a:lnTo>
                    <a:lnTo>
                      <a:pt x="16" y="3"/>
                    </a:lnTo>
                    <a:lnTo>
                      <a:pt x="0" y="3"/>
                    </a:lnTo>
                    <a:close/>
                    <a:moveTo>
                      <a:pt x="353" y="25"/>
                    </a:moveTo>
                    <a:lnTo>
                      <a:pt x="362" y="64"/>
                    </a:lnTo>
                    <a:lnTo>
                      <a:pt x="371" y="101"/>
                    </a:lnTo>
                    <a:lnTo>
                      <a:pt x="383" y="137"/>
                    </a:lnTo>
                    <a:lnTo>
                      <a:pt x="395" y="173"/>
                    </a:lnTo>
                    <a:lnTo>
                      <a:pt x="408" y="208"/>
                    </a:lnTo>
                    <a:lnTo>
                      <a:pt x="422" y="244"/>
                    </a:lnTo>
                    <a:lnTo>
                      <a:pt x="438" y="278"/>
                    </a:lnTo>
                    <a:lnTo>
                      <a:pt x="454" y="312"/>
                    </a:lnTo>
                    <a:lnTo>
                      <a:pt x="432" y="314"/>
                    </a:lnTo>
                    <a:lnTo>
                      <a:pt x="393" y="316"/>
                    </a:lnTo>
                    <a:lnTo>
                      <a:pt x="345" y="318"/>
                    </a:lnTo>
                    <a:lnTo>
                      <a:pt x="290" y="321"/>
                    </a:lnTo>
                    <a:lnTo>
                      <a:pt x="235" y="323"/>
                    </a:lnTo>
                    <a:lnTo>
                      <a:pt x="187" y="326"/>
                    </a:lnTo>
                    <a:lnTo>
                      <a:pt x="151" y="327"/>
                    </a:lnTo>
                    <a:lnTo>
                      <a:pt x="133" y="328"/>
                    </a:lnTo>
                    <a:lnTo>
                      <a:pt x="116" y="293"/>
                    </a:lnTo>
                    <a:lnTo>
                      <a:pt x="102" y="257"/>
                    </a:lnTo>
                    <a:lnTo>
                      <a:pt x="88" y="220"/>
                    </a:lnTo>
                    <a:lnTo>
                      <a:pt x="75" y="183"/>
                    </a:lnTo>
                    <a:lnTo>
                      <a:pt x="63" y="145"/>
                    </a:lnTo>
                    <a:lnTo>
                      <a:pt x="53" y="107"/>
                    </a:lnTo>
                    <a:lnTo>
                      <a:pt x="44" y="69"/>
                    </a:lnTo>
                    <a:lnTo>
                      <a:pt x="36" y="29"/>
                    </a:lnTo>
                    <a:lnTo>
                      <a:pt x="57" y="29"/>
                    </a:lnTo>
                    <a:lnTo>
                      <a:pt x="94" y="28"/>
                    </a:lnTo>
                    <a:lnTo>
                      <a:pt x="143" y="28"/>
                    </a:lnTo>
                    <a:lnTo>
                      <a:pt x="197" y="27"/>
                    </a:lnTo>
                    <a:lnTo>
                      <a:pt x="251" y="26"/>
                    </a:lnTo>
                    <a:lnTo>
                      <a:pt x="298" y="26"/>
                    </a:lnTo>
                    <a:lnTo>
                      <a:pt x="334" y="26"/>
                    </a:lnTo>
                    <a:lnTo>
                      <a:pt x="353" y="25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10" name="Freeform 45"/>
              <p:cNvSpPr>
                <a:spLocks noEditPoints="1"/>
              </p:cNvSpPr>
              <p:nvPr/>
            </p:nvSpPr>
            <p:spPr bwMode="auto">
              <a:xfrm>
                <a:off x="4071" y="1422"/>
                <a:ext cx="47" cy="34"/>
              </a:xfrm>
              <a:custGeom>
                <a:avLst/>
                <a:gdLst>
                  <a:gd name="T0" fmla="*/ 0 w 329"/>
                  <a:gd name="T1" fmla="*/ 0 h 238"/>
                  <a:gd name="T2" fmla="*/ 0 w 329"/>
                  <a:gd name="T3" fmla="*/ 0 h 238"/>
                  <a:gd name="T4" fmla="*/ 0 w 329"/>
                  <a:gd name="T5" fmla="*/ 0 h 238"/>
                  <a:gd name="T6" fmla="*/ 0 w 329"/>
                  <a:gd name="T7" fmla="*/ 0 h 238"/>
                  <a:gd name="T8" fmla="*/ 0 w 329"/>
                  <a:gd name="T9" fmla="*/ 0 h 238"/>
                  <a:gd name="T10" fmla="*/ 0 w 329"/>
                  <a:gd name="T11" fmla="*/ 0 h 238"/>
                  <a:gd name="T12" fmla="*/ 0 w 329"/>
                  <a:gd name="T13" fmla="*/ 0 h 238"/>
                  <a:gd name="T14" fmla="*/ 0 w 329"/>
                  <a:gd name="T15" fmla="*/ 0 h 238"/>
                  <a:gd name="T16" fmla="*/ 0 w 329"/>
                  <a:gd name="T17" fmla="*/ 0 h 238"/>
                  <a:gd name="T18" fmla="*/ 0 w 329"/>
                  <a:gd name="T19" fmla="*/ 0 h 238"/>
                  <a:gd name="T20" fmla="*/ 0 w 329"/>
                  <a:gd name="T21" fmla="*/ 0 h 238"/>
                  <a:gd name="T22" fmla="*/ 0 w 329"/>
                  <a:gd name="T23" fmla="*/ 0 h 238"/>
                  <a:gd name="T24" fmla="*/ 0 w 329"/>
                  <a:gd name="T25" fmla="*/ 0 h 238"/>
                  <a:gd name="T26" fmla="*/ 0 w 329"/>
                  <a:gd name="T27" fmla="*/ 0 h 238"/>
                  <a:gd name="T28" fmla="*/ 0 w 329"/>
                  <a:gd name="T29" fmla="*/ 0 h 238"/>
                  <a:gd name="T30" fmla="*/ 0 w 329"/>
                  <a:gd name="T31" fmla="*/ 0 h 238"/>
                  <a:gd name="T32" fmla="*/ 0 w 329"/>
                  <a:gd name="T33" fmla="*/ 0 h 238"/>
                  <a:gd name="T34" fmla="*/ 0 w 329"/>
                  <a:gd name="T35" fmla="*/ 0 h 238"/>
                  <a:gd name="T36" fmla="*/ 0 w 329"/>
                  <a:gd name="T37" fmla="*/ 0 h 238"/>
                  <a:gd name="T38" fmla="*/ 0 w 329"/>
                  <a:gd name="T39" fmla="*/ 0 h 238"/>
                  <a:gd name="T40" fmla="*/ 0 w 329"/>
                  <a:gd name="T41" fmla="*/ 0 h 238"/>
                  <a:gd name="T42" fmla="*/ 0 w 329"/>
                  <a:gd name="T43" fmla="*/ 0 h 238"/>
                  <a:gd name="T44" fmla="*/ 0 w 329"/>
                  <a:gd name="T45" fmla="*/ 0 h 238"/>
                  <a:gd name="T46" fmla="*/ 0 w 329"/>
                  <a:gd name="T47" fmla="*/ 0 h 238"/>
                  <a:gd name="T48" fmla="*/ 0 w 329"/>
                  <a:gd name="T49" fmla="*/ 0 h 238"/>
                  <a:gd name="T50" fmla="*/ 0 w 329"/>
                  <a:gd name="T51" fmla="*/ 0 h 238"/>
                  <a:gd name="T52" fmla="*/ 0 w 329"/>
                  <a:gd name="T53" fmla="*/ 0 h 238"/>
                  <a:gd name="T54" fmla="*/ 0 w 329"/>
                  <a:gd name="T55" fmla="*/ 0 h 238"/>
                  <a:gd name="T56" fmla="*/ 0 w 329"/>
                  <a:gd name="T57" fmla="*/ 0 h 238"/>
                  <a:gd name="T58" fmla="*/ 0 w 329"/>
                  <a:gd name="T59" fmla="*/ 0 h 238"/>
                  <a:gd name="T60" fmla="*/ 0 w 329"/>
                  <a:gd name="T61" fmla="*/ 0 h 238"/>
                  <a:gd name="T62" fmla="*/ 0 w 329"/>
                  <a:gd name="T63" fmla="*/ 0 h 238"/>
                  <a:gd name="T64" fmla="*/ 0 w 329"/>
                  <a:gd name="T65" fmla="*/ 0 h 238"/>
                  <a:gd name="T66" fmla="*/ 0 w 329"/>
                  <a:gd name="T67" fmla="*/ 0 h 238"/>
                  <a:gd name="T68" fmla="*/ 0 w 329"/>
                  <a:gd name="T69" fmla="*/ 0 h 238"/>
                  <a:gd name="T70" fmla="*/ 0 w 329"/>
                  <a:gd name="T71" fmla="*/ 0 h 238"/>
                  <a:gd name="T72" fmla="*/ 0 w 329"/>
                  <a:gd name="T73" fmla="*/ 0 h 238"/>
                  <a:gd name="T74" fmla="*/ 0 w 329"/>
                  <a:gd name="T75" fmla="*/ 0 h 238"/>
                  <a:gd name="T76" fmla="*/ 0 w 329"/>
                  <a:gd name="T77" fmla="*/ 0 h 238"/>
                  <a:gd name="T78" fmla="*/ 0 w 329"/>
                  <a:gd name="T79" fmla="*/ 0 h 238"/>
                  <a:gd name="T80" fmla="*/ 0 w 329"/>
                  <a:gd name="T81" fmla="*/ 0 h 238"/>
                  <a:gd name="T82" fmla="*/ 0 w 329"/>
                  <a:gd name="T83" fmla="*/ 0 h 238"/>
                  <a:gd name="T84" fmla="*/ 0 w 329"/>
                  <a:gd name="T85" fmla="*/ 0 h 238"/>
                  <a:gd name="T86" fmla="*/ 0 w 329"/>
                  <a:gd name="T87" fmla="*/ 0 h 238"/>
                  <a:gd name="T88" fmla="*/ 0 w 329"/>
                  <a:gd name="T89" fmla="*/ 0 h 238"/>
                  <a:gd name="T90" fmla="*/ 0 w 329"/>
                  <a:gd name="T91" fmla="*/ 0 h 238"/>
                  <a:gd name="T92" fmla="*/ 0 w 329"/>
                  <a:gd name="T93" fmla="*/ 0 h 238"/>
                  <a:gd name="T94" fmla="*/ 0 w 329"/>
                  <a:gd name="T95" fmla="*/ 0 h 238"/>
                  <a:gd name="T96" fmla="*/ 0 w 329"/>
                  <a:gd name="T97" fmla="*/ 0 h 238"/>
                  <a:gd name="T98" fmla="*/ 0 w 329"/>
                  <a:gd name="T99" fmla="*/ 0 h 238"/>
                  <a:gd name="T100" fmla="*/ 0 w 329"/>
                  <a:gd name="T101" fmla="*/ 0 h 238"/>
                  <a:gd name="T102" fmla="*/ 0 w 329"/>
                  <a:gd name="T103" fmla="*/ 0 h 238"/>
                  <a:gd name="T104" fmla="*/ 0 w 329"/>
                  <a:gd name="T105" fmla="*/ 0 h 238"/>
                  <a:gd name="T106" fmla="*/ 0 w 329"/>
                  <a:gd name="T107" fmla="*/ 0 h 238"/>
                  <a:gd name="T108" fmla="*/ 0 w 329"/>
                  <a:gd name="T109" fmla="*/ 0 h 238"/>
                  <a:gd name="T110" fmla="*/ 0 w 329"/>
                  <a:gd name="T111" fmla="*/ 0 h 238"/>
                  <a:gd name="T112" fmla="*/ 0 w 329"/>
                  <a:gd name="T113" fmla="*/ 0 h 238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29"/>
                  <a:gd name="T172" fmla="*/ 0 h 238"/>
                  <a:gd name="T173" fmla="*/ 329 w 329"/>
                  <a:gd name="T174" fmla="*/ 238 h 238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29" h="238">
                    <a:moveTo>
                      <a:pt x="0" y="4"/>
                    </a:moveTo>
                    <a:lnTo>
                      <a:pt x="2" y="18"/>
                    </a:lnTo>
                    <a:lnTo>
                      <a:pt x="8" y="46"/>
                    </a:lnTo>
                    <a:lnTo>
                      <a:pt x="15" y="73"/>
                    </a:lnTo>
                    <a:lnTo>
                      <a:pt x="22" y="100"/>
                    </a:lnTo>
                    <a:lnTo>
                      <a:pt x="29" y="126"/>
                    </a:lnTo>
                    <a:lnTo>
                      <a:pt x="38" y="152"/>
                    </a:lnTo>
                    <a:lnTo>
                      <a:pt x="49" y="177"/>
                    </a:lnTo>
                    <a:lnTo>
                      <a:pt x="59" y="203"/>
                    </a:lnTo>
                    <a:lnTo>
                      <a:pt x="70" y="229"/>
                    </a:lnTo>
                    <a:lnTo>
                      <a:pt x="76" y="238"/>
                    </a:lnTo>
                    <a:lnTo>
                      <a:pt x="329" y="226"/>
                    </a:lnTo>
                    <a:lnTo>
                      <a:pt x="321" y="209"/>
                    </a:lnTo>
                    <a:lnTo>
                      <a:pt x="309" y="186"/>
                    </a:lnTo>
                    <a:lnTo>
                      <a:pt x="299" y="162"/>
                    </a:lnTo>
                    <a:lnTo>
                      <a:pt x="289" y="138"/>
                    </a:lnTo>
                    <a:lnTo>
                      <a:pt x="279" y="114"/>
                    </a:lnTo>
                    <a:lnTo>
                      <a:pt x="271" y="89"/>
                    </a:lnTo>
                    <a:lnTo>
                      <a:pt x="264" y="63"/>
                    </a:lnTo>
                    <a:lnTo>
                      <a:pt x="256" y="39"/>
                    </a:lnTo>
                    <a:lnTo>
                      <a:pt x="250" y="12"/>
                    </a:lnTo>
                    <a:lnTo>
                      <a:pt x="248" y="0"/>
                    </a:lnTo>
                    <a:lnTo>
                      <a:pt x="16" y="4"/>
                    </a:lnTo>
                    <a:lnTo>
                      <a:pt x="0" y="4"/>
                    </a:lnTo>
                    <a:close/>
                    <a:moveTo>
                      <a:pt x="227" y="26"/>
                    </a:moveTo>
                    <a:lnTo>
                      <a:pt x="233" y="50"/>
                    </a:lnTo>
                    <a:lnTo>
                      <a:pt x="239" y="72"/>
                    </a:lnTo>
                    <a:lnTo>
                      <a:pt x="245" y="95"/>
                    </a:lnTo>
                    <a:lnTo>
                      <a:pt x="252" y="116"/>
                    </a:lnTo>
                    <a:lnTo>
                      <a:pt x="261" y="138"/>
                    </a:lnTo>
                    <a:lnTo>
                      <a:pt x="269" y="160"/>
                    </a:lnTo>
                    <a:lnTo>
                      <a:pt x="278" y="181"/>
                    </a:lnTo>
                    <a:lnTo>
                      <a:pt x="289" y="202"/>
                    </a:lnTo>
                    <a:lnTo>
                      <a:pt x="273" y="202"/>
                    </a:lnTo>
                    <a:lnTo>
                      <a:pt x="248" y="203"/>
                    </a:lnTo>
                    <a:lnTo>
                      <a:pt x="219" y="205"/>
                    </a:lnTo>
                    <a:lnTo>
                      <a:pt x="187" y="206"/>
                    </a:lnTo>
                    <a:lnTo>
                      <a:pt x="156" y="207"/>
                    </a:lnTo>
                    <a:lnTo>
                      <a:pt x="128" y="208"/>
                    </a:lnTo>
                    <a:lnTo>
                      <a:pt x="107" y="209"/>
                    </a:lnTo>
                    <a:lnTo>
                      <a:pt x="94" y="210"/>
                    </a:lnTo>
                    <a:lnTo>
                      <a:pt x="84" y="189"/>
                    </a:lnTo>
                    <a:lnTo>
                      <a:pt x="75" y="167"/>
                    </a:lnTo>
                    <a:lnTo>
                      <a:pt x="66" y="144"/>
                    </a:lnTo>
                    <a:lnTo>
                      <a:pt x="59" y="122"/>
                    </a:lnTo>
                    <a:lnTo>
                      <a:pt x="52" y="100"/>
                    </a:lnTo>
                    <a:lnTo>
                      <a:pt x="46" y="77"/>
                    </a:lnTo>
                    <a:lnTo>
                      <a:pt x="41" y="54"/>
                    </a:lnTo>
                    <a:lnTo>
                      <a:pt x="35" y="30"/>
                    </a:lnTo>
                    <a:lnTo>
                      <a:pt x="50" y="30"/>
                    </a:lnTo>
                    <a:lnTo>
                      <a:pt x="74" y="29"/>
                    </a:lnTo>
                    <a:lnTo>
                      <a:pt x="101" y="29"/>
                    </a:lnTo>
                    <a:lnTo>
                      <a:pt x="134" y="28"/>
                    </a:lnTo>
                    <a:lnTo>
                      <a:pt x="165" y="27"/>
                    </a:lnTo>
                    <a:lnTo>
                      <a:pt x="191" y="27"/>
                    </a:lnTo>
                    <a:lnTo>
                      <a:pt x="214" y="26"/>
                    </a:lnTo>
                    <a:lnTo>
                      <a:pt x="227" y="26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11" name="Freeform 46"/>
              <p:cNvSpPr>
                <a:spLocks/>
              </p:cNvSpPr>
              <p:nvPr/>
            </p:nvSpPr>
            <p:spPr bwMode="auto">
              <a:xfrm>
                <a:off x="4084" y="1432"/>
                <a:ext cx="21" cy="15"/>
              </a:xfrm>
              <a:custGeom>
                <a:avLst/>
                <a:gdLst>
                  <a:gd name="T0" fmla="*/ 0 w 145"/>
                  <a:gd name="T1" fmla="*/ 0 h 104"/>
                  <a:gd name="T2" fmla="*/ 0 w 145"/>
                  <a:gd name="T3" fmla="*/ 0 h 104"/>
                  <a:gd name="T4" fmla="*/ 0 w 145"/>
                  <a:gd name="T5" fmla="*/ 0 h 104"/>
                  <a:gd name="T6" fmla="*/ 0 w 145"/>
                  <a:gd name="T7" fmla="*/ 0 h 104"/>
                  <a:gd name="T8" fmla="*/ 0 w 145"/>
                  <a:gd name="T9" fmla="*/ 0 h 104"/>
                  <a:gd name="T10" fmla="*/ 0 w 145"/>
                  <a:gd name="T11" fmla="*/ 0 h 104"/>
                  <a:gd name="T12" fmla="*/ 0 w 145"/>
                  <a:gd name="T13" fmla="*/ 0 h 104"/>
                  <a:gd name="T14" fmla="*/ 0 w 145"/>
                  <a:gd name="T15" fmla="*/ 0 h 104"/>
                  <a:gd name="T16" fmla="*/ 0 w 145"/>
                  <a:gd name="T17" fmla="*/ 0 h 104"/>
                  <a:gd name="T18" fmla="*/ 0 w 145"/>
                  <a:gd name="T19" fmla="*/ 0 h 104"/>
                  <a:gd name="T20" fmla="*/ 0 w 145"/>
                  <a:gd name="T21" fmla="*/ 0 h 104"/>
                  <a:gd name="T22" fmla="*/ 0 w 145"/>
                  <a:gd name="T23" fmla="*/ 0 h 104"/>
                  <a:gd name="T24" fmla="*/ 0 w 145"/>
                  <a:gd name="T25" fmla="*/ 0 h 104"/>
                  <a:gd name="T26" fmla="*/ 0 w 145"/>
                  <a:gd name="T27" fmla="*/ 0 h 104"/>
                  <a:gd name="T28" fmla="*/ 0 w 145"/>
                  <a:gd name="T29" fmla="*/ 0 h 104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w 145"/>
                  <a:gd name="T46" fmla="*/ 0 h 104"/>
                  <a:gd name="T47" fmla="*/ 145 w 145"/>
                  <a:gd name="T48" fmla="*/ 104 h 104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T45" t="T46" r="T47" b="T48"/>
                <a:pathLst>
                  <a:path w="145" h="104">
                    <a:moveTo>
                      <a:pt x="110" y="0"/>
                    </a:moveTo>
                    <a:lnTo>
                      <a:pt x="115" y="24"/>
                    </a:lnTo>
                    <a:lnTo>
                      <a:pt x="123" y="49"/>
                    </a:lnTo>
                    <a:lnTo>
                      <a:pt x="127" y="62"/>
                    </a:lnTo>
                    <a:lnTo>
                      <a:pt x="132" y="74"/>
                    </a:lnTo>
                    <a:lnTo>
                      <a:pt x="139" y="86"/>
                    </a:lnTo>
                    <a:lnTo>
                      <a:pt x="145" y="100"/>
                    </a:lnTo>
                    <a:lnTo>
                      <a:pt x="33" y="104"/>
                    </a:lnTo>
                    <a:lnTo>
                      <a:pt x="27" y="91"/>
                    </a:lnTo>
                    <a:lnTo>
                      <a:pt x="22" y="78"/>
                    </a:lnTo>
                    <a:lnTo>
                      <a:pt x="17" y="65"/>
                    </a:lnTo>
                    <a:lnTo>
                      <a:pt x="13" y="52"/>
                    </a:lnTo>
                    <a:lnTo>
                      <a:pt x="5" y="26"/>
                    </a:lnTo>
                    <a:lnTo>
                      <a:pt x="0" y="2"/>
                    </a:lnTo>
                    <a:lnTo>
                      <a:pt x="110" y="0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12" name="Freeform 47"/>
              <p:cNvSpPr>
                <a:spLocks noEditPoints="1"/>
              </p:cNvSpPr>
              <p:nvPr/>
            </p:nvSpPr>
            <p:spPr bwMode="auto">
              <a:xfrm>
                <a:off x="4030" y="1323"/>
                <a:ext cx="55" cy="41"/>
              </a:xfrm>
              <a:custGeom>
                <a:avLst/>
                <a:gdLst>
                  <a:gd name="T0" fmla="*/ 0 w 384"/>
                  <a:gd name="T1" fmla="*/ 0 h 284"/>
                  <a:gd name="T2" fmla="*/ 0 w 384"/>
                  <a:gd name="T3" fmla="*/ 0 h 284"/>
                  <a:gd name="T4" fmla="*/ 0 w 384"/>
                  <a:gd name="T5" fmla="*/ 0 h 284"/>
                  <a:gd name="T6" fmla="*/ 0 w 384"/>
                  <a:gd name="T7" fmla="*/ 0 h 284"/>
                  <a:gd name="T8" fmla="*/ 0 w 384"/>
                  <a:gd name="T9" fmla="*/ 0 h 284"/>
                  <a:gd name="T10" fmla="*/ 0 w 384"/>
                  <a:gd name="T11" fmla="*/ 0 h 284"/>
                  <a:gd name="T12" fmla="*/ 0 w 384"/>
                  <a:gd name="T13" fmla="*/ 0 h 284"/>
                  <a:gd name="T14" fmla="*/ 0 w 384"/>
                  <a:gd name="T15" fmla="*/ 0 h 284"/>
                  <a:gd name="T16" fmla="*/ 0 w 384"/>
                  <a:gd name="T17" fmla="*/ 0 h 284"/>
                  <a:gd name="T18" fmla="*/ 0 w 384"/>
                  <a:gd name="T19" fmla="*/ 0 h 284"/>
                  <a:gd name="T20" fmla="*/ 0 w 384"/>
                  <a:gd name="T21" fmla="*/ 0 h 284"/>
                  <a:gd name="T22" fmla="*/ 0 w 384"/>
                  <a:gd name="T23" fmla="*/ 0 h 284"/>
                  <a:gd name="T24" fmla="*/ 0 w 384"/>
                  <a:gd name="T25" fmla="*/ 0 h 284"/>
                  <a:gd name="T26" fmla="*/ 0 w 384"/>
                  <a:gd name="T27" fmla="*/ 0 h 284"/>
                  <a:gd name="T28" fmla="*/ 0 w 384"/>
                  <a:gd name="T29" fmla="*/ 0 h 284"/>
                  <a:gd name="T30" fmla="*/ 0 w 384"/>
                  <a:gd name="T31" fmla="*/ 0 h 284"/>
                  <a:gd name="T32" fmla="*/ 0 w 384"/>
                  <a:gd name="T33" fmla="*/ 0 h 284"/>
                  <a:gd name="T34" fmla="*/ 0 w 384"/>
                  <a:gd name="T35" fmla="*/ 0 h 284"/>
                  <a:gd name="T36" fmla="*/ 0 w 384"/>
                  <a:gd name="T37" fmla="*/ 0 h 284"/>
                  <a:gd name="T38" fmla="*/ 0 w 384"/>
                  <a:gd name="T39" fmla="*/ 0 h 284"/>
                  <a:gd name="T40" fmla="*/ 0 w 384"/>
                  <a:gd name="T41" fmla="*/ 0 h 284"/>
                  <a:gd name="T42" fmla="*/ 0 w 384"/>
                  <a:gd name="T43" fmla="*/ 0 h 284"/>
                  <a:gd name="T44" fmla="*/ 0 w 384"/>
                  <a:gd name="T45" fmla="*/ 0 h 284"/>
                  <a:gd name="T46" fmla="*/ 0 w 384"/>
                  <a:gd name="T47" fmla="*/ 0 h 284"/>
                  <a:gd name="T48" fmla="*/ 0 w 384"/>
                  <a:gd name="T49" fmla="*/ 0 h 284"/>
                  <a:gd name="T50" fmla="*/ 0 w 384"/>
                  <a:gd name="T51" fmla="*/ 0 h 284"/>
                  <a:gd name="T52" fmla="*/ 0 w 384"/>
                  <a:gd name="T53" fmla="*/ 0 h 284"/>
                  <a:gd name="T54" fmla="*/ 0 w 384"/>
                  <a:gd name="T55" fmla="*/ 0 h 284"/>
                  <a:gd name="T56" fmla="*/ 0 w 384"/>
                  <a:gd name="T57" fmla="*/ 0 h 284"/>
                  <a:gd name="T58" fmla="*/ 0 w 384"/>
                  <a:gd name="T59" fmla="*/ 0 h 284"/>
                  <a:gd name="T60" fmla="*/ 0 w 384"/>
                  <a:gd name="T61" fmla="*/ 0 h 284"/>
                  <a:gd name="T62" fmla="*/ 0 w 384"/>
                  <a:gd name="T63" fmla="*/ 0 h 284"/>
                  <a:gd name="T64" fmla="*/ 0 w 384"/>
                  <a:gd name="T65" fmla="*/ 0 h 284"/>
                  <a:gd name="T66" fmla="*/ 0 w 384"/>
                  <a:gd name="T67" fmla="*/ 0 h 284"/>
                  <a:gd name="T68" fmla="*/ 0 w 384"/>
                  <a:gd name="T69" fmla="*/ 0 h 284"/>
                  <a:gd name="T70" fmla="*/ 0 w 384"/>
                  <a:gd name="T71" fmla="*/ 0 h 284"/>
                  <a:gd name="T72" fmla="*/ 0 w 384"/>
                  <a:gd name="T73" fmla="*/ 0 h 284"/>
                  <a:gd name="T74" fmla="*/ 0 w 384"/>
                  <a:gd name="T75" fmla="*/ 0 h 284"/>
                  <a:gd name="T76" fmla="*/ 0 w 384"/>
                  <a:gd name="T77" fmla="*/ 0 h 284"/>
                  <a:gd name="T78" fmla="*/ 0 w 384"/>
                  <a:gd name="T79" fmla="*/ 0 h 284"/>
                  <a:gd name="T80" fmla="*/ 0 w 384"/>
                  <a:gd name="T81" fmla="*/ 0 h 284"/>
                  <a:gd name="T82" fmla="*/ 0 w 384"/>
                  <a:gd name="T83" fmla="*/ 0 h 284"/>
                  <a:gd name="T84" fmla="*/ 0 w 384"/>
                  <a:gd name="T85" fmla="*/ 0 h 284"/>
                  <a:gd name="T86" fmla="*/ 0 w 384"/>
                  <a:gd name="T87" fmla="*/ 0 h 284"/>
                  <a:gd name="T88" fmla="*/ 0 w 384"/>
                  <a:gd name="T89" fmla="*/ 0 h 284"/>
                  <a:gd name="T90" fmla="*/ 0 w 384"/>
                  <a:gd name="T91" fmla="*/ 0 h 284"/>
                  <a:gd name="T92" fmla="*/ 0 w 384"/>
                  <a:gd name="T93" fmla="*/ 0 h 284"/>
                  <a:gd name="T94" fmla="*/ 0 w 384"/>
                  <a:gd name="T95" fmla="*/ 0 h 284"/>
                  <a:gd name="T96" fmla="*/ 0 w 384"/>
                  <a:gd name="T97" fmla="*/ 0 h 284"/>
                  <a:gd name="T98" fmla="*/ 0 w 384"/>
                  <a:gd name="T99" fmla="*/ 0 h 284"/>
                  <a:gd name="T100" fmla="*/ 0 w 384"/>
                  <a:gd name="T101" fmla="*/ 0 h 284"/>
                  <a:gd name="T102" fmla="*/ 0 w 384"/>
                  <a:gd name="T103" fmla="*/ 0 h 284"/>
                  <a:gd name="T104" fmla="*/ 0 w 384"/>
                  <a:gd name="T105" fmla="*/ 0 h 284"/>
                  <a:gd name="T106" fmla="*/ 0 w 384"/>
                  <a:gd name="T107" fmla="*/ 0 h 284"/>
                  <a:gd name="T108" fmla="*/ 0 w 384"/>
                  <a:gd name="T109" fmla="*/ 0 h 284"/>
                  <a:gd name="T110" fmla="*/ 0 w 384"/>
                  <a:gd name="T111" fmla="*/ 0 h 284"/>
                  <a:gd name="T112" fmla="*/ 0 w 384"/>
                  <a:gd name="T113" fmla="*/ 0 h 284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w 384"/>
                  <a:gd name="T172" fmla="*/ 0 h 284"/>
                  <a:gd name="T173" fmla="*/ 384 w 384"/>
                  <a:gd name="T174" fmla="*/ 284 h 284"/>
                </a:gdLst>
                <a:ahLst/>
                <a:cxnLst>
                  <a:cxn ang="T114">
                    <a:pos x="T0" y="T1"/>
                  </a:cxn>
                  <a:cxn ang="T115">
                    <a:pos x="T2" y="T3"/>
                  </a:cxn>
                  <a:cxn ang="T116">
                    <a:pos x="T4" y="T5"/>
                  </a:cxn>
                  <a:cxn ang="T117">
                    <a:pos x="T6" y="T7"/>
                  </a:cxn>
                  <a:cxn ang="T118">
                    <a:pos x="T8" y="T9"/>
                  </a:cxn>
                  <a:cxn ang="T119">
                    <a:pos x="T10" y="T11"/>
                  </a:cxn>
                  <a:cxn ang="T120">
                    <a:pos x="T12" y="T13"/>
                  </a:cxn>
                  <a:cxn ang="T121">
                    <a:pos x="T14" y="T15"/>
                  </a:cxn>
                  <a:cxn ang="T122">
                    <a:pos x="T16" y="T17"/>
                  </a:cxn>
                  <a:cxn ang="T123">
                    <a:pos x="T18" y="T19"/>
                  </a:cxn>
                  <a:cxn ang="T124">
                    <a:pos x="T20" y="T21"/>
                  </a:cxn>
                  <a:cxn ang="T125">
                    <a:pos x="T22" y="T23"/>
                  </a:cxn>
                  <a:cxn ang="T126">
                    <a:pos x="T24" y="T25"/>
                  </a:cxn>
                  <a:cxn ang="T127">
                    <a:pos x="T26" y="T27"/>
                  </a:cxn>
                  <a:cxn ang="T128">
                    <a:pos x="T28" y="T29"/>
                  </a:cxn>
                  <a:cxn ang="T129">
                    <a:pos x="T30" y="T31"/>
                  </a:cxn>
                  <a:cxn ang="T130">
                    <a:pos x="T32" y="T33"/>
                  </a:cxn>
                  <a:cxn ang="T131">
                    <a:pos x="T34" y="T35"/>
                  </a:cxn>
                  <a:cxn ang="T132">
                    <a:pos x="T36" y="T37"/>
                  </a:cxn>
                  <a:cxn ang="T133">
                    <a:pos x="T38" y="T39"/>
                  </a:cxn>
                  <a:cxn ang="T134">
                    <a:pos x="T40" y="T41"/>
                  </a:cxn>
                  <a:cxn ang="T135">
                    <a:pos x="T42" y="T43"/>
                  </a:cxn>
                  <a:cxn ang="T136">
                    <a:pos x="T44" y="T45"/>
                  </a:cxn>
                  <a:cxn ang="T137">
                    <a:pos x="T46" y="T47"/>
                  </a:cxn>
                  <a:cxn ang="T138">
                    <a:pos x="T48" y="T49"/>
                  </a:cxn>
                  <a:cxn ang="T139">
                    <a:pos x="T50" y="T51"/>
                  </a:cxn>
                  <a:cxn ang="T140">
                    <a:pos x="T52" y="T53"/>
                  </a:cxn>
                  <a:cxn ang="T141">
                    <a:pos x="T54" y="T55"/>
                  </a:cxn>
                  <a:cxn ang="T142">
                    <a:pos x="T56" y="T57"/>
                  </a:cxn>
                  <a:cxn ang="T143">
                    <a:pos x="T58" y="T59"/>
                  </a:cxn>
                  <a:cxn ang="T144">
                    <a:pos x="T60" y="T61"/>
                  </a:cxn>
                  <a:cxn ang="T145">
                    <a:pos x="T62" y="T63"/>
                  </a:cxn>
                  <a:cxn ang="T146">
                    <a:pos x="T64" y="T65"/>
                  </a:cxn>
                  <a:cxn ang="T147">
                    <a:pos x="T66" y="T67"/>
                  </a:cxn>
                  <a:cxn ang="T148">
                    <a:pos x="T68" y="T69"/>
                  </a:cxn>
                  <a:cxn ang="T149">
                    <a:pos x="T70" y="T71"/>
                  </a:cxn>
                  <a:cxn ang="T150">
                    <a:pos x="T72" y="T73"/>
                  </a:cxn>
                  <a:cxn ang="T151">
                    <a:pos x="T74" y="T75"/>
                  </a:cxn>
                  <a:cxn ang="T152">
                    <a:pos x="T76" y="T77"/>
                  </a:cxn>
                  <a:cxn ang="T153">
                    <a:pos x="T78" y="T79"/>
                  </a:cxn>
                  <a:cxn ang="T154">
                    <a:pos x="T80" y="T81"/>
                  </a:cxn>
                  <a:cxn ang="T155">
                    <a:pos x="T82" y="T83"/>
                  </a:cxn>
                  <a:cxn ang="T156">
                    <a:pos x="T84" y="T85"/>
                  </a:cxn>
                  <a:cxn ang="T157">
                    <a:pos x="T86" y="T87"/>
                  </a:cxn>
                  <a:cxn ang="T158">
                    <a:pos x="T88" y="T89"/>
                  </a:cxn>
                  <a:cxn ang="T159">
                    <a:pos x="T90" y="T91"/>
                  </a:cxn>
                  <a:cxn ang="T160">
                    <a:pos x="T92" y="T93"/>
                  </a:cxn>
                  <a:cxn ang="T161">
                    <a:pos x="T94" y="T95"/>
                  </a:cxn>
                  <a:cxn ang="T162">
                    <a:pos x="T96" y="T97"/>
                  </a:cxn>
                  <a:cxn ang="T163">
                    <a:pos x="T98" y="T99"/>
                  </a:cxn>
                  <a:cxn ang="T164">
                    <a:pos x="T100" y="T101"/>
                  </a:cxn>
                  <a:cxn ang="T165">
                    <a:pos x="T102" y="T103"/>
                  </a:cxn>
                  <a:cxn ang="T166">
                    <a:pos x="T104" y="T105"/>
                  </a:cxn>
                  <a:cxn ang="T167">
                    <a:pos x="T106" y="T107"/>
                  </a:cxn>
                  <a:cxn ang="T168">
                    <a:pos x="T108" y="T109"/>
                  </a:cxn>
                  <a:cxn ang="T169">
                    <a:pos x="T110" y="T111"/>
                  </a:cxn>
                  <a:cxn ang="T170">
                    <a:pos x="T112" y="T113"/>
                  </a:cxn>
                </a:cxnLst>
                <a:rect l="T171" t="T172" r="T173" b="T174"/>
                <a:pathLst>
                  <a:path w="384" h="284">
                    <a:moveTo>
                      <a:pt x="0" y="19"/>
                    </a:moveTo>
                    <a:lnTo>
                      <a:pt x="1" y="32"/>
                    </a:lnTo>
                    <a:lnTo>
                      <a:pt x="5" y="58"/>
                    </a:lnTo>
                    <a:lnTo>
                      <a:pt x="9" y="87"/>
                    </a:lnTo>
                    <a:lnTo>
                      <a:pt x="13" y="116"/>
                    </a:lnTo>
                    <a:lnTo>
                      <a:pt x="18" y="146"/>
                    </a:lnTo>
                    <a:lnTo>
                      <a:pt x="23" y="177"/>
                    </a:lnTo>
                    <a:lnTo>
                      <a:pt x="29" y="208"/>
                    </a:lnTo>
                    <a:lnTo>
                      <a:pt x="34" y="239"/>
                    </a:lnTo>
                    <a:lnTo>
                      <a:pt x="40" y="270"/>
                    </a:lnTo>
                    <a:lnTo>
                      <a:pt x="43" y="284"/>
                    </a:lnTo>
                    <a:lnTo>
                      <a:pt x="384" y="263"/>
                    </a:lnTo>
                    <a:lnTo>
                      <a:pt x="381" y="250"/>
                    </a:lnTo>
                    <a:lnTo>
                      <a:pt x="374" y="219"/>
                    </a:lnTo>
                    <a:lnTo>
                      <a:pt x="367" y="189"/>
                    </a:lnTo>
                    <a:lnTo>
                      <a:pt x="361" y="158"/>
                    </a:lnTo>
                    <a:lnTo>
                      <a:pt x="354" y="128"/>
                    </a:lnTo>
                    <a:lnTo>
                      <a:pt x="349" y="99"/>
                    </a:lnTo>
                    <a:lnTo>
                      <a:pt x="344" y="69"/>
                    </a:lnTo>
                    <a:lnTo>
                      <a:pt x="339" y="41"/>
                    </a:lnTo>
                    <a:lnTo>
                      <a:pt x="334" y="13"/>
                    </a:lnTo>
                    <a:lnTo>
                      <a:pt x="332" y="0"/>
                    </a:lnTo>
                    <a:lnTo>
                      <a:pt x="12" y="19"/>
                    </a:lnTo>
                    <a:lnTo>
                      <a:pt x="0" y="19"/>
                    </a:lnTo>
                    <a:close/>
                    <a:moveTo>
                      <a:pt x="309" y="27"/>
                    </a:moveTo>
                    <a:lnTo>
                      <a:pt x="313" y="52"/>
                    </a:lnTo>
                    <a:lnTo>
                      <a:pt x="318" y="77"/>
                    </a:lnTo>
                    <a:lnTo>
                      <a:pt x="322" y="104"/>
                    </a:lnTo>
                    <a:lnTo>
                      <a:pt x="328" y="130"/>
                    </a:lnTo>
                    <a:lnTo>
                      <a:pt x="333" y="157"/>
                    </a:lnTo>
                    <a:lnTo>
                      <a:pt x="339" y="184"/>
                    </a:lnTo>
                    <a:lnTo>
                      <a:pt x="345" y="211"/>
                    </a:lnTo>
                    <a:lnTo>
                      <a:pt x="351" y="238"/>
                    </a:lnTo>
                    <a:lnTo>
                      <a:pt x="333" y="239"/>
                    </a:lnTo>
                    <a:lnTo>
                      <a:pt x="300" y="241"/>
                    </a:lnTo>
                    <a:lnTo>
                      <a:pt x="257" y="245"/>
                    </a:lnTo>
                    <a:lnTo>
                      <a:pt x="209" y="247"/>
                    </a:lnTo>
                    <a:lnTo>
                      <a:pt x="161" y="250"/>
                    </a:lnTo>
                    <a:lnTo>
                      <a:pt x="118" y="253"/>
                    </a:lnTo>
                    <a:lnTo>
                      <a:pt x="84" y="255"/>
                    </a:lnTo>
                    <a:lnTo>
                      <a:pt x="66" y="256"/>
                    </a:lnTo>
                    <a:lnTo>
                      <a:pt x="60" y="228"/>
                    </a:lnTo>
                    <a:lnTo>
                      <a:pt x="55" y="201"/>
                    </a:lnTo>
                    <a:lnTo>
                      <a:pt x="51" y="173"/>
                    </a:lnTo>
                    <a:lnTo>
                      <a:pt x="45" y="146"/>
                    </a:lnTo>
                    <a:lnTo>
                      <a:pt x="41" y="120"/>
                    </a:lnTo>
                    <a:lnTo>
                      <a:pt x="38" y="95"/>
                    </a:lnTo>
                    <a:lnTo>
                      <a:pt x="34" y="69"/>
                    </a:lnTo>
                    <a:lnTo>
                      <a:pt x="31" y="44"/>
                    </a:lnTo>
                    <a:lnTo>
                      <a:pt x="48" y="43"/>
                    </a:lnTo>
                    <a:lnTo>
                      <a:pt x="80" y="41"/>
                    </a:lnTo>
                    <a:lnTo>
                      <a:pt x="122" y="39"/>
                    </a:lnTo>
                    <a:lnTo>
                      <a:pt x="168" y="36"/>
                    </a:lnTo>
                    <a:lnTo>
                      <a:pt x="216" y="33"/>
                    </a:lnTo>
                    <a:lnTo>
                      <a:pt x="258" y="31"/>
                    </a:lnTo>
                    <a:lnTo>
                      <a:pt x="290" y="28"/>
                    </a:lnTo>
                    <a:lnTo>
                      <a:pt x="309" y="27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13" name="Freeform 48"/>
              <p:cNvSpPr>
                <a:spLocks noEditPoints="1"/>
              </p:cNvSpPr>
              <p:nvPr/>
            </p:nvSpPr>
            <p:spPr bwMode="auto">
              <a:xfrm>
                <a:off x="4042" y="1332"/>
                <a:ext cx="31" cy="23"/>
              </a:xfrm>
              <a:custGeom>
                <a:avLst/>
                <a:gdLst>
                  <a:gd name="T0" fmla="*/ 0 w 219"/>
                  <a:gd name="T1" fmla="*/ 0 h 164"/>
                  <a:gd name="T2" fmla="*/ 0 w 219"/>
                  <a:gd name="T3" fmla="*/ 0 h 164"/>
                  <a:gd name="T4" fmla="*/ 0 w 219"/>
                  <a:gd name="T5" fmla="*/ 0 h 164"/>
                  <a:gd name="T6" fmla="*/ 0 w 219"/>
                  <a:gd name="T7" fmla="*/ 0 h 164"/>
                  <a:gd name="T8" fmla="*/ 0 w 219"/>
                  <a:gd name="T9" fmla="*/ 0 h 164"/>
                  <a:gd name="T10" fmla="*/ 0 w 219"/>
                  <a:gd name="T11" fmla="*/ 0 h 164"/>
                  <a:gd name="T12" fmla="*/ 0 w 219"/>
                  <a:gd name="T13" fmla="*/ 0 h 164"/>
                  <a:gd name="T14" fmla="*/ 0 w 219"/>
                  <a:gd name="T15" fmla="*/ 0 h 164"/>
                  <a:gd name="T16" fmla="*/ 0 w 219"/>
                  <a:gd name="T17" fmla="*/ 0 h 164"/>
                  <a:gd name="T18" fmla="*/ 0 w 219"/>
                  <a:gd name="T19" fmla="*/ 0 h 164"/>
                  <a:gd name="T20" fmla="*/ 0 w 219"/>
                  <a:gd name="T21" fmla="*/ 0 h 164"/>
                  <a:gd name="T22" fmla="*/ 0 w 219"/>
                  <a:gd name="T23" fmla="*/ 0 h 164"/>
                  <a:gd name="T24" fmla="*/ 0 w 219"/>
                  <a:gd name="T25" fmla="*/ 0 h 164"/>
                  <a:gd name="T26" fmla="*/ 0 w 219"/>
                  <a:gd name="T27" fmla="*/ 0 h 164"/>
                  <a:gd name="T28" fmla="*/ 0 w 219"/>
                  <a:gd name="T29" fmla="*/ 0 h 164"/>
                  <a:gd name="T30" fmla="*/ 0 w 219"/>
                  <a:gd name="T31" fmla="*/ 0 h 164"/>
                  <a:gd name="T32" fmla="*/ 0 w 219"/>
                  <a:gd name="T33" fmla="*/ 0 h 164"/>
                  <a:gd name="T34" fmla="*/ 0 w 219"/>
                  <a:gd name="T35" fmla="*/ 0 h 164"/>
                  <a:gd name="T36" fmla="*/ 0 w 219"/>
                  <a:gd name="T37" fmla="*/ 0 h 164"/>
                  <a:gd name="T38" fmla="*/ 0 w 219"/>
                  <a:gd name="T39" fmla="*/ 0 h 164"/>
                  <a:gd name="T40" fmla="*/ 0 w 219"/>
                  <a:gd name="T41" fmla="*/ 0 h 164"/>
                  <a:gd name="T42" fmla="*/ 0 w 219"/>
                  <a:gd name="T43" fmla="*/ 0 h 164"/>
                  <a:gd name="T44" fmla="*/ 0 w 219"/>
                  <a:gd name="T45" fmla="*/ 0 h 164"/>
                  <a:gd name="T46" fmla="*/ 0 w 219"/>
                  <a:gd name="T47" fmla="*/ 0 h 164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w 219"/>
                  <a:gd name="T73" fmla="*/ 0 h 164"/>
                  <a:gd name="T74" fmla="*/ 219 w 219"/>
                  <a:gd name="T75" fmla="*/ 164 h 164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T72" t="T73" r="T74" b="T75"/>
                <a:pathLst>
                  <a:path w="219" h="164">
                    <a:moveTo>
                      <a:pt x="0" y="12"/>
                    </a:moveTo>
                    <a:lnTo>
                      <a:pt x="24" y="164"/>
                    </a:lnTo>
                    <a:lnTo>
                      <a:pt x="205" y="154"/>
                    </a:lnTo>
                    <a:lnTo>
                      <a:pt x="219" y="152"/>
                    </a:lnTo>
                    <a:lnTo>
                      <a:pt x="188" y="0"/>
                    </a:lnTo>
                    <a:lnTo>
                      <a:pt x="12" y="12"/>
                    </a:lnTo>
                    <a:lnTo>
                      <a:pt x="0" y="12"/>
                    </a:lnTo>
                    <a:close/>
                    <a:moveTo>
                      <a:pt x="166" y="28"/>
                    </a:moveTo>
                    <a:lnTo>
                      <a:pt x="170" y="50"/>
                    </a:lnTo>
                    <a:lnTo>
                      <a:pt x="176" y="79"/>
                    </a:lnTo>
                    <a:lnTo>
                      <a:pt x="181" y="107"/>
                    </a:lnTo>
                    <a:lnTo>
                      <a:pt x="186" y="128"/>
                    </a:lnTo>
                    <a:lnTo>
                      <a:pt x="159" y="130"/>
                    </a:lnTo>
                    <a:lnTo>
                      <a:pt x="117" y="132"/>
                    </a:lnTo>
                    <a:lnTo>
                      <a:pt x="76" y="135"/>
                    </a:lnTo>
                    <a:lnTo>
                      <a:pt x="47" y="136"/>
                    </a:lnTo>
                    <a:lnTo>
                      <a:pt x="44" y="115"/>
                    </a:lnTo>
                    <a:lnTo>
                      <a:pt x="39" y="85"/>
                    </a:lnTo>
                    <a:lnTo>
                      <a:pt x="35" y="56"/>
                    </a:lnTo>
                    <a:lnTo>
                      <a:pt x="31" y="37"/>
                    </a:lnTo>
                    <a:lnTo>
                      <a:pt x="57" y="36"/>
                    </a:lnTo>
                    <a:lnTo>
                      <a:pt x="98" y="33"/>
                    </a:lnTo>
                    <a:lnTo>
                      <a:pt x="138" y="30"/>
                    </a:lnTo>
                    <a:lnTo>
                      <a:pt x="166" y="28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14" name="Freeform 49"/>
              <p:cNvSpPr>
                <a:spLocks/>
              </p:cNvSpPr>
              <p:nvPr/>
            </p:nvSpPr>
            <p:spPr bwMode="auto">
              <a:xfrm>
                <a:off x="4051" y="1339"/>
                <a:ext cx="12" cy="9"/>
              </a:xfrm>
              <a:custGeom>
                <a:avLst/>
                <a:gdLst>
                  <a:gd name="T0" fmla="*/ 0 w 89"/>
                  <a:gd name="T1" fmla="*/ 0 h 65"/>
                  <a:gd name="T2" fmla="*/ 0 w 89"/>
                  <a:gd name="T3" fmla="*/ 0 h 65"/>
                  <a:gd name="T4" fmla="*/ 0 w 89"/>
                  <a:gd name="T5" fmla="*/ 0 h 65"/>
                  <a:gd name="T6" fmla="*/ 0 w 89"/>
                  <a:gd name="T7" fmla="*/ 0 h 65"/>
                  <a:gd name="T8" fmla="*/ 0 w 89"/>
                  <a:gd name="T9" fmla="*/ 0 h 65"/>
                  <a:gd name="T10" fmla="*/ 0 w 89"/>
                  <a:gd name="T11" fmla="*/ 0 h 65"/>
                  <a:gd name="T12" fmla="*/ 0 w 89"/>
                  <a:gd name="T13" fmla="*/ 0 h 65"/>
                  <a:gd name="T14" fmla="*/ 0 w 89"/>
                  <a:gd name="T15" fmla="*/ 0 h 65"/>
                  <a:gd name="T16" fmla="*/ 0 w 89"/>
                  <a:gd name="T17" fmla="*/ 0 h 65"/>
                  <a:gd name="T18" fmla="*/ 0 w 89"/>
                  <a:gd name="T19" fmla="*/ 0 h 65"/>
                  <a:gd name="T20" fmla="*/ 0 w 89"/>
                  <a:gd name="T21" fmla="*/ 0 h 65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89"/>
                  <a:gd name="T34" fmla="*/ 0 h 65"/>
                  <a:gd name="T35" fmla="*/ 89 w 89"/>
                  <a:gd name="T36" fmla="*/ 65 h 65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89" h="65">
                    <a:moveTo>
                      <a:pt x="77" y="0"/>
                    </a:moveTo>
                    <a:lnTo>
                      <a:pt x="79" y="16"/>
                    </a:lnTo>
                    <a:lnTo>
                      <a:pt x="82" y="30"/>
                    </a:lnTo>
                    <a:lnTo>
                      <a:pt x="85" y="46"/>
                    </a:lnTo>
                    <a:lnTo>
                      <a:pt x="89" y="60"/>
                    </a:lnTo>
                    <a:lnTo>
                      <a:pt x="10" y="65"/>
                    </a:lnTo>
                    <a:lnTo>
                      <a:pt x="7" y="50"/>
                    </a:lnTo>
                    <a:lnTo>
                      <a:pt x="5" y="35"/>
                    </a:lnTo>
                    <a:lnTo>
                      <a:pt x="2" y="20"/>
                    </a:lnTo>
                    <a:lnTo>
                      <a:pt x="0" y="5"/>
                    </a:lnTo>
                    <a:lnTo>
                      <a:pt x="77" y="0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15" name="Freeform 50"/>
              <p:cNvSpPr>
                <a:spLocks noEditPoints="1"/>
              </p:cNvSpPr>
              <p:nvPr/>
            </p:nvSpPr>
            <p:spPr bwMode="auto">
              <a:xfrm>
                <a:off x="4020" y="1315"/>
                <a:ext cx="76" cy="56"/>
              </a:xfrm>
              <a:custGeom>
                <a:avLst/>
                <a:gdLst>
                  <a:gd name="T0" fmla="*/ 0 w 533"/>
                  <a:gd name="T1" fmla="*/ 0 h 391"/>
                  <a:gd name="T2" fmla="*/ 0 w 533"/>
                  <a:gd name="T3" fmla="*/ 0 h 391"/>
                  <a:gd name="T4" fmla="*/ 0 w 533"/>
                  <a:gd name="T5" fmla="*/ 0 h 391"/>
                  <a:gd name="T6" fmla="*/ 0 w 533"/>
                  <a:gd name="T7" fmla="*/ 0 h 391"/>
                  <a:gd name="T8" fmla="*/ 0 w 533"/>
                  <a:gd name="T9" fmla="*/ 0 h 391"/>
                  <a:gd name="T10" fmla="*/ 0 w 533"/>
                  <a:gd name="T11" fmla="*/ 0 h 391"/>
                  <a:gd name="T12" fmla="*/ 0 w 533"/>
                  <a:gd name="T13" fmla="*/ 0 h 391"/>
                  <a:gd name="T14" fmla="*/ 0 w 533"/>
                  <a:gd name="T15" fmla="*/ 0 h 391"/>
                  <a:gd name="T16" fmla="*/ 0 w 533"/>
                  <a:gd name="T17" fmla="*/ 0 h 391"/>
                  <a:gd name="T18" fmla="*/ 0 w 533"/>
                  <a:gd name="T19" fmla="*/ 0 h 391"/>
                  <a:gd name="T20" fmla="*/ 0 w 533"/>
                  <a:gd name="T21" fmla="*/ 0 h 391"/>
                  <a:gd name="T22" fmla="*/ 0 w 533"/>
                  <a:gd name="T23" fmla="*/ 0 h 391"/>
                  <a:gd name="T24" fmla="*/ 0 w 533"/>
                  <a:gd name="T25" fmla="*/ 0 h 391"/>
                  <a:gd name="T26" fmla="*/ 0 w 533"/>
                  <a:gd name="T27" fmla="*/ 0 h 391"/>
                  <a:gd name="T28" fmla="*/ 0 w 533"/>
                  <a:gd name="T29" fmla="*/ 0 h 391"/>
                  <a:gd name="T30" fmla="*/ 0 w 533"/>
                  <a:gd name="T31" fmla="*/ 0 h 391"/>
                  <a:gd name="T32" fmla="*/ 0 w 533"/>
                  <a:gd name="T33" fmla="*/ 0 h 391"/>
                  <a:gd name="T34" fmla="*/ 0 w 533"/>
                  <a:gd name="T35" fmla="*/ 0 h 391"/>
                  <a:gd name="T36" fmla="*/ 0 w 533"/>
                  <a:gd name="T37" fmla="*/ 0 h 391"/>
                  <a:gd name="T38" fmla="*/ 0 w 533"/>
                  <a:gd name="T39" fmla="*/ 0 h 391"/>
                  <a:gd name="T40" fmla="*/ 0 w 533"/>
                  <a:gd name="T41" fmla="*/ 0 h 391"/>
                  <a:gd name="T42" fmla="*/ 0 w 533"/>
                  <a:gd name="T43" fmla="*/ 0 h 391"/>
                  <a:gd name="T44" fmla="*/ 0 w 533"/>
                  <a:gd name="T45" fmla="*/ 0 h 391"/>
                  <a:gd name="T46" fmla="*/ 0 w 533"/>
                  <a:gd name="T47" fmla="*/ 0 h 391"/>
                  <a:gd name="T48" fmla="*/ 0 w 533"/>
                  <a:gd name="T49" fmla="*/ 0 h 391"/>
                  <a:gd name="T50" fmla="*/ 0 w 533"/>
                  <a:gd name="T51" fmla="*/ 0 h 391"/>
                  <a:gd name="T52" fmla="*/ 0 w 533"/>
                  <a:gd name="T53" fmla="*/ 0 h 391"/>
                  <a:gd name="T54" fmla="*/ 0 w 533"/>
                  <a:gd name="T55" fmla="*/ 0 h 391"/>
                  <a:gd name="T56" fmla="*/ 0 w 533"/>
                  <a:gd name="T57" fmla="*/ 0 h 391"/>
                  <a:gd name="T58" fmla="*/ 0 w 533"/>
                  <a:gd name="T59" fmla="*/ 0 h 391"/>
                  <a:gd name="T60" fmla="*/ 0 w 533"/>
                  <a:gd name="T61" fmla="*/ 0 h 391"/>
                  <a:gd name="T62" fmla="*/ 0 w 533"/>
                  <a:gd name="T63" fmla="*/ 0 h 391"/>
                  <a:gd name="T64" fmla="*/ 0 w 533"/>
                  <a:gd name="T65" fmla="*/ 0 h 391"/>
                  <a:gd name="T66" fmla="*/ 0 w 533"/>
                  <a:gd name="T67" fmla="*/ 0 h 391"/>
                  <a:gd name="T68" fmla="*/ 0 w 533"/>
                  <a:gd name="T69" fmla="*/ 0 h 391"/>
                  <a:gd name="T70" fmla="*/ 0 w 533"/>
                  <a:gd name="T71" fmla="*/ 0 h 391"/>
                  <a:gd name="T72" fmla="*/ 0 w 533"/>
                  <a:gd name="T73" fmla="*/ 0 h 391"/>
                  <a:gd name="T74" fmla="*/ 0 w 533"/>
                  <a:gd name="T75" fmla="*/ 0 h 391"/>
                  <a:gd name="T76" fmla="*/ 0 w 533"/>
                  <a:gd name="T77" fmla="*/ 0 h 391"/>
                  <a:gd name="T78" fmla="*/ 0 w 533"/>
                  <a:gd name="T79" fmla="*/ 0 h 391"/>
                  <a:gd name="T80" fmla="*/ 0 w 533"/>
                  <a:gd name="T81" fmla="*/ 0 h 391"/>
                  <a:gd name="T82" fmla="*/ 0 w 533"/>
                  <a:gd name="T83" fmla="*/ 0 h 391"/>
                  <a:gd name="T84" fmla="*/ 0 w 533"/>
                  <a:gd name="T85" fmla="*/ 0 h 391"/>
                  <a:gd name="T86" fmla="*/ 0 w 533"/>
                  <a:gd name="T87" fmla="*/ 0 h 391"/>
                  <a:gd name="T88" fmla="*/ 0 w 533"/>
                  <a:gd name="T89" fmla="*/ 0 h 391"/>
                  <a:gd name="T90" fmla="*/ 0 w 533"/>
                  <a:gd name="T91" fmla="*/ 0 h 391"/>
                  <a:gd name="T92" fmla="*/ 0 w 533"/>
                  <a:gd name="T93" fmla="*/ 0 h 391"/>
                  <a:gd name="T94" fmla="*/ 0 w 533"/>
                  <a:gd name="T95" fmla="*/ 0 h 391"/>
                  <a:gd name="T96" fmla="*/ 0 w 533"/>
                  <a:gd name="T97" fmla="*/ 0 h 391"/>
                  <a:gd name="T98" fmla="*/ 0 w 533"/>
                  <a:gd name="T99" fmla="*/ 0 h 391"/>
                  <a:gd name="T100" fmla="*/ 0 w 533"/>
                  <a:gd name="T101" fmla="*/ 0 h 391"/>
                  <a:gd name="T102" fmla="*/ 0 w 533"/>
                  <a:gd name="T103" fmla="*/ 0 h 391"/>
                  <a:gd name="T104" fmla="*/ 0 w 533"/>
                  <a:gd name="T105" fmla="*/ 0 h 391"/>
                  <a:gd name="T106" fmla="*/ 0 w 533"/>
                  <a:gd name="T107" fmla="*/ 0 h 391"/>
                  <a:gd name="T108" fmla="*/ 0 w 533"/>
                  <a:gd name="T109" fmla="*/ 0 h 391"/>
                  <a:gd name="T110" fmla="*/ 0 w 533"/>
                  <a:gd name="T111" fmla="*/ 0 h 391"/>
                  <a:gd name="T112" fmla="*/ 0 w 533"/>
                  <a:gd name="T113" fmla="*/ 0 h 391"/>
                  <a:gd name="T114" fmla="*/ 0 w 533"/>
                  <a:gd name="T115" fmla="*/ 0 h 391"/>
                  <a:gd name="T116" fmla="*/ 0 w 533"/>
                  <a:gd name="T117" fmla="*/ 0 h 391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533"/>
                  <a:gd name="T178" fmla="*/ 0 h 391"/>
                  <a:gd name="T179" fmla="*/ 533 w 533"/>
                  <a:gd name="T180" fmla="*/ 391 h 391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533" h="391">
                    <a:moveTo>
                      <a:pt x="0" y="28"/>
                    </a:moveTo>
                    <a:lnTo>
                      <a:pt x="2" y="39"/>
                    </a:lnTo>
                    <a:lnTo>
                      <a:pt x="8" y="86"/>
                    </a:lnTo>
                    <a:lnTo>
                      <a:pt x="14" y="131"/>
                    </a:lnTo>
                    <a:lnTo>
                      <a:pt x="20" y="174"/>
                    </a:lnTo>
                    <a:lnTo>
                      <a:pt x="28" y="216"/>
                    </a:lnTo>
                    <a:lnTo>
                      <a:pt x="34" y="257"/>
                    </a:lnTo>
                    <a:lnTo>
                      <a:pt x="41" y="298"/>
                    </a:lnTo>
                    <a:lnTo>
                      <a:pt x="49" y="338"/>
                    </a:lnTo>
                    <a:lnTo>
                      <a:pt x="58" y="377"/>
                    </a:lnTo>
                    <a:lnTo>
                      <a:pt x="61" y="391"/>
                    </a:lnTo>
                    <a:lnTo>
                      <a:pt x="533" y="363"/>
                    </a:lnTo>
                    <a:lnTo>
                      <a:pt x="529" y="349"/>
                    </a:lnTo>
                    <a:lnTo>
                      <a:pt x="518" y="306"/>
                    </a:lnTo>
                    <a:lnTo>
                      <a:pt x="509" y="262"/>
                    </a:lnTo>
                    <a:lnTo>
                      <a:pt x="500" y="219"/>
                    </a:lnTo>
                    <a:lnTo>
                      <a:pt x="491" y="177"/>
                    </a:lnTo>
                    <a:lnTo>
                      <a:pt x="483" y="134"/>
                    </a:lnTo>
                    <a:lnTo>
                      <a:pt x="475" y="93"/>
                    </a:lnTo>
                    <a:lnTo>
                      <a:pt x="468" y="52"/>
                    </a:lnTo>
                    <a:lnTo>
                      <a:pt x="462" y="14"/>
                    </a:lnTo>
                    <a:lnTo>
                      <a:pt x="460" y="0"/>
                    </a:lnTo>
                    <a:lnTo>
                      <a:pt x="12" y="27"/>
                    </a:lnTo>
                    <a:lnTo>
                      <a:pt x="0" y="28"/>
                    </a:lnTo>
                    <a:close/>
                    <a:moveTo>
                      <a:pt x="437" y="28"/>
                    </a:moveTo>
                    <a:lnTo>
                      <a:pt x="443" y="64"/>
                    </a:lnTo>
                    <a:lnTo>
                      <a:pt x="449" y="100"/>
                    </a:lnTo>
                    <a:lnTo>
                      <a:pt x="456" y="137"/>
                    </a:lnTo>
                    <a:lnTo>
                      <a:pt x="464" y="176"/>
                    </a:lnTo>
                    <a:lnTo>
                      <a:pt x="471" y="215"/>
                    </a:lnTo>
                    <a:lnTo>
                      <a:pt x="479" y="254"/>
                    </a:lnTo>
                    <a:lnTo>
                      <a:pt x="488" y="293"/>
                    </a:lnTo>
                    <a:lnTo>
                      <a:pt x="498" y="333"/>
                    </a:lnTo>
                    <a:lnTo>
                      <a:pt x="498" y="336"/>
                    </a:lnTo>
                    <a:lnTo>
                      <a:pt x="499" y="338"/>
                    </a:lnTo>
                    <a:lnTo>
                      <a:pt x="475" y="340"/>
                    </a:lnTo>
                    <a:lnTo>
                      <a:pt x="426" y="342"/>
                    </a:lnTo>
                    <a:lnTo>
                      <a:pt x="362" y="346"/>
                    </a:lnTo>
                    <a:lnTo>
                      <a:pt x="291" y="350"/>
                    </a:lnTo>
                    <a:lnTo>
                      <a:pt x="219" y="355"/>
                    </a:lnTo>
                    <a:lnTo>
                      <a:pt x="155" y="359"/>
                    </a:lnTo>
                    <a:lnTo>
                      <a:pt x="106" y="362"/>
                    </a:lnTo>
                    <a:lnTo>
                      <a:pt x="82" y="363"/>
                    </a:lnTo>
                    <a:lnTo>
                      <a:pt x="74" y="326"/>
                    </a:lnTo>
                    <a:lnTo>
                      <a:pt x="68" y="290"/>
                    </a:lnTo>
                    <a:lnTo>
                      <a:pt x="61" y="252"/>
                    </a:lnTo>
                    <a:lnTo>
                      <a:pt x="54" y="215"/>
                    </a:lnTo>
                    <a:lnTo>
                      <a:pt x="48" y="176"/>
                    </a:lnTo>
                    <a:lnTo>
                      <a:pt x="42" y="136"/>
                    </a:lnTo>
                    <a:lnTo>
                      <a:pt x="37" y="95"/>
                    </a:lnTo>
                    <a:lnTo>
                      <a:pt x="31" y="52"/>
                    </a:lnTo>
                    <a:lnTo>
                      <a:pt x="53" y="51"/>
                    </a:lnTo>
                    <a:lnTo>
                      <a:pt x="100" y="48"/>
                    </a:lnTo>
                    <a:lnTo>
                      <a:pt x="162" y="44"/>
                    </a:lnTo>
                    <a:lnTo>
                      <a:pt x="232" y="40"/>
                    </a:lnTo>
                    <a:lnTo>
                      <a:pt x="302" y="36"/>
                    </a:lnTo>
                    <a:lnTo>
                      <a:pt x="365" y="32"/>
                    </a:lnTo>
                    <a:lnTo>
                      <a:pt x="412" y="30"/>
                    </a:lnTo>
                    <a:lnTo>
                      <a:pt x="437" y="28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16" name="Freeform 51"/>
              <p:cNvSpPr>
                <a:spLocks/>
              </p:cNvSpPr>
              <p:nvPr/>
            </p:nvSpPr>
            <p:spPr bwMode="auto">
              <a:xfrm>
                <a:off x="4023" y="1251"/>
                <a:ext cx="39" cy="33"/>
              </a:xfrm>
              <a:custGeom>
                <a:avLst/>
                <a:gdLst>
                  <a:gd name="T0" fmla="*/ 0 w 270"/>
                  <a:gd name="T1" fmla="*/ 0 h 232"/>
                  <a:gd name="T2" fmla="*/ 0 w 270"/>
                  <a:gd name="T3" fmla="*/ 0 h 232"/>
                  <a:gd name="T4" fmla="*/ 0 w 270"/>
                  <a:gd name="T5" fmla="*/ 0 h 232"/>
                  <a:gd name="T6" fmla="*/ 0 w 270"/>
                  <a:gd name="T7" fmla="*/ 0 h 232"/>
                  <a:gd name="T8" fmla="*/ 0 w 270"/>
                  <a:gd name="T9" fmla="*/ 0 h 232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270"/>
                  <a:gd name="T16" fmla="*/ 0 h 232"/>
                  <a:gd name="T17" fmla="*/ 270 w 270"/>
                  <a:gd name="T18" fmla="*/ 232 h 232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270" h="232">
                    <a:moveTo>
                      <a:pt x="136" y="232"/>
                    </a:moveTo>
                    <a:lnTo>
                      <a:pt x="270" y="116"/>
                    </a:lnTo>
                    <a:lnTo>
                      <a:pt x="136" y="0"/>
                    </a:lnTo>
                    <a:lnTo>
                      <a:pt x="0" y="116"/>
                    </a:lnTo>
                    <a:lnTo>
                      <a:pt x="136" y="232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17" name="Freeform 52"/>
              <p:cNvSpPr>
                <a:spLocks/>
              </p:cNvSpPr>
              <p:nvPr/>
            </p:nvSpPr>
            <p:spPr bwMode="auto">
              <a:xfrm>
                <a:off x="4030" y="1213"/>
                <a:ext cx="25" cy="22"/>
              </a:xfrm>
              <a:custGeom>
                <a:avLst/>
                <a:gdLst>
                  <a:gd name="T0" fmla="*/ 0 w 173"/>
                  <a:gd name="T1" fmla="*/ 0 h 148"/>
                  <a:gd name="T2" fmla="*/ 0 w 173"/>
                  <a:gd name="T3" fmla="*/ 0 h 148"/>
                  <a:gd name="T4" fmla="*/ 0 w 173"/>
                  <a:gd name="T5" fmla="*/ 0 h 148"/>
                  <a:gd name="T6" fmla="*/ 0 w 173"/>
                  <a:gd name="T7" fmla="*/ 0 h 148"/>
                  <a:gd name="T8" fmla="*/ 0 w 173"/>
                  <a:gd name="T9" fmla="*/ 0 h 148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73"/>
                  <a:gd name="T16" fmla="*/ 0 h 148"/>
                  <a:gd name="T17" fmla="*/ 173 w 173"/>
                  <a:gd name="T18" fmla="*/ 148 h 148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73" h="148">
                    <a:moveTo>
                      <a:pt x="87" y="148"/>
                    </a:moveTo>
                    <a:lnTo>
                      <a:pt x="173" y="74"/>
                    </a:lnTo>
                    <a:lnTo>
                      <a:pt x="87" y="0"/>
                    </a:lnTo>
                    <a:lnTo>
                      <a:pt x="0" y="74"/>
                    </a:lnTo>
                    <a:lnTo>
                      <a:pt x="87" y="148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18" name="Freeform 53"/>
              <p:cNvSpPr>
                <a:spLocks/>
              </p:cNvSpPr>
              <p:nvPr/>
            </p:nvSpPr>
            <p:spPr bwMode="auto">
              <a:xfrm>
                <a:off x="4033" y="1178"/>
                <a:ext cx="19" cy="16"/>
              </a:xfrm>
              <a:custGeom>
                <a:avLst/>
                <a:gdLst>
                  <a:gd name="T0" fmla="*/ 0 w 127"/>
                  <a:gd name="T1" fmla="*/ 0 h 110"/>
                  <a:gd name="T2" fmla="*/ 0 w 127"/>
                  <a:gd name="T3" fmla="*/ 0 h 110"/>
                  <a:gd name="T4" fmla="*/ 0 w 127"/>
                  <a:gd name="T5" fmla="*/ 0 h 110"/>
                  <a:gd name="T6" fmla="*/ 0 w 127"/>
                  <a:gd name="T7" fmla="*/ 0 h 110"/>
                  <a:gd name="T8" fmla="*/ 0 w 127"/>
                  <a:gd name="T9" fmla="*/ 0 h 110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127"/>
                  <a:gd name="T16" fmla="*/ 0 h 110"/>
                  <a:gd name="T17" fmla="*/ 127 w 127"/>
                  <a:gd name="T18" fmla="*/ 110 h 110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127" h="110">
                    <a:moveTo>
                      <a:pt x="64" y="110"/>
                    </a:moveTo>
                    <a:lnTo>
                      <a:pt x="127" y="55"/>
                    </a:lnTo>
                    <a:lnTo>
                      <a:pt x="64" y="0"/>
                    </a:lnTo>
                    <a:lnTo>
                      <a:pt x="0" y="55"/>
                    </a:lnTo>
                    <a:lnTo>
                      <a:pt x="64" y="110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19" name="Freeform 54"/>
              <p:cNvSpPr>
                <a:spLocks/>
              </p:cNvSpPr>
              <p:nvPr/>
            </p:nvSpPr>
            <p:spPr bwMode="auto">
              <a:xfrm>
                <a:off x="4038" y="1149"/>
                <a:ext cx="9" cy="8"/>
              </a:xfrm>
              <a:custGeom>
                <a:avLst/>
                <a:gdLst>
                  <a:gd name="T0" fmla="*/ 0 w 67"/>
                  <a:gd name="T1" fmla="*/ 0 h 57"/>
                  <a:gd name="T2" fmla="*/ 0 w 67"/>
                  <a:gd name="T3" fmla="*/ 0 h 57"/>
                  <a:gd name="T4" fmla="*/ 0 w 67"/>
                  <a:gd name="T5" fmla="*/ 0 h 57"/>
                  <a:gd name="T6" fmla="*/ 0 w 67"/>
                  <a:gd name="T7" fmla="*/ 0 h 57"/>
                  <a:gd name="T8" fmla="*/ 0 w 67"/>
                  <a:gd name="T9" fmla="*/ 0 h 57"/>
                  <a:gd name="T10" fmla="*/ 0 60000 65536"/>
                  <a:gd name="T11" fmla="*/ 0 60000 65536"/>
                  <a:gd name="T12" fmla="*/ 0 60000 65536"/>
                  <a:gd name="T13" fmla="*/ 0 60000 65536"/>
                  <a:gd name="T14" fmla="*/ 0 60000 65536"/>
                  <a:gd name="T15" fmla="*/ 0 w 67"/>
                  <a:gd name="T16" fmla="*/ 0 h 57"/>
                  <a:gd name="T17" fmla="*/ 67 w 67"/>
                  <a:gd name="T18" fmla="*/ 57 h 57"/>
                </a:gdLst>
                <a:ahLst/>
                <a:cxnLst>
                  <a:cxn ang="T10">
                    <a:pos x="T0" y="T1"/>
                  </a:cxn>
                  <a:cxn ang="T11">
                    <a:pos x="T2" y="T3"/>
                  </a:cxn>
                  <a:cxn ang="T12">
                    <a:pos x="T4" y="T5"/>
                  </a:cxn>
                  <a:cxn ang="T13">
                    <a:pos x="T6" y="T7"/>
                  </a:cxn>
                  <a:cxn ang="T14">
                    <a:pos x="T8" y="T9"/>
                  </a:cxn>
                </a:cxnLst>
                <a:rect l="T15" t="T16" r="T17" b="T18"/>
                <a:pathLst>
                  <a:path w="67" h="57">
                    <a:moveTo>
                      <a:pt x="34" y="57"/>
                    </a:moveTo>
                    <a:lnTo>
                      <a:pt x="67" y="29"/>
                    </a:lnTo>
                    <a:lnTo>
                      <a:pt x="34" y="0"/>
                    </a:lnTo>
                    <a:lnTo>
                      <a:pt x="0" y="29"/>
                    </a:lnTo>
                    <a:lnTo>
                      <a:pt x="34" y="57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20" name="Freeform 55"/>
              <p:cNvSpPr>
                <a:spLocks/>
              </p:cNvSpPr>
              <p:nvPr/>
            </p:nvSpPr>
            <p:spPr bwMode="auto">
              <a:xfrm>
                <a:off x="3804" y="960"/>
                <a:ext cx="42" cy="26"/>
              </a:xfrm>
              <a:custGeom>
                <a:avLst/>
                <a:gdLst>
                  <a:gd name="T0" fmla="*/ 0 w 295"/>
                  <a:gd name="T1" fmla="*/ 0 h 181"/>
                  <a:gd name="T2" fmla="*/ 0 w 295"/>
                  <a:gd name="T3" fmla="*/ 0 h 181"/>
                  <a:gd name="T4" fmla="*/ 0 w 295"/>
                  <a:gd name="T5" fmla="*/ 0 h 181"/>
                  <a:gd name="T6" fmla="*/ 0 w 295"/>
                  <a:gd name="T7" fmla="*/ 0 h 181"/>
                  <a:gd name="T8" fmla="*/ 0 w 295"/>
                  <a:gd name="T9" fmla="*/ 0 h 181"/>
                  <a:gd name="T10" fmla="*/ 0 w 295"/>
                  <a:gd name="T11" fmla="*/ 0 h 181"/>
                  <a:gd name="T12" fmla="*/ 0 w 295"/>
                  <a:gd name="T13" fmla="*/ 0 h 181"/>
                  <a:gd name="T14" fmla="*/ 0 w 295"/>
                  <a:gd name="T15" fmla="*/ 0 h 181"/>
                  <a:gd name="T16" fmla="*/ 0 w 295"/>
                  <a:gd name="T17" fmla="*/ 0 h 181"/>
                  <a:gd name="T18" fmla="*/ 0 w 295"/>
                  <a:gd name="T19" fmla="*/ 0 h 181"/>
                  <a:gd name="T20" fmla="*/ 0 w 295"/>
                  <a:gd name="T21" fmla="*/ 0 h 181"/>
                  <a:gd name="T22" fmla="*/ 0 w 295"/>
                  <a:gd name="T23" fmla="*/ 0 h 181"/>
                  <a:gd name="T24" fmla="*/ 0 w 295"/>
                  <a:gd name="T25" fmla="*/ 0 h 181"/>
                  <a:gd name="T26" fmla="*/ 0 w 295"/>
                  <a:gd name="T27" fmla="*/ 0 h 181"/>
                  <a:gd name="T28" fmla="*/ 0 w 295"/>
                  <a:gd name="T29" fmla="*/ 0 h 181"/>
                  <a:gd name="T30" fmla="*/ 0 w 295"/>
                  <a:gd name="T31" fmla="*/ 0 h 181"/>
                  <a:gd name="T32" fmla="*/ 0 w 295"/>
                  <a:gd name="T33" fmla="*/ 0 h 181"/>
                  <a:gd name="T34" fmla="*/ 0 w 295"/>
                  <a:gd name="T35" fmla="*/ 0 h 181"/>
                  <a:gd name="T36" fmla="*/ 0 w 295"/>
                  <a:gd name="T37" fmla="*/ 0 h 181"/>
                  <a:gd name="T38" fmla="*/ 0 w 295"/>
                  <a:gd name="T39" fmla="*/ 0 h 181"/>
                  <a:gd name="T40" fmla="*/ 0 w 295"/>
                  <a:gd name="T41" fmla="*/ 0 h 181"/>
                  <a:gd name="T42" fmla="*/ 0 w 295"/>
                  <a:gd name="T43" fmla="*/ 0 h 181"/>
                  <a:gd name="T44" fmla="*/ 0 w 295"/>
                  <a:gd name="T45" fmla="*/ 0 h 181"/>
                  <a:gd name="T46" fmla="*/ 0 w 295"/>
                  <a:gd name="T47" fmla="*/ 0 h 181"/>
                  <a:gd name="T48" fmla="*/ 0 w 295"/>
                  <a:gd name="T49" fmla="*/ 0 h 181"/>
                  <a:gd name="T50" fmla="*/ 0 w 295"/>
                  <a:gd name="T51" fmla="*/ 0 h 181"/>
                  <a:gd name="T52" fmla="*/ 0 w 295"/>
                  <a:gd name="T53" fmla="*/ 0 h 181"/>
                  <a:gd name="T54" fmla="*/ 0 w 295"/>
                  <a:gd name="T55" fmla="*/ 0 h 181"/>
                  <a:gd name="T56" fmla="*/ 0 w 295"/>
                  <a:gd name="T57" fmla="*/ 0 h 181"/>
                  <a:gd name="T58" fmla="*/ 0 w 295"/>
                  <a:gd name="T59" fmla="*/ 0 h 181"/>
                  <a:gd name="T60" fmla="*/ 0 w 295"/>
                  <a:gd name="T61" fmla="*/ 0 h 181"/>
                  <a:gd name="T62" fmla="*/ 0 w 295"/>
                  <a:gd name="T63" fmla="*/ 0 h 181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95"/>
                  <a:gd name="T97" fmla="*/ 0 h 181"/>
                  <a:gd name="T98" fmla="*/ 295 w 295"/>
                  <a:gd name="T99" fmla="*/ 181 h 181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95" h="181">
                    <a:moveTo>
                      <a:pt x="0" y="95"/>
                    </a:moveTo>
                    <a:lnTo>
                      <a:pt x="1" y="104"/>
                    </a:lnTo>
                    <a:lnTo>
                      <a:pt x="4" y="114"/>
                    </a:lnTo>
                    <a:lnTo>
                      <a:pt x="7" y="122"/>
                    </a:lnTo>
                    <a:lnTo>
                      <a:pt x="12" y="130"/>
                    </a:lnTo>
                    <a:lnTo>
                      <a:pt x="19" y="138"/>
                    </a:lnTo>
                    <a:lnTo>
                      <a:pt x="27" y="145"/>
                    </a:lnTo>
                    <a:lnTo>
                      <a:pt x="36" y="152"/>
                    </a:lnTo>
                    <a:lnTo>
                      <a:pt x="45" y="158"/>
                    </a:lnTo>
                    <a:lnTo>
                      <a:pt x="56" y="163"/>
                    </a:lnTo>
                    <a:lnTo>
                      <a:pt x="67" y="168"/>
                    </a:lnTo>
                    <a:lnTo>
                      <a:pt x="79" y="173"/>
                    </a:lnTo>
                    <a:lnTo>
                      <a:pt x="93" y="176"/>
                    </a:lnTo>
                    <a:lnTo>
                      <a:pt x="106" y="178"/>
                    </a:lnTo>
                    <a:lnTo>
                      <a:pt x="121" y="180"/>
                    </a:lnTo>
                    <a:lnTo>
                      <a:pt x="135" y="181"/>
                    </a:lnTo>
                    <a:lnTo>
                      <a:pt x="151" y="181"/>
                    </a:lnTo>
                    <a:lnTo>
                      <a:pt x="166" y="180"/>
                    </a:lnTo>
                    <a:lnTo>
                      <a:pt x="181" y="178"/>
                    </a:lnTo>
                    <a:lnTo>
                      <a:pt x="194" y="176"/>
                    </a:lnTo>
                    <a:lnTo>
                      <a:pt x="209" y="172"/>
                    </a:lnTo>
                    <a:lnTo>
                      <a:pt x="221" y="167"/>
                    </a:lnTo>
                    <a:lnTo>
                      <a:pt x="232" y="162"/>
                    </a:lnTo>
                    <a:lnTo>
                      <a:pt x="244" y="157"/>
                    </a:lnTo>
                    <a:lnTo>
                      <a:pt x="254" y="151"/>
                    </a:lnTo>
                    <a:lnTo>
                      <a:pt x="263" y="144"/>
                    </a:lnTo>
                    <a:lnTo>
                      <a:pt x="272" y="136"/>
                    </a:lnTo>
                    <a:lnTo>
                      <a:pt x="279" y="129"/>
                    </a:lnTo>
                    <a:lnTo>
                      <a:pt x="285" y="121"/>
                    </a:lnTo>
                    <a:lnTo>
                      <a:pt x="290" y="113"/>
                    </a:lnTo>
                    <a:lnTo>
                      <a:pt x="293" y="103"/>
                    </a:lnTo>
                    <a:lnTo>
                      <a:pt x="295" y="95"/>
                    </a:lnTo>
                    <a:lnTo>
                      <a:pt x="295" y="86"/>
                    </a:lnTo>
                    <a:lnTo>
                      <a:pt x="294" y="76"/>
                    </a:lnTo>
                    <a:lnTo>
                      <a:pt x="292" y="67"/>
                    </a:lnTo>
                    <a:lnTo>
                      <a:pt x="288" y="59"/>
                    </a:lnTo>
                    <a:lnTo>
                      <a:pt x="283" y="51"/>
                    </a:lnTo>
                    <a:lnTo>
                      <a:pt x="276" y="43"/>
                    </a:lnTo>
                    <a:lnTo>
                      <a:pt x="268" y="36"/>
                    </a:lnTo>
                    <a:lnTo>
                      <a:pt x="260" y="29"/>
                    </a:lnTo>
                    <a:lnTo>
                      <a:pt x="250" y="24"/>
                    </a:lnTo>
                    <a:lnTo>
                      <a:pt x="240" y="17"/>
                    </a:lnTo>
                    <a:lnTo>
                      <a:pt x="228" y="13"/>
                    </a:lnTo>
                    <a:lnTo>
                      <a:pt x="216" y="9"/>
                    </a:lnTo>
                    <a:lnTo>
                      <a:pt x="202" y="5"/>
                    </a:lnTo>
                    <a:lnTo>
                      <a:pt x="189" y="3"/>
                    </a:lnTo>
                    <a:lnTo>
                      <a:pt x="174" y="1"/>
                    </a:lnTo>
                    <a:lnTo>
                      <a:pt x="160" y="0"/>
                    </a:lnTo>
                    <a:lnTo>
                      <a:pt x="144" y="0"/>
                    </a:lnTo>
                    <a:lnTo>
                      <a:pt x="130" y="1"/>
                    </a:lnTo>
                    <a:lnTo>
                      <a:pt x="114" y="3"/>
                    </a:lnTo>
                    <a:lnTo>
                      <a:pt x="101" y="6"/>
                    </a:lnTo>
                    <a:lnTo>
                      <a:pt x="88" y="9"/>
                    </a:lnTo>
                    <a:lnTo>
                      <a:pt x="74" y="13"/>
                    </a:lnTo>
                    <a:lnTo>
                      <a:pt x="63" y="19"/>
                    </a:lnTo>
                    <a:lnTo>
                      <a:pt x="51" y="24"/>
                    </a:lnTo>
                    <a:lnTo>
                      <a:pt x="41" y="30"/>
                    </a:lnTo>
                    <a:lnTo>
                      <a:pt x="32" y="37"/>
                    </a:lnTo>
                    <a:lnTo>
                      <a:pt x="24" y="44"/>
                    </a:lnTo>
                    <a:lnTo>
                      <a:pt x="16" y="52"/>
                    </a:lnTo>
                    <a:lnTo>
                      <a:pt x="10" y="60"/>
                    </a:lnTo>
                    <a:lnTo>
                      <a:pt x="6" y="68"/>
                    </a:lnTo>
                    <a:lnTo>
                      <a:pt x="2" y="77"/>
                    </a:lnTo>
                    <a:lnTo>
                      <a:pt x="0" y="86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21" name="Freeform 56"/>
              <p:cNvSpPr>
                <a:spLocks/>
              </p:cNvSpPr>
              <p:nvPr/>
            </p:nvSpPr>
            <p:spPr bwMode="auto">
              <a:xfrm>
                <a:off x="3309" y="964"/>
                <a:ext cx="42" cy="26"/>
              </a:xfrm>
              <a:custGeom>
                <a:avLst/>
                <a:gdLst>
                  <a:gd name="T0" fmla="*/ 0 w 295"/>
                  <a:gd name="T1" fmla="*/ 0 h 180"/>
                  <a:gd name="T2" fmla="*/ 0 w 295"/>
                  <a:gd name="T3" fmla="*/ 0 h 180"/>
                  <a:gd name="T4" fmla="*/ 0 w 295"/>
                  <a:gd name="T5" fmla="*/ 0 h 180"/>
                  <a:gd name="T6" fmla="*/ 0 w 295"/>
                  <a:gd name="T7" fmla="*/ 0 h 180"/>
                  <a:gd name="T8" fmla="*/ 0 w 295"/>
                  <a:gd name="T9" fmla="*/ 0 h 180"/>
                  <a:gd name="T10" fmla="*/ 0 w 295"/>
                  <a:gd name="T11" fmla="*/ 0 h 180"/>
                  <a:gd name="T12" fmla="*/ 0 w 295"/>
                  <a:gd name="T13" fmla="*/ 0 h 180"/>
                  <a:gd name="T14" fmla="*/ 0 w 295"/>
                  <a:gd name="T15" fmla="*/ 0 h 180"/>
                  <a:gd name="T16" fmla="*/ 0 w 295"/>
                  <a:gd name="T17" fmla="*/ 0 h 180"/>
                  <a:gd name="T18" fmla="*/ 0 w 295"/>
                  <a:gd name="T19" fmla="*/ 0 h 180"/>
                  <a:gd name="T20" fmla="*/ 0 w 295"/>
                  <a:gd name="T21" fmla="*/ 0 h 180"/>
                  <a:gd name="T22" fmla="*/ 0 w 295"/>
                  <a:gd name="T23" fmla="*/ 0 h 180"/>
                  <a:gd name="T24" fmla="*/ 0 w 295"/>
                  <a:gd name="T25" fmla="*/ 0 h 180"/>
                  <a:gd name="T26" fmla="*/ 0 w 295"/>
                  <a:gd name="T27" fmla="*/ 0 h 180"/>
                  <a:gd name="T28" fmla="*/ 0 w 295"/>
                  <a:gd name="T29" fmla="*/ 0 h 180"/>
                  <a:gd name="T30" fmla="*/ 0 w 295"/>
                  <a:gd name="T31" fmla="*/ 0 h 180"/>
                  <a:gd name="T32" fmla="*/ 0 w 295"/>
                  <a:gd name="T33" fmla="*/ 0 h 180"/>
                  <a:gd name="T34" fmla="*/ 0 w 295"/>
                  <a:gd name="T35" fmla="*/ 0 h 180"/>
                  <a:gd name="T36" fmla="*/ 0 w 295"/>
                  <a:gd name="T37" fmla="*/ 0 h 180"/>
                  <a:gd name="T38" fmla="*/ 0 w 295"/>
                  <a:gd name="T39" fmla="*/ 0 h 180"/>
                  <a:gd name="T40" fmla="*/ 0 w 295"/>
                  <a:gd name="T41" fmla="*/ 0 h 180"/>
                  <a:gd name="T42" fmla="*/ 0 w 295"/>
                  <a:gd name="T43" fmla="*/ 0 h 180"/>
                  <a:gd name="T44" fmla="*/ 0 w 295"/>
                  <a:gd name="T45" fmla="*/ 0 h 180"/>
                  <a:gd name="T46" fmla="*/ 0 w 295"/>
                  <a:gd name="T47" fmla="*/ 0 h 180"/>
                  <a:gd name="T48" fmla="*/ 0 w 295"/>
                  <a:gd name="T49" fmla="*/ 0 h 180"/>
                  <a:gd name="T50" fmla="*/ 0 w 295"/>
                  <a:gd name="T51" fmla="*/ 0 h 180"/>
                  <a:gd name="T52" fmla="*/ 0 w 295"/>
                  <a:gd name="T53" fmla="*/ 0 h 180"/>
                  <a:gd name="T54" fmla="*/ 0 w 295"/>
                  <a:gd name="T55" fmla="*/ 0 h 180"/>
                  <a:gd name="T56" fmla="*/ 0 w 295"/>
                  <a:gd name="T57" fmla="*/ 0 h 180"/>
                  <a:gd name="T58" fmla="*/ 0 w 295"/>
                  <a:gd name="T59" fmla="*/ 0 h 180"/>
                  <a:gd name="T60" fmla="*/ 0 w 295"/>
                  <a:gd name="T61" fmla="*/ 0 h 180"/>
                  <a:gd name="T62" fmla="*/ 0 w 295"/>
                  <a:gd name="T63" fmla="*/ 0 h 180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295"/>
                  <a:gd name="T97" fmla="*/ 0 h 180"/>
                  <a:gd name="T98" fmla="*/ 295 w 295"/>
                  <a:gd name="T99" fmla="*/ 180 h 180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295" h="180">
                    <a:moveTo>
                      <a:pt x="0" y="95"/>
                    </a:moveTo>
                    <a:lnTo>
                      <a:pt x="1" y="104"/>
                    </a:lnTo>
                    <a:lnTo>
                      <a:pt x="4" y="113"/>
                    </a:lnTo>
                    <a:lnTo>
                      <a:pt x="8" y="122"/>
                    </a:lnTo>
                    <a:lnTo>
                      <a:pt x="13" y="129"/>
                    </a:lnTo>
                    <a:lnTo>
                      <a:pt x="20" y="137"/>
                    </a:lnTo>
                    <a:lnTo>
                      <a:pt x="27" y="145"/>
                    </a:lnTo>
                    <a:lnTo>
                      <a:pt x="36" y="151"/>
                    </a:lnTo>
                    <a:lnTo>
                      <a:pt x="45" y="157"/>
                    </a:lnTo>
                    <a:lnTo>
                      <a:pt x="57" y="162"/>
                    </a:lnTo>
                    <a:lnTo>
                      <a:pt x="68" y="167"/>
                    </a:lnTo>
                    <a:lnTo>
                      <a:pt x="81" y="172"/>
                    </a:lnTo>
                    <a:lnTo>
                      <a:pt x="93" y="175"/>
                    </a:lnTo>
                    <a:lnTo>
                      <a:pt x="107" y="178"/>
                    </a:lnTo>
                    <a:lnTo>
                      <a:pt x="121" y="180"/>
                    </a:lnTo>
                    <a:lnTo>
                      <a:pt x="136" y="180"/>
                    </a:lnTo>
                    <a:lnTo>
                      <a:pt x="151" y="180"/>
                    </a:lnTo>
                    <a:lnTo>
                      <a:pt x="166" y="179"/>
                    </a:lnTo>
                    <a:lnTo>
                      <a:pt x="181" y="178"/>
                    </a:lnTo>
                    <a:lnTo>
                      <a:pt x="195" y="175"/>
                    </a:lnTo>
                    <a:lnTo>
                      <a:pt x="209" y="172"/>
                    </a:lnTo>
                    <a:lnTo>
                      <a:pt x="221" y="167"/>
                    </a:lnTo>
                    <a:lnTo>
                      <a:pt x="233" y="162"/>
                    </a:lnTo>
                    <a:lnTo>
                      <a:pt x="244" y="156"/>
                    </a:lnTo>
                    <a:lnTo>
                      <a:pt x="254" y="150"/>
                    </a:lnTo>
                    <a:lnTo>
                      <a:pt x="263" y="144"/>
                    </a:lnTo>
                    <a:lnTo>
                      <a:pt x="272" y="136"/>
                    </a:lnTo>
                    <a:lnTo>
                      <a:pt x="279" y="128"/>
                    </a:lnTo>
                    <a:lnTo>
                      <a:pt x="285" y="121"/>
                    </a:lnTo>
                    <a:lnTo>
                      <a:pt x="290" y="112"/>
                    </a:lnTo>
                    <a:lnTo>
                      <a:pt x="293" y="103"/>
                    </a:lnTo>
                    <a:lnTo>
                      <a:pt x="295" y="94"/>
                    </a:lnTo>
                    <a:lnTo>
                      <a:pt x="295" y="85"/>
                    </a:lnTo>
                    <a:lnTo>
                      <a:pt x="294" y="75"/>
                    </a:lnTo>
                    <a:lnTo>
                      <a:pt x="292" y="67"/>
                    </a:lnTo>
                    <a:lnTo>
                      <a:pt x="288" y="59"/>
                    </a:lnTo>
                    <a:lnTo>
                      <a:pt x="283" y="51"/>
                    </a:lnTo>
                    <a:lnTo>
                      <a:pt x="277" y="42"/>
                    </a:lnTo>
                    <a:lnTo>
                      <a:pt x="269" y="35"/>
                    </a:lnTo>
                    <a:lnTo>
                      <a:pt x="260" y="29"/>
                    </a:lnTo>
                    <a:lnTo>
                      <a:pt x="250" y="23"/>
                    </a:lnTo>
                    <a:lnTo>
                      <a:pt x="240" y="17"/>
                    </a:lnTo>
                    <a:lnTo>
                      <a:pt x="228" y="12"/>
                    </a:lnTo>
                    <a:lnTo>
                      <a:pt x="216" y="8"/>
                    </a:lnTo>
                    <a:lnTo>
                      <a:pt x="202" y="5"/>
                    </a:lnTo>
                    <a:lnTo>
                      <a:pt x="189" y="2"/>
                    </a:lnTo>
                    <a:lnTo>
                      <a:pt x="175" y="1"/>
                    </a:lnTo>
                    <a:lnTo>
                      <a:pt x="160" y="0"/>
                    </a:lnTo>
                    <a:lnTo>
                      <a:pt x="145" y="0"/>
                    </a:lnTo>
                    <a:lnTo>
                      <a:pt x="130" y="1"/>
                    </a:lnTo>
                    <a:lnTo>
                      <a:pt x="116" y="3"/>
                    </a:lnTo>
                    <a:lnTo>
                      <a:pt x="101" y="5"/>
                    </a:lnTo>
                    <a:lnTo>
                      <a:pt x="88" y="9"/>
                    </a:lnTo>
                    <a:lnTo>
                      <a:pt x="75" y="13"/>
                    </a:lnTo>
                    <a:lnTo>
                      <a:pt x="63" y="17"/>
                    </a:lnTo>
                    <a:lnTo>
                      <a:pt x="52" y="24"/>
                    </a:lnTo>
                    <a:lnTo>
                      <a:pt x="41" y="30"/>
                    </a:lnTo>
                    <a:lnTo>
                      <a:pt x="32" y="36"/>
                    </a:lnTo>
                    <a:lnTo>
                      <a:pt x="24" y="43"/>
                    </a:lnTo>
                    <a:lnTo>
                      <a:pt x="16" y="52"/>
                    </a:lnTo>
                    <a:lnTo>
                      <a:pt x="10" y="60"/>
                    </a:lnTo>
                    <a:lnTo>
                      <a:pt x="6" y="68"/>
                    </a:lnTo>
                    <a:lnTo>
                      <a:pt x="3" y="76"/>
                    </a:lnTo>
                    <a:lnTo>
                      <a:pt x="1" y="86"/>
                    </a:lnTo>
                    <a:lnTo>
                      <a:pt x="0" y="95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422" name="Freeform 57"/>
              <p:cNvSpPr>
                <a:spLocks/>
              </p:cNvSpPr>
              <p:nvPr/>
            </p:nvSpPr>
            <p:spPr bwMode="auto">
              <a:xfrm>
                <a:off x="3932" y="926"/>
                <a:ext cx="6" cy="7"/>
              </a:xfrm>
              <a:custGeom>
                <a:avLst/>
                <a:gdLst>
                  <a:gd name="T0" fmla="*/ 0 w 42"/>
                  <a:gd name="T1" fmla="*/ 0 h 46"/>
                  <a:gd name="T2" fmla="*/ 0 w 42"/>
                  <a:gd name="T3" fmla="*/ 0 h 46"/>
                  <a:gd name="T4" fmla="*/ 0 w 42"/>
                  <a:gd name="T5" fmla="*/ 0 h 46"/>
                  <a:gd name="T6" fmla="*/ 0 w 42"/>
                  <a:gd name="T7" fmla="*/ 0 h 46"/>
                  <a:gd name="T8" fmla="*/ 0 w 42"/>
                  <a:gd name="T9" fmla="*/ 0 h 46"/>
                  <a:gd name="T10" fmla="*/ 0 w 42"/>
                  <a:gd name="T11" fmla="*/ 0 h 46"/>
                  <a:gd name="T12" fmla="*/ 0 w 42"/>
                  <a:gd name="T13" fmla="*/ 0 h 46"/>
                  <a:gd name="T14" fmla="*/ 0 w 42"/>
                  <a:gd name="T15" fmla="*/ 0 h 46"/>
                  <a:gd name="T16" fmla="*/ 0 w 42"/>
                  <a:gd name="T17" fmla="*/ 0 h 46"/>
                  <a:gd name="T18" fmla="*/ 0 w 42"/>
                  <a:gd name="T19" fmla="*/ 0 h 46"/>
                  <a:gd name="T20" fmla="*/ 0 w 42"/>
                  <a:gd name="T21" fmla="*/ 0 h 4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w 42"/>
                  <a:gd name="T34" fmla="*/ 0 h 46"/>
                  <a:gd name="T35" fmla="*/ 42 w 42"/>
                  <a:gd name="T36" fmla="*/ 46 h 4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T33" t="T34" r="T35" b="T36"/>
                <a:pathLst>
                  <a:path w="42" h="46">
                    <a:moveTo>
                      <a:pt x="0" y="45"/>
                    </a:moveTo>
                    <a:lnTo>
                      <a:pt x="3" y="45"/>
                    </a:lnTo>
                    <a:lnTo>
                      <a:pt x="6" y="46"/>
                    </a:lnTo>
                    <a:lnTo>
                      <a:pt x="15" y="34"/>
                    </a:lnTo>
                    <a:lnTo>
                      <a:pt x="25" y="23"/>
                    </a:lnTo>
                    <a:lnTo>
                      <a:pt x="34" y="11"/>
                    </a:lnTo>
                    <a:lnTo>
                      <a:pt x="42" y="0"/>
                    </a:lnTo>
                    <a:lnTo>
                      <a:pt x="32" y="11"/>
                    </a:lnTo>
                    <a:lnTo>
                      <a:pt x="21" y="22"/>
                    </a:lnTo>
                    <a:lnTo>
                      <a:pt x="11" y="33"/>
                    </a:lnTo>
                    <a:lnTo>
                      <a:pt x="0" y="45"/>
                    </a:lnTo>
                    <a:close/>
                  </a:path>
                </a:pathLst>
              </a:custGeom>
              <a:solidFill>
                <a:srgbClr val="6855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</p:grpSp>
        <p:pic>
          <p:nvPicPr>
            <p:cNvPr id="137263" name="Picture 58" descr="j0417464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680" y="480"/>
              <a:ext cx="949" cy="153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grpSp>
          <p:nvGrpSpPr>
            <p:cNvPr id="137264" name="Group 59"/>
            <p:cNvGrpSpPr>
              <a:grpSpLocks/>
            </p:cNvGrpSpPr>
            <p:nvPr/>
          </p:nvGrpSpPr>
          <p:grpSpPr bwMode="auto">
            <a:xfrm>
              <a:off x="1776" y="1479"/>
              <a:ext cx="781" cy="736"/>
              <a:chOff x="3172" y="1249"/>
              <a:chExt cx="781" cy="736"/>
            </a:xfrm>
          </p:grpSpPr>
          <p:sp>
            <p:nvSpPr>
              <p:cNvPr id="137284" name="Freeform 60"/>
              <p:cNvSpPr>
                <a:spLocks/>
              </p:cNvSpPr>
              <p:nvPr/>
            </p:nvSpPr>
            <p:spPr bwMode="auto">
              <a:xfrm>
                <a:off x="3176" y="1551"/>
                <a:ext cx="771" cy="230"/>
              </a:xfrm>
              <a:custGeom>
                <a:avLst/>
                <a:gdLst>
                  <a:gd name="T0" fmla="*/ 0 w 5394"/>
                  <a:gd name="T1" fmla="*/ 0 h 1609"/>
                  <a:gd name="T2" fmla="*/ 0 w 5394"/>
                  <a:gd name="T3" fmla="*/ 0 h 1609"/>
                  <a:gd name="T4" fmla="*/ 0 w 5394"/>
                  <a:gd name="T5" fmla="*/ 0 h 1609"/>
                  <a:gd name="T6" fmla="*/ 0 w 5394"/>
                  <a:gd name="T7" fmla="*/ 0 h 1609"/>
                  <a:gd name="T8" fmla="*/ 0 w 5394"/>
                  <a:gd name="T9" fmla="*/ 0 h 1609"/>
                  <a:gd name="T10" fmla="*/ 0 w 5394"/>
                  <a:gd name="T11" fmla="*/ 0 h 1609"/>
                  <a:gd name="T12" fmla="*/ 0 w 5394"/>
                  <a:gd name="T13" fmla="*/ 0 h 1609"/>
                  <a:gd name="T14" fmla="*/ 0 w 5394"/>
                  <a:gd name="T15" fmla="*/ 0 h 1609"/>
                  <a:gd name="T16" fmla="*/ 0 w 5394"/>
                  <a:gd name="T17" fmla="*/ 0 h 1609"/>
                  <a:gd name="T18" fmla="*/ 0 w 5394"/>
                  <a:gd name="T19" fmla="*/ 0 h 1609"/>
                  <a:gd name="T20" fmla="*/ 0 w 5394"/>
                  <a:gd name="T21" fmla="*/ 0 h 1609"/>
                  <a:gd name="T22" fmla="*/ 0 w 5394"/>
                  <a:gd name="T23" fmla="*/ 0 h 1609"/>
                  <a:gd name="T24" fmla="*/ 0 w 5394"/>
                  <a:gd name="T25" fmla="*/ 0 h 1609"/>
                  <a:gd name="T26" fmla="*/ 0 w 5394"/>
                  <a:gd name="T27" fmla="*/ 0 h 1609"/>
                  <a:gd name="T28" fmla="*/ 0 w 5394"/>
                  <a:gd name="T29" fmla="*/ 0 h 1609"/>
                  <a:gd name="T30" fmla="*/ 0 w 5394"/>
                  <a:gd name="T31" fmla="*/ 0 h 1609"/>
                  <a:gd name="T32" fmla="*/ 0 w 5394"/>
                  <a:gd name="T33" fmla="*/ 0 h 1609"/>
                  <a:gd name="T34" fmla="*/ 0 w 5394"/>
                  <a:gd name="T35" fmla="*/ 0 h 1609"/>
                  <a:gd name="T36" fmla="*/ 0 w 5394"/>
                  <a:gd name="T37" fmla="*/ 0 h 1609"/>
                  <a:gd name="T38" fmla="*/ 0 w 5394"/>
                  <a:gd name="T39" fmla="*/ 0 h 1609"/>
                  <a:gd name="T40" fmla="*/ 0 w 5394"/>
                  <a:gd name="T41" fmla="*/ 0 h 1609"/>
                  <a:gd name="T42" fmla="*/ 0 w 5394"/>
                  <a:gd name="T43" fmla="*/ 0 h 1609"/>
                  <a:gd name="T44" fmla="*/ 0 w 5394"/>
                  <a:gd name="T45" fmla="*/ 0 h 1609"/>
                  <a:gd name="T46" fmla="*/ 0 w 5394"/>
                  <a:gd name="T47" fmla="*/ 0 h 1609"/>
                  <a:gd name="T48" fmla="*/ 0 w 5394"/>
                  <a:gd name="T49" fmla="*/ 0 h 1609"/>
                  <a:gd name="T50" fmla="*/ 0 w 5394"/>
                  <a:gd name="T51" fmla="*/ 0 h 1609"/>
                  <a:gd name="T52" fmla="*/ 0 w 5394"/>
                  <a:gd name="T53" fmla="*/ 0 h 1609"/>
                  <a:gd name="T54" fmla="*/ 0 w 5394"/>
                  <a:gd name="T55" fmla="*/ 0 h 1609"/>
                  <a:gd name="T56" fmla="*/ 0 w 5394"/>
                  <a:gd name="T57" fmla="*/ 0 h 1609"/>
                  <a:gd name="T58" fmla="*/ 0 w 5394"/>
                  <a:gd name="T59" fmla="*/ 0 h 1609"/>
                  <a:gd name="T60" fmla="*/ 0 w 5394"/>
                  <a:gd name="T61" fmla="*/ 0 h 1609"/>
                  <a:gd name="T62" fmla="*/ 0 w 5394"/>
                  <a:gd name="T63" fmla="*/ 0 h 1609"/>
                  <a:gd name="T64" fmla="*/ 0 w 5394"/>
                  <a:gd name="T65" fmla="*/ 0 h 1609"/>
                  <a:gd name="T66" fmla="*/ 0 w 5394"/>
                  <a:gd name="T67" fmla="*/ 0 h 1609"/>
                  <a:gd name="T68" fmla="*/ 0 w 5394"/>
                  <a:gd name="T69" fmla="*/ 0 h 1609"/>
                  <a:gd name="T70" fmla="*/ 0 w 5394"/>
                  <a:gd name="T71" fmla="*/ 0 h 1609"/>
                  <a:gd name="T72" fmla="*/ 0 w 5394"/>
                  <a:gd name="T73" fmla="*/ 0 h 1609"/>
                  <a:gd name="T74" fmla="*/ 0 w 5394"/>
                  <a:gd name="T75" fmla="*/ 0 h 1609"/>
                  <a:gd name="T76" fmla="*/ 0 w 5394"/>
                  <a:gd name="T77" fmla="*/ 0 h 1609"/>
                  <a:gd name="T78" fmla="*/ 0 w 5394"/>
                  <a:gd name="T79" fmla="*/ 0 h 1609"/>
                  <a:gd name="T80" fmla="*/ 0 w 5394"/>
                  <a:gd name="T81" fmla="*/ 0 h 1609"/>
                  <a:gd name="T82" fmla="*/ 0 w 5394"/>
                  <a:gd name="T83" fmla="*/ 0 h 1609"/>
                  <a:gd name="T84" fmla="*/ 0 w 5394"/>
                  <a:gd name="T85" fmla="*/ 0 h 1609"/>
                  <a:gd name="T86" fmla="*/ 0 w 5394"/>
                  <a:gd name="T87" fmla="*/ 0 h 1609"/>
                  <a:gd name="T88" fmla="*/ 0 w 5394"/>
                  <a:gd name="T89" fmla="*/ 0 h 1609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5394"/>
                  <a:gd name="T136" fmla="*/ 0 h 1609"/>
                  <a:gd name="T137" fmla="*/ 5394 w 5394"/>
                  <a:gd name="T138" fmla="*/ 1609 h 1609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5394" h="1609">
                    <a:moveTo>
                      <a:pt x="4799" y="12"/>
                    </a:moveTo>
                    <a:lnTo>
                      <a:pt x="4755" y="11"/>
                    </a:lnTo>
                    <a:lnTo>
                      <a:pt x="4627" y="9"/>
                    </a:lnTo>
                    <a:lnTo>
                      <a:pt x="4430" y="7"/>
                    </a:lnTo>
                    <a:lnTo>
                      <a:pt x="4173" y="5"/>
                    </a:lnTo>
                    <a:lnTo>
                      <a:pt x="3869" y="2"/>
                    </a:lnTo>
                    <a:lnTo>
                      <a:pt x="3528" y="0"/>
                    </a:lnTo>
                    <a:lnTo>
                      <a:pt x="3162" y="0"/>
                    </a:lnTo>
                    <a:lnTo>
                      <a:pt x="2783" y="0"/>
                    </a:lnTo>
                    <a:lnTo>
                      <a:pt x="2592" y="1"/>
                    </a:lnTo>
                    <a:lnTo>
                      <a:pt x="2402" y="2"/>
                    </a:lnTo>
                    <a:lnTo>
                      <a:pt x="2213" y="4"/>
                    </a:lnTo>
                    <a:lnTo>
                      <a:pt x="2028" y="6"/>
                    </a:lnTo>
                    <a:lnTo>
                      <a:pt x="1850" y="9"/>
                    </a:lnTo>
                    <a:lnTo>
                      <a:pt x="1677" y="13"/>
                    </a:lnTo>
                    <a:lnTo>
                      <a:pt x="1513" y="18"/>
                    </a:lnTo>
                    <a:lnTo>
                      <a:pt x="1358" y="23"/>
                    </a:lnTo>
                    <a:lnTo>
                      <a:pt x="1213" y="29"/>
                    </a:lnTo>
                    <a:lnTo>
                      <a:pt x="1081" y="36"/>
                    </a:lnTo>
                    <a:lnTo>
                      <a:pt x="963" y="45"/>
                    </a:lnTo>
                    <a:lnTo>
                      <a:pt x="860" y="53"/>
                    </a:lnTo>
                    <a:lnTo>
                      <a:pt x="773" y="63"/>
                    </a:lnTo>
                    <a:lnTo>
                      <a:pt x="705" y="75"/>
                    </a:lnTo>
                    <a:lnTo>
                      <a:pt x="655" y="87"/>
                    </a:lnTo>
                    <a:lnTo>
                      <a:pt x="627" y="99"/>
                    </a:lnTo>
                    <a:lnTo>
                      <a:pt x="612" y="113"/>
                    </a:lnTo>
                    <a:lnTo>
                      <a:pt x="595" y="128"/>
                    </a:lnTo>
                    <a:lnTo>
                      <a:pt x="579" y="145"/>
                    </a:lnTo>
                    <a:lnTo>
                      <a:pt x="560" y="164"/>
                    </a:lnTo>
                    <a:lnTo>
                      <a:pt x="522" y="209"/>
                    </a:lnTo>
                    <a:lnTo>
                      <a:pt x="479" y="260"/>
                    </a:lnTo>
                    <a:lnTo>
                      <a:pt x="435" y="314"/>
                    </a:lnTo>
                    <a:lnTo>
                      <a:pt x="390" y="373"/>
                    </a:lnTo>
                    <a:lnTo>
                      <a:pt x="344" y="435"/>
                    </a:lnTo>
                    <a:lnTo>
                      <a:pt x="297" y="497"/>
                    </a:lnTo>
                    <a:lnTo>
                      <a:pt x="251" y="560"/>
                    </a:lnTo>
                    <a:lnTo>
                      <a:pt x="206" y="622"/>
                    </a:lnTo>
                    <a:lnTo>
                      <a:pt x="163" y="680"/>
                    </a:lnTo>
                    <a:lnTo>
                      <a:pt x="123" y="734"/>
                    </a:lnTo>
                    <a:lnTo>
                      <a:pt x="85" y="784"/>
                    </a:lnTo>
                    <a:lnTo>
                      <a:pt x="52" y="826"/>
                    </a:lnTo>
                    <a:lnTo>
                      <a:pt x="23" y="861"/>
                    </a:lnTo>
                    <a:lnTo>
                      <a:pt x="0" y="887"/>
                    </a:lnTo>
                    <a:lnTo>
                      <a:pt x="18" y="914"/>
                    </a:lnTo>
                    <a:lnTo>
                      <a:pt x="44" y="940"/>
                    </a:lnTo>
                    <a:lnTo>
                      <a:pt x="80" y="967"/>
                    </a:lnTo>
                    <a:lnTo>
                      <a:pt x="122" y="995"/>
                    </a:lnTo>
                    <a:lnTo>
                      <a:pt x="173" y="1023"/>
                    </a:lnTo>
                    <a:lnTo>
                      <a:pt x="228" y="1051"/>
                    </a:lnTo>
                    <a:lnTo>
                      <a:pt x="291" y="1079"/>
                    </a:lnTo>
                    <a:lnTo>
                      <a:pt x="360" y="1106"/>
                    </a:lnTo>
                    <a:lnTo>
                      <a:pt x="433" y="1134"/>
                    </a:lnTo>
                    <a:lnTo>
                      <a:pt x="510" y="1162"/>
                    </a:lnTo>
                    <a:lnTo>
                      <a:pt x="592" y="1190"/>
                    </a:lnTo>
                    <a:lnTo>
                      <a:pt x="678" y="1217"/>
                    </a:lnTo>
                    <a:lnTo>
                      <a:pt x="766" y="1244"/>
                    </a:lnTo>
                    <a:lnTo>
                      <a:pt x="857" y="1271"/>
                    </a:lnTo>
                    <a:lnTo>
                      <a:pt x="950" y="1297"/>
                    </a:lnTo>
                    <a:lnTo>
                      <a:pt x="1044" y="1322"/>
                    </a:lnTo>
                    <a:lnTo>
                      <a:pt x="1139" y="1346"/>
                    </a:lnTo>
                    <a:lnTo>
                      <a:pt x="1234" y="1370"/>
                    </a:lnTo>
                    <a:lnTo>
                      <a:pt x="1329" y="1394"/>
                    </a:lnTo>
                    <a:lnTo>
                      <a:pt x="1424" y="1416"/>
                    </a:lnTo>
                    <a:lnTo>
                      <a:pt x="1517" y="1437"/>
                    </a:lnTo>
                    <a:lnTo>
                      <a:pt x="1609" y="1457"/>
                    </a:lnTo>
                    <a:lnTo>
                      <a:pt x="1698" y="1476"/>
                    </a:lnTo>
                    <a:lnTo>
                      <a:pt x="1785" y="1493"/>
                    </a:lnTo>
                    <a:lnTo>
                      <a:pt x="1868" y="1510"/>
                    </a:lnTo>
                    <a:lnTo>
                      <a:pt x="1948" y="1524"/>
                    </a:lnTo>
                    <a:lnTo>
                      <a:pt x="2023" y="1538"/>
                    </a:lnTo>
                    <a:lnTo>
                      <a:pt x="2094" y="1549"/>
                    </a:lnTo>
                    <a:lnTo>
                      <a:pt x="2159" y="1559"/>
                    </a:lnTo>
                    <a:lnTo>
                      <a:pt x="2218" y="1568"/>
                    </a:lnTo>
                    <a:lnTo>
                      <a:pt x="2270" y="1574"/>
                    </a:lnTo>
                    <a:lnTo>
                      <a:pt x="2317" y="1578"/>
                    </a:lnTo>
                    <a:lnTo>
                      <a:pt x="2414" y="1586"/>
                    </a:lnTo>
                    <a:lnTo>
                      <a:pt x="2513" y="1592"/>
                    </a:lnTo>
                    <a:lnTo>
                      <a:pt x="2611" y="1599"/>
                    </a:lnTo>
                    <a:lnTo>
                      <a:pt x="2711" y="1603"/>
                    </a:lnTo>
                    <a:lnTo>
                      <a:pt x="2811" y="1606"/>
                    </a:lnTo>
                    <a:lnTo>
                      <a:pt x="2911" y="1608"/>
                    </a:lnTo>
                    <a:lnTo>
                      <a:pt x="3010" y="1609"/>
                    </a:lnTo>
                    <a:lnTo>
                      <a:pt x="3111" y="1609"/>
                    </a:lnTo>
                    <a:lnTo>
                      <a:pt x="3212" y="1607"/>
                    </a:lnTo>
                    <a:lnTo>
                      <a:pt x="3312" y="1603"/>
                    </a:lnTo>
                    <a:lnTo>
                      <a:pt x="3412" y="1598"/>
                    </a:lnTo>
                    <a:lnTo>
                      <a:pt x="3512" y="1591"/>
                    </a:lnTo>
                    <a:lnTo>
                      <a:pt x="3613" y="1583"/>
                    </a:lnTo>
                    <a:lnTo>
                      <a:pt x="3712" y="1573"/>
                    </a:lnTo>
                    <a:lnTo>
                      <a:pt x="3812" y="1560"/>
                    </a:lnTo>
                    <a:lnTo>
                      <a:pt x="3911" y="1547"/>
                    </a:lnTo>
                    <a:lnTo>
                      <a:pt x="4009" y="1531"/>
                    </a:lnTo>
                    <a:lnTo>
                      <a:pt x="4108" y="1514"/>
                    </a:lnTo>
                    <a:lnTo>
                      <a:pt x="4206" y="1493"/>
                    </a:lnTo>
                    <a:lnTo>
                      <a:pt x="4303" y="1471"/>
                    </a:lnTo>
                    <a:lnTo>
                      <a:pt x="4399" y="1448"/>
                    </a:lnTo>
                    <a:lnTo>
                      <a:pt x="4494" y="1421"/>
                    </a:lnTo>
                    <a:lnTo>
                      <a:pt x="4589" y="1392"/>
                    </a:lnTo>
                    <a:lnTo>
                      <a:pt x="4683" y="1361"/>
                    </a:lnTo>
                    <a:lnTo>
                      <a:pt x="4776" y="1328"/>
                    </a:lnTo>
                    <a:lnTo>
                      <a:pt x="4868" y="1292"/>
                    </a:lnTo>
                    <a:lnTo>
                      <a:pt x="4959" y="1252"/>
                    </a:lnTo>
                    <a:lnTo>
                      <a:pt x="5048" y="1211"/>
                    </a:lnTo>
                    <a:lnTo>
                      <a:pt x="5137" y="1167"/>
                    </a:lnTo>
                    <a:lnTo>
                      <a:pt x="5224" y="1120"/>
                    </a:lnTo>
                    <a:lnTo>
                      <a:pt x="5309" y="1070"/>
                    </a:lnTo>
                    <a:lnTo>
                      <a:pt x="5394" y="1019"/>
                    </a:lnTo>
                    <a:lnTo>
                      <a:pt x="5382" y="994"/>
                    </a:lnTo>
                    <a:lnTo>
                      <a:pt x="5367" y="968"/>
                    </a:lnTo>
                    <a:lnTo>
                      <a:pt x="5352" y="942"/>
                    </a:lnTo>
                    <a:lnTo>
                      <a:pt x="5333" y="914"/>
                    </a:lnTo>
                    <a:lnTo>
                      <a:pt x="5314" y="885"/>
                    </a:lnTo>
                    <a:lnTo>
                      <a:pt x="5292" y="855"/>
                    </a:lnTo>
                    <a:lnTo>
                      <a:pt x="5269" y="825"/>
                    </a:lnTo>
                    <a:lnTo>
                      <a:pt x="5245" y="793"/>
                    </a:lnTo>
                    <a:lnTo>
                      <a:pt x="5196" y="729"/>
                    </a:lnTo>
                    <a:lnTo>
                      <a:pt x="5143" y="662"/>
                    </a:lnTo>
                    <a:lnTo>
                      <a:pt x="5089" y="594"/>
                    </a:lnTo>
                    <a:lnTo>
                      <a:pt x="5037" y="524"/>
                    </a:lnTo>
                    <a:lnTo>
                      <a:pt x="5011" y="489"/>
                    </a:lnTo>
                    <a:lnTo>
                      <a:pt x="4986" y="454"/>
                    </a:lnTo>
                    <a:lnTo>
                      <a:pt x="4961" y="420"/>
                    </a:lnTo>
                    <a:lnTo>
                      <a:pt x="4937" y="386"/>
                    </a:lnTo>
                    <a:lnTo>
                      <a:pt x="4916" y="351"/>
                    </a:lnTo>
                    <a:lnTo>
                      <a:pt x="4895" y="318"/>
                    </a:lnTo>
                    <a:lnTo>
                      <a:pt x="4875" y="283"/>
                    </a:lnTo>
                    <a:lnTo>
                      <a:pt x="4858" y="250"/>
                    </a:lnTo>
                    <a:lnTo>
                      <a:pt x="4841" y="218"/>
                    </a:lnTo>
                    <a:lnTo>
                      <a:pt x="4828" y="186"/>
                    </a:lnTo>
                    <a:lnTo>
                      <a:pt x="4817" y="155"/>
                    </a:lnTo>
                    <a:lnTo>
                      <a:pt x="4807" y="124"/>
                    </a:lnTo>
                    <a:lnTo>
                      <a:pt x="4801" y="95"/>
                    </a:lnTo>
                    <a:lnTo>
                      <a:pt x="4797" y="66"/>
                    </a:lnTo>
                    <a:lnTo>
                      <a:pt x="4797" y="38"/>
                    </a:lnTo>
                    <a:lnTo>
                      <a:pt x="4799" y="12"/>
                    </a:lnTo>
                    <a:close/>
                  </a:path>
                </a:pathLst>
              </a:custGeom>
              <a:solidFill>
                <a:srgbClr val="25A9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285" name="Freeform 61"/>
              <p:cNvSpPr>
                <a:spLocks/>
              </p:cNvSpPr>
              <p:nvPr/>
            </p:nvSpPr>
            <p:spPr bwMode="auto">
              <a:xfrm>
                <a:off x="3172" y="1438"/>
                <a:ext cx="781" cy="547"/>
              </a:xfrm>
              <a:custGeom>
                <a:avLst/>
                <a:gdLst>
                  <a:gd name="T0" fmla="*/ 0 w 5469"/>
                  <a:gd name="T1" fmla="*/ 0 h 3830"/>
                  <a:gd name="T2" fmla="*/ 0 w 5469"/>
                  <a:gd name="T3" fmla="*/ 0 h 3830"/>
                  <a:gd name="T4" fmla="*/ 0 w 5469"/>
                  <a:gd name="T5" fmla="*/ 0 h 3830"/>
                  <a:gd name="T6" fmla="*/ 0 w 5469"/>
                  <a:gd name="T7" fmla="*/ 0 h 3830"/>
                  <a:gd name="T8" fmla="*/ 0 w 5469"/>
                  <a:gd name="T9" fmla="*/ 0 h 3830"/>
                  <a:gd name="T10" fmla="*/ 0 w 5469"/>
                  <a:gd name="T11" fmla="*/ 0 h 3830"/>
                  <a:gd name="T12" fmla="*/ 0 w 5469"/>
                  <a:gd name="T13" fmla="*/ 0 h 3830"/>
                  <a:gd name="T14" fmla="*/ 0 w 5469"/>
                  <a:gd name="T15" fmla="*/ 0 h 3830"/>
                  <a:gd name="T16" fmla="*/ 0 w 5469"/>
                  <a:gd name="T17" fmla="*/ 0 h 3830"/>
                  <a:gd name="T18" fmla="*/ 0 w 5469"/>
                  <a:gd name="T19" fmla="*/ 0 h 3830"/>
                  <a:gd name="T20" fmla="*/ 0 w 5469"/>
                  <a:gd name="T21" fmla="*/ 0 h 3830"/>
                  <a:gd name="T22" fmla="*/ 0 w 5469"/>
                  <a:gd name="T23" fmla="*/ 0 h 3830"/>
                  <a:gd name="T24" fmla="*/ 0 w 5469"/>
                  <a:gd name="T25" fmla="*/ 0 h 3830"/>
                  <a:gd name="T26" fmla="*/ 0 w 5469"/>
                  <a:gd name="T27" fmla="*/ 0 h 3830"/>
                  <a:gd name="T28" fmla="*/ 0 w 5469"/>
                  <a:gd name="T29" fmla="*/ 0 h 3830"/>
                  <a:gd name="T30" fmla="*/ 0 w 5469"/>
                  <a:gd name="T31" fmla="*/ 0 h 3830"/>
                  <a:gd name="T32" fmla="*/ 0 w 5469"/>
                  <a:gd name="T33" fmla="*/ 0 h 3830"/>
                  <a:gd name="T34" fmla="*/ 0 w 5469"/>
                  <a:gd name="T35" fmla="*/ 0 h 3830"/>
                  <a:gd name="T36" fmla="*/ 0 w 5469"/>
                  <a:gd name="T37" fmla="*/ 0 h 3830"/>
                  <a:gd name="T38" fmla="*/ 0 w 5469"/>
                  <a:gd name="T39" fmla="*/ 0 h 3830"/>
                  <a:gd name="T40" fmla="*/ 0 w 5469"/>
                  <a:gd name="T41" fmla="*/ 0 h 3830"/>
                  <a:gd name="T42" fmla="*/ 0 w 5469"/>
                  <a:gd name="T43" fmla="*/ 0 h 3830"/>
                  <a:gd name="T44" fmla="*/ 0 w 5469"/>
                  <a:gd name="T45" fmla="*/ 0 h 3830"/>
                  <a:gd name="T46" fmla="*/ 0 w 5469"/>
                  <a:gd name="T47" fmla="*/ 0 h 3830"/>
                  <a:gd name="T48" fmla="*/ 0 w 5469"/>
                  <a:gd name="T49" fmla="*/ 0 h 3830"/>
                  <a:gd name="T50" fmla="*/ 0 w 5469"/>
                  <a:gd name="T51" fmla="*/ 0 h 3830"/>
                  <a:gd name="T52" fmla="*/ 0 w 5469"/>
                  <a:gd name="T53" fmla="*/ 0 h 3830"/>
                  <a:gd name="T54" fmla="*/ 0 w 5469"/>
                  <a:gd name="T55" fmla="*/ 0 h 3830"/>
                  <a:gd name="T56" fmla="*/ 0 w 5469"/>
                  <a:gd name="T57" fmla="*/ 0 h 3830"/>
                  <a:gd name="T58" fmla="*/ 0 w 5469"/>
                  <a:gd name="T59" fmla="*/ 0 h 3830"/>
                  <a:gd name="T60" fmla="*/ 0 w 5469"/>
                  <a:gd name="T61" fmla="*/ 0 h 3830"/>
                  <a:gd name="T62" fmla="*/ 0 w 5469"/>
                  <a:gd name="T63" fmla="*/ 0 h 3830"/>
                  <a:gd name="T64" fmla="*/ 0 w 5469"/>
                  <a:gd name="T65" fmla="*/ 0 h 3830"/>
                  <a:gd name="T66" fmla="*/ 0 w 5469"/>
                  <a:gd name="T67" fmla="*/ 0 h 3830"/>
                  <a:gd name="T68" fmla="*/ 0 w 5469"/>
                  <a:gd name="T69" fmla="*/ 0 h 3830"/>
                  <a:gd name="T70" fmla="*/ 0 w 5469"/>
                  <a:gd name="T71" fmla="*/ 0 h 3830"/>
                  <a:gd name="T72" fmla="*/ 0 w 5469"/>
                  <a:gd name="T73" fmla="*/ 0 h 3830"/>
                  <a:gd name="T74" fmla="*/ 0 w 5469"/>
                  <a:gd name="T75" fmla="*/ 0 h 3830"/>
                  <a:gd name="T76" fmla="*/ 0 w 5469"/>
                  <a:gd name="T77" fmla="*/ 0 h 3830"/>
                  <a:gd name="T78" fmla="*/ 0 w 5469"/>
                  <a:gd name="T79" fmla="*/ 0 h 3830"/>
                  <a:gd name="T80" fmla="*/ 0 w 5469"/>
                  <a:gd name="T81" fmla="*/ 0 h 3830"/>
                  <a:gd name="T82" fmla="*/ 0 w 5469"/>
                  <a:gd name="T83" fmla="*/ 0 h 3830"/>
                  <a:gd name="T84" fmla="*/ 0 w 5469"/>
                  <a:gd name="T85" fmla="*/ 0 h 3830"/>
                  <a:gd name="T86" fmla="*/ 0 w 5469"/>
                  <a:gd name="T87" fmla="*/ 0 h 3830"/>
                  <a:gd name="T88" fmla="*/ 0 w 5469"/>
                  <a:gd name="T89" fmla="*/ 0 h 3830"/>
                  <a:gd name="T90" fmla="*/ 0 w 5469"/>
                  <a:gd name="T91" fmla="*/ 0 h 3830"/>
                  <a:gd name="T92" fmla="*/ 0 w 5469"/>
                  <a:gd name="T93" fmla="*/ 0 h 3830"/>
                  <a:gd name="T94" fmla="*/ 0 w 5469"/>
                  <a:gd name="T95" fmla="*/ 0 h 3830"/>
                  <a:gd name="T96" fmla="*/ 0 w 5469"/>
                  <a:gd name="T97" fmla="*/ 0 h 3830"/>
                  <a:gd name="T98" fmla="*/ 0 w 5469"/>
                  <a:gd name="T99" fmla="*/ 0 h 3830"/>
                  <a:gd name="T100" fmla="*/ 0 w 5469"/>
                  <a:gd name="T101" fmla="*/ 0 h 3830"/>
                  <a:gd name="T102" fmla="*/ 0 w 5469"/>
                  <a:gd name="T103" fmla="*/ 0 h 3830"/>
                  <a:gd name="T104" fmla="*/ 0 w 5469"/>
                  <a:gd name="T105" fmla="*/ 0 h 3830"/>
                  <a:gd name="T106" fmla="*/ 0 w 5469"/>
                  <a:gd name="T107" fmla="*/ 0 h 3830"/>
                  <a:gd name="T108" fmla="*/ 0 w 5469"/>
                  <a:gd name="T109" fmla="*/ 0 h 3830"/>
                  <a:gd name="T110" fmla="*/ 0 w 5469"/>
                  <a:gd name="T111" fmla="*/ 0 h 3830"/>
                  <a:gd name="T112" fmla="*/ 0 w 5469"/>
                  <a:gd name="T113" fmla="*/ 0 h 3830"/>
                  <a:gd name="T114" fmla="*/ 0 w 5469"/>
                  <a:gd name="T115" fmla="*/ 0 h 3830"/>
                  <a:gd name="T116" fmla="*/ 0 w 5469"/>
                  <a:gd name="T117" fmla="*/ 0 h 3830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w 5469"/>
                  <a:gd name="T178" fmla="*/ 0 h 3830"/>
                  <a:gd name="T179" fmla="*/ 5469 w 5469"/>
                  <a:gd name="T180" fmla="*/ 3830 h 3830"/>
                </a:gdLst>
                <a:ahLst/>
                <a:cxnLst>
                  <a:cxn ang="T118">
                    <a:pos x="T0" y="T1"/>
                  </a:cxn>
                  <a:cxn ang="T119">
                    <a:pos x="T2" y="T3"/>
                  </a:cxn>
                  <a:cxn ang="T120">
                    <a:pos x="T4" y="T5"/>
                  </a:cxn>
                  <a:cxn ang="T121">
                    <a:pos x="T6" y="T7"/>
                  </a:cxn>
                  <a:cxn ang="T122">
                    <a:pos x="T8" y="T9"/>
                  </a:cxn>
                  <a:cxn ang="T123">
                    <a:pos x="T10" y="T11"/>
                  </a:cxn>
                  <a:cxn ang="T124">
                    <a:pos x="T12" y="T13"/>
                  </a:cxn>
                  <a:cxn ang="T125">
                    <a:pos x="T14" y="T15"/>
                  </a:cxn>
                  <a:cxn ang="T126">
                    <a:pos x="T16" y="T17"/>
                  </a:cxn>
                  <a:cxn ang="T127">
                    <a:pos x="T18" y="T19"/>
                  </a:cxn>
                  <a:cxn ang="T128">
                    <a:pos x="T20" y="T21"/>
                  </a:cxn>
                  <a:cxn ang="T129">
                    <a:pos x="T22" y="T23"/>
                  </a:cxn>
                  <a:cxn ang="T130">
                    <a:pos x="T24" y="T25"/>
                  </a:cxn>
                  <a:cxn ang="T131">
                    <a:pos x="T26" y="T27"/>
                  </a:cxn>
                  <a:cxn ang="T132">
                    <a:pos x="T28" y="T29"/>
                  </a:cxn>
                  <a:cxn ang="T133">
                    <a:pos x="T30" y="T31"/>
                  </a:cxn>
                  <a:cxn ang="T134">
                    <a:pos x="T32" y="T33"/>
                  </a:cxn>
                  <a:cxn ang="T135">
                    <a:pos x="T34" y="T35"/>
                  </a:cxn>
                  <a:cxn ang="T136">
                    <a:pos x="T36" y="T37"/>
                  </a:cxn>
                  <a:cxn ang="T137">
                    <a:pos x="T38" y="T39"/>
                  </a:cxn>
                  <a:cxn ang="T138">
                    <a:pos x="T40" y="T41"/>
                  </a:cxn>
                  <a:cxn ang="T139">
                    <a:pos x="T42" y="T43"/>
                  </a:cxn>
                  <a:cxn ang="T140">
                    <a:pos x="T44" y="T45"/>
                  </a:cxn>
                  <a:cxn ang="T141">
                    <a:pos x="T46" y="T47"/>
                  </a:cxn>
                  <a:cxn ang="T142">
                    <a:pos x="T48" y="T49"/>
                  </a:cxn>
                  <a:cxn ang="T143">
                    <a:pos x="T50" y="T51"/>
                  </a:cxn>
                  <a:cxn ang="T144">
                    <a:pos x="T52" y="T53"/>
                  </a:cxn>
                  <a:cxn ang="T145">
                    <a:pos x="T54" y="T55"/>
                  </a:cxn>
                  <a:cxn ang="T146">
                    <a:pos x="T56" y="T57"/>
                  </a:cxn>
                  <a:cxn ang="T147">
                    <a:pos x="T58" y="T59"/>
                  </a:cxn>
                  <a:cxn ang="T148">
                    <a:pos x="T60" y="T61"/>
                  </a:cxn>
                  <a:cxn ang="T149">
                    <a:pos x="T62" y="T63"/>
                  </a:cxn>
                  <a:cxn ang="T150">
                    <a:pos x="T64" y="T65"/>
                  </a:cxn>
                  <a:cxn ang="T151">
                    <a:pos x="T66" y="T67"/>
                  </a:cxn>
                  <a:cxn ang="T152">
                    <a:pos x="T68" y="T69"/>
                  </a:cxn>
                  <a:cxn ang="T153">
                    <a:pos x="T70" y="T71"/>
                  </a:cxn>
                  <a:cxn ang="T154">
                    <a:pos x="T72" y="T73"/>
                  </a:cxn>
                  <a:cxn ang="T155">
                    <a:pos x="T74" y="T75"/>
                  </a:cxn>
                  <a:cxn ang="T156">
                    <a:pos x="T76" y="T77"/>
                  </a:cxn>
                  <a:cxn ang="T157">
                    <a:pos x="T78" y="T79"/>
                  </a:cxn>
                  <a:cxn ang="T158">
                    <a:pos x="T80" y="T81"/>
                  </a:cxn>
                  <a:cxn ang="T159">
                    <a:pos x="T82" y="T83"/>
                  </a:cxn>
                  <a:cxn ang="T160">
                    <a:pos x="T84" y="T85"/>
                  </a:cxn>
                  <a:cxn ang="T161">
                    <a:pos x="T86" y="T87"/>
                  </a:cxn>
                  <a:cxn ang="T162">
                    <a:pos x="T88" y="T89"/>
                  </a:cxn>
                  <a:cxn ang="T163">
                    <a:pos x="T90" y="T91"/>
                  </a:cxn>
                  <a:cxn ang="T164">
                    <a:pos x="T92" y="T93"/>
                  </a:cxn>
                  <a:cxn ang="T165">
                    <a:pos x="T94" y="T95"/>
                  </a:cxn>
                  <a:cxn ang="T166">
                    <a:pos x="T96" y="T97"/>
                  </a:cxn>
                  <a:cxn ang="T167">
                    <a:pos x="T98" y="T99"/>
                  </a:cxn>
                  <a:cxn ang="T168">
                    <a:pos x="T100" y="T101"/>
                  </a:cxn>
                  <a:cxn ang="T169">
                    <a:pos x="T102" y="T103"/>
                  </a:cxn>
                  <a:cxn ang="T170">
                    <a:pos x="T104" y="T105"/>
                  </a:cxn>
                  <a:cxn ang="T171">
                    <a:pos x="T106" y="T107"/>
                  </a:cxn>
                  <a:cxn ang="T172">
                    <a:pos x="T108" y="T109"/>
                  </a:cxn>
                  <a:cxn ang="T173">
                    <a:pos x="T110" y="T111"/>
                  </a:cxn>
                  <a:cxn ang="T174">
                    <a:pos x="T112" y="T113"/>
                  </a:cxn>
                  <a:cxn ang="T175">
                    <a:pos x="T114" y="T115"/>
                  </a:cxn>
                  <a:cxn ang="T176">
                    <a:pos x="T116" y="T117"/>
                  </a:cxn>
                </a:cxnLst>
                <a:rect l="T177" t="T178" r="T179" b="T180"/>
                <a:pathLst>
                  <a:path w="5469" h="3830">
                    <a:moveTo>
                      <a:pt x="3674" y="36"/>
                    </a:moveTo>
                    <a:lnTo>
                      <a:pt x="3649" y="29"/>
                    </a:lnTo>
                    <a:lnTo>
                      <a:pt x="3625" y="24"/>
                    </a:lnTo>
                    <a:lnTo>
                      <a:pt x="3601" y="19"/>
                    </a:lnTo>
                    <a:lnTo>
                      <a:pt x="3576" y="13"/>
                    </a:lnTo>
                    <a:lnTo>
                      <a:pt x="3552" y="10"/>
                    </a:lnTo>
                    <a:lnTo>
                      <a:pt x="3527" y="7"/>
                    </a:lnTo>
                    <a:lnTo>
                      <a:pt x="3502" y="5"/>
                    </a:lnTo>
                    <a:lnTo>
                      <a:pt x="3477" y="3"/>
                    </a:lnTo>
                    <a:lnTo>
                      <a:pt x="3427" y="1"/>
                    </a:lnTo>
                    <a:lnTo>
                      <a:pt x="3376" y="0"/>
                    </a:lnTo>
                    <a:lnTo>
                      <a:pt x="3325" y="1"/>
                    </a:lnTo>
                    <a:lnTo>
                      <a:pt x="3275" y="3"/>
                    </a:lnTo>
                    <a:lnTo>
                      <a:pt x="3223" y="6"/>
                    </a:lnTo>
                    <a:lnTo>
                      <a:pt x="3171" y="9"/>
                    </a:lnTo>
                    <a:lnTo>
                      <a:pt x="3121" y="12"/>
                    </a:lnTo>
                    <a:lnTo>
                      <a:pt x="3069" y="15"/>
                    </a:lnTo>
                    <a:lnTo>
                      <a:pt x="3018" y="18"/>
                    </a:lnTo>
                    <a:lnTo>
                      <a:pt x="2968" y="19"/>
                    </a:lnTo>
                    <a:lnTo>
                      <a:pt x="2917" y="19"/>
                    </a:lnTo>
                    <a:lnTo>
                      <a:pt x="2868" y="18"/>
                    </a:lnTo>
                    <a:lnTo>
                      <a:pt x="2778" y="12"/>
                    </a:lnTo>
                    <a:lnTo>
                      <a:pt x="2687" y="9"/>
                    </a:lnTo>
                    <a:lnTo>
                      <a:pt x="2596" y="7"/>
                    </a:lnTo>
                    <a:lnTo>
                      <a:pt x="2505" y="6"/>
                    </a:lnTo>
                    <a:lnTo>
                      <a:pt x="2459" y="6"/>
                    </a:lnTo>
                    <a:lnTo>
                      <a:pt x="2415" y="7"/>
                    </a:lnTo>
                    <a:lnTo>
                      <a:pt x="2369" y="8"/>
                    </a:lnTo>
                    <a:lnTo>
                      <a:pt x="2324" y="10"/>
                    </a:lnTo>
                    <a:lnTo>
                      <a:pt x="2280" y="12"/>
                    </a:lnTo>
                    <a:lnTo>
                      <a:pt x="2234" y="15"/>
                    </a:lnTo>
                    <a:lnTo>
                      <a:pt x="2190" y="20"/>
                    </a:lnTo>
                    <a:lnTo>
                      <a:pt x="2145" y="24"/>
                    </a:lnTo>
                    <a:lnTo>
                      <a:pt x="2101" y="30"/>
                    </a:lnTo>
                    <a:lnTo>
                      <a:pt x="2056" y="36"/>
                    </a:lnTo>
                    <a:lnTo>
                      <a:pt x="2012" y="43"/>
                    </a:lnTo>
                    <a:lnTo>
                      <a:pt x="1968" y="52"/>
                    </a:lnTo>
                    <a:lnTo>
                      <a:pt x="1925" y="61"/>
                    </a:lnTo>
                    <a:lnTo>
                      <a:pt x="1882" y="71"/>
                    </a:lnTo>
                    <a:lnTo>
                      <a:pt x="1838" y="83"/>
                    </a:lnTo>
                    <a:lnTo>
                      <a:pt x="1796" y="95"/>
                    </a:lnTo>
                    <a:lnTo>
                      <a:pt x="1754" y="110"/>
                    </a:lnTo>
                    <a:lnTo>
                      <a:pt x="1711" y="124"/>
                    </a:lnTo>
                    <a:lnTo>
                      <a:pt x="1670" y="141"/>
                    </a:lnTo>
                    <a:lnTo>
                      <a:pt x="1629" y="158"/>
                    </a:lnTo>
                    <a:lnTo>
                      <a:pt x="1587" y="178"/>
                    </a:lnTo>
                    <a:lnTo>
                      <a:pt x="1547" y="197"/>
                    </a:lnTo>
                    <a:lnTo>
                      <a:pt x="1507" y="219"/>
                    </a:lnTo>
                    <a:lnTo>
                      <a:pt x="1467" y="243"/>
                    </a:lnTo>
                    <a:lnTo>
                      <a:pt x="1357" y="315"/>
                    </a:lnTo>
                    <a:lnTo>
                      <a:pt x="1250" y="395"/>
                    </a:lnTo>
                    <a:lnTo>
                      <a:pt x="1150" y="479"/>
                    </a:lnTo>
                    <a:lnTo>
                      <a:pt x="1054" y="568"/>
                    </a:lnTo>
                    <a:lnTo>
                      <a:pt x="963" y="662"/>
                    </a:lnTo>
                    <a:lnTo>
                      <a:pt x="877" y="759"/>
                    </a:lnTo>
                    <a:lnTo>
                      <a:pt x="796" y="860"/>
                    </a:lnTo>
                    <a:lnTo>
                      <a:pt x="718" y="965"/>
                    </a:lnTo>
                    <a:lnTo>
                      <a:pt x="646" y="1070"/>
                    </a:lnTo>
                    <a:lnTo>
                      <a:pt x="578" y="1179"/>
                    </a:lnTo>
                    <a:lnTo>
                      <a:pt x="515" y="1288"/>
                    </a:lnTo>
                    <a:lnTo>
                      <a:pt x="455" y="1399"/>
                    </a:lnTo>
                    <a:lnTo>
                      <a:pt x="399" y="1510"/>
                    </a:lnTo>
                    <a:lnTo>
                      <a:pt x="348" y="1620"/>
                    </a:lnTo>
                    <a:lnTo>
                      <a:pt x="301" y="1730"/>
                    </a:lnTo>
                    <a:lnTo>
                      <a:pt x="257" y="1838"/>
                    </a:lnTo>
                    <a:lnTo>
                      <a:pt x="217" y="1945"/>
                    </a:lnTo>
                    <a:lnTo>
                      <a:pt x="181" y="2049"/>
                    </a:lnTo>
                    <a:lnTo>
                      <a:pt x="148" y="2151"/>
                    </a:lnTo>
                    <a:lnTo>
                      <a:pt x="119" y="2250"/>
                    </a:lnTo>
                    <a:lnTo>
                      <a:pt x="93" y="2344"/>
                    </a:lnTo>
                    <a:lnTo>
                      <a:pt x="71" y="2434"/>
                    </a:lnTo>
                    <a:lnTo>
                      <a:pt x="52" y="2520"/>
                    </a:lnTo>
                    <a:lnTo>
                      <a:pt x="36" y="2600"/>
                    </a:lnTo>
                    <a:lnTo>
                      <a:pt x="23" y="2673"/>
                    </a:lnTo>
                    <a:lnTo>
                      <a:pt x="13" y="2741"/>
                    </a:lnTo>
                    <a:lnTo>
                      <a:pt x="6" y="2801"/>
                    </a:lnTo>
                    <a:lnTo>
                      <a:pt x="2" y="2855"/>
                    </a:lnTo>
                    <a:lnTo>
                      <a:pt x="0" y="2899"/>
                    </a:lnTo>
                    <a:lnTo>
                      <a:pt x="1" y="2937"/>
                    </a:lnTo>
                    <a:lnTo>
                      <a:pt x="4" y="2965"/>
                    </a:lnTo>
                    <a:lnTo>
                      <a:pt x="10" y="2982"/>
                    </a:lnTo>
                    <a:lnTo>
                      <a:pt x="27" y="3013"/>
                    </a:lnTo>
                    <a:lnTo>
                      <a:pt x="45" y="3043"/>
                    </a:lnTo>
                    <a:lnTo>
                      <a:pt x="64" y="3072"/>
                    </a:lnTo>
                    <a:lnTo>
                      <a:pt x="83" y="3100"/>
                    </a:lnTo>
                    <a:lnTo>
                      <a:pt x="102" y="3126"/>
                    </a:lnTo>
                    <a:lnTo>
                      <a:pt x="123" y="3152"/>
                    </a:lnTo>
                    <a:lnTo>
                      <a:pt x="144" y="3176"/>
                    </a:lnTo>
                    <a:lnTo>
                      <a:pt x="165" y="3200"/>
                    </a:lnTo>
                    <a:lnTo>
                      <a:pt x="187" y="3223"/>
                    </a:lnTo>
                    <a:lnTo>
                      <a:pt x="210" y="3244"/>
                    </a:lnTo>
                    <a:lnTo>
                      <a:pt x="231" y="3264"/>
                    </a:lnTo>
                    <a:lnTo>
                      <a:pt x="254" y="3284"/>
                    </a:lnTo>
                    <a:lnTo>
                      <a:pt x="278" y="3304"/>
                    </a:lnTo>
                    <a:lnTo>
                      <a:pt x="301" y="3321"/>
                    </a:lnTo>
                    <a:lnTo>
                      <a:pt x="324" y="3338"/>
                    </a:lnTo>
                    <a:lnTo>
                      <a:pt x="348" y="3354"/>
                    </a:lnTo>
                    <a:lnTo>
                      <a:pt x="372" y="3370"/>
                    </a:lnTo>
                    <a:lnTo>
                      <a:pt x="396" y="3384"/>
                    </a:lnTo>
                    <a:lnTo>
                      <a:pt x="418" y="3398"/>
                    </a:lnTo>
                    <a:lnTo>
                      <a:pt x="442" y="3410"/>
                    </a:lnTo>
                    <a:lnTo>
                      <a:pt x="466" y="3423"/>
                    </a:lnTo>
                    <a:lnTo>
                      <a:pt x="490" y="3434"/>
                    </a:lnTo>
                    <a:lnTo>
                      <a:pt x="512" y="3445"/>
                    </a:lnTo>
                    <a:lnTo>
                      <a:pt x="536" y="3455"/>
                    </a:lnTo>
                    <a:lnTo>
                      <a:pt x="559" y="3464"/>
                    </a:lnTo>
                    <a:lnTo>
                      <a:pt x="582" y="3472"/>
                    </a:lnTo>
                    <a:lnTo>
                      <a:pt x="603" y="3480"/>
                    </a:lnTo>
                    <a:lnTo>
                      <a:pt x="625" y="3488"/>
                    </a:lnTo>
                    <a:lnTo>
                      <a:pt x="667" y="3500"/>
                    </a:lnTo>
                    <a:lnTo>
                      <a:pt x="708" y="3510"/>
                    </a:lnTo>
                    <a:lnTo>
                      <a:pt x="753" y="3522"/>
                    </a:lnTo>
                    <a:lnTo>
                      <a:pt x="802" y="3535"/>
                    </a:lnTo>
                    <a:lnTo>
                      <a:pt x="852" y="3550"/>
                    </a:lnTo>
                    <a:lnTo>
                      <a:pt x="904" y="3566"/>
                    </a:lnTo>
                    <a:lnTo>
                      <a:pt x="959" y="3583"/>
                    </a:lnTo>
                    <a:lnTo>
                      <a:pt x="1015" y="3600"/>
                    </a:lnTo>
                    <a:lnTo>
                      <a:pt x="1072" y="3619"/>
                    </a:lnTo>
                    <a:lnTo>
                      <a:pt x="1130" y="3637"/>
                    </a:lnTo>
                    <a:lnTo>
                      <a:pt x="1190" y="3654"/>
                    </a:lnTo>
                    <a:lnTo>
                      <a:pt x="1250" y="3672"/>
                    </a:lnTo>
                    <a:lnTo>
                      <a:pt x="1312" y="3688"/>
                    </a:lnTo>
                    <a:lnTo>
                      <a:pt x="1374" y="3703"/>
                    </a:lnTo>
                    <a:lnTo>
                      <a:pt x="1436" y="3716"/>
                    </a:lnTo>
                    <a:lnTo>
                      <a:pt x="1499" y="3729"/>
                    </a:lnTo>
                    <a:lnTo>
                      <a:pt x="1530" y="3734"/>
                    </a:lnTo>
                    <a:lnTo>
                      <a:pt x="1562" y="3738"/>
                    </a:lnTo>
                    <a:lnTo>
                      <a:pt x="1593" y="3742"/>
                    </a:lnTo>
                    <a:lnTo>
                      <a:pt x="1624" y="3745"/>
                    </a:lnTo>
                    <a:lnTo>
                      <a:pt x="1678" y="3750"/>
                    </a:lnTo>
                    <a:lnTo>
                      <a:pt x="1733" y="3756"/>
                    </a:lnTo>
                    <a:lnTo>
                      <a:pt x="1791" y="3762"/>
                    </a:lnTo>
                    <a:lnTo>
                      <a:pt x="1850" y="3768"/>
                    </a:lnTo>
                    <a:lnTo>
                      <a:pt x="1910" y="3774"/>
                    </a:lnTo>
                    <a:lnTo>
                      <a:pt x="1972" y="3780"/>
                    </a:lnTo>
                    <a:lnTo>
                      <a:pt x="2035" y="3787"/>
                    </a:lnTo>
                    <a:lnTo>
                      <a:pt x="2098" y="3793"/>
                    </a:lnTo>
                    <a:lnTo>
                      <a:pt x="2162" y="3799"/>
                    </a:lnTo>
                    <a:lnTo>
                      <a:pt x="2225" y="3805"/>
                    </a:lnTo>
                    <a:lnTo>
                      <a:pt x="2289" y="3810"/>
                    </a:lnTo>
                    <a:lnTo>
                      <a:pt x="2351" y="3816"/>
                    </a:lnTo>
                    <a:lnTo>
                      <a:pt x="2413" y="3820"/>
                    </a:lnTo>
                    <a:lnTo>
                      <a:pt x="2473" y="3824"/>
                    </a:lnTo>
                    <a:lnTo>
                      <a:pt x="2532" y="3827"/>
                    </a:lnTo>
                    <a:lnTo>
                      <a:pt x="2590" y="3829"/>
                    </a:lnTo>
                    <a:lnTo>
                      <a:pt x="2620" y="3830"/>
                    </a:lnTo>
                    <a:lnTo>
                      <a:pt x="2649" y="3830"/>
                    </a:lnTo>
                    <a:lnTo>
                      <a:pt x="2678" y="3830"/>
                    </a:lnTo>
                    <a:lnTo>
                      <a:pt x="2708" y="3829"/>
                    </a:lnTo>
                    <a:lnTo>
                      <a:pt x="2768" y="3826"/>
                    </a:lnTo>
                    <a:lnTo>
                      <a:pt x="2828" y="3822"/>
                    </a:lnTo>
                    <a:lnTo>
                      <a:pt x="2887" y="3816"/>
                    </a:lnTo>
                    <a:lnTo>
                      <a:pt x="2947" y="3809"/>
                    </a:lnTo>
                    <a:lnTo>
                      <a:pt x="3007" y="3802"/>
                    </a:lnTo>
                    <a:lnTo>
                      <a:pt x="3066" y="3794"/>
                    </a:lnTo>
                    <a:lnTo>
                      <a:pt x="3125" y="3787"/>
                    </a:lnTo>
                    <a:lnTo>
                      <a:pt x="3184" y="3778"/>
                    </a:lnTo>
                    <a:lnTo>
                      <a:pt x="3243" y="3770"/>
                    </a:lnTo>
                    <a:lnTo>
                      <a:pt x="3301" y="3764"/>
                    </a:lnTo>
                    <a:lnTo>
                      <a:pt x="3358" y="3757"/>
                    </a:lnTo>
                    <a:lnTo>
                      <a:pt x="3416" y="3751"/>
                    </a:lnTo>
                    <a:lnTo>
                      <a:pt x="3474" y="3747"/>
                    </a:lnTo>
                    <a:lnTo>
                      <a:pt x="3531" y="3745"/>
                    </a:lnTo>
                    <a:lnTo>
                      <a:pt x="3582" y="3743"/>
                    </a:lnTo>
                    <a:lnTo>
                      <a:pt x="3637" y="3738"/>
                    </a:lnTo>
                    <a:lnTo>
                      <a:pt x="3696" y="3732"/>
                    </a:lnTo>
                    <a:lnTo>
                      <a:pt x="3759" y="3723"/>
                    </a:lnTo>
                    <a:lnTo>
                      <a:pt x="3825" y="3714"/>
                    </a:lnTo>
                    <a:lnTo>
                      <a:pt x="3893" y="3704"/>
                    </a:lnTo>
                    <a:lnTo>
                      <a:pt x="3961" y="3692"/>
                    </a:lnTo>
                    <a:lnTo>
                      <a:pt x="4029" y="3681"/>
                    </a:lnTo>
                    <a:lnTo>
                      <a:pt x="4097" y="3669"/>
                    </a:lnTo>
                    <a:lnTo>
                      <a:pt x="4164" y="3656"/>
                    </a:lnTo>
                    <a:lnTo>
                      <a:pt x="4230" y="3643"/>
                    </a:lnTo>
                    <a:lnTo>
                      <a:pt x="4292" y="3630"/>
                    </a:lnTo>
                    <a:lnTo>
                      <a:pt x="4349" y="3619"/>
                    </a:lnTo>
                    <a:lnTo>
                      <a:pt x="4403" y="3608"/>
                    </a:lnTo>
                    <a:lnTo>
                      <a:pt x="4453" y="3597"/>
                    </a:lnTo>
                    <a:lnTo>
                      <a:pt x="4495" y="3588"/>
                    </a:lnTo>
                    <a:lnTo>
                      <a:pt x="4557" y="3575"/>
                    </a:lnTo>
                    <a:lnTo>
                      <a:pt x="4622" y="3558"/>
                    </a:lnTo>
                    <a:lnTo>
                      <a:pt x="4691" y="3538"/>
                    </a:lnTo>
                    <a:lnTo>
                      <a:pt x="4763" y="3518"/>
                    </a:lnTo>
                    <a:lnTo>
                      <a:pt x="4799" y="3505"/>
                    </a:lnTo>
                    <a:lnTo>
                      <a:pt x="4836" y="3494"/>
                    </a:lnTo>
                    <a:lnTo>
                      <a:pt x="4872" y="3480"/>
                    </a:lnTo>
                    <a:lnTo>
                      <a:pt x="4908" y="3467"/>
                    </a:lnTo>
                    <a:lnTo>
                      <a:pt x="4946" y="3454"/>
                    </a:lnTo>
                    <a:lnTo>
                      <a:pt x="4982" y="3439"/>
                    </a:lnTo>
                    <a:lnTo>
                      <a:pt x="5018" y="3424"/>
                    </a:lnTo>
                    <a:lnTo>
                      <a:pt x="5053" y="3408"/>
                    </a:lnTo>
                    <a:lnTo>
                      <a:pt x="5088" y="3393"/>
                    </a:lnTo>
                    <a:lnTo>
                      <a:pt x="5122" y="3376"/>
                    </a:lnTo>
                    <a:lnTo>
                      <a:pt x="5155" y="3358"/>
                    </a:lnTo>
                    <a:lnTo>
                      <a:pt x="5188" y="3341"/>
                    </a:lnTo>
                    <a:lnTo>
                      <a:pt x="5219" y="3323"/>
                    </a:lnTo>
                    <a:lnTo>
                      <a:pt x="5249" y="3305"/>
                    </a:lnTo>
                    <a:lnTo>
                      <a:pt x="5278" y="3286"/>
                    </a:lnTo>
                    <a:lnTo>
                      <a:pt x="5306" y="3266"/>
                    </a:lnTo>
                    <a:lnTo>
                      <a:pt x="5332" y="3247"/>
                    </a:lnTo>
                    <a:lnTo>
                      <a:pt x="5356" y="3226"/>
                    </a:lnTo>
                    <a:lnTo>
                      <a:pt x="5379" y="3205"/>
                    </a:lnTo>
                    <a:lnTo>
                      <a:pt x="5399" y="3184"/>
                    </a:lnTo>
                    <a:lnTo>
                      <a:pt x="5418" y="3162"/>
                    </a:lnTo>
                    <a:lnTo>
                      <a:pt x="5434" y="3140"/>
                    </a:lnTo>
                    <a:lnTo>
                      <a:pt x="5448" y="3118"/>
                    </a:lnTo>
                    <a:lnTo>
                      <a:pt x="5460" y="3095"/>
                    </a:lnTo>
                    <a:lnTo>
                      <a:pt x="5466" y="3070"/>
                    </a:lnTo>
                    <a:lnTo>
                      <a:pt x="5469" y="3034"/>
                    </a:lnTo>
                    <a:lnTo>
                      <a:pt x="5468" y="2985"/>
                    </a:lnTo>
                    <a:lnTo>
                      <a:pt x="5463" y="2925"/>
                    </a:lnTo>
                    <a:lnTo>
                      <a:pt x="5455" y="2856"/>
                    </a:lnTo>
                    <a:lnTo>
                      <a:pt x="5444" y="2777"/>
                    </a:lnTo>
                    <a:lnTo>
                      <a:pt x="5427" y="2689"/>
                    </a:lnTo>
                    <a:lnTo>
                      <a:pt x="5408" y="2594"/>
                    </a:lnTo>
                    <a:lnTo>
                      <a:pt x="5385" y="2493"/>
                    </a:lnTo>
                    <a:lnTo>
                      <a:pt x="5357" y="2384"/>
                    </a:lnTo>
                    <a:lnTo>
                      <a:pt x="5326" y="2271"/>
                    </a:lnTo>
                    <a:lnTo>
                      <a:pt x="5291" y="2152"/>
                    </a:lnTo>
                    <a:lnTo>
                      <a:pt x="5252" y="2030"/>
                    </a:lnTo>
                    <a:lnTo>
                      <a:pt x="5208" y="1905"/>
                    </a:lnTo>
                    <a:lnTo>
                      <a:pt x="5161" y="1777"/>
                    </a:lnTo>
                    <a:lnTo>
                      <a:pt x="5109" y="1648"/>
                    </a:lnTo>
                    <a:lnTo>
                      <a:pt x="5053" y="1519"/>
                    </a:lnTo>
                    <a:lnTo>
                      <a:pt x="4992" y="1390"/>
                    </a:lnTo>
                    <a:lnTo>
                      <a:pt x="4928" y="1261"/>
                    </a:lnTo>
                    <a:lnTo>
                      <a:pt x="4859" y="1134"/>
                    </a:lnTo>
                    <a:lnTo>
                      <a:pt x="4785" y="1010"/>
                    </a:lnTo>
                    <a:lnTo>
                      <a:pt x="4708" y="889"/>
                    </a:lnTo>
                    <a:lnTo>
                      <a:pt x="4625" y="772"/>
                    </a:lnTo>
                    <a:lnTo>
                      <a:pt x="4538" y="661"/>
                    </a:lnTo>
                    <a:lnTo>
                      <a:pt x="4447" y="554"/>
                    </a:lnTo>
                    <a:lnTo>
                      <a:pt x="4350" y="455"/>
                    </a:lnTo>
                    <a:lnTo>
                      <a:pt x="4250" y="362"/>
                    </a:lnTo>
                    <a:lnTo>
                      <a:pt x="4144" y="278"/>
                    </a:lnTo>
                    <a:lnTo>
                      <a:pt x="4033" y="202"/>
                    </a:lnTo>
                    <a:lnTo>
                      <a:pt x="3918" y="136"/>
                    </a:lnTo>
                    <a:lnTo>
                      <a:pt x="3799" y="81"/>
                    </a:lnTo>
                    <a:lnTo>
                      <a:pt x="3674" y="36"/>
                    </a:lnTo>
                    <a:close/>
                  </a:path>
                </a:pathLst>
              </a:custGeom>
              <a:solidFill>
                <a:srgbClr val="C93A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286" name="Freeform 62"/>
              <p:cNvSpPr>
                <a:spLocks/>
              </p:cNvSpPr>
              <p:nvPr/>
            </p:nvSpPr>
            <p:spPr bwMode="auto">
              <a:xfrm>
                <a:off x="3268" y="1490"/>
                <a:ext cx="685" cy="426"/>
              </a:xfrm>
              <a:custGeom>
                <a:avLst/>
                <a:gdLst>
                  <a:gd name="T0" fmla="*/ 0 w 4792"/>
                  <a:gd name="T1" fmla="*/ 0 h 2984"/>
                  <a:gd name="T2" fmla="*/ 0 w 4792"/>
                  <a:gd name="T3" fmla="*/ 0 h 2984"/>
                  <a:gd name="T4" fmla="*/ 0 w 4792"/>
                  <a:gd name="T5" fmla="*/ 0 h 2984"/>
                  <a:gd name="T6" fmla="*/ 0 w 4792"/>
                  <a:gd name="T7" fmla="*/ 0 h 2984"/>
                  <a:gd name="T8" fmla="*/ 0 w 4792"/>
                  <a:gd name="T9" fmla="*/ 0 h 2984"/>
                  <a:gd name="T10" fmla="*/ 0 w 4792"/>
                  <a:gd name="T11" fmla="*/ 0 h 2984"/>
                  <a:gd name="T12" fmla="*/ 0 w 4792"/>
                  <a:gd name="T13" fmla="*/ 0 h 2984"/>
                  <a:gd name="T14" fmla="*/ 0 w 4792"/>
                  <a:gd name="T15" fmla="*/ 0 h 2984"/>
                  <a:gd name="T16" fmla="*/ 0 w 4792"/>
                  <a:gd name="T17" fmla="*/ 0 h 2984"/>
                  <a:gd name="T18" fmla="*/ 0 w 4792"/>
                  <a:gd name="T19" fmla="*/ 0 h 2984"/>
                  <a:gd name="T20" fmla="*/ 0 w 4792"/>
                  <a:gd name="T21" fmla="*/ 0 h 2984"/>
                  <a:gd name="T22" fmla="*/ 0 w 4792"/>
                  <a:gd name="T23" fmla="*/ 0 h 2984"/>
                  <a:gd name="T24" fmla="*/ 0 w 4792"/>
                  <a:gd name="T25" fmla="*/ 0 h 2984"/>
                  <a:gd name="T26" fmla="*/ 0 w 4792"/>
                  <a:gd name="T27" fmla="*/ 0 h 2984"/>
                  <a:gd name="T28" fmla="*/ 0 w 4792"/>
                  <a:gd name="T29" fmla="*/ 0 h 2984"/>
                  <a:gd name="T30" fmla="*/ 0 w 4792"/>
                  <a:gd name="T31" fmla="*/ 0 h 2984"/>
                  <a:gd name="T32" fmla="*/ 0 w 4792"/>
                  <a:gd name="T33" fmla="*/ 0 h 2984"/>
                  <a:gd name="T34" fmla="*/ 0 w 4792"/>
                  <a:gd name="T35" fmla="*/ 0 h 2984"/>
                  <a:gd name="T36" fmla="*/ 0 w 4792"/>
                  <a:gd name="T37" fmla="*/ 0 h 2984"/>
                  <a:gd name="T38" fmla="*/ 0 w 4792"/>
                  <a:gd name="T39" fmla="*/ 0 h 2984"/>
                  <a:gd name="T40" fmla="*/ 0 w 4792"/>
                  <a:gd name="T41" fmla="*/ 0 h 2984"/>
                  <a:gd name="T42" fmla="*/ 0 w 4792"/>
                  <a:gd name="T43" fmla="*/ 0 h 2984"/>
                  <a:gd name="T44" fmla="*/ 0 w 4792"/>
                  <a:gd name="T45" fmla="*/ 0 h 2984"/>
                  <a:gd name="T46" fmla="*/ 0 w 4792"/>
                  <a:gd name="T47" fmla="*/ 0 h 2984"/>
                  <a:gd name="T48" fmla="*/ 0 w 4792"/>
                  <a:gd name="T49" fmla="*/ 0 h 2984"/>
                  <a:gd name="T50" fmla="*/ 0 w 4792"/>
                  <a:gd name="T51" fmla="*/ 0 h 2984"/>
                  <a:gd name="T52" fmla="*/ 0 w 4792"/>
                  <a:gd name="T53" fmla="*/ 0 h 2984"/>
                  <a:gd name="T54" fmla="*/ 0 w 4792"/>
                  <a:gd name="T55" fmla="*/ 0 h 2984"/>
                  <a:gd name="T56" fmla="*/ 0 w 4792"/>
                  <a:gd name="T57" fmla="*/ 0 h 2984"/>
                  <a:gd name="T58" fmla="*/ 0 w 4792"/>
                  <a:gd name="T59" fmla="*/ 0 h 2984"/>
                  <a:gd name="T60" fmla="*/ 0 w 4792"/>
                  <a:gd name="T61" fmla="*/ 0 h 2984"/>
                  <a:gd name="T62" fmla="*/ 0 w 4792"/>
                  <a:gd name="T63" fmla="*/ 0 h 2984"/>
                  <a:gd name="T64" fmla="*/ 0 w 4792"/>
                  <a:gd name="T65" fmla="*/ 0 h 2984"/>
                  <a:gd name="T66" fmla="*/ 0 w 4792"/>
                  <a:gd name="T67" fmla="*/ 0 h 2984"/>
                  <a:gd name="T68" fmla="*/ 0 w 4792"/>
                  <a:gd name="T69" fmla="*/ 0 h 2984"/>
                  <a:gd name="T70" fmla="*/ 0 w 4792"/>
                  <a:gd name="T71" fmla="*/ 0 h 2984"/>
                  <a:gd name="T72" fmla="*/ 0 w 4792"/>
                  <a:gd name="T73" fmla="*/ 0 h 2984"/>
                  <a:gd name="T74" fmla="*/ 0 w 4792"/>
                  <a:gd name="T75" fmla="*/ 0 h 2984"/>
                  <a:gd name="T76" fmla="*/ 0 w 4792"/>
                  <a:gd name="T77" fmla="*/ 0 h 2984"/>
                  <a:gd name="T78" fmla="*/ 0 w 4792"/>
                  <a:gd name="T79" fmla="*/ 0 h 2984"/>
                  <a:gd name="T80" fmla="*/ 0 w 4792"/>
                  <a:gd name="T81" fmla="*/ 0 h 2984"/>
                  <a:gd name="T82" fmla="*/ 0 w 4792"/>
                  <a:gd name="T83" fmla="*/ 0 h 2984"/>
                  <a:gd name="T84" fmla="*/ 0 w 4792"/>
                  <a:gd name="T85" fmla="*/ 0 h 2984"/>
                  <a:gd name="T86" fmla="*/ 0 w 4792"/>
                  <a:gd name="T87" fmla="*/ 0 h 2984"/>
                  <a:gd name="T88" fmla="*/ 0 w 4792"/>
                  <a:gd name="T89" fmla="*/ 0 h 2984"/>
                  <a:gd name="T90" fmla="*/ 0 w 4792"/>
                  <a:gd name="T91" fmla="*/ 0 h 2984"/>
                  <a:gd name="T92" fmla="*/ 0 w 4792"/>
                  <a:gd name="T93" fmla="*/ 0 h 2984"/>
                  <a:gd name="T94" fmla="*/ 0 w 4792"/>
                  <a:gd name="T95" fmla="*/ 0 h 2984"/>
                  <a:gd name="T96" fmla="*/ 0 w 4792"/>
                  <a:gd name="T97" fmla="*/ 0 h 2984"/>
                  <a:gd name="T98" fmla="*/ 0 w 4792"/>
                  <a:gd name="T99" fmla="*/ 0 h 2984"/>
                  <a:gd name="T100" fmla="*/ 0 w 4792"/>
                  <a:gd name="T101" fmla="*/ 0 h 2984"/>
                  <a:gd name="T102" fmla="*/ 0 w 4792"/>
                  <a:gd name="T103" fmla="*/ 0 h 2984"/>
                  <a:gd name="T104" fmla="*/ 0 w 4792"/>
                  <a:gd name="T105" fmla="*/ 0 h 2984"/>
                  <a:gd name="T106" fmla="*/ 0 w 4792"/>
                  <a:gd name="T107" fmla="*/ 0 h 2984"/>
                  <a:gd name="T108" fmla="*/ 0 w 4792"/>
                  <a:gd name="T109" fmla="*/ 0 h 2984"/>
                  <a:gd name="T110" fmla="*/ 0 w 4792"/>
                  <a:gd name="T111" fmla="*/ 0 h 2984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4792"/>
                  <a:gd name="T169" fmla="*/ 0 h 2984"/>
                  <a:gd name="T170" fmla="*/ 4792 w 4792"/>
                  <a:gd name="T171" fmla="*/ 2984 h 2984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4792" h="2984">
                    <a:moveTo>
                      <a:pt x="4783" y="2731"/>
                    </a:moveTo>
                    <a:lnTo>
                      <a:pt x="4788" y="2711"/>
                    </a:lnTo>
                    <a:lnTo>
                      <a:pt x="4791" y="2683"/>
                    </a:lnTo>
                    <a:lnTo>
                      <a:pt x="4792" y="2646"/>
                    </a:lnTo>
                    <a:lnTo>
                      <a:pt x="4788" y="2602"/>
                    </a:lnTo>
                    <a:lnTo>
                      <a:pt x="4784" y="2550"/>
                    </a:lnTo>
                    <a:lnTo>
                      <a:pt x="4776" y="2491"/>
                    </a:lnTo>
                    <a:lnTo>
                      <a:pt x="4767" y="2425"/>
                    </a:lnTo>
                    <a:lnTo>
                      <a:pt x="4753" y="2353"/>
                    </a:lnTo>
                    <a:lnTo>
                      <a:pt x="4738" y="2276"/>
                    </a:lnTo>
                    <a:lnTo>
                      <a:pt x="4720" y="2193"/>
                    </a:lnTo>
                    <a:lnTo>
                      <a:pt x="4699" y="2105"/>
                    </a:lnTo>
                    <a:lnTo>
                      <a:pt x="4675" y="2013"/>
                    </a:lnTo>
                    <a:lnTo>
                      <a:pt x="4649" y="1918"/>
                    </a:lnTo>
                    <a:lnTo>
                      <a:pt x="4620" y="1819"/>
                    </a:lnTo>
                    <a:lnTo>
                      <a:pt x="4588" y="1717"/>
                    </a:lnTo>
                    <a:lnTo>
                      <a:pt x="4553" y="1613"/>
                    </a:lnTo>
                    <a:lnTo>
                      <a:pt x="4516" y="1508"/>
                    </a:lnTo>
                    <a:lnTo>
                      <a:pt x="4475" y="1400"/>
                    </a:lnTo>
                    <a:lnTo>
                      <a:pt x="4432" y="1291"/>
                    </a:lnTo>
                    <a:lnTo>
                      <a:pt x="4385" y="1182"/>
                    </a:lnTo>
                    <a:lnTo>
                      <a:pt x="4337" y="1073"/>
                    </a:lnTo>
                    <a:lnTo>
                      <a:pt x="4285" y="964"/>
                    </a:lnTo>
                    <a:lnTo>
                      <a:pt x="4230" y="856"/>
                    </a:lnTo>
                    <a:lnTo>
                      <a:pt x="4173" y="750"/>
                    </a:lnTo>
                    <a:lnTo>
                      <a:pt x="4112" y="644"/>
                    </a:lnTo>
                    <a:lnTo>
                      <a:pt x="4049" y="542"/>
                    </a:lnTo>
                    <a:lnTo>
                      <a:pt x="3981" y="442"/>
                    </a:lnTo>
                    <a:lnTo>
                      <a:pt x="3912" y="345"/>
                    </a:lnTo>
                    <a:lnTo>
                      <a:pt x="3839" y="252"/>
                    </a:lnTo>
                    <a:lnTo>
                      <a:pt x="3763" y="163"/>
                    </a:lnTo>
                    <a:lnTo>
                      <a:pt x="3685" y="79"/>
                    </a:lnTo>
                    <a:lnTo>
                      <a:pt x="3602" y="0"/>
                    </a:lnTo>
                    <a:lnTo>
                      <a:pt x="3578" y="2"/>
                    </a:lnTo>
                    <a:lnTo>
                      <a:pt x="3541" y="4"/>
                    </a:lnTo>
                    <a:lnTo>
                      <a:pt x="3492" y="6"/>
                    </a:lnTo>
                    <a:lnTo>
                      <a:pt x="3431" y="8"/>
                    </a:lnTo>
                    <a:lnTo>
                      <a:pt x="3279" y="10"/>
                    </a:lnTo>
                    <a:lnTo>
                      <a:pt x="3092" y="11"/>
                    </a:lnTo>
                    <a:lnTo>
                      <a:pt x="2875" y="11"/>
                    </a:lnTo>
                    <a:lnTo>
                      <a:pt x="2637" y="11"/>
                    </a:lnTo>
                    <a:lnTo>
                      <a:pt x="2383" y="11"/>
                    </a:lnTo>
                    <a:lnTo>
                      <a:pt x="2120" y="10"/>
                    </a:lnTo>
                    <a:lnTo>
                      <a:pt x="1855" y="11"/>
                    </a:lnTo>
                    <a:lnTo>
                      <a:pt x="1594" y="11"/>
                    </a:lnTo>
                    <a:lnTo>
                      <a:pt x="1343" y="13"/>
                    </a:lnTo>
                    <a:lnTo>
                      <a:pt x="1111" y="15"/>
                    </a:lnTo>
                    <a:lnTo>
                      <a:pt x="1003" y="18"/>
                    </a:lnTo>
                    <a:lnTo>
                      <a:pt x="902" y="20"/>
                    </a:lnTo>
                    <a:lnTo>
                      <a:pt x="808" y="23"/>
                    </a:lnTo>
                    <a:lnTo>
                      <a:pt x="723" y="25"/>
                    </a:lnTo>
                    <a:lnTo>
                      <a:pt x="647" y="29"/>
                    </a:lnTo>
                    <a:lnTo>
                      <a:pt x="582" y="33"/>
                    </a:lnTo>
                    <a:lnTo>
                      <a:pt x="527" y="37"/>
                    </a:lnTo>
                    <a:lnTo>
                      <a:pt x="483" y="42"/>
                    </a:lnTo>
                    <a:lnTo>
                      <a:pt x="449" y="72"/>
                    </a:lnTo>
                    <a:lnTo>
                      <a:pt x="415" y="103"/>
                    </a:lnTo>
                    <a:lnTo>
                      <a:pt x="381" y="134"/>
                    </a:lnTo>
                    <a:lnTo>
                      <a:pt x="349" y="166"/>
                    </a:lnTo>
                    <a:lnTo>
                      <a:pt x="316" y="198"/>
                    </a:lnTo>
                    <a:lnTo>
                      <a:pt x="285" y="232"/>
                    </a:lnTo>
                    <a:lnTo>
                      <a:pt x="254" y="265"/>
                    </a:lnTo>
                    <a:lnTo>
                      <a:pt x="223" y="299"/>
                    </a:lnTo>
                    <a:lnTo>
                      <a:pt x="193" y="333"/>
                    </a:lnTo>
                    <a:lnTo>
                      <a:pt x="164" y="368"/>
                    </a:lnTo>
                    <a:lnTo>
                      <a:pt x="135" y="403"/>
                    </a:lnTo>
                    <a:lnTo>
                      <a:pt x="107" y="438"/>
                    </a:lnTo>
                    <a:lnTo>
                      <a:pt x="79" y="475"/>
                    </a:lnTo>
                    <a:lnTo>
                      <a:pt x="52" y="511"/>
                    </a:lnTo>
                    <a:lnTo>
                      <a:pt x="26" y="547"/>
                    </a:lnTo>
                    <a:lnTo>
                      <a:pt x="0" y="584"/>
                    </a:lnTo>
                    <a:lnTo>
                      <a:pt x="10" y="614"/>
                    </a:lnTo>
                    <a:lnTo>
                      <a:pt x="23" y="645"/>
                    </a:lnTo>
                    <a:lnTo>
                      <a:pt x="36" y="675"/>
                    </a:lnTo>
                    <a:lnTo>
                      <a:pt x="49" y="705"/>
                    </a:lnTo>
                    <a:lnTo>
                      <a:pt x="65" y="735"/>
                    </a:lnTo>
                    <a:lnTo>
                      <a:pt x="81" y="764"/>
                    </a:lnTo>
                    <a:lnTo>
                      <a:pt x="99" y="793"/>
                    </a:lnTo>
                    <a:lnTo>
                      <a:pt x="118" y="822"/>
                    </a:lnTo>
                    <a:lnTo>
                      <a:pt x="136" y="850"/>
                    </a:lnTo>
                    <a:lnTo>
                      <a:pt x="156" y="878"/>
                    </a:lnTo>
                    <a:lnTo>
                      <a:pt x="178" y="905"/>
                    </a:lnTo>
                    <a:lnTo>
                      <a:pt x="199" y="931"/>
                    </a:lnTo>
                    <a:lnTo>
                      <a:pt x="221" y="956"/>
                    </a:lnTo>
                    <a:lnTo>
                      <a:pt x="245" y="981"/>
                    </a:lnTo>
                    <a:lnTo>
                      <a:pt x="267" y="1006"/>
                    </a:lnTo>
                    <a:lnTo>
                      <a:pt x="292" y="1029"/>
                    </a:lnTo>
                    <a:lnTo>
                      <a:pt x="317" y="1052"/>
                    </a:lnTo>
                    <a:lnTo>
                      <a:pt x="343" y="1073"/>
                    </a:lnTo>
                    <a:lnTo>
                      <a:pt x="369" y="1094"/>
                    </a:lnTo>
                    <a:lnTo>
                      <a:pt x="395" y="1114"/>
                    </a:lnTo>
                    <a:lnTo>
                      <a:pt x="421" y="1132"/>
                    </a:lnTo>
                    <a:lnTo>
                      <a:pt x="448" y="1149"/>
                    </a:lnTo>
                    <a:lnTo>
                      <a:pt x="476" y="1165"/>
                    </a:lnTo>
                    <a:lnTo>
                      <a:pt x="503" y="1181"/>
                    </a:lnTo>
                    <a:lnTo>
                      <a:pt x="531" y="1194"/>
                    </a:lnTo>
                    <a:lnTo>
                      <a:pt x="560" y="1207"/>
                    </a:lnTo>
                    <a:lnTo>
                      <a:pt x="588" y="1218"/>
                    </a:lnTo>
                    <a:lnTo>
                      <a:pt x="616" y="1227"/>
                    </a:lnTo>
                    <a:lnTo>
                      <a:pt x="645" y="1236"/>
                    </a:lnTo>
                    <a:lnTo>
                      <a:pt x="673" y="1242"/>
                    </a:lnTo>
                    <a:lnTo>
                      <a:pt x="701" y="1247"/>
                    </a:lnTo>
                    <a:lnTo>
                      <a:pt x="729" y="1250"/>
                    </a:lnTo>
                    <a:lnTo>
                      <a:pt x="767" y="1253"/>
                    </a:lnTo>
                    <a:lnTo>
                      <a:pt x="804" y="1253"/>
                    </a:lnTo>
                    <a:lnTo>
                      <a:pt x="841" y="1253"/>
                    </a:lnTo>
                    <a:lnTo>
                      <a:pt x="879" y="1252"/>
                    </a:lnTo>
                    <a:lnTo>
                      <a:pt x="917" y="1250"/>
                    </a:lnTo>
                    <a:lnTo>
                      <a:pt x="957" y="1249"/>
                    </a:lnTo>
                    <a:lnTo>
                      <a:pt x="995" y="1248"/>
                    </a:lnTo>
                    <a:lnTo>
                      <a:pt x="1033" y="1248"/>
                    </a:lnTo>
                    <a:lnTo>
                      <a:pt x="1070" y="1250"/>
                    </a:lnTo>
                    <a:lnTo>
                      <a:pt x="1108" y="1253"/>
                    </a:lnTo>
                    <a:lnTo>
                      <a:pt x="1126" y="1256"/>
                    </a:lnTo>
                    <a:lnTo>
                      <a:pt x="1144" y="1259"/>
                    </a:lnTo>
                    <a:lnTo>
                      <a:pt x="1161" y="1262"/>
                    </a:lnTo>
                    <a:lnTo>
                      <a:pt x="1179" y="1268"/>
                    </a:lnTo>
                    <a:lnTo>
                      <a:pt x="1196" y="1273"/>
                    </a:lnTo>
                    <a:lnTo>
                      <a:pt x="1213" y="1279"/>
                    </a:lnTo>
                    <a:lnTo>
                      <a:pt x="1229" y="1286"/>
                    </a:lnTo>
                    <a:lnTo>
                      <a:pt x="1246" y="1294"/>
                    </a:lnTo>
                    <a:lnTo>
                      <a:pt x="1262" y="1303"/>
                    </a:lnTo>
                    <a:lnTo>
                      <a:pt x="1277" y="1313"/>
                    </a:lnTo>
                    <a:lnTo>
                      <a:pt x="1293" y="1323"/>
                    </a:lnTo>
                    <a:lnTo>
                      <a:pt x="1307" y="1336"/>
                    </a:lnTo>
                    <a:lnTo>
                      <a:pt x="1321" y="1350"/>
                    </a:lnTo>
                    <a:lnTo>
                      <a:pt x="1335" y="1365"/>
                    </a:lnTo>
                    <a:lnTo>
                      <a:pt x="1347" y="1381"/>
                    </a:lnTo>
                    <a:lnTo>
                      <a:pt x="1359" y="1399"/>
                    </a:lnTo>
                    <a:lnTo>
                      <a:pt x="1370" y="1419"/>
                    </a:lnTo>
                    <a:lnTo>
                      <a:pt x="1381" y="1438"/>
                    </a:lnTo>
                    <a:lnTo>
                      <a:pt x="1392" y="1459"/>
                    </a:lnTo>
                    <a:lnTo>
                      <a:pt x="1402" y="1480"/>
                    </a:lnTo>
                    <a:lnTo>
                      <a:pt x="1440" y="1572"/>
                    </a:lnTo>
                    <a:lnTo>
                      <a:pt x="1479" y="1666"/>
                    </a:lnTo>
                    <a:lnTo>
                      <a:pt x="1488" y="1690"/>
                    </a:lnTo>
                    <a:lnTo>
                      <a:pt x="1498" y="1712"/>
                    </a:lnTo>
                    <a:lnTo>
                      <a:pt x="1509" y="1734"/>
                    </a:lnTo>
                    <a:lnTo>
                      <a:pt x="1520" y="1757"/>
                    </a:lnTo>
                    <a:lnTo>
                      <a:pt x="1531" y="1777"/>
                    </a:lnTo>
                    <a:lnTo>
                      <a:pt x="1544" y="1797"/>
                    </a:lnTo>
                    <a:lnTo>
                      <a:pt x="1556" y="1817"/>
                    </a:lnTo>
                    <a:lnTo>
                      <a:pt x="1569" y="1835"/>
                    </a:lnTo>
                    <a:lnTo>
                      <a:pt x="1583" y="1852"/>
                    </a:lnTo>
                    <a:lnTo>
                      <a:pt x="1598" y="1868"/>
                    </a:lnTo>
                    <a:lnTo>
                      <a:pt x="1614" y="1882"/>
                    </a:lnTo>
                    <a:lnTo>
                      <a:pt x="1630" y="1895"/>
                    </a:lnTo>
                    <a:lnTo>
                      <a:pt x="1648" y="1907"/>
                    </a:lnTo>
                    <a:lnTo>
                      <a:pt x="1668" y="1916"/>
                    </a:lnTo>
                    <a:lnTo>
                      <a:pt x="1687" y="1923"/>
                    </a:lnTo>
                    <a:lnTo>
                      <a:pt x="1708" y="1929"/>
                    </a:lnTo>
                    <a:lnTo>
                      <a:pt x="1737" y="1935"/>
                    </a:lnTo>
                    <a:lnTo>
                      <a:pt x="1762" y="1937"/>
                    </a:lnTo>
                    <a:lnTo>
                      <a:pt x="1785" y="1937"/>
                    </a:lnTo>
                    <a:lnTo>
                      <a:pt x="1807" y="1935"/>
                    </a:lnTo>
                    <a:lnTo>
                      <a:pt x="1827" y="1930"/>
                    </a:lnTo>
                    <a:lnTo>
                      <a:pt x="1844" y="1924"/>
                    </a:lnTo>
                    <a:lnTo>
                      <a:pt x="1860" y="1916"/>
                    </a:lnTo>
                    <a:lnTo>
                      <a:pt x="1874" y="1907"/>
                    </a:lnTo>
                    <a:lnTo>
                      <a:pt x="1888" y="1894"/>
                    </a:lnTo>
                    <a:lnTo>
                      <a:pt x="1899" y="1882"/>
                    </a:lnTo>
                    <a:lnTo>
                      <a:pt x="1908" y="1867"/>
                    </a:lnTo>
                    <a:lnTo>
                      <a:pt x="1918" y="1852"/>
                    </a:lnTo>
                    <a:lnTo>
                      <a:pt x="1926" y="1835"/>
                    </a:lnTo>
                    <a:lnTo>
                      <a:pt x="1933" y="1818"/>
                    </a:lnTo>
                    <a:lnTo>
                      <a:pt x="1939" y="1799"/>
                    </a:lnTo>
                    <a:lnTo>
                      <a:pt x="1946" y="1779"/>
                    </a:lnTo>
                    <a:lnTo>
                      <a:pt x="1964" y="1698"/>
                    </a:lnTo>
                    <a:lnTo>
                      <a:pt x="1984" y="1615"/>
                    </a:lnTo>
                    <a:lnTo>
                      <a:pt x="1989" y="1595"/>
                    </a:lnTo>
                    <a:lnTo>
                      <a:pt x="1995" y="1576"/>
                    </a:lnTo>
                    <a:lnTo>
                      <a:pt x="2002" y="1557"/>
                    </a:lnTo>
                    <a:lnTo>
                      <a:pt x="2010" y="1539"/>
                    </a:lnTo>
                    <a:lnTo>
                      <a:pt x="2019" y="1522"/>
                    </a:lnTo>
                    <a:lnTo>
                      <a:pt x="2028" y="1505"/>
                    </a:lnTo>
                    <a:lnTo>
                      <a:pt x="2040" y="1491"/>
                    </a:lnTo>
                    <a:lnTo>
                      <a:pt x="2051" y="1478"/>
                    </a:lnTo>
                    <a:lnTo>
                      <a:pt x="2063" y="1466"/>
                    </a:lnTo>
                    <a:lnTo>
                      <a:pt x="2077" y="1456"/>
                    </a:lnTo>
                    <a:lnTo>
                      <a:pt x="2091" y="1448"/>
                    </a:lnTo>
                    <a:lnTo>
                      <a:pt x="2106" y="1438"/>
                    </a:lnTo>
                    <a:lnTo>
                      <a:pt x="2122" y="1431"/>
                    </a:lnTo>
                    <a:lnTo>
                      <a:pt x="2139" y="1425"/>
                    </a:lnTo>
                    <a:lnTo>
                      <a:pt x="2156" y="1419"/>
                    </a:lnTo>
                    <a:lnTo>
                      <a:pt x="2174" y="1413"/>
                    </a:lnTo>
                    <a:lnTo>
                      <a:pt x="2193" y="1408"/>
                    </a:lnTo>
                    <a:lnTo>
                      <a:pt x="2212" y="1405"/>
                    </a:lnTo>
                    <a:lnTo>
                      <a:pt x="2232" y="1401"/>
                    </a:lnTo>
                    <a:lnTo>
                      <a:pt x="2253" y="1398"/>
                    </a:lnTo>
                    <a:lnTo>
                      <a:pt x="2293" y="1394"/>
                    </a:lnTo>
                    <a:lnTo>
                      <a:pt x="2335" y="1391"/>
                    </a:lnTo>
                    <a:lnTo>
                      <a:pt x="2379" y="1390"/>
                    </a:lnTo>
                    <a:lnTo>
                      <a:pt x="2421" y="1389"/>
                    </a:lnTo>
                    <a:lnTo>
                      <a:pt x="2463" y="1389"/>
                    </a:lnTo>
                    <a:lnTo>
                      <a:pt x="2505" y="1389"/>
                    </a:lnTo>
                    <a:lnTo>
                      <a:pt x="2545" y="1389"/>
                    </a:lnTo>
                    <a:lnTo>
                      <a:pt x="2583" y="1388"/>
                    </a:lnTo>
                    <a:lnTo>
                      <a:pt x="2619" y="1387"/>
                    </a:lnTo>
                    <a:lnTo>
                      <a:pt x="2652" y="1383"/>
                    </a:lnTo>
                    <a:lnTo>
                      <a:pt x="2686" y="1379"/>
                    </a:lnTo>
                    <a:lnTo>
                      <a:pt x="2721" y="1374"/>
                    </a:lnTo>
                    <a:lnTo>
                      <a:pt x="2757" y="1368"/>
                    </a:lnTo>
                    <a:lnTo>
                      <a:pt x="2794" y="1361"/>
                    </a:lnTo>
                    <a:lnTo>
                      <a:pt x="2872" y="1345"/>
                    </a:lnTo>
                    <a:lnTo>
                      <a:pt x="2951" y="1330"/>
                    </a:lnTo>
                    <a:lnTo>
                      <a:pt x="2991" y="1322"/>
                    </a:lnTo>
                    <a:lnTo>
                      <a:pt x="3032" y="1315"/>
                    </a:lnTo>
                    <a:lnTo>
                      <a:pt x="3072" y="1308"/>
                    </a:lnTo>
                    <a:lnTo>
                      <a:pt x="3112" y="1303"/>
                    </a:lnTo>
                    <a:lnTo>
                      <a:pt x="3152" y="1298"/>
                    </a:lnTo>
                    <a:lnTo>
                      <a:pt x="3191" y="1295"/>
                    </a:lnTo>
                    <a:lnTo>
                      <a:pt x="3229" y="1292"/>
                    </a:lnTo>
                    <a:lnTo>
                      <a:pt x="3267" y="1292"/>
                    </a:lnTo>
                    <a:lnTo>
                      <a:pt x="3303" y="1295"/>
                    </a:lnTo>
                    <a:lnTo>
                      <a:pt x="3338" y="1298"/>
                    </a:lnTo>
                    <a:lnTo>
                      <a:pt x="3372" y="1304"/>
                    </a:lnTo>
                    <a:lnTo>
                      <a:pt x="3404" y="1313"/>
                    </a:lnTo>
                    <a:lnTo>
                      <a:pt x="3434" y="1325"/>
                    </a:lnTo>
                    <a:lnTo>
                      <a:pt x="3462" y="1338"/>
                    </a:lnTo>
                    <a:lnTo>
                      <a:pt x="3487" y="1356"/>
                    </a:lnTo>
                    <a:lnTo>
                      <a:pt x="3511" y="1376"/>
                    </a:lnTo>
                    <a:lnTo>
                      <a:pt x="3532" y="1401"/>
                    </a:lnTo>
                    <a:lnTo>
                      <a:pt x="3550" y="1429"/>
                    </a:lnTo>
                    <a:lnTo>
                      <a:pt x="3566" y="1460"/>
                    </a:lnTo>
                    <a:lnTo>
                      <a:pt x="3579" y="1496"/>
                    </a:lnTo>
                    <a:lnTo>
                      <a:pt x="3589" y="1536"/>
                    </a:lnTo>
                    <a:lnTo>
                      <a:pt x="3595" y="1582"/>
                    </a:lnTo>
                    <a:lnTo>
                      <a:pt x="3597" y="1631"/>
                    </a:lnTo>
                    <a:lnTo>
                      <a:pt x="3596" y="1685"/>
                    </a:lnTo>
                    <a:lnTo>
                      <a:pt x="3631" y="1678"/>
                    </a:lnTo>
                    <a:lnTo>
                      <a:pt x="3663" y="1670"/>
                    </a:lnTo>
                    <a:lnTo>
                      <a:pt x="3693" y="1663"/>
                    </a:lnTo>
                    <a:lnTo>
                      <a:pt x="3720" y="1654"/>
                    </a:lnTo>
                    <a:lnTo>
                      <a:pt x="3746" y="1646"/>
                    </a:lnTo>
                    <a:lnTo>
                      <a:pt x="3768" y="1637"/>
                    </a:lnTo>
                    <a:lnTo>
                      <a:pt x="3779" y="1632"/>
                    </a:lnTo>
                    <a:lnTo>
                      <a:pt x="3789" y="1626"/>
                    </a:lnTo>
                    <a:lnTo>
                      <a:pt x="3799" y="1620"/>
                    </a:lnTo>
                    <a:lnTo>
                      <a:pt x="3809" y="1614"/>
                    </a:lnTo>
                    <a:lnTo>
                      <a:pt x="3817" y="1608"/>
                    </a:lnTo>
                    <a:lnTo>
                      <a:pt x="3825" y="1601"/>
                    </a:lnTo>
                    <a:lnTo>
                      <a:pt x="3834" y="1593"/>
                    </a:lnTo>
                    <a:lnTo>
                      <a:pt x="3842" y="1585"/>
                    </a:lnTo>
                    <a:lnTo>
                      <a:pt x="3849" y="1577"/>
                    </a:lnTo>
                    <a:lnTo>
                      <a:pt x="3855" y="1568"/>
                    </a:lnTo>
                    <a:lnTo>
                      <a:pt x="3863" y="1557"/>
                    </a:lnTo>
                    <a:lnTo>
                      <a:pt x="3869" y="1547"/>
                    </a:lnTo>
                    <a:lnTo>
                      <a:pt x="3874" y="1535"/>
                    </a:lnTo>
                    <a:lnTo>
                      <a:pt x="3880" y="1524"/>
                    </a:lnTo>
                    <a:lnTo>
                      <a:pt x="3885" y="1512"/>
                    </a:lnTo>
                    <a:lnTo>
                      <a:pt x="3890" y="1497"/>
                    </a:lnTo>
                    <a:lnTo>
                      <a:pt x="3900" y="1468"/>
                    </a:lnTo>
                    <a:lnTo>
                      <a:pt x="3908" y="1435"/>
                    </a:lnTo>
                    <a:lnTo>
                      <a:pt x="3911" y="1422"/>
                    </a:lnTo>
                    <a:lnTo>
                      <a:pt x="3912" y="1408"/>
                    </a:lnTo>
                    <a:lnTo>
                      <a:pt x="3913" y="1394"/>
                    </a:lnTo>
                    <a:lnTo>
                      <a:pt x="3914" y="1379"/>
                    </a:lnTo>
                    <a:lnTo>
                      <a:pt x="3914" y="1350"/>
                    </a:lnTo>
                    <a:lnTo>
                      <a:pt x="3912" y="1320"/>
                    </a:lnTo>
                    <a:lnTo>
                      <a:pt x="3909" y="1290"/>
                    </a:lnTo>
                    <a:lnTo>
                      <a:pt x="3907" y="1259"/>
                    </a:lnTo>
                    <a:lnTo>
                      <a:pt x="3905" y="1229"/>
                    </a:lnTo>
                    <a:lnTo>
                      <a:pt x="3904" y="1200"/>
                    </a:lnTo>
                    <a:lnTo>
                      <a:pt x="3904" y="1186"/>
                    </a:lnTo>
                    <a:lnTo>
                      <a:pt x="3905" y="1171"/>
                    </a:lnTo>
                    <a:lnTo>
                      <a:pt x="3906" y="1158"/>
                    </a:lnTo>
                    <a:lnTo>
                      <a:pt x="3908" y="1145"/>
                    </a:lnTo>
                    <a:lnTo>
                      <a:pt x="3910" y="1131"/>
                    </a:lnTo>
                    <a:lnTo>
                      <a:pt x="3914" y="1119"/>
                    </a:lnTo>
                    <a:lnTo>
                      <a:pt x="3918" y="1107"/>
                    </a:lnTo>
                    <a:lnTo>
                      <a:pt x="3925" y="1096"/>
                    </a:lnTo>
                    <a:lnTo>
                      <a:pt x="3931" y="1085"/>
                    </a:lnTo>
                    <a:lnTo>
                      <a:pt x="3939" y="1075"/>
                    </a:lnTo>
                    <a:lnTo>
                      <a:pt x="3948" y="1065"/>
                    </a:lnTo>
                    <a:lnTo>
                      <a:pt x="3959" y="1057"/>
                    </a:lnTo>
                    <a:lnTo>
                      <a:pt x="3971" y="1048"/>
                    </a:lnTo>
                    <a:lnTo>
                      <a:pt x="3984" y="1041"/>
                    </a:lnTo>
                    <a:lnTo>
                      <a:pt x="3999" y="1035"/>
                    </a:lnTo>
                    <a:lnTo>
                      <a:pt x="4017" y="1030"/>
                    </a:lnTo>
                    <a:lnTo>
                      <a:pt x="4043" y="1053"/>
                    </a:lnTo>
                    <a:lnTo>
                      <a:pt x="4068" y="1076"/>
                    </a:lnTo>
                    <a:lnTo>
                      <a:pt x="4092" y="1101"/>
                    </a:lnTo>
                    <a:lnTo>
                      <a:pt x="4115" y="1126"/>
                    </a:lnTo>
                    <a:lnTo>
                      <a:pt x="4135" y="1152"/>
                    </a:lnTo>
                    <a:lnTo>
                      <a:pt x="4155" y="1179"/>
                    </a:lnTo>
                    <a:lnTo>
                      <a:pt x="4174" y="1206"/>
                    </a:lnTo>
                    <a:lnTo>
                      <a:pt x="4190" y="1234"/>
                    </a:lnTo>
                    <a:lnTo>
                      <a:pt x="4206" y="1261"/>
                    </a:lnTo>
                    <a:lnTo>
                      <a:pt x="4220" y="1290"/>
                    </a:lnTo>
                    <a:lnTo>
                      <a:pt x="4234" y="1319"/>
                    </a:lnTo>
                    <a:lnTo>
                      <a:pt x="4246" y="1349"/>
                    </a:lnTo>
                    <a:lnTo>
                      <a:pt x="4257" y="1380"/>
                    </a:lnTo>
                    <a:lnTo>
                      <a:pt x="4268" y="1410"/>
                    </a:lnTo>
                    <a:lnTo>
                      <a:pt x="4277" y="1441"/>
                    </a:lnTo>
                    <a:lnTo>
                      <a:pt x="4285" y="1473"/>
                    </a:lnTo>
                    <a:lnTo>
                      <a:pt x="4293" y="1504"/>
                    </a:lnTo>
                    <a:lnTo>
                      <a:pt x="4301" y="1536"/>
                    </a:lnTo>
                    <a:lnTo>
                      <a:pt x="4307" y="1569"/>
                    </a:lnTo>
                    <a:lnTo>
                      <a:pt x="4313" y="1602"/>
                    </a:lnTo>
                    <a:lnTo>
                      <a:pt x="4323" y="1667"/>
                    </a:lnTo>
                    <a:lnTo>
                      <a:pt x="4332" y="1733"/>
                    </a:lnTo>
                    <a:lnTo>
                      <a:pt x="4339" y="1799"/>
                    </a:lnTo>
                    <a:lnTo>
                      <a:pt x="4345" y="1864"/>
                    </a:lnTo>
                    <a:lnTo>
                      <a:pt x="4350" y="1930"/>
                    </a:lnTo>
                    <a:lnTo>
                      <a:pt x="4356" y="1996"/>
                    </a:lnTo>
                    <a:lnTo>
                      <a:pt x="4364" y="2056"/>
                    </a:lnTo>
                    <a:lnTo>
                      <a:pt x="4372" y="2117"/>
                    </a:lnTo>
                    <a:lnTo>
                      <a:pt x="4382" y="2178"/>
                    </a:lnTo>
                    <a:lnTo>
                      <a:pt x="4394" y="2240"/>
                    </a:lnTo>
                    <a:lnTo>
                      <a:pt x="4405" y="2301"/>
                    </a:lnTo>
                    <a:lnTo>
                      <a:pt x="4417" y="2363"/>
                    </a:lnTo>
                    <a:lnTo>
                      <a:pt x="4431" y="2425"/>
                    </a:lnTo>
                    <a:lnTo>
                      <a:pt x="4443" y="2488"/>
                    </a:lnTo>
                    <a:lnTo>
                      <a:pt x="4456" y="2550"/>
                    </a:lnTo>
                    <a:lnTo>
                      <a:pt x="4466" y="2612"/>
                    </a:lnTo>
                    <a:lnTo>
                      <a:pt x="4476" y="2675"/>
                    </a:lnTo>
                    <a:lnTo>
                      <a:pt x="4486" y="2737"/>
                    </a:lnTo>
                    <a:lnTo>
                      <a:pt x="4492" y="2799"/>
                    </a:lnTo>
                    <a:lnTo>
                      <a:pt x="4497" y="2861"/>
                    </a:lnTo>
                    <a:lnTo>
                      <a:pt x="4498" y="2892"/>
                    </a:lnTo>
                    <a:lnTo>
                      <a:pt x="4499" y="2923"/>
                    </a:lnTo>
                    <a:lnTo>
                      <a:pt x="4499" y="2954"/>
                    </a:lnTo>
                    <a:lnTo>
                      <a:pt x="4499" y="2984"/>
                    </a:lnTo>
                    <a:lnTo>
                      <a:pt x="4524" y="2971"/>
                    </a:lnTo>
                    <a:lnTo>
                      <a:pt x="4549" y="2956"/>
                    </a:lnTo>
                    <a:lnTo>
                      <a:pt x="4572" y="2942"/>
                    </a:lnTo>
                    <a:lnTo>
                      <a:pt x="4595" y="2927"/>
                    </a:lnTo>
                    <a:lnTo>
                      <a:pt x="4617" y="2913"/>
                    </a:lnTo>
                    <a:lnTo>
                      <a:pt x="4638" y="2897"/>
                    </a:lnTo>
                    <a:lnTo>
                      <a:pt x="4657" y="2882"/>
                    </a:lnTo>
                    <a:lnTo>
                      <a:pt x="4676" y="2866"/>
                    </a:lnTo>
                    <a:lnTo>
                      <a:pt x="4693" y="2851"/>
                    </a:lnTo>
                    <a:lnTo>
                      <a:pt x="4710" y="2834"/>
                    </a:lnTo>
                    <a:lnTo>
                      <a:pt x="4725" y="2818"/>
                    </a:lnTo>
                    <a:lnTo>
                      <a:pt x="4739" y="2801"/>
                    </a:lnTo>
                    <a:lnTo>
                      <a:pt x="4752" y="2784"/>
                    </a:lnTo>
                    <a:lnTo>
                      <a:pt x="4764" y="2766"/>
                    </a:lnTo>
                    <a:lnTo>
                      <a:pt x="4774" y="2748"/>
                    </a:lnTo>
                    <a:lnTo>
                      <a:pt x="4783" y="2731"/>
                    </a:lnTo>
                    <a:close/>
                  </a:path>
                </a:pathLst>
              </a:custGeom>
              <a:solidFill>
                <a:srgbClr val="9F2C2D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287" name="Freeform 63"/>
              <p:cNvSpPr>
                <a:spLocks/>
              </p:cNvSpPr>
              <p:nvPr/>
            </p:nvSpPr>
            <p:spPr bwMode="auto">
              <a:xfrm>
                <a:off x="3466" y="1249"/>
                <a:ext cx="200" cy="51"/>
              </a:xfrm>
              <a:custGeom>
                <a:avLst/>
                <a:gdLst>
                  <a:gd name="T0" fmla="*/ 0 w 1397"/>
                  <a:gd name="T1" fmla="*/ 0 h 357"/>
                  <a:gd name="T2" fmla="*/ 0 w 1397"/>
                  <a:gd name="T3" fmla="*/ 0 h 357"/>
                  <a:gd name="T4" fmla="*/ 0 w 1397"/>
                  <a:gd name="T5" fmla="*/ 0 h 357"/>
                  <a:gd name="T6" fmla="*/ 0 w 1397"/>
                  <a:gd name="T7" fmla="*/ 0 h 357"/>
                  <a:gd name="T8" fmla="*/ 0 w 1397"/>
                  <a:gd name="T9" fmla="*/ 0 h 357"/>
                  <a:gd name="T10" fmla="*/ 0 w 1397"/>
                  <a:gd name="T11" fmla="*/ 0 h 357"/>
                  <a:gd name="T12" fmla="*/ 0 w 1397"/>
                  <a:gd name="T13" fmla="*/ 0 h 357"/>
                  <a:gd name="T14" fmla="*/ 0 w 1397"/>
                  <a:gd name="T15" fmla="*/ 0 h 357"/>
                  <a:gd name="T16" fmla="*/ 0 w 1397"/>
                  <a:gd name="T17" fmla="*/ 0 h 357"/>
                  <a:gd name="T18" fmla="*/ 0 w 1397"/>
                  <a:gd name="T19" fmla="*/ 0 h 357"/>
                  <a:gd name="T20" fmla="*/ 0 w 1397"/>
                  <a:gd name="T21" fmla="*/ 0 h 357"/>
                  <a:gd name="T22" fmla="*/ 0 w 1397"/>
                  <a:gd name="T23" fmla="*/ 0 h 357"/>
                  <a:gd name="T24" fmla="*/ 0 w 1397"/>
                  <a:gd name="T25" fmla="*/ 0 h 357"/>
                  <a:gd name="T26" fmla="*/ 0 w 1397"/>
                  <a:gd name="T27" fmla="*/ 0 h 357"/>
                  <a:gd name="T28" fmla="*/ 0 w 1397"/>
                  <a:gd name="T29" fmla="*/ 0 h 357"/>
                  <a:gd name="T30" fmla="*/ 0 w 1397"/>
                  <a:gd name="T31" fmla="*/ 0 h 357"/>
                  <a:gd name="T32" fmla="*/ 0 w 1397"/>
                  <a:gd name="T33" fmla="*/ 0 h 357"/>
                  <a:gd name="T34" fmla="*/ 0 w 1397"/>
                  <a:gd name="T35" fmla="*/ 0 h 357"/>
                  <a:gd name="T36" fmla="*/ 0 w 1397"/>
                  <a:gd name="T37" fmla="*/ 0 h 357"/>
                  <a:gd name="T38" fmla="*/ 0 w 1397"/>
                  <a:gd name="T39" fmla="*/ 0 h 357"/>
                  <a:gd name="T40" fmla="*/ 0 w 1397"/>
                  <a:gd name="T41" fmla="*/ 0 h 357"/>
                  <a:gd name="T42" fmla="*/ 0 w 1397"/>
                  <a:gd name="T43" fmla="*/ 0 h 357"/>
                  <a:gd name="T44" fmla="*/ 0 w 1397"/>
                  <a:gd name="T45" fmla="*/ 0 h 357"/>
                  <a:gd name="T46" fmla="*/ 0 w 1397"/>
                  <a:gd name="T47" fmla="*/ 0 h 357"/>
                  <a:gd name="T48" fmla="*/ 0 w 1397"/>
                  <a:gd name="T49" fmla="*/ 0 h 357"/>
                  <a:gd name="T50" fmla="*/ 0 w 1397"/>
                  <a:gd name="T51" fmla="*/ 0 h 357"/>
                  <a:gd name="T52" fmla="*/ 0 w 1397"/>
                  <a:gd name="T53" fmla="*/ 0 h 357"/>
                  <a:gd name="T54" fmla="*/ 0 w 1397"/>
                  <a:gd name="T55" fmla="*/ 0 h 357"/>
                  <a:gd name="T56" fmla="*/ 0 w 1397"/>
                  <a:gd name="T57" fmla="*/ 0 h 357"/>
                  <a:gd name="T58" fmla="*/ 0 w 1397"/>
                  <a:gd name="T59" fmla="*/ 0 h 357"/>
                  <a:gd name="T60" fmla="*/ 0 w 1397"/>
                  <a:gd name="T61" fmla="*/ 0 h 357"/>
                  <a:gd name="T62" fmla="*/ 0 w 1397"/>
                  <a:gd name="T63" fmla="*/ 0 h 357"/>
                  <a:gd name="T64" fmla="*/ 0 w 1397"/>
                  <a:gd name="T65" fmla="*/ 0 h 357"/>
                  <a:gd name="T66" fmla="*/ 0 w 1397"/>
                  <a:gd name="T67" fmla="*/ 0 h 357"/>
                  <a:gd name="T68" fmla="*/ 0 w 1397"/>
                  <a:gd name="T69" fmla="*/ 0 h 357"/>
                  <a:gd name="T70" fmla="*/ 0 w 1397"/>
                  <a:gd name="T71" fmla="*/ 0 h 357"/>
                  <a:gd name="T72" fmla="*/ 0 w 1397"/>
                  <a:gd name="T73" fmla="*/ 0 h 357"/>
                  <a:gd name="T74" fmla="*/ 0 w 1397"/>
                  <a:gd name="T75" fmla="*/ 0 h 357"/>
                  <a:gd name="T76" fmla="*/ 0 w 1397"/>
                  <a:gd name="T77" fmla="*/ 0 h 357"/>
                  <a:gd name="T78" fmla="*/ 0 w 1397"/>
                  <a:gd name="T79" fmla="*/ 0 h 357"/>
                  <a:gd name="T80" fmla="*/ 0 w 1397"/>
                  <a:gd name="T81" fmla="*/ 0 h 357"/>
                  <a:gd name="T82" fmla="*/ 0 w 1397"/>
                  <a:gd name="T83" fmla="*/ 0 h 357"/>
                  <a:gd name="T84" fmla="*/ 0 w 1397"/>
                  <a:gd name="T85" fmla="*/ 0 h 357"/>
                  <a:gd name="T86" fmla="*/ 0 w 1397"/>
                  <a:gd name="T87" fmla="*/ 0 h 357"/>
                  <a:gd name="T88" fmla="*/ 0 w 1397"/>
                  <a:gd name="T89" fmla="*/ 0 h 357"/>
                  <a:gd name="T90" fmla="*/ 0 w 1397"/>
                  <a:gd name="T91" fmla="*/ 0 h 357"/>
                  <a:gd name="T92" fmla="*/ 0 w 1397"/>
                  <a:gd name="T93" fmla="*/ 0 h 357"/>
                  <a:gd name="T94" fmla="*/ 0 w 1397"/>
                  <a:gd name="T95" fmla="*/ 0 h 357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1397"/>
                  <a:gd name="T145" fmla="*/ 0 h 357"/>
                  <a:gd name="T146" fmla="*/ 1397 w 1397"/>
                  <a:gd name="T147" fmla="*/ 357 h 357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1397" h="357">
                    <a:moveTo>
                      <a:pt x="694" y="357"/>
                    </a:moveTo>
                    <a:lnTo>
                      <a:pt x="722" y="357"/>
                    </a:lnTo>
                    <a:lnTo>
                      <a:pt x="750" y="356"/>
                    </a:lnTo>
                    <a:lnTo>
                      <a:pt x="779" y="355"/>
                    </a:lnTo>
                    <a:lnTo>
                      <a:pt x="807" y="353"/>
                    </a:lnTo>
                    <a:lnTo>
                      <a:pt x="833" y="351"/>
                    </a:lnTo>
                    <a:lnTo>
                      <a:pt x="861" y="348"/>
                    </a:lnTo>
                    <a:lnTo>
                      <a:pt x="888" y="344"/>
                    </a:lnTo>
                    <a:lnTo>
                      <a:pt x="915" y="340"/>
                    </a:lnTo>
                    <a:lnTo>
                      <a:pt x="942" y="335"/>
                    </a:lnTo>
                    <a:lnTo>
                      <a:pt x="968" y="329"/>
                    </a:lnTo>
                    <a:lnTo>
                      <a:pt x="994" y="323"/>
                    </a:lnTo>
                    <a:lnTo>
                      <a:pt x="1020" y="317"/>
                    </a:lnTo>
                    <a:lnTo>
                      <a:pt x="1044" y="310"/>
                    </a:lnTo>
                    <a:lnTo>
                      <a:pt x="1068" y="302"/>
                    </a:lnTo>
                    <a:lnTo>
                      <a:pt x="1092" y="294"/>
                    </a:lnTo>
                    <a:lnTo>
                      <a:pt x="1116" y="285"/>
                    </a:lnTo>
                    <a:lnTo>
                      <a:pt x="1138" y="276"/>
                    </a:lnTo>
                    <a:lnTo>
                      <a:pt x="1161" y="266"/>
                    </a:lnTo>
                    <a:lnTo>
                      <a:pt x="1183" y="256"/>
                    </a:lnTo>
                    <a:lnTo>
                      <a:pt x="1203" y="246"/>
                    </a:lnTo>
                    <a:lnTo>
                      <a:pt x="1224" y="234"/>
                    </a:lnTo>
                    <a:lnTo>
                      <a:pt x="1244" y="222"/>
                    </a:lnTo>
                    <a:lnTo>
                      <a:pt x="1262" y="209"/>
                    </a:lnTo>
                    <a:lnTo>
                      <a:pt x="1281" y="197"/>
                    </a:lnTo>
                    <a:lnTo>
                      <a:pt x="1299" y="184"/>
                    </a:lnTo>
                    <a:lnTo>
                      <a:pt x="1315" y="170"/>
                    </a:lnTo>
                    <a:lnTo>
                      <a:pt x="1331" y="156"/>
                    </a:lnTo>
                    <a:lnTo>
                      <a:pt x="1346" y="140"/>
                    </a:lnTo>
                    <a:lnTo>
                      <a:pt x="1359" y="125"/>
                    </a:lnTo>
                    <a:lnTo>
                      <a:pt x="1373" y="109"/>
                    </a:lnTo>
                    <a:lnTo>
                      <a:pt x="1385" y="93"/>
                    </a:lnTo>
                    <a:lnTo>
                      <a:pt x="1397" y="76"/>
                    </a:lnTo>
                    <a:lnTo>
                      <a:pt x="1373" y="68"/>
                    </a:lnTo>
                    <a:lnTo>
                      <a:pt x="1346" y="60"/>
                    </a:lnTo>
                    <a:lnTo>
                      <a:pt x="1315" y="52"/>
                    </a:lnTo>
                    <a:lnTo>
                      <a:pt x="1281" y="45"/>
                    </a:lnTo>
                    <a:lnTo>
                      <a:pt x="1244" y="39"/>
                    </a:lnTo>
                    <a:lnTo>
                      <a:pt x="1203" y="33"/>
                    </a:lnTo>
                    <a:lnTo>
                      <a:pt x="1161" y="27"/>
                    </a:lnTo>
                    <a:lnTo>
                      <a:pt x="1117" y="22"/>
                    </a:lnTo>
                    <a:lnTo>
                      <a:pt x="1069" y="17"/>
                    </a:lnTo>
                    <a:lnTo>
                      <a:pt x="1021" y="13"/>
                    </a:lnTo>
                    <a:lnTo>
                      <a:pt x="970" y="10"/>
                    </a:lnTo>
                    <a:lnTo>
                      <a:pt x="918" y="7"/>
                    </a:lnTo>
                    <a:lnTo>
                      <a:pt x="866" y="5"/>
                    </a:lnTo>
                    <a:lnTo>
                      <a:pt x="812" y="3"/>
                    </a:lnTo>
                    <a:lnTo>
                      <a:pt x="757" y="1"/>
                    </a:lnTo>
                    <a:lnTo>
                      <a:pt x="703" y="0"/>
                    </a:lnTo>
                    <a:lnTo>
                      <a:pt x="649" y="0"/>
                    </a:lnTo>
                    <a:lnTo>
                      <a:pt x="595" y="0"/>
                    </a:lnTo>
                    <a:lnTo>
                      <a:pt x="540" y="1"/>
                    </a:lnTo>
                    <a:lnTo>
                      <a:pt x="487" y="2"/>
                    </a:lnTo>
                    <a:lnTo>
                      <a:pt x="436" y="4"/>
                    </a:lnTo>
                    <a:lnTo>
                      <a:pt x="384" y="6"/>
                    </a:lnTo>
                    <a:lnTo>
                      <a:pt x="335" y="9"/>
                    </a:lnTo>
                    <a:lnTo>
                      <a:pt x="288" y="12"/>
                    </a:lnTo>
                    <a:lnTo>
                      <a:pt x="241" y="16"/>
                    </a:lnTo>
                    <a:lnTo>
                      <a:pt x="198" y="21"/>
                    </a:lnTo>
                    <a:lnTo>
                      <a:pt x="158" y="26"/>
                    </a:lnTo>
                    <a:lnTo>
                      <a:pt x="119" y="33"/>
                    </a:lnTo>
                    <a:lnTo>
                      <a:pt x="84" y="39"/>
                    </a:lnTo>
                    <a:lnTo>
                      <a:pt x="52" y="46"/>
                    </a:lnTo>
                    <a:lnTo>
                      <a:pt x="24" y="54"/>
                    </a:lnTo>
                    <a:lnTo>
                      <a:pt x="0" y="63"/>
                    </a:lnTo>
                    <a:lnTo>
                      <a:pt x="11" y="79"/>
                    </a:lnTo>
                    <a:lnTo>
                      <a:pt x="23" y="95"/>
                    </a:lnTo>
                    <a:lnTo>
                      <a:pt x="37" y="110"/>
                    </a:lnTo>
                    <a:lnTo>
                      <a:pt x="51" y="125"/>
                    </a:lnTo>
                    <a:lnTo>
                      <a:pt x="66" y="139"/>
                    </a:lnTo>
                    <a:lnTo>
                      <a:pt x="82" y="154"/>
                    </a:lnTo>
                    <a:lnTo>
                      <a:pt x="99" y="168"/>
                    </a:lnTo>
                    <a:lnTo>
                      <a:pt x="116" y="182"/>
                    </a:lnTo>
                    <a:lnTo>
                      <a:pt x="134" y="194"/>
                    </a:lnTo>
                    <a:lnTo>
                      <a:pt x="153" y="207"/>
                    </a:lnTo>
                    <a:lnTo>
                      <a:pt x="172" y="220"/>
                    </a:lnTo>
                    <a:lnTo>
                      <a:pt x="193" y="231"/>
                    </a:lnTo>
                    <a:lnTo>
                      <a:pt x="213" y="243"/>
                    </a:lnTo>
                    <a:lnTo>
                      <a:pt x="235" y="254"/>
                    </a:lnTo>
                    <a:lnTo>
                      <a:pt x="257" y="264"/>
                    </a:lnTo>
                    <a:lnTo>
                      <a:pt x="280" y="274"/>
                    </a:lnTo>
                    <a:lnTo>
                      <a:pt x="302" y="284"/>
                    </a:lnTo>
                    <a:lnTo>
                      <a:pt x="326" y="292"/>
                    </a:lnTo>
                    <a:lnTo>
                      <a:pt x="350" y="300"/>
                    </a:lnTo>
                    <a:lnTo>
                      <a:pt x="375" y="309"/>
                    </a:lnTo>
                    <a:lnTo>
                      <a:pt x="399" y="316"/>
                    </a:lnTo>
                    <a:lnTo>
                      <a:pt x="424" y="323"/>
                    </a:lnTo>
                    <a:lnTo>
                      <a:pt x="450" y="329"/>
                    </a:lnTo>
                    <a:lnTo>
                      <a:pt x="476" y="335"/>
                    </a:lnTo>
                    <a:lnTo>
                      <a:pt x="503" y="340"/>
                    </a:lnTo>
                    <a:lnTo>
                      <a:pt x="529" y="344"/>
                    </a:lnTo>
                    <a:lnTo>
                      <a:pt x="556" y="348"/>
                    </a:lnTo>
                    <a:lnTo>
                      <a:pt x="583" y="351"/>
                    </a:lnTo>
                    <a:lnTo>
                      <a:pt x="610" y="354"/>
                    </a:lnTo>
                    <a:lnTo>
                      <a:pt x="638" y="355"/>
                    </a:lnTo>
                    <a:lnTo>
                      <a:pt x="666" y="356"/>
                    </a:lnTo>
                    <a:lnTo>
                      <a:pt x="694" y="357"/>
                    </a:lnTo>
                    <a:close/>
                  </a:path>
                </a:pathLst>
              </a:custGeom>
              <a:solidFill>
                <a:srgbClr val="E17E4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288" name="Freeform 64"/>
              <p:cNvSpPr>
                <a:spLocks/>
              </p:cNvSpPr>
              <p:nvPr/>
            </p:nvSpPr>
            <p:spPr bwMode="auto">
              <a:xfrm>
                <a:off x="3572" y="1489"/>
                <a:ext cx="218" cy="265"/>
              </a:xfrm>
              <a:custGeom>
                <a:avLst/>
                <a:gdLst>
                  <a:gd name="T0" fmla="*/ 0 w 1524"/>
                  <a:gd name="T1" fmla="*/ 0 h 1853"/>
                  <a:gd name="T2" fmla="*/ 0 w 1524"/>
                  <a:gd name="T3" fmla="*/ 0 h 1853"/>
                  <a:gd name="T4" fmla="*/ 0 w 1524"/>
                  <a:gd name="T5" fmla="*/ 0 h 1853"/>
                  <a:gd name="T6" fmla="*/ 0 w 1524"/>
                  <a:gd name="T7" fmla="*/ 0 h 1853"/>
                  <a:gd name="T8" fmla="*/ 0 w 1524"/>
                  <a:gd name="T9" fmla="*/ 0 h 1853"/>
                  <a:gd name="T10" fmla="*/ 0 w 1524"/>
                  <a:gd name="T11" fmla="*/ 0 h 1853"/>
                  <a:gd name="T12" fmla="*/ 0 w 1524"/>
                  <a:gd name="T13" fmla="*/ 0 h 1853"/>
                  <a:gd name="T14" fmla="*/ 0 w 1524"/>
                  <a:gd name="T15" fmla="*/ 0 h 1853"/>
                  <a:gd name="T16" fmla="*/ 0 w 1524"/>
                  <a:gd name="T17" fmla="*/ 0 h 1853"/>
                  <a:gd name="T18" fmla="*/ 0 w 1524"/>
                  <a:gd name="T19" fmla="*/ 0 h 1853"/>
                  <a:gd name="T20" fmla="*/ 0 w 1524"/>
                  <a:gd name="T21" fmla="*/ 0 h 1853"/>
                  <a:gd name="T22" fmla="*/ 0 w 1524"/>
                  <a:gd name="T23" fmla="*/ 0 h 1853"/>
                  <a:gd name="T24" fmla="*/ 0 w 1524"/>
                  <a:gd name="T25" fmla="*/ 0 h 1853"/>
                  <a:gd name="T26" fmla="*/ 0 w 1524"/>
                  <a:gd name="T27" fmla="*/ 0 h 1853"/>
                  <a:gd name="T28" fmla="*/ 0 w 1524"/>
                  <a:gd name="T29" fmla="*/ 0 h 1853"/>
                  <a:gd name="T30" fmla="*/ 0 w 1524"/>
                  <a:gd name="T31" fmla="*/ 0 h 1853"/>
                  <a:gd name="T32" fmla="*/ 0 w 1524"/>
                  <a:gd name="T33" fmla="*/ 0 h 1853"/>
                  <a:gd name="T34" fmla="*/ 0 w 1524"/>
                  <a:gd name="T35" fmla="*/ 0 h 1853"/>
                  <a:gd name="T36" fmla="*/ 0 w 1524"/>
                  <a:gd name="T37" fmla="*/ 0 h 1853"/>
                  <a:gd name="T38" fmla="*/ 0 w 1524"/>
                  <a:gd name="T39" fmla="*/ 0 h 1853"/>
                  <a:gd name="T40" fmla="*/ 0 w 1524"/>
                  <a:gd name="T41" fmla="*/ 0 h 1853"/>
                  <a:gd name="T42" fmla="*/ 0 w 1524"/>
                  <a:gd name="T43" fmla="*/ 0 h 1853"/>
                  <a:gd name="T44" fmla="*/ 0 w 1524"/>
                  <a:gd name="T45" fmla="*/ 0 h 1853"/>
                  <a:gd name="T46" fmla="*/ 0 w 1524"/>
                  <a:gd name="T47" fmla="*/ 0 h 1853"/>
                  <a:gd name="T48" fmla="*/ 0 w 1524"/>
                  <a:gd name="T49" fmla="*/ 0 h 1853"/>
                  <a:gd name="T50" fmla="*/ 0 w 1524"/>
                  <a:gd name="T51" fmla="*/ 0 h 1853"/>
                  <a:gd name="T52" fmla="*/ 0 w 1524"/>
                  <a:gd name="T53" fmla="*/ 0 h 1853"/>
                  <a:gd name="T54" fmla="*/ 0 w 1524"/>
                  <a:gd name="T55" fmla="*/ 0 h 1853"/>
                  <a:gd name="T56" fmla="*/ 0 w 1524"/>
                  <a:gd name="T57" fmla="*/ 0 h 1853"/>
                  <a:gd name="T58" fmla="*/ 0 w 1524"/>
                  <a:gd name="T59" fmla="*/ 0 h 1853"/>
                  <a:gd name="T60" fmla="*/ 0 w 1524"/>
                  <a:gd name="T61" fmla="*/ 0 h 1853"/>
                  <a:gd name="T62" fmla="*/ 0 w 1524"/>
                  <a:gd name="T63" fmla="*/ 0 h 1853"/>
                  <a:gd name="T64" fmla="*/ 0 w 1524"/>
                  <a:gd name="T65" fmla="*/ 0 h 1853"/>
                  <a:gd name="T66" fmla="*/ 0 w 1524"/>
                  <a:gd name="T67" fmla="*/ 0 h 1853"/>
                  <a:gd name="T68" fmla="*/ 0 w 1524"/>
                  <a:gd name="T69" fmla="*/ 0 h 1853"/>
                  <a:gd name="T70" fmla="*/ 0 w 1524"/>
                  <a:gd name="T71" fmla="*/ 0 h 1853"/>
                  <a:gd name="T72" fmla="*/ 0 w 1524"/>
                  <a:gd name="T73" fmla="*/ 0 h 1853"/>
                  <a:gd name="T74" fmla="*/ 0 w 1524"/>
                  <a:gd name="T75" fmla="*/ 0 h 1853"/>
                  <a:gd name="T76" fmla="*/ 0 w 1524"/>
                  <a:gd name="T77" fmla="*/ 0 h 1853"/>
                  <a:gd name="T78" fmla="*/ 0 w 1524"/>
                  <a:gd name="T79" fmla="*/ 0 h 1853"/>
                  <a:gd name="T80" fmla="*/ 0 w 1524"/>
                  <a:gd name="T81" fmla="*/ 0 h 1853"/>
                  <a:gd name="T82" fmla="*/ 0 w 1524"/>
                  <a:gd name="T83" fmla="*/ 0 h 1853"/>
                  <a:gd name="T84" fmla="*/ 0 w 1524"/>
                  <a:gd name="T85" fmla="*/ 0 h 1853"/>
                  <a:gd name="T86" fmla="*/ 0 w 1524"/>
                  <a:gd name="T87" fmla="*/ 0 h 1853"/>
                  <a:gd name="T88" fmla="*/ 0 w 1524"/>
                  <a:gd name="T89" fmla="*/ 0 h 1853"/>
                  <a:gd name="T90" fmla="*/ 0 w 1524"/>
                  <a:gd name="T91" fmla="*/ 0 h 1853"/>
                  <a:gd name="T92" fmla="*/ 0 w 1524"/>
                  <a:gd name="T93" fmla="*/ 0 h 1853"/>
                  <a:gd name="T94" fmla="*/ 0 w 1524"/>
                  <a:gd name="T95" fmla="*/ 0 h 1853"/>
                  <a:gd name="T96" fmla="*/ 0 w 1524"/>
                  <a:gd name="T97" fmla="*/ 0 h 1853"/>
                  <a:gd name="T98" fmla="*/ 0 w 1524"/>
                  <a:gd name="T99" fmla="*/ 0 h 1853"/>
                  <a:gd name="T100" fmla="*/ 0 w 1524"/>
                  <a:gd name="T101" fmla="*/ 0 h 1853"/>
                  <a:gd name="T102" fmla="*/ 0 w 1524"/>
                  <a:gd name="T103" fmla="*/ 0 h 1853"/>
                  <a:gd name="T104" fmla="*/ 0 w 1524"/>
                  <a:gd name="T105" fmla="*/ 0 h 1853"/>
                  <a:gd name="T106" fmla="*/ 0 w 1524"/>
                  <a:gd name="T107" fmla="*/ 0 h 1853"/>
                  <a:gd name="T108" fmla="*/ 0 w 1524"/>
                  <a:gd name="T109" fmla="*/ 0 h 1853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524"/>
                  <a:gd name="T166" fmla="*/ 0 h 1853"/>
                  <a:gd name="T167" fmla="*/ 1524 w 1524"/>
                  <a:gd name="T168" fmla="*/ 1853 h 1853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524" h="1853">
                    <a:moveTo>
                      <a:pt x="955" y="0"/>
                    </a:moveTo>
                    <a:lnTo>
                      <a:pt x="835" y="25"/>
                    </a:lnTo>
                    <a:lnTo>
                      <a:pt x="868" y="61"/>
                    </a:lnTo>
                    <a:lnTo>
                      <a:pt x="901" y="96"/>
                    </a:lnTo>
                    <a:lnTo>
                      <a:pt x="932" y="132"/>
                    </a:lnTo>
                    <a:lnTo>
                      <a:pt x="963" y="167"/>
                    </a:lnTo>
                    <a:lnTo>
                      <a:pt x="993" y="201"/>
                    </a:lnTo>
                    <a:lnTo>
                      <a:pt x="1022" y="236"/>
                    </a:lnTo>
                    <a:lnTo>
                      <a:pt x="1050" y="271"/>
                    </a:lnTo>
                    <a:lnTo>
                      <a:pt x="1078" y="305"/>
                    </a:lnTo>
                    <a:lnTo>
                      <a:pt x="1098" y="331"/>
                    </a:lnTo>
                    <a:lnTo>
                      <a:pt x="1118" y="360"/>
                    </a:lnTo>
                    <a:lnTo>
                      <a:pt x="1136" y="390"/>
                    </a:lnTo>
                    <a:lnTo>
                      <a:pt x="1155" y="422"/>
                    </a:lnTo>
                    <a:lnTo>
                      <a:pt x="1173" y="455"/>
                    </a:lnTo>
                    <a:lnTo>
                      <a:pt x="1191" y="490"/>
                    </a:lnTo>
                    <a:lnTo>
                      <a:pt x="1207" y="525"/>
                    </a:lnTo>
                    <a:lnTo>
                      <a:pt x="1224" y="563"/>
                    </a:lnTo>
                    <a:lnTo>
                      <a:pt x="1241" y="601"/>
                    </a:lnTo>
                    <a:lnTo>
                      <a:pt x="1255" y="641"/>
                    </a:lnTo>
                    <a:lnTo>
                      <a:pt x="1270" y="681"/>
                    </a:lnTo>
                    <a:lnTo>
                      <a:pt x="1284" y="722"/>
                    </a:lnTo>
                    <a:lnTo>
                      <a:pt x="1297" y="764"/>
                    </a:lnTo>
                    <a:lnTo>
                      <a:pt x="1310" y="806"/>
                    </a:lnTo>
                    <a:lnTo>
                      <a:pt x="1322" y="849"/>
                    </a:lnTo>
                    <a:lnTo>
                      <a:pt x="1334" y="892"/>
                    </a:lnTo>
                    <a:lnTo>
                      <a:pt x="1344" y="935"/>
                    </a:lnTo>
                    <a:lnTo>
                      <a:pt x="1354" y="979"/>
                    </a:lnTo>
                    <a:lnTo>
                      <a:pt x="1362" y="1022"/>
                    </a:lnTo>
                    <a:lnTo>
                      <a:pt x="1371" y="1066"/>
                    </a:lnTo>
                    <a:lnTo>
                      <a:pt x="1378" y="1108"/>
                    </a:lnTo>
                    <a:lnTo>
                      <a:pt x="1385" y="1152"/>
                    </a:lnTo>
                    <a:lnTo>
                      <a:pt x="1390" y="1194"/>
                    </a:lnTo>
                    <a:lnTo>
                      <a:pt x="1396" y="1235"/>
                    </a:lnTo>
                    <a:lnTo>
                      <a:pt x="1400" y="1277"/>
                    </a:lnTo>
                    <a:lnTo>
                      <a:pt x="1403" y="1316"/>
                    </a:lnTo>
                    <a:lnTo>
                      <a:pt x="1405" y="1355"/>
                    </a:lnTo>
                    <a:lnTo>
                      <a:pt x="1406" y="1394"/>
                    </a:lnTo>
                    <a:lnTo>
                      <a:pt x="1406" y="1431"/>
                    </a:lnTo>
                    <a:lnTo>
                      <a:pt x="1405" y="1467"/>
                    </a:lnTo>
                    <a:lnTo>
                      <a:pt x="1403" y="1501"/>
                    </a:lnTo>
                    <a:lnTo>
                      <a:pt x="1400" y="1534"/>
                    </a:lnTo>
                    <a:lnTo>
                      <a:pt x="518" y="1736"/>
                    </a:lnTo>
                    <a:lnTo>
                      <a:pt x="525" y="1704"/>
                    </a:lnTo>
                    <a:lnTo>
                      <a:pt x="533" y="1671"/>
                    </a:lnTo>
                    <a:lnTo>
                      <a:pt x="538" y="1636"/>
                    </a:lnTo>
                    <a:lnTo>
                      <a:pt x="543" y="1600"/>
                    </a:lnTo>
                    <a:lnTo>
                      <a:pt x="546" y="1563"/>
                    </a:lnTo>
                    <a:lnTo>
                      <a:pt x="550" y="1526"/>
                    </a:lnTo>
                    <a:lnTo>
                      <a:pt x="552" y="1487"/>
                    </a:lnTo>
                    <a:lnTo>
                      <a:pt x="553" y="1447"/>
                    </a:lnTo>
                    <a:lnTo>
                      <a:pt x="554" y="1407"/>
                    </a:lnTo>
                    <a:lnTo>
                      <a:pt x="554" y="1367"/>
                    </a:lnTo>
                    <a:lnTo>
                      <a:pt x="553" y="1326"/>
                    </a:lnTo>
                    <a:lnTo>
                      <a:pt x="552" y="1285"/>
                    </a:lnTo>
                    <a:lnTo>
                      <a:pt x="549" y="1244"/>
                    </a:lnTo>
                    <a:lnTo>
                      <a:pt x="546" y="1201"/>
                    </a:lnTo>
                    <a:lnTo>
                      <a:pt x="542" y="1160"/>
                    </a:lnTo>
                    <a:lnTo>
                      <a:pt x="538" y="1117"/>
                    </a:lnTo>
                    <a:lnTo>
                      <a:pt x="532" y="1076"/>
                    </a:lnTo>
                    <a:lnTo>
                      <a:pt x="525" y="1035"/>
                    </a:lnTo>
                    <a:lnTo>
                      <a:pt x="519" y="993"/>
                    </a:lnTo>
                    <a:lnTo>
                      <a:pt x="511" y="953"/>
                    </a:lnTo>
                    <a:lnTo>
                      <a:pt x="503" y="913"/>
                    </a:lnTo>
                    <a:lnTo>
                      <a:pt x="493" y="872"/>
                    </a:lnTo>
                    <a:lnTo>
                      <a:pt x="483" y="834"/>
                    </a:lnTo>
                    <a:lnTo>
                      <a:pt x="473" y="795"/>
                    </a:lnTo>
                    <a:lnTo>
                      <a:pt x="461" y="758"/>
                    </a:lnTo>
                    <a:lnTo>
                      <a:pt x="449" y="721"/>
                    </a:lnTo>
                    <a:lnTo>
                      <a:pt x="437" y="686"/>
                    </a:lnTo>
                    <a:lnTo>
                      <a:pt x="423" y="652"/>
                    </a:lnTo>
                    <a:lnTo>
                      <a:pt x="409" y="619"/>
                    </a:lnTo>
                    <a:lnTo>
                      <a:pt x="393" y="587"/>
                    </a:lnTo>
                    <a:lnTo>
                      <a:pt x="378" y="557"/>
                    </a:lnTo>
                    <a:lnTo>
                      <a:pt x="362" y="528"/>
                    </a:lnTo>
                    <a:lnTo>
                      <a:pt x="335" y="486"/>
                    </a:lnTo>
                    <a:lnTo>
                      <a:pt x="307" y="442"/>
                    </a:lnTo>
                    <a:lnTo>
                      <a:pt x="278" y="399"/>
                    </a:lnTo>
                    <a:lnTo>
                      <a:pt x="246" y="354"/>
                    </a:lnTo>
                    <a:lnTo>
                      <a:pt x="214" y="310"/>
                    </a:lnTo>
                    <a:lnTo>
                      <a:pt x="180" y="264"/>
                    </a:lnTo>
                    <a:lnTo>
                      <a:pt x="145" y="218"/>
                    </a:lnTo>
                    <a:lnTo>
                      <a:pt x="110" y="172"/>
                    </a:lnTo>
                    <a:lnTo>
                      <a:pt x="0" y="194"/>
                    </a:lnTo>
                    <a:lnTo>
                      <a:pt x="24" y="227"/>
                    </a:lnTo>
                    <a:lnTo>
                      <a:pt x="49" y="261"/>
                    </a:lnTo>
                    <a:lnTo>
                      <a:pt x="73" y="294"/>
                    </a:lnTo>
                    <a:lnTo>
                      <a:pt x="96" y="330"/>
                    </a:lnTo>
                    <a:lnTo>
                      <a:pt x="119" y="364"/>
                    </a:lnTo>
                    <a:lnTo>
                      <a:pt x="142" y="400"/>
                    </a:lnTo>
                    <a:lnTo>
                      <a:pt x="165" y="435"/>
                    </a:lnTo>
                    <a:lnTo>
                      <a:pt x="186" y="472"/>
                    </a:lnTo>
                    <a:lnTo>
                      <a:pt x="206" y="505"/>
                    </a:lnTo>
                    <a:lnTo>
                      <a:pt x="224" y="540"/>
                    </a:lnTo>
                    <a:lnTo>
                      <a:pt x="241" y="577"/>
                    </a:lnTo>
                    <a:lnTo>
                      <a:pt x="258" y="615"/>
                    </a:lnTo>
                    <a:lnTo>
                      <a:pt x="273" y="654"/>
                    </a:lnTo>
                    <a:lnTo>
                      <a:pt x="289" y="695"/>
                    </a:lnTo>
                    <a:lnTo>
                      <a:pt x="302" y="736"/>
                    </a:lnTo>
                    <a:lnTo>
                      <a:pt x="316" y="779"/>
                    </a:lnTo>
                    <a:lnTo>
                      <a:pt x="328" y="823"/>
                    </a:lnTo>
                    <a:lnTo>
                      <a:pt x="339" y="867"/>
                    </a:lnTo>
                    <a:lnTo>
                      <a:pt x="351" y="913"/>
                    </a:lnTo>
                    <a:lnTo>
                      <a:pt x="360" y="958"/>
                    </a:lnTo>
                    <a:lnTo>
                      <a:pt x="369" y="1005"/>
                    </a:lnTo>
                    <a:lnTo>
                      <a:pt x="378" y="1051"/>
                    </a:lnTo>
                    <a:lnTo>
                      <a:pt x="385" y="1099"/>
                    </a:lnTo>
                    <a:lnTo>
                      <a:pt x="391" y="1145"/>
                    </a:lnTo>
                    <a:lnTo>
                      <a:pt x="396" y="1193"/>
                    </a:lnTo>
                    <a:lnTo>
                      <a:pt x="401" y="1241"/>
                    </a:lnTo>
                    <a:lnTo>
                      <a:pt x="405" y="1288"/>
                    </a:lnTo>
                    <a:lnTo>
                      <a:pt x="408" y="1336"/>
                    </a:lnTo>
                    <a:lnTo>
                      <a:pt x="410" y="1382"/>
                    </a:lnTo>
                    <a:lnTo>
                      <a:pt x="411" y="1429"/>
                    </a:lnTo>
                    <a:lnTo>
                      <a:pt x="411" y="1475"/>
                    </a:lnTo>
                    <a:lnTo>
                      <a:pt x="410" y="1521"/>
                    </a:lnTo>
                    <a:lnTo>
                      <a:pt x="408" y="1565"/>
                    </a:lnTo>
                    <a:lnTo>
                      <a:pt x="406" y="1610"/>
                    </a:lnTo>
                    <a:lnTo>
                      <a:pt x="401" y="1653"/>
                    </a:lnTo>
                    <a:lnTo>
                      <a:pt x="397" y="1696"/>
                    </a:lnTo>
                    <a:lnTo>
                      <a:pt x="391" y="1737"/>
                    </a:lnTo>
                    <a:lnTo>
                      <a:pt x="385" y="1776"/>
                    </a:lnTo>
                    <a:lnTo>
                      <a:pt x="378" y="1815"/>
                    </a:lnTo>
                    <a:lnTo>
                      <a:pt x="369" y="1853"/>
                    </a:lnTo>
                    <a:lnTo>
                      <a:pt x="1517" y="1603"/>
                    </a:lnTo>
                    <a:lnTo>
                      <a:pt x="1521" y="1565"/>
                    </a:lnTo>
                    <a:lnTo>
                      <a:pt x="1523" y="1525"/>
                    </a:lnTo>
                    <a:lnTo>
                      <a:pt x="1524" y="1485"/>
                    </a:lnTo>
                    <a:lnTo>
                      <a:pt x="1524" y="1442"/>
                    </a:lnTo>
                    <a:lnTo>
                      <a:pt x="1523" y="1399"/>
                    </a:lnTo>
                    <a:lnTo>
                      <a:pt x="1520" y="1354"/>
                    </a:lnTo>
                    <a:lnTo>
                      <a:pt x="1516" y="1309"/>
                    </a:lnTo>
                    <a:lnTo>
                      <a:pt x="1512" y="1262"/>
                    </a:lnTo>
                    <a:lnTo>
                      <a:pt x="1506" y="1216"/>
                    </a:lnTo>
                    <a:lnTo>
                      <a:pt x="1500" y="1168"/>
                    </a:lnTo>
                    <a:lnTo>
                      <a:pt x="1493" y="1120"/>
                    </a:lnTo>
                    <a:lnTo>
                      <a:pt x="1483" y="1072"/>
                    </a:lnTo>
                    <a:lnTo>
                      <a:pt x="1474" y="1023"/>
                    </a:lnTo>
                    <a:lnTo>
                      <a:pt x="1464" y="975"/>
                    </a:lnTo>
                    <a:lnTo>
                      <a:pt x="1452" y="926"/>
                    </a:lnTo>
                    <a:lnTo>
                      <a:pt x="1440" y="878"/>
                    </a:lnTo>
                    <a:lnTo>
                      <a:pt x="1428" y="830"/>
                    </a:lnTo>
                    <a:lnTo>
                      <a:pt x="1413" y="782"/>
                    </a:lnTo>
                    <a:lnTo>
                      <a:pt x="1399" y="735"/>
                    </a:lnTo>
                    <a:lnTo>
                      <a:pt x="1383" y="688"/>
                    </a:lnTo>
                    <a:lnTo>
                      <a:pt x="1367" y="642"/>
                    </a:lnTo>
                    <a:lnTo>
                      <a:pt x="1350" y="597"/>
                    </a:lnTo>
                    <a:lnTo>
                      <a:pt x="1332" y="553"/>
                    </a:lnTo>
                    <a:lnTo>
                      <a:pt x="1314" y="509"/>
                    </a:lnTo>
                    <a:lnTo>
                      <a:pt x="1294" y="467"/>
                    </a:lnTo>
                    <a:lnTo>
                      <a:pt x="1275" y="427"/>
                    </a:lnTo>
                    <a:lnTo>
                      <a:pt x="1255" y="387"/>
                    </a:lnTo>
                    <a:lnTo>
                      <a:pt x="1233" y="349"/>
                    </a:lnTo>
                    <a:lnTo>
                      <a:pt x="1212" y="313"/>
                    </a:lnTo>
                    <a:lnTo>
                      <a:pt x="1190" y="279"/>
                    </a:lnTo>
                    <a:lnTo>
                      <a:pt x="1167" y="247"/>
                    </a:lnTo>
                    <a:lnTo>
                      <a:pt x="1143" y="216"/>
                    </a:lnTo>
                    <a:lnTo>
                      <a:pt x="1121" y="187"/>
                    </a:lnTo>
                    <a:lnTo>
                      <a:pt x="1098" y="159"/>
                    </a:lnTo>
                    <a:lnTo>
                      <a:pt x="1074" y="131"/>
                    </a:lnTo>
                    <a:lnTo>
                      <a:pt x="1050" y="104"/>
                    </a:lnTo>
                    <a:lnTo>
                      <a:pt x="1027" y="78"/>
                    </a:lnTo>
                    <a:lnTo>
                      <a:pt x="1003" y="51"/>
                    </a:lnTo>
                    <a:lnTo>
                      <a:pt x="979" y="26"/>
                    </a:lnTo>
                    <a:lnTo>
                      <a:pt x="955" y="0"/>
                    </a:lnTo>
                    <a:close/>
                  </a:path>
                </a:pathLst>
              </a:custGeom>
              <a:solidFill>
                <a:srgbClr val="25A9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289" name="Freeform 65"/>
              <p:cNvSpPr>
                <a:spLocks/>
              </p:cNvSpPr>
              <p:nvPr/>
            </p:nvSpPr>
            <p:spPr bwMode="auto">
              <a:xfrm>
                <a:off x="3588" y="1492"/>
                <a:ext cx="185" cy="245"/>
              </a:xfrm>
              <a:custGeom>
                <a:avLst/>
                <a:gdLst>
                  <a:gd name="T0" fmla="*/ 0 w 1296"/>
                  <a:gd name="T1" fmla="*/ 0 h 1711"/>
                  <a:gd name="T2" fmla="*/ 0 w 1296"/>
                  <a:gd name="T3" fmla="*/ 0 h 1711"/>
                  <a:gd name="T4" fmla="*/ 0 w 1296"/>
                  <a:gd name="T5" fmla="*/ 0 h 1711"/>
                  <a:gd name="T6" fmla="*/ 0 w 1296"/>
                  <a:gd name="T7" fmla="*/ 0 h 1711"/>
                  <a:gd name="T8" fmla="*/ 0 w 1296"/>
                  <a:gd name="T9" fmla="*/ 0 h 1711"/>
                  <a:gd name="T10" fmla="*/ 0 w 1296"/>
                  <a:gd name="T11" fmla="*/ 0 h 1711"/>
                  <a:gd name="T12" fmla="*/ 0 w 1296"/>
                  <a:gd name="T13" fmla="*/ 0 h 1711"/>
                  <a:gd name="T14" fmla="*/ 0 w 1296"/>
                  <a:gd name="T15" fmla="*/ 0 h 1711"/>
                  <a:gd name="T16" fmla="*/ 0 w 1296"/>
                  <a:gd name="T17" fmla="*/ 0 h 1711"/>
                  <a:gd name="T18" fmla="*/ 0 w 1296"/>
                  <a:gd name="T19" fmla="*/ 0 h 1711"/>
                  <a:gd name="T20" fmla="*/ 0 w 1296"/>
                  <a:gd name="T21" fmla="*/ 0 h 1711"/>
                  <a:gd name="T22" fmla="*/ 0 w 1296"/>
                  <a:gd name="T23" fmla="*/ 0 h 1711"/>
                  <a:gd name="T24" fmla="*/ 0 w 1296"/>
                  <a:gd name="T25" fmla="*/ 0 h 1711"/>
                  <a:gd name="T26" fmla="*/ 0 w 1296"/>
                  <a:gd name="T27" fmla="*/ 0 h 1711"/>
                  <a:gd name="T28" fmla="*/ 0 w 1296"/>
                  <a:gd name="T29" fmla="*/ 0 h 1711"/>
                  <a:gd name="T30" fmla="*/ 0 w 1296"/>
                  <a:gd name="T31" fmla="*/ 0 h 1711"/>
                  <a:gd name="T32" fmla="*/ 0 w 1296"/>
                  <a:gd name="T33" fmla="*/ 0 h 1711"/>
                  <a:gd name="T34" fmla="*/ 0 w 1296"/>
                  <a:gd name="T35" fmla="*/ 0 h 1711"/>
                  <a:gd name="T36" fmla="*/ 0 w 1296"/>
                  <a:gd name="T37" fmla="*/ 0 h 1711"/>
                  <a:gd name="T38" fmla="*/ 0 w 1296"/>
                  <a:gd name="T39" fmla="*/ 0 h 1711"/>
                  <a:gd name="T40" fmla="*/ 0 w 1296"/>
                  <a:gd name="T41" fmla="*/ 0 h 1711"/>
                  <a:gd name="T42" fmla="*/ 0 w 1296"/>
                  <a:gd name="T43" fmla="*/ 0 h 1711"/>
                  <a:gd name="T44" fmla="*/ 0 w 1296"/>
                  <a:gd name="T45" fmla="*/ 0 h 1711"/>
                  <a:gd name="T46" fmla="*/ 0 w 1296"/>
                  <a:gd name="T47" fmla="*/ 0 h 1711"/>
                  <a:gd name="T48" fmla="*/ 0 w 1296"/>
                  <a:gd name="T49" fmla="*/ 0 h 1711"/>
                  <a:gd name="T50" fmla="*/ 0 w 1296"/>
                  <a:gd name="T51" fmla="*/ 0 h 1711"/>
                  <a:gd name="T52" fmla="*/ 0 w 1296"/>
                  <a:gd name="T53" fmla="*/ 0 h 1711"/>
                  <a:gd name="T54" fmla="*/ 0 w 1296"/>
                  <a:gd name="T55" fmla="*/ 0 h 1711"/>
                  <a:gd name="T56" fmla="*/ 0 w 1296"/>
                  <a:gd name="T57" fmla="*/ 0 h 1711"/>
                  <a:gd name="T58" fmla="*/ 0 w 1296"/>
                  <a:gd name="T59" fmla="*/ 0 h 1711"/>
                  <a:gd name="T60" fmla="*/ 0 w 1296"/>
                  <a:gd name="T61" fmla="*/ 0 h 1711"/>
                  <a:gd name="T62" fmla="*/ 0 w 1296"/>
                  <a:gd name="T63" fmla="*/ 0 h 1711"/>
                  <a:gd name="T64" fmla="*/ 0 w 1296"/>
                  <a:gd name="T65" fmla="*/ 0 h 1711"/>
                  <a:gd name="T66" fmla="*/ 0 w 1296"/>
                  <a:gd name="T67" fmla="*/ 0 h 1711"/>
                  <a:gd name="T68" fmla="*/ 0 w 1296"/>
                  <a:gd name="T69" fmla="*/ 0 h 1711"/>
                  <a:gd name="T70" fmla="*/ 0 w 1296"/>
                  <a:gd name="T71" fmla="*/ 0 h 1711"/>
                  <a:gd name="T72" fmla="*/ 0 w 1296"/>
                  <a:gd name="T73" fmla="*/ 0 h 1711"/>
                  <a:gd name="T74" fmla="*/ 0 w 1296"/>
                  <a:gd name="T75" fmla="*/ 0 h 1711"/>
                  <a:gd name="T76" fmla="*/ 0 w 1296"/>
                  <a:gd name="T77" fmla="*/ 0 h 1711"/>
                  <a:gd name="T78" fmla="*/ 0 w 1296"/>
                  <a:gd name="T79" fmla="*/ 0 h 1711"/>
                  <a:gd name="T80" fmla="*/ 0 w 1296"/>
                  <a:gd name="T81" fmla="*/ 0 h 1711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1296"/>
                  <a:gd name="T124" fmla="*/ 0 h 1711"/>
                  <a:gd name="T125" fmla="*/ 1296 w 1296"/>
                  <a:gd name="T126" fmla="*/ 1711 h 1711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1296" h="1711">
                    <a:moveTo>
                      <a:pt x="252" y="503"/>
                    </a:moveTo>
                    <a:lnTo>
                      <a:pt x="268" y="532"/>
                    </a:lnTo>
                    <a:lnTo>
                      <a:pt x="283" y="562"/>
                    </a:lnTo>
                    <a:lnTo>
                      <a:pt x="299" y="594"/>
                    </a:lnTo>
                    <a:lnTo>
                      <a:pt x="313" y="627"/>
                    </a:lnTo>
                    <a:lnTo>
                      <a:pt x="327" y="661"/>
                    </a:lnTo>
                    <a:lnTo>
                      <a:pt x="339" y="696"/>
                    </a:lnTo>
                    <a:lnTo>
                      <a:pt x="351" y="733"/>
                    </a:lnTo>
                    <a:lnTo>
                      <a:pt x="363" y="770"/>
                    </a:lnTo>
                    <a:lnTo>
                      <a:pt x="373" y="809"/>
                    </a:lnTo>
                    <a:lnTo>
                      <a:pt x="383" y="847"/>
                    </a:lnTo>
                    <a:lnTo>
                      <a:pt x="393" y="888"/>
                    </a:lnTo>
                    <a:lnTo>
                      <a:pt x="401" y="928"/>
                    </a:lnTo>
                    <a:lnTo>
                      <a:pt x="409" y="968"/>
                    </a:lnTo>
                    <a:lnTo>
                      <a:pt x="415" y="1010"/>
                    </a:lnTo>
                    <a:lnTo>
                      <a:pt x="422" y="1051"/>
                    </a:lnTo>
                    <a:lnTo>
                      <a:pt x="428" y="1092"/>
                    </a:lnTo>
                    <a:lnTo>
                      <a:pt x="432" y="1135"/>
                    </a:lnTo>
                    <a:lnTo>
                      <a:pt x="436" y="1176"/>
                    </a:lnTo>
                    <a:lnTo>
                      <a:pt x="439" y="1219"/>
                    </a:lnTo>
                    <a:lnTo>
                      <a:pt x="442" y="1260"/>
                    </a:lnTo>
                    <a:lnTo>
                      <a:pt x="443" y="1301"/>
                    </a:lnTo>
                    <a:lnTo>
                      <a:pt x="444" y="1342"/>
                    </a:lnTo>
                    <a:lnTo>
                      <a:pt x="444" y="1382"/>
                    </a:lnTo>
                    <a:lnTo>
                      <a:pt x="443" y="1422"/>
                    </a:lnTo>
                    <a:lnTo>
                      <a:pt x="442" y="1462"/>
                    </a:lnTo>
                    <a:lnTo>
                      <a:pt x="440" y="1501"/>
                    </a:lnTo>
                    <a:lnTo>
                      <a:pt x="436" y="1538"/>
                    </a:lnTo>
                    <a:lnTo>
                      <a:pt x="433" y="1575"/>
                    </a:lnTo>
                    <a:lnTo>
                      <a:pt x="428" y="1611"/>
                    </a:lnTo>
                    <a:lnTo>
                      <a:pt x="423" y="1646"/>
                    </a:lnTo>
                    <a:lnTo>
                      <a:pt x="415" y="1679"/>
                    </a:lnTo>
                    <a:lnTo>
                      <a:pt x="408" y="1711"/>
                    </a:lnTo>
                    <a:lnTo>
                      <a:pt x="1290" y="1509"/>
                    </a:lnTo>
                    <a:lnTo>
                      <a:pt x="1293" y="1476"/>
                    </a:lnTo>
                    <a:lnTo>
                      <a:pt x="1295" y="1442"/>
                    </a:lnTo>
                    <a:lnTo>
                      <a:pt x="1296" y="1406"/>
                    </a:lnTo>
                    <a:lnTo>
                      <a:pt x="1296" y="1369"/>
                    </a:lnTo>
                    <a:lnTo>
                      <a:pt x="1295" y="1330"/>
                    </a:lnTo>
                    <a:lnTo>
                      <a:pt x="1293" y="1291"/>
                    </a:lnTo>
                    <a:lnTo>
                      <a:pt x="1290" y="1252"/>
                    </a:lnTo>
                    <a:lnTo>
                      <a:pt x="1286" y="1210"/>
                    </a:lnTo>
                    <a:lnTo>
                      <a:pt x="1280" y="1169"/>
                    </a:lnTo>
                    <a:lnTo>
                      <a:pt x="1275" y="1127"/>
                    </a:lnTo>
                    <a:lnTo>
                      <a:pt x="1268" y="1083"/>
                    </a:lnTo>
                    <a:lnTo>
                      <a:pt x="1261" y="1041"/>
                    </a:lnTo>
                    <a:lnTo>
                      <a:pt x="1252" y="997"/>
                    </a:lnTo>
                    <a:lnTo>
                      <a:pt x="1244" y="954"/>
                    </a:lnTo>
                    <a:lnTo>
                      <a:pt x="1234" y="910"/>
                    </a:lnTo>
                    <a:lnTo>
                      <a:pt x="1224" y="867"/>
                    </a:lnTo>
                    <a:lnTo>
                      <a:pt x="1212" y="824"/>
                    </a:lnTo>
                    <a:lnTo>
                      <a:pt x="1200" y="781"/>
                    </a:lnTo>
                    <a:lnTo>
                      <a:pt x="1187" y="739"/>
                    </a:lnTo>
                    <a:lnTo>
                      <a:pt x="1174" y="697"/>
                    </a:lnTo>
                    <a:lnTo>
                      <a:pt x="1160" y="656"/>
                    </a:lnTo>
                    <a:lnTo>
                      <a:pt x="1145" y="616"/>
                    </a:lnTo>
                    <a:lnTo>
                      <a:pt x="1131" y="576"/>
                    </a:lnTo>
                    <a:lnTo>
                      <a:pt x="1114" y="538"/>
                    </a:lnTo>
                    <a:lnTo>
                      <a:pt x="1097" y="500"/>
                    </a:lnTo>
                    <a:lnTo>
                      <a:pt x="1081" y="465"/>
                    </a:lnTo>
                    <a:lnTo>
                      <a:pt x="1063" y="430"/>
                    </a:lnTo>
                    <a:lnTo>
                      <a:pt x="1045" y="397"/>
                    </a:lnTo>
                    <a:lnTo>
                      <a:pt x="1026" y="365"/>
                    </a:lnTo>
                    <a:lnTo>
                      <a:pt x="1008" y="335"/>
                    </a:lnTo>
                    <a:lnTo>
                      <a:pt x="988" y="306"/>
                    </a:lnTo>
                    <a:lnTo>
                      <a:pt x="968" y="280"/>
                    </a:lnTo>
                    <a:lnTo>
                      <a:pt x="940" y="246"/>
                    </a:lnTo>
                    <a:lnTo>
                      <a:pt x="912" y="211"/>
                    </a:lnTo>
                    <a:lnTo>
                      <a:pt x="883" y="176"/>
                    </a:lnTo>
                    <a:lnTo>
                      <a:pt x="853" y="142"/>
                    </a:lnTo>
                    <a:lnTo>
                      <a:pt x="822" y="107"/>
                    </a:lnTo>
                    <a:lnTo>
                      <a:pt x="791" y="71"/>
                    </a:lnTo>
                    <a:lnTo>
                      <a:pt x="758" y="36"/>
                    </a:lnTo>
                    <a:lnTo>
                      <a:pt x="725" y="0"/>
                    </a:lnTo>
                    <a:lnTo>
                      <a:pt x="0" y="147"/>
                    </a:lnTo>
                    <a:lnTo>
                      <a:pt x="35" y="193"/>
                    </a:lnTo>
                    <a:lnTo>
                      <a:pt x="70" y="239"/>
                    </a:lnTo>
                    <a:lnTo>
                      <a:pt x="104" y="285"/>
                    </a:lnTo>
                    <a:lnTo>
                      <a:pt x="136" y="329"/>
                    </a:lnTo>
                    <a:lnTo>
                      <a:pt x="168" y="374"/>
                    </a:lnTo>
                    <a:lnTo>
                      <a:pt x="197" y="417"/>
                    </a:lnTo>
                    <a:lnTo>
                      <a:pt x="225" y="461"/>
                    </a:lnTo>
                    <a:lnTo>
                      <a:pt x="252" y="503"/>
                    </a:lnTo>
                    <a:close/>
                  </a:path>
                </a:pathLst>
              </a:custGeom>
              <a:solidFill>
                <a:srgbClr val="25A9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290" name="Freeform 66"/>
              <p:cNvSpPr>
                <a:spLocks noEditPoints="1"/>
              </p:cNvSpPr>
              <p:nvPr/>
            </p:nvSpPr>
            <p:spPr bwMode="auto">
              <a:xfrm>
                <a:off x="3582" y="1489"/>
                <a:ext cx="194" cy="252"/>
              </a:xfrm>
              <a:custGeom>
                <a:avLst/>
                <a:gdLst>
                  <a:gd name="T0" fmla="*/ 0 w 1359"/>
                  <a:gd name="T1" fmla="*/ 0 h 1766"/>
                  <a:gd name="T2" fmla="*/ 0 w 1359"/>
                  <a:gd name="T3" fmla="*/ 0 h 1766"/>
                  <a:gd name="T4" fmla="*/ 0 w 1359"/>
                  <a:gd name="T5" fmla="*/ 0 h 1766"/>
                  <a:gd name="T6" fmla="*/ 0 w 1359"/>
                  <a:gd name="T7" fmla="*/ 0 h 1766"/>
                  <a:gd name="T8" fmla="*/ 0 w 1359"/>
                  <a:gd name="T9" fmla="*/ 0 h 1766"/>
                  <a:gd name="T10" fmla="*/ 0 w 1359"/>
                  <a:gd name="T11" fmla="*/ 0 h 1766"/>
                  <a:gd name="T12" fmla="*/ 0 w 1359"/>
                  <a:gd name="T13" fmla="*/ 0 h 1766"/>
                  <a:gd name="T14" fmla="*/ 0 w 1359"/>
                  <a:gd name="T15" fmla="*/ 0 h 1766"/>
                  <a:gd name="T16" fmla="*/ 0 w 1359"/>
                  <a:gd name="T17" fmla="*/ 0 h 1766"/>
                  <a:gd name="T18" fmla="*/ 0 w 1359"/>
                  <a:gd name="T19" fmla="*/ 0 h 1766"/>
                  <a:gd name="T20" fmla="*/ 0 w 1359"/>
                  <a:gd name="T21" fmla="*/ 0 h 1766"/>
                  <a:gd name="T22" fmla="*/ 0 w 1359"/>
                  <a:gd name="T23" fmla="*/ 0 h 1766"/>
                  <a:gd name="T24" fmla="*/ 0 w 1359"/>
                  <a:gd name="T25" fmla="*/ 0 h 1766"/>
                  <a:gd name="T26" fmla="*/ 0 w 1359"/>
                  <a:gd name="T27" fmla="*/ 0 h 1766"/>
                  <a:gd name="T28" fmla="*/ 0 w 1359"/>
                  <a:gd name="T29" fmla="*/ 0 h 1766"/>
                  <a:gd name="T30" fmla="*/ 0 w 1359"/>
                  <a:gd name="T31" fmla="*/ 0 h 1766"/>
                  <a:gd name="T32" fmla="*/ 0 w 1359"/>
                  <a:gd name="T33" fmla="*/ 0 h 1766"/>
                  <a:gd name="T34" fmla="*/ 0 w 1359"/>
                  <a:gd name="T35" fmla="*/ 0 h 1766"/>
                  <a:gd name="T36" fmla="*/ 0 w 1359"/>
                  <a:gd name="T37" fmla="*/ 0 h 1766"/>
                  <a:gd name="T38" fmla="*/ 0 w 1359"/>
                  <a:gd name="T39" fmla="*/ 0 h 1766"/>
                  <a:gd name="T40" fmla="*/ 0 w 1359"/>
                  <a:gd name="T41" fmla="*/ 0 h 1766"/>
                  <a:gd name="T42" fmla="*/ 0 w 1359"/>
                  <a:gd name="T43" fmla="*/ 0 h 1766"/>
                  <a:gd name="T44" fmla="*/ 0 w 1359"/>
                  <a:gd name="T45" fmla="*/ 0 h 1766"/>
                  <a:gd name="T46" fmla="*/ 0 w 1359"/>
                  <a:gd name="T47" fmla="*/ 0 h 1766"/>
                  <a:gd name="T48" fmla="*/ 0 w 1359"/>
                  <a:gd name="T49" fmla="*/ 0 h 1766"/>
                  <a:gd name="T50" fmla="*/ 0 w 1359"/>
                  <a:gd name="T51" fmla="*/ 0 h 1766"/>
                  <a:gd name="T52" fmla="*/ 0 w 1359"/>
                  <a:gd name="T53" fmla="*/ 0 h 1766"/>
                  <a:gd name="T54" fmla="*/ 0 w 1359"/>
                  <a:gd name="T55" fmla="*/ 0 h 1766"/>
                  <a:gd name="T56" fmla="*/ 0 w 1359"/>
                  <a:gd name="T57" fmla="*/ 0 h 1766"/>
                  <a:gd name="T58" fmla="*/ 0 w 1359"/>
                  <a:gd name="T59" fmla="*/ 0 h 1766"/>
                  <a:gd name="T60" fmla="*/ 0 w 1359"/>
                  <a:gd name="T61" fmla="*/ 0 h 1766"/>
                  <a:gd name="T62" fmla="*/ 0 w 1359"/>
                  <a:gd name="T63" fmla="*/ 0 h 1766"/>
                  <a:gd name="T64" fmla="*/ 0 w 1359"/>
                  <a:gd name="T65" fmla="*/ 0 h 1766"/>
                  <a:gd name="T66" fmla="*/ 0 w 1359"/>
                  <a:gd name="T67" fmla="*/ 0 h 1766"/>
                  <a:gd name="T68" fmla="*/ 0 w 1359"/>
                  <a:gd name="T69" fmla="*/ 0 h 1766"/>
                  <a:gd name="T70" fmla="*/ 0 w 1359"/>
                  <a:gd name="T71" fmla="*/ 0 h 1766"/>
                  <a:gd name="T72" fmla="*/ 0 w 1359"/>
                  <a:gd name="T73" fmla="*/ 0 h 1766"/>
                  <a:gd name="T74" fmla="*/ 0 w 1359"/>
                  <a:gd name="T75" fmla="*/ 0 h 1766"/>
                  <a:gd name="T76" fmla="*/ 0 w 1359"/>
                  <a:gd name="T77" fmla="*/ 0 h 1766"/>
                  <a:gd name="T78" fmla="*/ 0 w 1359"/>
                  <a:gd name="T79" fmla="*/ 0 h 1766"/>
                  <a:gd name="T80" fmla="*/ 0 w 1359"/>
                  <a:gd name="T81" fmla="*/ 0 h 1766"/>
                  <a:gd name="T82" fmla="*/ 0 w 1359"/>
                  <a:gd name="T83" fmla="*/ 0 h 1766"/>
                  <a:gd name="T84" fmla="*/ 0 w 1359"/>
                  <a:gd name="T85" fmla="*/ 0 h 1766"/>
                  <a:gd name="T86" fmla="*/ 0 w 1359"/>
                  <a:gd name="T87" fmla="*/ 0 h 1766"/>
                  <a:gd name="T88" fmla="*/ 0 w 1359"/>
                  <a:gd name="T89" fmla="*/ 0 h 1766"/>
                  <a:gd name="T90" fmla="*/ 0 w 1359"/>
                  <a:gd name="T91" fmla="*/ 0 h 1766"/>
                  <a:gd name="T92" fmla="*/ 0 w 1359"/>
                  <a:gd name="T93" fmla="*/ 0 h 1766"/>
                  <a:gd name="T94" fmla="*/ 0 w 1359"/>
                  <a:gd name="T95" fmla="*/ 0 h 1766"/>
                  <a:gd name="T96" fmla="*/ 0 w 1359"/>
                  <a:gd name="T97" fmla="*/ 0 h 1766"/>
                  <a:gd name="T98" fmla="*/ 0 w 1359"/>
                  <a:gd name="T99" fmla="*/ 0 h 1766"/>
                  <a:gd name="T100" fmla="*/ 0 w 1359"/>
                  <a:gd name="T101" fmla="*/ 0 h 1766"/>
                  <a:gd name="T102" fmla="*/ 0 w 1359"/>
                  <a:gd name="T103" fmla="*/ 0 h 1766"/>
                  <a:gd name="T104" fmla="*/ 0 w 1359"/>
                  <a:gd name="T105" fmla="*/ 0 h 1766"/>
                  <a:gd name="T106" fmla="*/ 0 w 1359"/>
                  <a:gd name="T107" fmla="*/ 0 h 1766"/>
                  <a:gd name="T108" fmla="*/ 0 w 1359"/>
                  <a:gd name="T109" fmla="*/ 0 h 1766"/>
                  <a:gd name="T110" fmla="*/ 0 w 1359"/>
                  <a:gd name="T111" fmla="*/ 0 h 1766"/>
                  <a:gd name="T112" fmla="*/ 0 w 1359"/>
                  <a:gd name="T113" fmla="*/ 0 h 1766"/>
                  <a:gd name="T114" fmla="*/ 0 w 1359"/>
                  <a:gd name="T115" fmla="*/ 0 h 1766"/>
                  <a:gd name="T116" fmla="*/ 0 w 1359"/>
                  <a:gd name="T117" fmla="*/ 0 h 1766"/>
                  <a:gd name="T118" fmla="*/ 0 w 1359"/>
                  <a:gd name="T119" fmla="*/ 0 h 1766"/>
                  <a:gd name="T120" fmla="*/ 0 w 1359"/>
                  <a:gd name="T121" fmla="*/ 0 h 1766"/>
                  <a:gd name="T122" fmla="*/ 0 w 1359"/>
                  <a:gd name="T123" fmla="*/ 0 h 176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1359"/>
                  <a:gd name="T187" fmla="*/ 0 h 1766"/>
                  <a:gd name="T188" fmla="*/ 1359 w 1359"/>
                  <a:gd name="T189" fmla="*/ 1766 h 1766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1359" h="1766">
                    <a:moveTo>
                      <a:pt x="761" y="3"/>
                    </a:moveTo>
                    <a:lnTo>
                      <a:pt x="0" y="157"/>
                    </a:lnTo>
                    <a:lnTo>
                      <a:pt x="22" y="186"/>
                    </a:lnTo>
                    <a:lnTo>
                      <a:pt x="54" y="227"/>
                    </a:lnTo>
                    <a:lnTo>
                      <a:pt x="87" y="270"/>
                    </a:lnTo>
                    <a:lnTo>
                      <a:pt x="120" y="314"/>
                    </a:lnTo>
                    <a:lnTo>
                      <a:pt x="152" y="359"/>
                    </a:lnTo>
                    <a:lnTo>
                      <a:pt x="184" y="403"/>
                    </a:lnTo>
                    <a:lnTo>
                      <a:pt x="215" y="448"/>
                    </a:lnTo>
                    <a:lnTo>
                      <a:pt x="245" y="494"/>
                    </a:lnTo>
                    <a:lnTo>
                      <a:pt x="273" y="539"/>
                    </a:lnTo>
                    <a:lnTo>
                      <a:pt x="288" y="566"/>
                    </a:lnTo>
                    <a:lnTo>
                      <a:pt x="302" y="594"/>
                    </a:lnTo>
                    <a:lnTo>
                      <a:pt x="316" y="625"/>
                    </a:lnTo>
                    <a:lnTo>
                      <a:pt x="330" y="656"/>
                    </a:lnTo>
                    <a:lnTo>
                      <a:pt x="343" y="689"/>
                    </a:lnTo>
                    <a:lnTo>
                      <a:pt x="355" y="722"/>
                    </a:lnTo>
                    <a:lnTo>
                      <a:pt x="367" y="758"/>
                    </a:lnTo>
                    <a:lnTo>
                      <a:pt x="378" y="794"/>
                    </a:lnTo>
                    <a:lnTo>
                      <a:pt x="388" y="831"/>
                    </a:lnTo>
                    <a:lnTo>
                      <a:pt x="399" y="869"/>
                    </a:lnTo>
                    <a:lnTo>
                      <a:pt x="408" y="908"/>
                    </a:lnTo>
                    <a:lnTo>
                      <a:pt x="416" y="947"/>
                    </a:lnTo>
                    <a:lnTo>
                      <a:pt x="424" y="987"/>
                    </a:lnTo>
                    <a:lnTo>
                      <a:pt x="432" y="1028"/>
                    </a:lnTo>
                    <a:lnTo>
                      <a:pt x="438" y="1069"/>
                    </a:lnTo>
                    <a:lnTo>
                      <a:pt x="443" y="1109"/>
                    </a:lnTo>
                    <a:lnTo>
                      <a:pt x="448" y="1151"/>
                    </a:lnTo>
                    <a:lnTo>
                      <a:pt x="452" y="1193"/>
                    </a:lnTo>
                    <a:lnTo>
                      <a:pt x="455" y="1234"/>
                    </a:lnTo>
                    <a:lnTo>
                      <a:pt x="459" y="1276"/>
                    </a:lnTo>
                    <a:lnTo>
                      <a:pt x="461" y="1316"/>
                    </a:lnTo>
                    <a:lnTo>
                      <a:pt x="462" y="1357"/>
                    </a:lnTo>
                    <a:lnTo>
                      <a:pt x="462" y="1398"/>
                    </a:lnTo>
                    <a:lnTo>
                      <a:pt x="462" y="1438"/>
                    </a:lnTo>
                    <a:lnTo>
                      <a:pt x="461" y="1477"/>
                    </a:lnTo>
                    <a:lnTo>
                      <a:pt x="457" y="1517"/>
                    </a:lnTo>
                    <a:lnTo>
                      <a:pt x="455" y="1555"/>
                    </a:lnTo>
                    <a:lnTo>
                      <a:pt x="451" y="1592"/>
                    </a:lnTo>
                    <a:lnTo>
                      <a:pt x="446" y="1628"/>
                    </a:lnTo>
                    <a:lnTo>
                      <a:pt x="441" y="1663"/>
                    </a:lnTo>
                    <a:lnTo>
                      <a:pt x="434" y="1698"/>
                    </a:lnTo>
                    <a:lnTo>
                      <a:pt x="426" y="1731"/>
                    </a:lnTo>
                    <a:lnTo>
                      <a:pt x="418" y="1766"/>
                    </a:lnTo>
                    <a:lnTo>
                      <a:pt x="1350" y="1553"/>
                    </a:lnTo>
                    <a:lnTo>
                      <a:pt x="1352" y="1537"/>
                    </a:lnTo>
                    <a:lnTo>
                      <a:pt x="1355" y="1504"/>
                    </a:lnTo>
                    <a:lnTo>
                      <a:pt x="1358" y="1470"/>
                    </a:lnTo>
                    <a:lnTo>
                      <a:pt x="1359" y="1435"/>
                    </a:lnTo>
                    <a:lnTo>
                      <a:pt x="1359" y="1398"/>
                    </a:lnTo>
                    <a:lnTo>
                      <a:pt x="1358" y="1359"/>
                    </a:lnTo>
                    <a:lnTo>
                      <a:pt x="1355" y="1320"/>
                    </a:lnTo>
                    <a:lnTo>
                      <a:pt x="1352" y="1280"/>
                    </a:lnTo>
                    <a:lnTo>
                      <a:pt x="1348" y="1239"/>
                    </a:lnTo>
                    <a:lnTo>
                      <a:pt x="1344" y="1197"/>
                    </a:lnTo>
                    <a:lnTo>
                      <a:pt x="1339" y="1155"/>
                    </a:lnTo>
                    <a:lnTo>
                      <a:pt x="1332" y="1112"/>
                    </a:lnTo>
                    <a:lnTo>
                      <a:pt x="1326" y="1069"/>
                    </a:lnTo>
                    <a:lnTo>
                      <a:pt x="1317" y="1025"/>
                    </a:lnTo>
                    <a:lnTo>
                      <a:pt x="1308" y="982"/>
                    </a:lnTo>
                    <a:lnTo>
                      <a:pt x="1299" y="938"/>
                    </a:lnTo>
                    <a:lnTo>
                      <a:pt x="1288" y="894"/>
                    </a:lnTo>
                    <a:lnTo>
                      <a:pt x="1277" y="851"/>
                    </a:lnTo>
                    <a:lnTo>
                      <a:pt x="1265" y="807"/>
                    </a:lnTo>
                    <a:lnTo>
                      <a:pt x="1252" y="764"/>
                    </a:lnTo>
                    <a:lnTo>
                      <a:pt x="1239" y="721"/>
                    </a:lnTo>
                    <a:lnTo>
                      <a:pt x="1224" y="680"/>
                    </a:lnTo>
                    <a:lnTo>
                      <a:pt x="1210" y="639"/>
                    </a:lnTo>
                    <a:lnTo>
                      <a:pt x="1194" y="598"/>
                    </a:lnTo>
                    <a:lnTo>
                      <a:pt x="1178" y="559"/>
                    </a:lnTo>
                    <a:lnTo>
                      <a:pt x="1161" y="521"/>
                    </a:lnTo>
                    <a:lnTo>
                      <a:pt x="1144" y="484"/>
                    </a:lnTo>
                    <a:lnTo>
                      <a:pt x="1125" y="447"/>
                    </a:lnTo>
                    <a:lnTo>
                      <a:pt x="1106" y="412"/>
                    </a:lnTo>
                    <a:lnTo>
                      <a:pt x="1087" y="379"/>
                    </a:lnTo>
                    <a:lnTo>
                      <a:pt x="1067" y="348"/>
                    </a:lnTo>
                    <a:lnTo>
                      <a:pt x="1047" y="318"/>
                    </a:lnTo>
                    <a:lnTo>
                      <a:pt x="1025" y="290"/>
                    </a:lnTo>
                    <a:lnTo>
                      <a:pt x="996" y="254"/>
                    </a:lnTo>
                    <a:lnTo>
                      <a:pt x="966" y="217"/>
                    </a:lnTo>
                    <a:lnTo>
                      <a:pt x="935" y="181"/>
                    </a:lnTo>
                    <a:lnTo>
                      <a:pt x="904" y="145"/>
                    </a:lnTo>
                    <a:lnTo>
                      <a:pt x="873" y="109"/>
                    </a:lnTo>
                    <a:lnTo>
                      <a:pt x="842" y="75"/>
                    </a:lnTo>
                    <a:lnTo>
                      <a:pt x="812" y="42"/>
                    </a:lnTo>
                    <a:lnTo>
                      <a:pt x="782" y="9"/>
                    </a:lnTo>
                    <a:lnTo>
                      <a:pt x="774" y="0"/>
                    </a:lnTo>
                    <a:lnTo>
                      <a:pt x="761" y="3"/>
                    </a:lnTo>
                    <a:close/>
                    <a:moveTo>
                      <a:pt x="757" y="49"/>
                    </a:moveTo>
                    <a:lnTo>
                      <a:pt x="786" y="80"/>
                    </a:lnTo>
                    <a:lnTo>
                      <a:pt x="815" y="112"/>
                    </a:lnTo>
                    <a:lnTo>
                      <a:pt x="844" y="145"/>
                    </a:lnTo>
                    <a:lnTo>
                      <a:pt x="874" y="180"/>
                    </a:lnTo>
                    <a:lnTo>
                      <a:pt x="904" y="214"/>
                    </a:lnTo>
                    <a:lnTo>
                      <a:pt x="933" y="249"/>
                    </a:lnTo>
                    <a:lnTo>
                      <a:pt x="962" y="283"/>
                    </a:lnTo>
                    <a:lnTo>
                      <a:pt x="990" y="318"/>
                    </a:lnTo>
                    <a:lnTo>
                      <a:pt x="1013" y="349"/>
                    </a:lnTo>
                    <a:lnTo>
                      <a:pt x="1036" y="383"/>
                    </a:lnTo>
                    <a:lnTo>
                      <a:pt x="1058" y="418"/>
                    </a:lnTo>
                    <a:lnTo>
                      <a:pt x="1080" y="457"/>
                    </a:lnTo>
                    <a:lnTo>
                      <a:pt x="1099" y="497"/>
                    </a:lnTo>
                    <a:lnTo>
                      <a:pt x="1119" y="538"/>
                    </a:lnTo>
                    <a:lnTo>
                      <a:pt x="1137" y="582"/>
                    </a:lnTo>
                    <a:lnTo>
                      <a:pt x="1156" y="626"/>
                    </a:lnTo>
                    <a:lnTo>
                      <a:pt x="1174" y="672"/>
                    </a:lnTo>
                    <a:lnTo>
                      <a:pt x="1189" y="718"/>
                    </a:lnTo>
                    <a:lnTo>
                      <a:pt x="1205" y="766"/>
                    </a:lnTo>
                    <a:lnTo>
                      <a:pt x="1219" y="815"/>
                    </a:lnTo>
                    <a:lnTo>
                      <a:pt x="1233" y="864"/>
                    </a:lnTo>
                    <a:lnTo>
                      <a:pt x="1246" y="913"/>
                    </a:lnTo>
                    <a:lnTo>
                      <a:pt x="1257" y="962"/>
                    </a:lnTo>
                    <a:lnTo>
                      <a:pt x="1268" y="1012"/>
                    </a:lnTo>
                    <a:lnTo>
                      <a:pt x="1281" y="1082"/>
                    </a:lnTo>
                    <a:lnTo>
                      <a:pt x="1291" y="1151"/>
                    </a:lnTo>
                    <a:lnTo>
                      <a:pt x="1301" y="1218"/>
                    </a:lnTo>
                    <a:lnTo>
                      <a:pt x="1307" y="1283"/>
                    </a:lnTo>
                    <a:lnTo>
                      <a:pt x="1309" y="1315"/>
                    </a:lnTo>
                    <a:lnTo>
                      <a:pt x="1311" y="1346"/>
                    </a:lnTo>
                    <a:lnTo>
                      <a:pt x="1312" y="1377"/>
                    </a:lnTo>
                    <a:lnTo>
                      <a:pt x="1312" y="1407"/>
                    </a:lnTo>
                    <a:lnTo>
                      <a:pt x="1312" y="1435"/>
                    </a:lnTo>
                    <a:lnTo>
                      <a:pt x="1312" y="1464"/>
                    </a:lnTo>
                    <a:lnTo>
                      <a:pt x="1310" y="1491"/>
                    </a:lnTo>
                    <a:lnTo>
                      <a:pt x="1309" y="1517"/>
                    </a:lnTo>
                    <a:lnTo>
                      <a:pt x="1295" y="1520"/>
                    </a:lnTo>
                    <a:lnTo>
                      <a:pt x="1267" y="1526"/>
                    </a:lnTo>
                    <a:lnTo>
                      <a:pt x="1225" y="1535"/>
                    </a:lnTo>
                    <a:lnTo>
                      <a:pt x="1174" y="1548"/>
                    </a:lnTo>
                    <a:lnTo>
                      <a:pt x="1114" y="1561"/>
                    </a:lnTo>
                    <a:lnTo>
                      <a:pt x="1048" y="1577"/>
                    </a:lnTo>
                    <a:lnTo>
                      <a:pt x="976" y="1592"/>
                    </a:lnTo>
                    <a:lnTo>
                      <a:pt x="903" y="1610"/>
                    </a:lnTo>
                    <a:lnTo>
                      <a:pt x="829" y="1626"/>
                    </a:lnTo>
                    <a:lnTo>
                      <a:pt x="757" y="1643"/>
                    </a:lnTo>
                    <a:lnTo>
                      <a:pt x="689" y="1658"/>
                    </a:lnTo>
                    <a:lnTo>
                      <a:pt x="627" y="1673"/>
                    </a:lnTo>
                    <a:lnTo>
                      <a:pt x="572" y="1685"/>
                    </a:lnTo>
                    <a:lnTo>
                      <a:pt x="528" y="1696"/>
                    </a:lnTo>
                    <a:lnTo>
                      <a:pt x="495" y="1703"/>
                    </a:lnTo>
                    <a:lnTo>
                      <a:pt x="476" y="1707"/>
                    </a:lnTo>
                    <a:lnTo>
                      <a:pt x="484" y="1666"/>
                    </a:lnTo>
                    <a:lnTo>
                      <a:pt x="491" y="1622"/>
                    </a:lnTo>
                    <a:lnTo>
                      <a:pt x="497" y="1578"/>
                    </a:lnTo>
                    <a:lnTo>
                      <a:pt x="501" y="1531"/>
                    </a:lnTo>
                    <a:lnTo>
                      <a:pt x="504" y="1485"/>
                    </a:lnTo>
                    <a:lnTo>
                      <a:pt x="506" y="1437"/>
                    </a:lnTo>
                    <a:lnTo>
                      <a:pt x="506" y="1388"/>
                    </a:lnTo>
                    <a:lnTo>
                      <a:pt x="506" y="1340"/>
                    </a:lnTo>
                    <a:lnTo>
                      <a:pt x="505" y="1291"/>
                    </a:lnTo>
                    <a:lnTo>
                      <a:pt x="502" y="1242"/>
                    </a:lnTo>
                    <a:lnTo>
                      <a:pt x="498" y="1192"/>
                    </a:lnTo>
                    <a:lnTo>
                      <a:pt x="494" y="1142"/>
                    </a:lnTo>
                    <a:lnTo>
                      <a:pt x="487" y="1093"/>
                    </a:lnTo>
                    <a:lnTo>
                      <a:pt x="480" y="1043"/>
                    </a:lnTo>
                    <a:lnTo>
                      <a:pt x="472" y="994"/>
                    </a:lnTo>
                    <a:lnTo>
                      <a:pt x="463" y="947"/>
                    </a:lnTo>
                    <a:lnTo>
                      <a:pt x="449" y="885"/>
                    </a:lnTo>
                    <a:lnTo>
                      <a:pt x="434" y="825"/>
                    </a:lnTo>
                    <a:lnTo>
                      <a:pt x="425" y="796"/>
                    </a:lnTo>
                    <a:lnTo>
                      <a:pt x="417" y="767"/>
                    </a:lnTo>
                    <a:lnTo>
                      <a:pt x="409" y="739"/>
                    </a:lnTo>
                    <a:lnTo>
                      <a:pt x="400" y="711"/>
                    </a:lnTo>
                    <a:lnTo>
                      <a:pt x="389" y="684"/>
                    </a:lnTo>
                    <a:lnTo>
                      <a:pt x="379" y="657"/>
                    </a:lnTo>
                    <a:lnTo>
                      <a:pt x="369" y="633"/>
                    </a:lnTo>
                    <a:lnTo>
                      <a:pt x="358" y="608"/>
                    </a:lnTo>
                    <a:lnTo>
                      <a:pt x="347" y="583"/>
                    </a:lnTo>
                    <a:lnTo>
                      <a:pt x="336" y="560"/>
                    </a:lnTo>
                    <a:lnTo>
                      <a:pt x="323" y="537"/>
                    </a:lnTo>
                    <a:lnTo>
                      <a:pt x="311" y="517"/>
                    </a:lnTo>
                    <a:lnTo>
                      <a:pt x="285" y="474"/>
                    </a:lnTo>
                    <a:lnTo>
                      <a:pt x="258" y="432"/>
                    </a:lnTo>
                    <a:lnTo>
                      <a:pt x="229" y="391"/>
                    </a:lnTo>
                    <a:lnTo>
                      <a:pt x="200" y="348"/>
                    </a:lnTo>
                    <a:lnTo>
                      <a:pt x="170" y="307"/>
                    </a:lnTo>
                    <a:lnTo>
                      <a:pt x="139" y="266"/>
                    </a:lnTo>
                    <a:lnTo>
                      <a:pt x="109" y="226"/>
                    </a:lnTo>
                    <a:lnTo>
                      <a:pt x="79" y="187"/>
                    </a:lnTo>
                    <a:lnTo>
                      <a:pt x="125" y="178"/>
                    </a:lnTo>
                    <a:lnTo>
                      <a:pt x="208" y="161"/>
                    </a:lnTo>
                    <a:lnTo>
                      <a:pt x="315" y="139"/>
                    </a:lnTo>
                    <a:lnTo>
                      <a:pt x="433" y="116"/>
                    </a:lnTo>
                    <a:lnTo>
                      <a:pt x="549" y="92"/>
                    </a:lnTo>
                    <a:lnTo>
                      <a:pt x="651" y="71"/>
                    </a:lnTo>
                    <a:lnTo>
                      <a:pt x="724" y="56"/>
                    </a:lnTo>
                    <a:lnTo>
                      <a:pt x="757" y="49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291" name="Freeform 67"/>
              <p:cNvSpPr>
                <a:spLocks/>
              </p:cNvSpPr>
              <p:nvPr/>
            </p:nvSpPr>
            <p:spPr bwMode="auto">
              <a:xfrm>
                <a:off x="3679" y="1645"/>
                <a:ext cx="41" cy="65"/>
              </a:xfrm>
              <a:custGeom>
                <a:avLst/>
                <a:gdLst>
                  <a:gd name="T0" fmla="*/ 0 w 283"/>
                  <a:gd name="T1" fmla="*/ 0 h 459"/>
                  <a:gd name="T2" fmla="*/ 0 w 283"/>
                  <a:gd name="T3" fmla="*/ 0 h 459"/>
                  <a:gd name="T4" fmla="*/ 0 w 283"/>
                  <a:gd name="T5" fmla="*/ 0 h 459"/>
                  <a:gd name="T6" fmla="*/ 0 w 283"/>
                  <a:gd name="T7" fmla="*/ 0 h 459"/>
                  <a:gd name="T8" fmla="*/ 0 w 283"/>
                  <a:gd name="T9" fmla="*/ 0 h 459"/>
                  <a:gd name="T10" fmla="*/ 0 w 283"/>
                  <a:gd name="T11" fmla="*/ 0 h 459"/>
                  <a:gd name="T12" fmla="*/ 0 w 283"/>
                  <a:gd name="T13" fmla="*/ 0 h 459"/>
                  <a:gd name="T14" fmla="*/ 0 w 283"/>
                  <a:gd name="T15" fmla="*/ 0 h 459"/>
                  <a:gd name="T16" fmla="*/ 0 w 283"/>
                  <a:gd name="T17" fmla="*/ 0 h 459"/>
                  <a:gd name="T18" fmla="*/ 0 w 283"/>
                  <a:gd name="T19" fmla="*/ 0 h 459"/>
                  <a:gd name="T20" fmla="*/ 0 w 283"/>
                  <a:gd name="T21" fmla="*/ 0 h 459"/>
                  <a:gd name="T22" fmla="*/ 0 w 283"/>
                  <a:gd name="T23" fmla="*/ 0 h 459"/>
                  <a:gd name="T24" fmla="*/ 0 w 283"/>
                  <a:gd name="T25" fmla="*/ 0 h 459"/>
                  <a:gd name="T26" fmla="*/ 0 w 283"/>
                  <a:gd name="T27" fmla="*/ 0 h 459"/>
                  <a:gd name="T28" fmla="*/ 0 w 283"/>
                  <a:gd name="T29" fmla="*/ 0 h 459"/>
                  <a:gd name="T30" fmla="*/ 0 w 283"/>
                  <a:gd name="T31" fmla="*/ 0 h 459"/>
                  <a:gd name="T32" fmla="*/ 0 w 283"/>
                  <a:gd name="T33" fmla="*/ 0 h 459"/>
                  <a:gd name="T34" fmla="*/ 0 w 283"/>
                  <a:gd name="T35" fmla="*/ 0 h 459"/>
                  <a:gd name="T36" fmla="*/ 0 w 283"/>
                  <a:gd name="T37" fmla="*/ 0 h 459"/>
                  <a:gd name="T38" fmla="*/ 0 w 283"/>
                  <a:gd name="T39" fmla="*/ 0 h 459"/>
                  <a:gd name="T40" fmla="*/ 0 w 283"/>
                  <a:gd name="T41" fmla="*/ 0 h 459"/>
                  <a:gd name="T42" fmla="*/ 0 w 283"/>
                  <a:gd name="T43" fmla="*/ 0 h 459"/>
                  <a:gd name="T44" fmla="*/ 0 w 283"/>
                  <a:gd name="T45" fmla="*/ 0 h 459"/>
                  <a:gd name="T46" fmla="*/ 0 w 283"/>
                  <a:gd name="T47" fmla="*/ 0 h 459"/>
                  <a:gd name="T48" fmla="*/ 0 w 283"/>
                  <a:gd name="T49" fmla="*/ 0 h 459"/>
                  <a:gd name="T50" fmla="*/ 0 w 283"/>
                  <a:gd name="T51" fmla="*/ 0 h 459"/>
                  <a:gd name="T52" fmla="*/ 0 w 283"/>
                  <a:gd name="T53" fmla="*/ 0 h 459"/>
                  <a:gd name="T54" fmla="*/ 0 w 283"/>
                  <a:gd name="T55" fmla="*/ 0 h 459"/>
                  <a:gd name="T56" fmla="*/ 0 w 283"/>
                  <a:gd name="T57" fmla="*/ 0 h 459"/>
                  <a:gd name="T58" fmla="*/ 0 w 283"/>
                  <a:gd name="T59" fmla="*/ 0 h 459"/>
                  <a:gd name="T60" fmla="*/ 0 w 283"/>
                  <a:gd name="T61" fmla="*/ 0 h 459"/>
                  <a:gd name="T62" fmla="*/ 0 w 283"/>
                  <a:gd name="T63" fmla="*/ 0 h 459"/>
                  <a:gd name="T64" fmla="*/ 0 w 283"/>
                  <a:gd name="T65" fmla="*/ 0 h 459"/>
                  <a:gd name="T66" fmla="*/ 0 w 283"/>
                  <a:gd name="T67" fmla="*/ 0 h 459"/>
                  <a:gd name="T68" fmla="*/ 0 w 283"/>
                  <a:gd name="T69" fmla="*/ 0 h 459"/>
                  <a:gd name="T70" fmla="*/ 0 w 283"/>
                  <a:gd name="T71" fmla="*/ 0 h 459"/>
                  <a:gd name="T72" fmla="*/ 0 w 283"/>
                  <a:gd name="T73" fmla="*/ 0 h 459"/>
                  <a:gd name="T74" fmla="*/ 0 w 283"/>
                  <a:gd name="T75" fmla="*/ 0 h 459"/>
                  <a:gd name="T76" fmla="*/ 0 w 283"/>
                  <a:gd name="T77" fmla="*/ 0 h 459"/>
                  <a:gd name="T78" fmla="*/ 0 w 283"/>
                  <a:gd name="T79" fmla="*/ 0 h 459"/>
                  <a:gd name="T80" fmla="*/ 0 w 283"/>
                  <a:gd name="T81" fmla="*/ 0 h 459"/>
                  <a:gd name="T82" fmla="*/ 0 w 283"/>
                  <a:gd name="T83" fmla="*/ 0 h 459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w 283"/>
                  <a:gd name="T127" fmla="*/ 0 h 459"/>
                  <a:gd name="T128" fmla="*/ 283 w 283"/>
                  <a:gd name="T129" fmla="*/ 459 h 459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T126" t="T127" r="T128" b="T129"/>
                <a:pathLst>
                  <a:path w="283" h="459">
                    <a:moveTo>
                      <a:pt x="80" y="330"/>
                    </a:moveTo>
                    <a:lnTo>
                      <a:pt x="77" y="318"/>
                    </a:lnTo>
                    <a:lnTo>
                      <a:pt x="75" y="305"/>
                    </a:lnTo>
                    <a:lnTo>
                      <a:pt x="74" y="293"/>
                    </a:lnTo>
                    <a:lnTo>
                      <a:pt x="74" y="281"/>
                    </a:lnTo>
                    <a:lnTo>
                      <a:pt x="74" y="271"/>
                    </a:lnTo>
                    <a:lnTo>
                      <a:pt x="75" y="259"/>
                    </a:lnTo>
                    <a:lnTo>
                      <a:pt x="77" y="249"/>
                    </a:lnTo>
                    <a:lnTo>
                      <a:pt x="79" y="239"/>
                    </a:lnTo>
                    <a:lnTo>
                      <a:pt x="92" y="202"/>
                    </a:lnTo>
                    <a:lnTo>
                      <a:pt x="104" y="168"/>
                    </a:lnTo>
                    <a:lnTo>
                      <a:pt x="109" y="151"/>
                    </a:lnTo>
                    <a:lnTo>
                      <a:pt x="112" y="133"/>
                    </a:lnTo>
                    <a:lnTo>
                      <a:pt x="112" y="125"/>
                    </a:lnTo>
                    <a:lnTo>
                      <a:pt x="112" y="115"/>
                    </a:lnTo>
                    <a:lnTo>
                      <a:pt x="111" y="105"/>
                    </a:lnTo>
                    <a:lnTo>
                      <a:pt x="109" y="96"/>
                    </a:lnTo>
                    <a:lnTo>
                      <a:pt x="106" y="85"/>
                    </a:lnTo>
                    <a:lnTo>
                      <a:pt x="102" y="75"/>
                    </a:lnTo>
                    <a:lnTo>
                      <a:pt x="96" y="64"/>
                    </a:lnTo>
                    <a:lnTo>
                      <a:pt x="90" y="51"/>
                    </a:lnTo>
                    <a:lnTo>
                      <a:pt x="81" y="40"/>
                    </a:lnTo>
                    <a:lnTo>
                      <a:pt x="72" y="26"/>
                    </a:lnTo>
                    <a:lnTo>
                      <a:pt x="61" y="13"/>
                    </a:lnTo>
                    <a:lnTo>
                      <a:pt x="48" y="0"/>
                    </a:lnTo>
                    <a:lnTo>
                      <a:pt x="45" y="9"/>
                    </a:lnTo>
                    <a:lnTo>
                      <a:pt x="41" y="23"/>
                    </a:lnTo>
                    <a:lnTo>
                      <a:pt x="37" y="43"/>
                    </a:lnTo>
                    <a:lnTo>
                      <a:pt x="33" y="65"/>
                    </a:lnTo>
                    <a:lnTo>
                      <a:pt x="23" y="119"/>
                    </a:lnTo>
                    <a:lnTo>
                      <a:pt x="14" y="176"/>
                    </a:lnTo>
                    <a:lnTo>
                      <a:pt x="7" y="235"/>
                    </a:lnTo>
                    <a:lnTo>
                      <a:pt x="2" y="288"/>
                    </a:lnTo>
                    <a:lnTo>
                      <a:pt x="0" y="311"/>
                    </a:lnTo>
                    <a:lnTo>
                      <a:pt x="0" y="330"/>
                    </a:lnTo>
                    <a:lnTo>
                      <a:pt x="1" y="345"/>
                    </a:lnTo>
                    <a:lnTo>
                      <a:pt x="3" y="355"/>
                    </a:lnTo>
                    <a:lnTo>
                      <a:pt x="6" y="366"/>
                    </a:lnTo>
                    <a:lnTo>
                      <a:pt x="11" y="375"/>
                    </a:lnTo>
                    <a:lnTo>
                      <a:pt x="16" y="383"/>
                    </a:lnTo>
                    <a:lnTo>
                      <a:pt x="23" y="393"/>
                    </a:lnTo>
                    <a:lnTo>
                      <a:pt x="31" y="400"/>
                    </a:lnTo>
                    <a:lnTo>
                      <a:pt x="38" y="407"/>
                    </a:lnTo>
                    <a:lnTo>
                      <a:pt x="46" y="414"/>
                    </a:lnTo>
                    <a:lnTo>
                      <a:pt x="56" y="420"/>
                    </a:lnTo>
                    <a:lnTo>
                      <a:pt x="65" y="427"/>
                    </a:lnTo>
                    <a:lnTo>
                      <a:pt x="75" y="432"/>
                    </a:lnTo>
                    <a:lnTo>
                      <a:pt x="84" y="437"/>
                    </a:lnTo>
                    <a:lnTo>
                      <a:pt x="96" y="441"/>
                    </a:lnTo>
                    <a:lnTo>
                      <a:pt x="106" y="445"/>
                    </a:lnTo>
                    <a:lnTo>
                      <a:pt x="118" y="448"/>
                    </a:lnTo>
                    <a:lnTo>
                      <a:pt x="129" y="451"/>
                    </a:lnTo>
                    <a:lnTo>
                      <a:pt x="139" y="454"/>
                    </a:lnTo>
                    <a:lnTo>
                      <a:pt x="162" y="457"/>
                    </a:lnTo>
                    <a:lnTo>
                      <a:pt x="184" y="459"/>
                    </a:lnTo>
                    <a:lnTo>
                      <a:pt x="205" y="458"/>
                    </a:lnTo>
                    <a:lnTo>
                      <a:pt x="225" y="456"/>
                    </a:lnTo>
                    <a:lnTo>
                      <a:pt x="234" y="454"/>
                    </a:lnTo>
                    <a:lnTo>
                      <a:pt x="244" y="451"/>
                    </a:lnTo>
                    <a:lnTo>
                      <a:pt x="252" y="448"/>
                    </a:lnTo>
                    <a:lnTo>
                      <a:pt x="259" y="445"/>
                    </a:lnTo>
                    <a:lnTo>
                      <a:pt x="266" y="441"/>
                    </a:lnTo>
                    <a:lnTo>
                      <a:pt x="273" y="437"/>
                    </a:lnTo>
                    <a:lnTo>
                      <a:pt x="279" y="433"/>
                    </a:lnTo>
                    <a:lnTo>
                      <a:pt x="283" y="428"/>
                    </a:lnTo>
                    <a:lnTo>
                      <a:pt x="266" y="429"/>
                    </a:lnTo>
                    <a:lnTo>
                      <a:pt x="251" y="430"/>
                    </a:lnTo>
                    <a:lnTo>
                      <a:pt x="234" y="431"/>
                    </a:lnTo>
                    <a:lnTo>
                      <a:pt x="218" y="430"/>
                    </a:lnTo>
                    <a:lnTo>
                      <a:pt x="202" y="429"/>
                    </a:lnTo>
                    <a:lnTo>
                      <a:pt x="187" y="426"/>
                    </a:lnTo>
                    <a:lnTo>
                      <a:pt x="172" y="423"/>
                    </a:lnTo>
                    <a:lnTo>
                      <a:pt x="158" y="417"/>
                    </a:lnTo>
                    <a:lnTo>
                      <a:pt x="144" y="412"/>
                    </a:lnTo>
                    <a:lnTo>
                      <a:pt x="132" y="405"/>
                    </a:lnTo>
                    <a:lnTo>
                      <a:pt x="120" y="397"/>
                    </a:lnTo>
                    <a:lnTo>
                      <a:pt x="109" y="386"/>
                    </a:lnTo>
                    <a:lnTo>
                      <a:pt x="105" y="381"/>
                    </a:lnTo>
                    <a:lnTo>
                      <a:pt x="100" y="375"/>
                    </a:lnTo>
                    <a:lnTo>
                      <a:pt x="96" y="369"/>
                    </a:lnTo>
                    <a:lnTo>
                      <a:pt x="92" y="363"/>
                    </a:lnTo>
                    <a:lnTo>
                      <a:pt x="89" y="355"/>
                    </a:lnTo>
                    <a:lnTo>
                      <a:pt x="85" y="347"/>
                    </a:lnTo>
                    <a:lnTo>
                      <a:pt x="82" y="340"/>
                    </a:lnTo>
                    <a:lnTo>
                      <a:pt x="80" y="33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292" name="Freeform 68"/>
              <p:cNvSpPr>
                <a:spLocks/>
              </p:cNvSpPr>
              <p:nvPr/>
            </p:nvSpPr>
            <p:spPr bwMode="auto">
              <a:xfrm>
                <a:off x="3653" y="1520"/>
                <a:ext cx="89" cy="166"/>
              </a:xfrm>
              <a:custGeom>
                <a:avLst/>
                <a:gdLst>
                  <a:gd name="T0" fmla="*/ 0 w 626"/>
                  <a:gd name="T1" fmla="*/ 0 h 1161"/>
                  <a:gd name="T2" fmla="*/ 0 w 626"/>
                  <a:gd name="T3" fmla="*/ 0 h 1161"/>
                  <a:gd name="T4" fmla="*/ 0 w 626"/>
                  <a:gd name="T5" fmla="*/ 0 h 1161"/>
                  <a:gd name="T6" fmla="*/ 0 w 626"/>
                  <a:gd name="T7" fmla="*/ 0 h 1161"/>
                  <a:gd name="T8" fmla="*/ 0 w 626"/>
                  <a:gd name="T9" fmla="*/ 0 h 1161"/>
                  <a:gd name="T10" fmla="*/ 0 w 626"/>
                  <a:gd name="T11" fmla="*/ 0 h 1161"/>
                  <a:gd name="T12" fmla="*/ 0 w 626"/>
                  <a:gd name="T13" fmla="*/ 0 h 1161"/>
                  <a:gd name="T14" fmla="*/ 0 w 626"/>
                  <a:gd name="T15" fmla="*/ 0 h 1161"/>
                  <a:gd name="T16" fmla="*/ 0 w 626"/>
                  <a:gd name="T17" fmla="*/ 0 h 1161"/>
                  <a:gd name="T18" fmla="*/ 0 w 626"/>
                  <a:gd name="T19" fmla="*/ 0 h 1161"/>
                  <a:gd name="T20" fmla="*/ 0 w 626"/>
                  <a:gd name="T21" fmla="*/ 0 h 1161"/>
                  <a:gd name="T22" fmla="*/ 0 w 626"/>
                  <a:gd name="T23" fmla="*/ 0 h 1161"/>
                  <a:gd name="T24" fmla="*/ 0 w 626"/>
                  <a:gd name="T25" fmla="*/ 0 h 1161"/>
                  <a:gd name="T26" fmla="*/ 0 w 626"/>
                  <a:gd name="T27" fmla="*/ 0 h 1161"/>
                  <a:gd name="T28" fmla="*/ 0 w 626"/>
                  <a:gd name="T29" fmla="*/ 0 h 1161"/>
                  <a:gd name="T30" fmla="*/ 0 w 626"/>
                  <a:gd name="T31" fmla="*/ 0 h 1161"/>
                  <a:gd name="T32" fmla="*/ 0 w 626"/>
                  <a:gd name="T33" fmla="*/ 0 h 1161"/>
                  <a:gd name="T34" fmla="*/ 0 w 626"/>
                  <a:gd name="T35" fmla="*/ 0 h 1161"/>
                  <a:gd name="T36" fmla="*/ 0 w 626"/>
                  <a:gd name="T37" fmla="*/ 0 h 1161"/>
                  <a:gd name="T38" fmla="*/ 0 w 626"/>
                  <a:gd name="T39" fmla="*/ 0 h 1161"/>
                  <a:gd name="T40" fmla="*/ 0 w 626"/>
                  <a:gd name="T41" fmla="*/ 0 h 1161"/>
                  <a:gd name="T42" fmla="*/ 0 w 626"/>
                  <a:gd name="T43" fmla="*/ 0 h 1161"/>
                  <a:gd name="T44" fmla="*/ 0 w 626"/>
                  <a:gd name="T45" fmla="*/ 0 h 1161"/>
                  <a:gd name="T46" fmla="*/ 0 w 626"/>
                  <a:gd name="T47" fmla="*/ 0 h 1161"/>
                  <a:gd name="T48" fmla="*/ 0 w 626"/>
                  <a:gd name="T49" fmla="*/ 0 h 1161"/>
                  <a:gd name="T50" fmla="*/ 0 w 626"/>
                  <a:gd name="T51" fmla="*/ 0 h 1161"/>
                  <a:gd name="T52" fmla="*/ 0 w 626"/>
                  <a:gd name="T53" fmla="*/ 0 h 1161"/>
                  <a:gd name="T54" fmla="*/ 0 w 626"/>
                  <a:gd name="T55" fmla="*/ 0 h 1161"/>
                  <a:gd name="T56" fmla="*/ 0 w 626"/>
                  <a:gd name="T57" fmla="*/ 0 h 1161"/>
                  <a:gd name="T58" fmla="*/ 0 w 626"/>
                  <a:gd name="T59" fmla="*/ 0 h 1161"/>
                  <a:gd name="T60" fmla="*/ 0 w 626"/>
                  <a:gd name="T61" fmla="*/ 0 h 1161"/>
                  <a:gd name="T62" fmla="*/ 0 w 626"/>
                  <a:gd name="T63" fmla="*/ 0 h 1161"/>
                  <a:gd name="T64" fmla="*/ 0 w 626"/>
                  <a:gd name="T65" fmla="*/ 0 h 1161"/>
                  <a:gd name="T66" fmla="*/ 0 w 626"/>
                  <a:gd name="T67" fmla="*/ 0 h 1161"/>
                  <a:gd name="T68" fmla="*/ 0 w 626"/>
                  <a:gd name="T69" fmla="*/ 0 h 1161"/>
                  <a:gd name="T70" fmla="*/ 0 w 626"/>
                  <a:gd name="T71" fmla="*/ 0 h 1161"/>
                  <a:gd name="T72" fmla="*/ 0 w 626"/>
                  <a:gd name="T73" fmla="*/ 0 h 1161"/>
                  <a:gd name="T74" fmla="*/ 0 w 626"/>
                  <a:gd name="T75" fmla="*/ 0 h 1161"/>
                  <a:gd name="T76" fmla="*/ 0 w 626"/>
                  <a:gd name="T77" fmla="*/ 0 h 1161"/>
                  <a:gd name="T78" fmla="*/ 0 w 626"/>
                  <a:gd name="T79" fmla="*/ 0 h 1161"/>
                  <a:gd name="T80" fmla="*/ 0 w 626"/>
                  <a:gd name="T81" fmla="*/ 0 h 1161"/>
                  <a:gd name="T82" fmla="*/ 0 w 626"/>
                  <a:gd name="T83" fmla="*/ 0 h 1161"/>
                  <a:gd name="T84" fmla="*/ 0 w 626"/>
                  <a:gd name="T85" fmla="*/ 0 h 1161"/>
                  <a:gd name="T86" fmla="*/ 0 w 626"/>
                  <a:gd name="T87" fmla="*/ 0 h 1161"/>
                  <a:gd name="T88" fmla="*/ 0 w 626"/>
                  <a:gd name="T89" fmla="*/ 0 h 1161"/>
                  <a:gd name="T90" fmla="*/ 0 w 626"/>
                  <a:gd name="T91" fmla="*/ 0 h 1161"/>
                  <a:gd name="T92" fmla="*/ 0 w 626"/>
                  <a:gd name="T93" fmla="*/ 0 h 1161"/>
                  <a:gd name="T94" fmla="*/ 0 w 626"/>
                  <a:gd name="T95" fmla="*/ 0 h 1161"/>
                  <a:gd name="T96" fmla="*/ 0 w 626"/>
                  <a:gd name="T97" fmla="*/ 0 h 1161"/>
                  <a:gd name="T98" fmla="*/ 0 w 626"/>
                  <a:gd name="T99" fmla="*/ 0 h 1161"/>
                  <a:gd name="T100" fmla="*/ 0 w 626"/>
                  <a:gd name="T101" fmla="*/ 0 h 1161"/>
                  <a:gd name="T102" fmla="*/ 0 w 626"/>
                  <a:gd name="T103" fmla="*/ 0 h 1161"/>
                  <a:gd name="T104" fmla="*/ 0 w 626"/>
                  <a:gd name="T105" fmla="*/ 0 h 1161"/>
                  <a:gd name="T106" fmla="*/ 0 w 626"/>
                  <a:gd name="T107" fmla="*/ 0 h 1161"/>
                  <a:gd name="T108" fmla="*/ 0 w 626"/>
                  <a:gd name="T109" fmla="*/ 0 h 1161"/>
                  <a:gd name="T110" fmla="*/ 0 w 626"/>
                  <a:gd name="T111" fmla="*/ 0 h 1161"/>
                  <a:gd name="T112" fmla="*/ 0 w 626"/>
                  <a:gd name="T113" fmla="*/ 0 h 1161"/>
                  <a:gd name="T114" fmla="*/ 0 w 626"/>
                  <a:gd name="T115" fmla="*/ 0 h 1161"/>
                  <a:gd name="T116" fmla="*/ 0 w 626"/>
                  <a:gd name="T117" fmla="*/ 0 h 1161"/>
                  <a:gd name="T118" fmla="*/ 0 w 626"/>
                  <a:gd name="T119" fmla="*/ 0 h 1161"/>
                  <a:gd name="T120" fmla="*/ 0 w 626"/>
                  <a:gd name="T121" fmla="*/ 0 h 1161"/>
                  <a:gd name="T122" fmla="*/ 0 w 626"/>
                  <a:gd name="T123" fmla="*/ 0 h 1161"/>
                  <a:gd name="T124" fmla="*/ 0 w 626"/>
                  <a:gd name="T125" fmla="*/ 0 h 1161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626"/>
                  <a:gd name="T190" fmla="*/ 0 h 1161"/>
                  <a:gd name="T191" fmla="*/ 626 w 626"/>
                  <a:gd name="T192" fmla="*/ 1161 h 1161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626" h="1161">
                    <a:moveTo>
                      <a:pt x="403" y="727"/>
                    </a:moveTo>
                    <a:lnTo>
                      <a:pt x="401" y="716"/>
                    </a:lnTo>
                    <a:lnTo>
                      <a:pt x="399" y="707"/>
                    </a:lnTo>
                    <a:lnTo>
                      <a:pt x="398" y="698"/>
                    </a:lnTo>
                    <a:lnTo>
                      <a:pt x="398" y="690"/>
                    </a:lnTo>
                    <a:lnTo>
                      <a:pt x="398" y="681"/>
                    </a:lnTo>
                    <a:lnTo>
                      <a:pt x="398" y="673"/>
                    </a:lnTo>
                    <a:lnTo>
                      <a:pt x="399" y="665"/>
                    </a:lnTo>
                    <a:lnTo>
                      <a:pt x="401" y="658"/>
                    </a:lnTo>
                    <a:lnTo>
                      <a:pt x="405" y="643"/>
                    </a:lnTo>
                    <a:lnTo>
                      <a:pt x="410" y="629"/>
                    </a:lnTo>
                    <a:lnTo>
                      <a:pt x="416" y="615"/>
                    </a:lnTo>
                    <a:lnTo>
                      <a:pt x="423" y="603"/>
                    </a:lnTo>
                    <a:lnTo>
                      <a:pt x="431" y="589"/>
                    </a:lnTo>
                    <a:lnTo>
                      <a:pt x="438" y="577"/>
                    </a:lnTo>
                    <a:lnTo>
                      <a:pt x="444" y="563"/>
                    </a:lnTo>
                    <a:lnTo>
                      <a:pt x="450" y="550"/>
                    </a:lnTo>
                    <a:lnTo>
                      <a:pt x="454" y="536"/>
                    </a:lnTo>
                    <a:lnTo>
                      <a:pt x="458" y="521"/>
                    </a:lnTo>
                    <a:lnTo>
                      <a:pt x="459" y="513"/>
                    </a:lnTo>
                    <a:lnTo>
                      <a:pt x="459" y="505"/>
                    </a:lnTo>
                    <a:lnTo>
                      <a:pt x="459" y="496"/>
                    </a:lnTo>
                    <a:lnTo>
                      <a:pt x="458" y="488"/>
                    </a:lnTo>
                    <a:lnTo>
                      <a:pt x="455" y="479"/>
                    </a:lnTo>
                    <a:lnTo>
                      <a:pt x="452" y="469"/>
                    </a:lnTo>
                    <a:lnTo>
                      <a:pt x="449" y="460"/>
                    </a:lnTo>
                    <a:lnTo>
                      <a:pt x="446" y="452"/>
                    </a:lnTo>
                    <a:lnTo>
                      <a:pt x="442" y="445"/>
                    </a:lnTo>
                    <a:lnTo>
                      <a:pt x="437" y="436"/>
                    </a:lnTo>
                    <a:lnTo>
                      <a:pt x="432" y="430"/>
                    </a:lnTo>
                    <a:lnTo>
                      <a:pt x="425" y="423"/>
                    </a:lnTo>
                    <a:lnTo>
                      <a:pt x="413" y="410"/>
                    </a:lnTo>
                    <a:lnTo>
                      <a:pt x="400" y="398"/>
                    </a:lnTo>
                    <a:lnTo>
                      <a:pt x="384" y="387"/>
                    </a:lnTo>
                    <a:lnTo>
                      <a:pt x="369" y="376"/>
                    </a:lnTo>
                    <a:lnTo>
                      <a:pt x="336" y="357"/>
                    </a:lnTo>
                    <a:lnTo>
                      <a:pt x="304" y="335"/>
                    </a:lnTo>
                    <a:lnTo>
                      <a:pt x="289" y="324"/>
                    </a:lnTo>
                    <a:lnTo>
                      <a:pt x="275" y="312"/>
                    </a:lnTo>
                    <a:lnTo>
                      <a:pt x="268" y="305"/>
                    </a:lnTo>
                    <a:lnTo>
                      <a:pt x="262" y="299"/>
                    </a:lnTo>
                    <a:lnTo>
                      <a:pt x="256" y="292"/>
                    </a:lnTo>
                    <a:lnTo>
                      <a:pt x="251" y="284"/>
                    </a:lnTo>
                    <a:lnTo>
                      <a:pt x="257" y="277"/>
                    </a:lnTo>
                    <a:lnTo>
                      <a:pt x="263" y="270"/>
                    </a:lnTo>
                    <a:lnTo>
                      <a:pt x="269" y="262"/>
                    </a:lnTo>
                    <a:lnTo>
                      <a:pt x="275" y="253"/>
                    </a:lnTo>
                    <a:lnTo>
                      <a:pt x="284" y="236"/>
                    </a:lnTo>
                    <a:lnTo>
                      <a:pt x="293" y="216"/>
                    </a:lnTo>
                    <a:lnTo>
                      <a:pt x="301" y="197"/>
                    </a:lnTo>
                    <a:lnTo>
                      <a:pt x="310" y="180"/>
                    </a:lnTo>
                    <a:lnTo>
                      <a:pt x="319" y="162"/>
                    </a:lnTo>
                    <a:lnTo>
                      <a:pt x="329" y="147"/>
                    </a:lnTo>
                    <a:lnTo>
                      <a:pt x="316" y="135"/>
                    </a:lnTo>
                    <a:lnTo>
                      <a:pt x="302" y="125"/>
                    </a:lnTo>
                    <a:lnTo>
                      <a:pt x="288" y="114"/>
                    </a:lnTo>
                    <a:lnTo>
                      <a:pt x="274" y="103"/>
                    </a:lnTo>
                    <a:lnTo>
                      <a:pt x="242" y="84"/>
                    </a:lnTo>
                    <a:lnTo>
                      <a:pt x="209" y="65"/>
                    </a:lnTo>
                    <a:lnTo>
                      <a:pt x="175" y="47"/>
                    </a:lnTo>
                    <a:lnTo>
                      <a:pt x="141" y="31"/>
                    </a:lnTo>
                    <a:lnTo>
                      <a:pt x="107" y="15"/>
                    </a:lnTo>
                    <a:lnTo>
                      <a:pt x="75" y="0"/>
                    </a:lnTo>
                    <a:lnTo>
                      <a:pt x="81" y="8"/>
                    </a:lnTo>
                    <a:lnTo>
                      <a:pt x="89" y="15"/>
                    </a:lnTo>
                    <a:lnTo>
                      <a:pt x="95" y="24"/>
                    </a:lnTo>
                    <a:lnTo>
                      <a:pt x="101" y="32"/>
                    </a:lnTo>
                    <a:lnTo>
                      <a:pt x="90" y="41"/>
                    </a:lnTo>
                    <a:lnTo>
                      <a:pt x="78" y="53"/>
                    </a:lnTo>
                    <a:lnTo>
                      <a:pt x="66" y="65"/>
                    </a:lnTo>
                    <a:lnTo>
                      <a:pt x="54" y="78"/>
                    </a:lnTo>
                    <a:lnTo>
                      <a:pt x="42" y="92"/>
                    </a:lnTo>
                    <a:lnTo>
                      <a:pt x="29" y="104"/>
                    </a:lnTo>
                    <a:lnTo>
                      <a:pt x="21" y="110"/>
                    </a:lnTo>
                    <a:lnTo>
                      <a:pt x="15" y="115"/>
                    </a:lnTo>
                    <a:lnTo>
                      <a:pt x="8" y="119"/>
                    </a:lnTo>
                    <a:lnTo>
                      <a:pt x="0" y="123"/>
                    </a:lnTo>
                    <a:lnTo>
                      <a:pt x="33" y="138"/>
                    </a:lnTo>
                    <a:lnTo>
                      <a:pt x="60" y="151"/>
                    </a:lnTo>
                    <a:lnTo>
                      <a:pt x="80" y="162"/>
                    </a:lnTo>
                    <a:lnTo>
                      <a:pt x="97" y="173"/>
                    </a:lnTo>
                    <a:lnTo>
                      <a:pt x="108" y="181"/>
                    </a:lnTo>
                    <a:lnTo>
                      <a:pt x="116" y="189"/>
                    </a:lnTo>
                    <a:lnTo>
                      <a:pt x="122" y="197"/>
                    </a:lnTo>
                    <a:lnTo>
                      <a:pt x="125" y="207"/>
                    </a:lnTo>
                    <a:lnTo>
                      <a:pt x="128" y="226"/>
                    </a:lnTo>
                    <a:lnTo>
                      <a:pt x="131" y="253"/>
                    </a:lnTo>
                    <a:lnTo>
                      <a:pt x="134" y="270"/>
                    </a:lnTo>
                    <a:lnTo>
                      <a:pt x="139" y="289"/>
                    </a:lnTo>
                    <a:lnTo>
                      <a:pt x="149" y="313"/>
                    </a:lnTo>
                    <a:lnTo>
                      <a:pt x="161" y="340"/>
                    </a:lnTo>
                    <a:lnTo>
                      <a:pt x="165" y="347"/>
                    </a:lnTo>
                    <a:lnTo>
                      <a:pt x="170" y="355"/>
                    </a:lnTo>
                    <a:lnTo>
                      <a:pt x="177" y="360"/>
                    </a:lnTo>
                    <a:lnTo>
                      <a:pt x="185" y="366"/>
                    </a:lnTo>
                    <a:lnTo>
                      <a:pt x="202" y="376"/>
                    </a:lnTo>
                    <a:lnTo>
                      <a:pt x="221" y="387"/>
                    </a:lnTo>
                    <a:lnTo>
                      <a:pt x="239" y="398"/>
                    </a:lnTo>
                    <a:lnTo>
                      <a:pt x="258" y="410"/>
                    </a:lnTo>
                    <a:lnTo>
                      <a:pt x="265" y="418"/>
                    </a:lnTo>
                    <a:lnTo>
                      <a:pt x="274" y="425"/>
                    </a:lnTo>
                    <a:lnTo>
                      <a:pt x="280" y="434"/>
                    </a:lnTo>
                    <a:lnTo>
                      <a:pt x="285" y="444"/>
                    </a:lnTo>
                    <a:lnTo>
                      <a:pt x="291" y="458"/>
                    </a:lnTo>
                    <a:lnTo>
                      <a:pt x="294" y="472"/>
                    </a:lnTo>
                    <a:lnTo>
                      <a:pt x="296" y="485"/>
                    </a:lnTo>
                    <a:lnTo>
                      <a:pt x="297" y="497"/>
                    </a:lnTo>
                    <a:lnTo>
                      <a:pt x="296" y="509"/>
                    </a:lnTo>
                    <a:lnTo>
                      <a:pt x="293" y="519"/>
                    </a:lnTo>
                    <a:lnTo>
                      <a:pt x="290" y="529"/>
                    </a:lnTo>
                    <a:lnTo>
                      <a:pt x="287" y="540"/>
                    </a:lnTo>
                    <a:lnTo>
                      <a:pt x="279" y="560"/>
                    </a:lnTo>
                    <a:lnTo>
                      <a:pt x="273" y="581"/>
                    </a:lnTo>
                    <a:lnTo>
                      <a:pt x="269" y="592"/>
                    </a:lnTo>
                    <a:lnTo>
                      <a:pt x="268" y="604"/>
                    </a:lnTo>
                    <a:lnTo>
                      <a:pt x="268" y="616"/>
                    </a:lnTo>
                    <a:lnTo>
                      <a:pt x="270" y="630"/>
                    </a:lnTo>
                    <a:lnTo>
                      <a:pt x="273" y="640"/>
                    </a:lnTo>
                    <a:lnTo>
                      <a:pt x="275" y="650"/>
                    </a:lnTo>
                    <a:lnTo>
                      <a:pt x="278" y="660"/>
                    </a:lnTo>
                    <a:lnTo>
                      <a:pt x="282" y="668"/>
                    </a:lnTo>
                    <a:lnTo>
                      <a:pt x="289" y="684"/>
                    </a:lnTo>
                    <a:lnTo>
                      <a:pt x="297" y="698"/>
                    </a:lnTo>
                    <a:lnTo>
                      <a:pt x="307" y="712"/>
                    </a:lnTo>
                    <a:lnTo>
                      <a:pt x="315" y="726"/>
                    </a:lnTo>
                    <a:lnTo>
                      <a:pt x="323" y="741"/>
                    </a:lnTo>
                    <a:lnTo>
                      <a:pt x="331" y="759"/>
                    </a:lnTo>
                    <a:lnTo>
                      <a:pt x="344" y="791"/>
                    </a:lnTo>
                    <a:lnTo>
                      <a:pt x="360" y="830"/>
                    </a:lnTo>
                    <a:lnTo>
                      <a:pt x="377" y="871"/>
                    </a:lnTo>
                    <a:lnTo>
                      <a:pt x="390" y="904"/>
                    </a:lnTo>
                    <a:lnTo>
                      <a:pt x="394" y="918"/>
                    </a:lnTo>
                    <a:lnTo>
                      <a:pt x="398" y="931"/>
                    </a:lnTo>
                    <a:lnTo>
                      <a:pt x="400" y="941"/>
                    </a:lnTo>
                    <a:lnTo>
                      <a:pt x="400" y="950"/>
                    </a:lnTo>
                    <a:lnTo>
                      <a:pt x="399" y="967"/>
                    </a:lnTo>
                    <a:lnTo>
                      <a:pt x="398" y="981"/>
                    </a:lnTo>
                    <a:lnTo>
                      <a:pt x="398" y="988"/>
                    </a:lnTo>
                    <a:lnTo>
                      <a:pt x="399" y="996"/>
                    </a:lnTo>
                    <a:lnTo>
                      <a:pt x="401" y="1004"/>
                    </a:lnTo>
                    <a:lnTo>
                      <a:pt x="404" y="1012"/>
                    </a:lnTo>
                    <a:lnTo>
                      <a:pt x="409" y="1022"/>
                    </a:lnTo>
                    <a:lnTo>
                      <a:pt x="416" y="1033"/>
                    </a:lnTo>
                    <a:lnTo>
                      <a:pt x="424" y="1045"/>
                    </a:lnTo>
                    <a:lnTo>
                      <a:pt x="437" y="1060"/>
                    </a:lnTo>
                    <a:lnTo>
                      <a:pt x="444" y="1067"/>
                    </a:lnTo>
                    <a:lnTo>
                      <a:pt x="451" y="1074"/>
                    </a:lnTo>
                    <a:lnTo>
                      <a:pt x="461" y="1080"/>
                    </a:lnTo>
                    <a:lnTo>
                      <a:pt x="470" y="1088"/>
                    </a:lnTo>
                    <a:lnTo>
                      <a:pt x="491" y="1100"/>
                    </a:lnTo>
                    <a:lnTo>
                      <a:pt x="513" y="1113"/>
                    </a:lnTo>
                    <a:lnTo>
                      <a:pt x="536" y="1124"/>
                    </a:lnTo>
                    <a:lnTo>
                      <a:pt x="558" y="1136"/>
                    </a:lnTo>
                    <a:lnTo>
                      <a:pt x="578" y="1149"/>
                    </a:lnTo>
                    <a:lnTo>
                      <a:pt x="597" y="1161"/>
                    </a:lnTo>
                    <a:lnTo>
                      <a:pt x="600" y="1156"/>
                    </a:lnTo>
                    <a:lnTo>
                      <a:pt x="603" y="1151"/>
                    </a:lnTo>
                    <a:lnTo>
                      <a:pt x="605" y="1146"/>
                    </a:lnTo>
                    <a:lnTo>
                      <a:pt x="606" y="1141"/>
                    </a:lnTo>
                    <a:lnTo>
                      <a:pt x="607" y="1132"/>
                    </a:lnTo>
                    <a:lnTo>
                      <a:pt x="606" y="1124"/>
                    </a:lnTo>
                    <a:lnTo>
                      <a:pt x="600" y="1108"/>
                    </a:lnTo>
                    <a:lnTo>
                      <a:pt x="594" y="1091"/>
                    </a:lnTo>
                    <a:lnTo>
                      <a:pt x="534" y="1120"/>
                    </a:lnTo>
                    <a:lnTo>
                      <a:pt x="556" y="1099"/>
                    </a:lnTo>
                    <a:lnTo>
                      <a:pt x="574" y="1080"/>
                    </a:lnTo>
                    <a:lnTo>
                      <a:pt x="589" y="1063"/>
                    </a:lnTo>
                    <a:lnTo>
                      <a:pt x="602" y="1046"/>
                    </a:lnTo>
                    <a:lnTo>
                      <a:pt x="611" y="1031"/>
                    </a:lnTo>
                    <a:lnTo>
                      <a:pt x="619" y="1015"/>
                    </a:lnTo>
                    <a:lnTo>
                      <a:pt x="623" y="1002"/>
                    </a:lnTo>
                    <a:lnTo>
                      <a:pt x="626" y="988"/>
                    </a:lnTo>
                    <a:lnTo>
                      <a:pt x="626" y="976"/>
                    </a:lnTo>
                    <a:lnTo>
                      <a:pt x="624" y="964"/>
                    </a:lnTo>
                    <a:lnTo>
                      <a:pt x="620" y="952"/>
                    </a:lnTo>
                    <a:lnTo>
                      <a:pt x="615" y="942"/>
                    </a:lnTo>
                    <a:lnTo>
                      <a:pt x="608" y="932"/>
                    </a:lnTo>
                    <a:lnTo>
                      <a:pt x="600" y="921"/>
                    </a:lnTo>
                    <a:lnTo>
                      <a:pt x="591" y="912"/>
                    </a:lnTo>
                    <a:lnTo>
                      <a:pt x="580" y="903"/>
                    </a:lnTo>
                    <a:lnTo>
                      <a:pt x="532" y="865"/>
                    </a:lnTo>
                    <a:lnTo>
                      <a:pt x="479" y="827"/>
                    </a:lnTo>
                    <a:lnTo>
                      <a:pt x="467" y="817"/>
                    </a:lnTo>
                    <a:lnTo>
                      <a:pt x="454" y="805"/>
                    </a:lnTo>
                    <a:lnTo>
                      <a:pt x="443" y="794"/>
                    </a:lnTo>
                    <a:lnTo>
                      <a:pt x="433" y="782"/>
                    </a:lnTo>
                    <a:lnTo>
                      <a:pt x="423" y="769"/>
                    </a:lnTo>
                    <a:lnTo>
                      <a:pt x="415" y="756"/>
                    </a:lnTo>
                    <a:lnTo>
                      <a:pt x="409" y="741"/>
                    </a:lnTo>
                    <a:lnTo>
                      <a:pt x="403" y="727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293" name="Freeform 69"/>
              <p:cNvSpPr>
                <a:spLocks/>
              </p:cNvSpPr>
              <p:nvPr/>
            </p:nvSpPr>
            <p:spPr bwMode="auto">
              <a:xfrm>
                <a:off x="3353" y="1489"/>
                <a:ext cx="216" cy="264"/>
              </a:xfrm>
              <a:custGeom>
                <a:avLst/>
                <a:gdLst>
                  <a:gd name="T0" fmla="*/ 0 w 1514"/>
                  <a:gd name="T1" fmla="*/ 0 h 1848"/>
                  <a:gd name="T2" fmla="*/ 0 w 1514"/>
                  <a:gd name="T3" fmla="*/ 0 h 1848"/>
                  <a:gd name="T4" fmla="*/ 0 w 1514"/>
                  <a:gd name="T5" fmla="*/ 0 h 1848"/>
                  <a:gd name="T6" fmla="*/ 0 w 1514"/>
                  <a:gd name="T7" fmla="*/ 0 h 1848"/>
                  <a:gd name="T8" fmla="*/ 0 w 1514"/>
                  <a:gd name="T9" fmla="*/ 0 h 1848"/>
                  <a:gd name="T10" fmla="*/ 0 w 1514"/>
                  <a:gd name="T11" fmla="*/ 0 h 1848"/>
                  <a:gd name="T12" fmla="*/ 0 w 1514"/>
                  <a:gd name="T13" fmla="*/ 0 h 1848"/>
                  <a:gd name="T14" fmla="*/ 0 w 1514"/>
                  <a:gd name="T15" fmla="*/ 0 h 1848"/>
                  <a:gd name="T16" fmla="*/ 0 w 1514"/>
                  <a:gd name="T17" fmla="*/ 0 h 1848"/>
                  <a:gd name="T18" fmla="*/ 0 w 1514"/>
                  <a:gd name="T19" fmla="*/ 0 h 1848"/>
                  <a:gd name="T20" fmla="*/ 0 w 1514"/>
                  <a:gd name="T21" fmla="*/ 0 h 1848"/>
                  <a:gd name="T22" fmla="*/ 0 w 1514"/>
                  <a:gd name="T23" fmla="*/ 0 h 1848"/>
                  <a:gd name="T24" fmla="*/ 0 w 1514"/>
                  <a:gd name="T25" fmla="*/ 0 h 1848"/>
                  <a:gd name="T26" fmla="*/ 0 w 1514"/>
                  <a:gd name="T27" fmla="*/ 0 h 1848"/>
                  <a:gd name="T28" fmla="*/ 0 w 1514"/>
                  <a:gd name="T29" fmla="*/ 0 h 1848"/>
                  <a:gd name="T30" fmla="*/ 0 w 1514"/>
                  <a:gd name="T31" fmla="*/ 0 h 1848"/>
                  <a:gd name="T32" fmla="*/ 0 w 1514"/>
                  <a:gd name="T33" fmla="*/ 0 h 1848"/>
                  <a:gd name="T34" fmla="*/ 0 w 1514"/>
                  <a:gd name="T35" fmla="*/ 0 h 1848"/>
                  <a:gd name="T36" fmla="*/ 0 w 1514"/>
                  <a:gd name="T37" fmla="*/ 0 h 1848"/>
                  <a:gd name="T38" fmla="*/ 0 w 1514"/>
                  <a:gd name="T39" fmla="*/ 0 h 1848"/>
                  <a:gd name="T40" fmla="*/ 0 w 1514"/>
                  <a:gd name="T41" fmla="*/ 0 h 1848"/>
                  <a:gd name="T42" fmla="*/ 0 w 1514"/>
                  <a:gd name="T43" fmla="*/ 0 h 1848"/>
                  <a:gd name="T44" fmla="*/ 0 w 1514"/>
                  <a:gd name="T45" fmla="*/ 0 h 1848"/>
                  <a:gd name="T46" fmla="*/ 0 w 1514"/>
                  <a:gd name="T47" fmla="*/ 0 h 1848"/>
                  <a:gd name="T48" fmla="*/ 0 w 1514"/>
                  <a:gd name="T49" fmla="*/ 0 h 1848"/>
                  <a:gd name="T50" fmla="*/ 0 w 1514"/>
                  <a:gd name="T51" fmla="*/ 0 h 1848"/>
                  <a:gd name="T52" fmla="*/ 0 w 1514"/>
                  <a:gd name="T53" fmla="*/ 0 h 1848"/>
                  <a:gd name="T54" fmla="*/ 0 w 1514"/>
                  <a:gd name="T55" fmla="*/ 0 h 1848"/>
                  <a:gd name="T56" fmla="*/ 0 w 1514"/>
                  <a:gd name="T57" fmla="*/ 0 h 1848"/>
                  <a:gd name="T58" fmla="*/ 0 w 1514"/>
                  <a:gd name="T59" fmla="*/ 0 h 1848"/>
                  <a:gd name="T60" fmla="*/ 0 w 1514"/>
                  <a:gd name="T61" fmla="*/ 0 h 1848"/>
                  <a:gd name="T62" fmla="*/ 0 w 1514"/>
                  <a:gd name="T63" fmla="*/ 0 h 1848"/>
                  <a:gd name="T64" fmla="*/ 0 w 1514"/>
                  <a:gd name="T65" fmla="*/ 0 h 1848"/>
                  <a:gd name="T66" fmla="*/ 0 w 1514"/>
                  <a:gd name="T67" fmla="*/ 0 h 1848"/>
                  <a:gd name="T68" fmla="*/ 0 w 1514"/>
                  <a:gd name="T69" fmla="*/ 0 h 1848"/>
                  <a:gd name="T70" fmla="*/ 0 w 1514"/>
                  <a:gd name="T71" fmla="*/ 0 h 1848"/>
                  <a:gd name="T72" fmla="*/ 0 w 1514"/>
                  <a:gd name="T73" fmla="*/ 0 h 1848"/>
                  <a:gd name="T74" fmla="*/ 0 w 1514"/>
                  <a:gd name="T75" fmla="*/ 0 h 1848"/>
                  <a:gd name="T76" fmla="*/ 0 w 1514"/>
                  <a:gd name="T77" fmla="*/ 0 h 1848"/>
                  <a:gd name="T78" fmla="*/ 0 w 1514"/>
                  <a:gd name="T79" fmla="*/ 0 h 1848"/>
                  <a:gd name="T80" fmla="*/ 0 w 1514"/>
                  <a:gd name="T81" fmla="*/ 0 h 1848"/>
                  <a:gd name="T82" fmla="*/ 0 w 1514"/>
                  <a:gd name="T83" fmla="*/ 0 h 1848"/>
                  <a:gd name="T84" fmla="*/ 0 w 1514"/>
                  <a:gd name="T85" fmla="*/ 0 h 1848"/>
                  <a:gd name="T86" fmla="*/ 0 w 1514"/>
                  <a:gd name="T87" fmla="*/ 0 h 1848"/>
                  <a:gd name="T88" fmla="*/ 0 w 1514"/>
                  <a:gd name="T89" fmla="*/ 0 h 1848"/>
                  <a:gd name="T90" fmla="*/ 0 w 1514"/>
                  <a:gd name="T91" fmla="*/ 0 h 1848"/>
                  <a:gd name="T92" fmla="*/ 0 w 1514"/>
                  <a:gd name="T93" fmla="*/ 0 h 1848"/>
                  <a:gd name="T94" fmla="*/ 0 w 1514"/>
                  <a:gd name="T95" fmla="*/ 0 h 1848"/>
                  <a:gd name="T96" fmla="*/ 0 w 1514"/>
                  <a:gd name="T97" fmla="*/ 0 h 1848"/>
                  <a:gd name="T98" fmla="*/ 0 w 1514"/>
                  <a:gd name="T99" fmla="*/ 0 h 1848"/>
                  <a:gd name="T100" fmla="*/ 0 w 1514"/>
                  <a:gd name="T101" fmla="*/ 0 h 1848"/>
                  <a:gd name="T102" fmla="*/ 0 w 1514"/>
                  <a:gd name="T103" fmla="*/ 0 h 1848"/>
                  <a:gd name="T104" fmla="*/ 0 w 1514"/>
                  <a:gd name="T105" fmla="*/ 0 h 1848"/>
                  <a:gd name="T106" fmla="*/ 0 w 1514"/>
                  <a:gd name="T107" fmla="*/ 0 h 1848"/>
                  <a:gd name="T108" fmla="*/ 0 w 1514"/>
                  <a:gd name="T109" fmla="*/ 0 h 1848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w 1514"/>
                  <a:gd name="T166" fmla="*/ 0 h 1848"/>
                  <a:gd name="T167" fmla="*/ 1514 w 1514"/>
                  <a:gd name="T168" fmla="*/ 1848 h 1848"/>
                </a:gdLst>
                <a:ahLst/>
                <a:cxnLst>
                  <a:cxn ang="T110">
                    <a:pos x="T0" y="T1"/>
                  </a:cxn>
                  <a:cxn ang="T111">
                    <a:pos x="T2" y="T3"/>
                  </a:cxn>
                  <a:cxn ang="T112">
                    <a:pos x="T4" y="T5"/>
                  </a:cxn>
                  <a:cxn ang="T113">
                    <a:pos x="T6" y="T7"/>
                  </a:cxn>
                  <a:cxn ang="T114">
                    <a:pos x="T8" y="T9"/>
                  </a:cxn>
                  <a:cxn ang="T115">
                    <a:pos x="T10" y="T11"/>
                  </a:cxn>
                  <a:cxn ang="T116">
                    <a:pos x="T12" y="T13"/>
                  </a:cxn>
                  <a:cxn ang="T117">
                    <a:pos x="T14" y="T15"/>
                  </a:cxn>
                  <a:cxn ang="T118">
                    <a:pos x="T16" y="T17"/>
                  </a:cxn>
                  <a:cxn ang="T119">
                    <a:pos x="T18" y="T19"/>
                  </a:cxn>
                  <a:cxn ang="T120">
                    <a:pos x="T20" y="T21"/>
                  </a:cxn>
                  <a:cxn ang="T121">
                    <a:pos x="T22" y="T23"/>
                  </a:cxn>
                  <a:cxn ang="T122">
                    <a:pos x="T24" y="T25"/>
                  </a:cxn>
                  <a:cxn ang="T123">
                    <a:pos x="T26" y="T27"/>
                  </a:cxn>
                  <a:cxn ang="T124">
                    <a:pos x="T28" y="T29"/>
                  </a:cxn>
                  <a:cxn ang="T125">
                    <a:pos x="T30" y="T31"/>
                  </a:cxn>
                  <a:cxn ang="T126">
                    <a:pos x="T32" y="T33"/>
                  </a:cxn>
                  <a:cxn ang="T127">
                    <a:pos x="T34" y="T35"/>
                  </a:cxn>
                  <a:cxn ang="T128">
                    <a:pos x="T36" y="T37"/>
                  </a:cxn>
                  <a:cxn ang="T129">
                    <a:pos x="T38" y="T39"/>
                  </a:cxn>
                  <a:cxn ang="T130">
                    <a:pos x="T40" y="T41"/>
                  </a:cxn>
                  <a:cxn ang="T131">
                    <a:pos x="T42" y="T43"/>
                  </a:cxn>
                  <a:cxn ang="T132">
                    <a:pos x="T44" y="T45"/>
                  </a:cxn>
                  <a:cxn ang="T133">
                    <a:pos x="T46" y="T47"/>
                  </a:cxn>
                  <a:cxn ang="T134">
                    <a:pos x="T48" y="T49"/>
                  </a:cxn>
                  <a:cxn ang="T135">
                    <a:pos x="T50" y="T51"/>
                  </a:cxn>
                  <a:cxn ang="T136">
                    <a:pos x="T52" y="T53"/>
                  </a:cxn>
                  <a:cxn ang="T137">
                    <a:pos x="T54" y="T55"/>
                  </a:cxn>
                  <a:cxn ang="T138">
                    <a:pos x="T56" y="T57"/>
                  </a:cxn>
                  <a:cxn ang="T139">
                    <a:pos x="T58" y="T59"/>
                  </a:cxn>
                  <a:cxn ang="T140">
                    <a:pos x="T60" y="T61"/>
                  </a:cxn>
                  <a:cxn ang="T141">
                    <a:pos x="T62" y="T63"/>
                  </a:cxn>
                  <a:cxn ang="T142">
                    <a:pos x="T64" y="T65"/>
                  </a:cxn>
                  <a:cxn ang="T143">
                    <a:pos x="T66" y="T67"/>
                  </a:cxn>
                  <a:cxn ang="T144">
                    <a:pos x="T68" y="T69"/>
                  </a:cxn>
                  <a:cxn ang="T145">
                    <a:pos x="T70" y="T71"/>
                  </a:cxn>
                  <a:cxn ang="T146">
                    <a:pos x="T72" y="T73"/>
                  </a:cxn>
                  <a:cxn ang="T147">
                    <a:pos x="T74" y="T75"/>
                  </a:cxn>
                  <a:cxn ang="T148">
                    <a:pos x="T76" y="T77"/>
                  </a:cxn>
                  <a:cxn ang="T149">
                    <a:pos x="T78" y="T79"/>
                  </a:cxn>
                  <a:cxn ang="T150">
                    <a:pos x="T80" y="T81"/>
                  </a:cxn>
                  <a:cxn ang="T151">
                    <a:pos x="T82" y="T83"/>
                  </a:cxn>
                  <a:cxn ang="T152">
                    <a:pos x="T84" y="T85"/>
                  </a:cxn>
                  <a:cxn ang="T153">
                    <a:pos x="T86" y="T87"/>
                  </a:cxn>
                  <a:cxn ang="T154">
                    <a:pos x="T88" y="T89"/>
                  </a:cxn>
                  <a:cxn ang="T155">
                    <a:pos x="T90" y="T91"/>
                  </a:cxn>
                  <a:cxn ang="T156">
                    <a:pos x="T92" y="T93"/>
                  </a:cxn>
                  <a:cxn ang="T157">
                    <a:pos x="T94" y="T95"/>
                  </a:cxn>
                  <a:cxn ang="T158">
                    <a:pos x="T96" y="T97"/>
                  </a:cxn>
                  <a:cxn ang="T159">
                    <a:pos x="T98" y="T99"/>
                  </a:cxn>
                  <a:cxn ang="T160">
                    <a:pos x="T100" y="T101"/>
                  </a:cxn>
                  <a:cxn ang="T161">
                    <a:pos x="T102" y="T103"/>
                  </a:cxn>
                  <a:cxn ang="T162">
                    <a:pos x="T104" y="T105"/>
                  </a:cxn>
                  <a:cxn ang="T163">
                    <a:pos x="T106" y="T107"/>
                  </a:cxn>
                  <a:cxn ang="T164">
                    <a:pos x="T108" y="T109"/>
                  </a:cxn>
                </a:cxnLst>
                <a:rect l="T165" t="T166" r="T167" b="T168"/>
                <a:pathLst>
                  <a:path w="1514" h="1848">
                    <a:moveTo>
                      <a:pt x="558" y="0"/>
                    </a:moveTo>
                    <a:lnTo>
                      <a:pt x="677" y="22"/>
                    </a:lnTo>
                    <a:lnTo>
                      <a:pt x="645" y="60"/>
                    </a:lnTo>
                    <a:lnTo>
                      <a:pt x="613" y="95"/>
                    </a:lnTo>
                    <a:lnTo>
                      <a:pt x="582" y="131"/>
                    </a:lnTo>
                    <a:lnTo>
                      <a:pt x="551" y="166"/>
                    </a:lnTo>
                    <a:lnTo>
                      <a:pt x="521" y="201"/>
                    </a:lnTo>
                    <a:lnTo>
                      <a:pt x="492" y="236"/>
                    </a:lnTo>
                    <a:lnTo>
                      <a:pt x="464" y="271"/>
                    </a:lnTo>
                    <a:lnTo>
                      <a:pt x="437" y="305"/>
                    </a:lnTo>
                    <a:lnTo>
                      <a:pt x="417" y="332"/>
                    </a:lnTo>
                    <a:lnTo>
                      <a:pt x="398" y="360"/>
                    </a:lnTo>
                    <a:lnTo>
                      <a:pt x="379" y="391"/>
                    </a:lnTo>
                    <a:lnTo>
                      <a:pt x="361" y="422"/>
                    </a:lnTo>
                    <a:lnTo>
                      <a:pt x="343" y="456"/>
                    </a:lnTo>
                    <a:lnTo>
                      <a:pt x="325" y="491"/>
                    </a:lnTo>
                    <a:lnTo>
                      <a:pt x="309" y="527"/>
                    </a:lnTo>
                    <a:lnTo>
                      <a:pt x="292" y="564"/>
                    </a:lnTo>
                    <a:lnTo>
                      <a:pt x="277" y="603"/>
                    </a:lnTo>
                    <a:lnTo>
                      <a:pt x="261" y="643"/>
                    </a:lnTo>
                    <a:lnTo>
                      <a:pt x="247" y="683"/>
                    </a:lnTo>
                    <a:lnTo>
                      <a:pt x="234" y="725"/>
                    </a:lnTo>
                    <a:lnTo>
                      <a:pt x="220" y="766"/>
                    </a:lnTo>
                    <a:lnTo>
                      <a:pt x="208" y="808"/>
                    </a:lnTo>
                    <a:lnTo>
                      <a:pt x="196" y="851"/>
                    </a:lnTo>
                    <a:lnTo>
                      <a:pt x="185" y="894"/>
                    </a:lnTo>
                    <a:lnTo>
                      <a:pt x="176" y="938"/>
                    </a:lnTo>
                    <a:lnTo>
                      <a:pt x="165" y="981"/>
                    </a:lnTo>
                    <a:lnTo>
                      <a:pt x="157" y="1024"/>
                    </a:lnTo>
                    <a:lnTo>
                      <a:pt x="149" y="1068"/>
                    </a:lnTo>
                    <a:lnTo>
                      <a:pt x="142" y="1111"/>
                    </a:lnTo>
                    <a:lnTo>
                      <a:pt x="135" y="1154"/>
                    </a:lnTo>
                    <a:lnTo>
                      <a:pt x="130" y="1196"/>
                    </a:lnTo>
                    <a:lnTo>
                      <a:pt x="126" y="1237"/>
                    </a:lnTo>
                    <a:lnTo>
                      <a:pt x="122" y="1279"/>
                    </a:lnTo>
                    <a:lnTo>
                      <a:pt x="120" y="1319"/>
                    </a:lnTo>
                    <a:lnTo>
                      <a:pt x="118" y="1358"/>
                    </a:lnTo>
                    <a:lnTo>
                      <a:pt x="117" y="1397"/>
                    </a:lnTo>
                    <a:lnTo>
                      <a:pt x="117" y="1434"/>
                    </a:lnTo>
                    <a:lnTo>
                      <a:pt x="118" y="1470"/>
                    </a:lnTo>
                    <a:lnTo>
                      <a:pt x="121" y="1504"/>
                    </a:lnTo>
                    <a:lnTo>
                      <a:pt x="124" y="1537"/>
                    </a:lnTo>
                    <a:lnTo>
                      <a:pt x="1006" y="1733"/>
                    </a:lnTo>
                    <a:lnTo>
                      <a:pt x="999" y="1701"/>
                    </a:lnTo>
                    <a:lnTo>
                      <a:pt x="992" y="1667"/>
                    </a:lnTo>
                    <a:lnTo>
                      <a:pt x="987" y="1632"/>
                    </a:lnTo>
                    <a:lnTo>
                      <a:pt x="982" y="1596"/>
                    </a:lnTo>
                    <a:lnTo>
                      <a:pt x="978" y="1560"/>
                    </a:lnTo>
                    <a:lnTo>
                      <a:pt x="973" y="1522"/>
                    </a:lnTo>
                    <a:lnTo>
                      <a:pt x="971" y="1484"/>
                    </a:lnTo>
                    <a:lnTo>
                      <a:pt x="969" y="1444"/>
                    </a:lnTo>
                    <a:lnTo>
                      <a:pt x="968" y="1404"/>
                    </a:lnTo>
                    <a:lnTo>
                      <a:pt x="968" y="1364"/>
                    </a:lnTo>
                    <a:lnTo>
                      <a:pt x="968" y="1322"/>
                    </a:lnTo>
                    <a:lnTo>
                      <a:pt x="970" y="1281"/>
                    </a:lnTo>
                    <a:lnTo>
                      <a:pt x="972" y="1239"/>
                    </a:lnTo>
                    <a:lnTo>
                      <a:pt x="974" y="1198"/>
                    </a:lnTo>
                    <a:lnTo>
                      <a:pt x="979" y="1156"/>
                    </a:lnTo>
                    <a:lnTo>
                      <a:pt x="983" y="1114"/>
                    </a:lnTo>
                    <a:lnTo>
                      <a:pt x="988" y="1072"/>
                    </a:lnTo>
                    <a:lnTo>
                      <a:pt x="994" y="1031"/>
                    </a:lnTo>
                    <a:lnTo>
                      <a:pt x="1001" y="989"/>
                    </a:lnTo>
                    <a:lnTo>
                      <a:pt x="1009" y="949"/>
                    </a:lnTo>
                    <a:lnTo>
                      <a:pt x="1017" y="909"/>
                    </a:lnTo>
                    <a:lnTo>
                      <a:pt x="1025" y="868"/>
                    </a:lnTo>
                    <a:lnTo>
                      <a:pt x="1035" y="830"/>
                    </a:lnTo>
                    <a:lnTo>
                      <a:pt x="1046" y="791"/>
                    </a:lnTo>
                    <a:lnTo>
                      <a:pt x="1057" y="754"/>
                    </a:lnTo>
                    <a:lnTo>
                      <a:pt x="1068" y="717"/>
                    </a:lnTo>
                    <a:lnTo>
                      <a:pt x="1081" y="682"/>
                    </a:lnTo>
                    <a:lnTo>
                      <a:pt x="1094" y="647"/>
                    </a:lnTo>
                    <a:lnTo>
                      <a:pt x="1109" y="614"/>
                    </a:lnTo>
                    <a:lnTo>
                      <a:pt x="1123" y="582"/>
                    </a:lnTo>
                    <a:lnTo>
                      <a:pt x="1139" y="552"/>
                    </a:lnTo>
                    <a:lnTo>
                      <a:pt x="1154" y="523"/>
                    </a:lnTo>
                    <a:lnTo>
                      <a:pt x="1180" y="481"/>
                    </a:lnTo>
                    <a:lnTo>
                      <a:pt x="1208" y="437"/>
                    </a:lnTo>
                    <a:lnTo>
                      <a:pt x="1237" y="394"/>
                    </a:lnTo>
                    <a:lnTo>
                      <a:pt x="1268" y="349"/>
                    </a:lnTo>
                    <a:lnTo>
                      <a:pt x="1301" y="304"/>
                    </a:lnTo>
                    <a:lnTo>
                      <a:pt x="1334" y="258"/>
                    </a:lnTo>
                    <a:lnTo>
                      <a:pt x="1368" y="212"/>
                    </a:lnTo>
                    <a:lnTo>
                      <a:pt x="1404" y="165"/>
                    </a:lnTo>
                    <a:lnTo>
                      <a:pt x="1514" y="187"/>
                    </a:lnTo>
                    <a:lnTo>
                      <a:pt x="1490" y="220"/>
                    </a:lnTo>
                    <a:lnTo>
                      <a:pt x="1466" y="254"/>
                    </a:lnTo>
                    <a:lnTo>
                      <a:pt x="1443" y="288"/>
                    </a:lnTo>
                    <a:lnTo>
                      <a:pt x="1419" y="322"/>
                    </a:lnTo>
                    <a:lnTo>
                      <a:pt x="1396" y="357"/>
                    </a:lnTo>
                    <a:lnTo>
                      <a:pt x="1373" y="394"/>
                    </a:lnTo>
                    <a:lnTo>
                      <a:pt x="1352" y="430"/>
                    </a:lnTo>
                    <a:lnTo>
                      <a:pt x="1329" y="466"/>
                    </a:lnTo>
                    <a:lnTo>
                      <a:pt x="1310" y="500"/>
                    </a:lnTo>
                    <a:lnTo>
                      <a:pt x="1293" y="534"/>
                    </a:lnTo>
                    <a:lnTo>
                      <a:pt x="1275" y="572"/>
                    </a:lnTo>
                    <a:lnTo>
                      <a:pt x="1260" y="610"/>
                    </a:lnTo>
                    <a:lnTo>
                      <a:pt x="1244" y="649"/>
                    </a:lnTo>
                    <a:lnTo>
                      <a:pt x="1230" y="689"/>
                    </a:lnTo>
                    <a:lnTo>
                      <a:pt x="1215" y="731"/>
                    </a:lnTo>
                    <a:lnTo>
                      <a:pt x="1203" y="774"/>
                    </a:lnTo>
                    <a:lnTo>
                      <a:pt x="1190" y="818"/>
                    </a:lnTo>
                    <a:lnTo>
                      <a:pt x="1179" y="862"/>
                    </a:lnTo>
                    <a:lnTo>
                      <a:pt x="1169" y="908"/>
                    </a:lnTo>
                    <a:lnTo>
                      <a:pt x="1159" y="953"/>
                    </a:lnTo>
                    <a:lnTo>
                      <a:pt x="1150" y="1000"/>
                    </a:lnTo>
                    <a:lnTo>
                      <a:pt x="1143" y="1046"/>
                    </a:lnTo>
                    <a:lnTo>
                      <a:pt x="1136" y="1094"/>
                    </a:lnTo>
                    <a:lnTo>
                      <a:pt x="1129" y="1141"/>
                    </a:lnTo>
                    <a:lnTo>
                      <a:pt x="1124" y="1189"/>
                    </a:lnTo>
                    <a:lnTo>
                      <a:pt x="1120" y="1236"/>
                    </a:lnTo>
                    <a:lnTo>
                      <a:pt x="1117" y="1284"/>
                    </a:lnTo>
                    <a:lnTo>
                      <a:pt x="1115" y="1330"/>
                    </a:lnTo>
                    <a:lnTo>
                      <a:pt x="1113" y="1378"/>
                    </a:lnTo>
                    <a:lnTo>
                      <a:pt x="1112" y="1425"/>
                    </a:lnTo>
                    <a:lnTo>
                      <a:pt x="1113" y="1471"/>
                    </a:lnTo>
                    <a:lnTo>
                      <a:pt x="1114" y="1517"/>
                    </a:lnTo>
                    <a:lnTo>
                      <a:pt x="1116" y="1561"/>
                    </a:lnTo>
                    <a:lnTo>
                      <a:pt x="1119" y="1606"/>
                    </a:lnTo>
                    <a:lnTo>
                      <a:pt x="1123" y="1648"/>
                    </a:lnTo>
                    <a:lnTo>
                      <a:pt x="1127" y="1690"/>
                    </a:lnTo>
                    <a:lnTo>
                      <a:pt x="1134" y="1732"/>
                    </a:lnTo>
                    <a:lnTo>
                      <a:pt x="1141" y="1772"/>
                    </a:lnTo>
                    <a:lnTo>
                      <a:pt x="1148" y="1810"/>
                    </a:lnTo>
                    <a:lnTo>
                      <a:pt x="1157" y="1848"/>
                    </a:lnTo>
                    <a:lnTo>
                      <a:pt x="7" y="1607"/>
                    </a:lnTo>
                    <a:lnTo>
                      <a:pt x="3" y="1568"/>
                    </a:lnTo>
                    <a:lnTo>
                      <a:pt x="1" y="1529"/>
                    </a:lnTo>
                    <a:lnTo>
                      <a:pt x="0" y="1488"/>
                    </a:lnTo>
                    <a:lnTo>
                      <a:pt x="0" y="1445"/>
                    </a:lnTo>
                    <a:lnTo>
                      <a:pt x="0" y="1402"/>
                    </a:lnTo>
                    <a:lnTo>
                      <a:pt x="2" y="1357"/>
                    </a:lnTo>
                    <a:lnTo>
                      <a:pt x="5" y="1312"/>
                    </a:lnTo>
                    <a:lnTo>
                      <a:pt x="9" y="1265"/>
                    </a:lnTo>
                    <a:lnTo>
                      <a:pt x="14" y="1219"/>
                    </a:lnTo>
                    <a:lnTo>
                      <a:pt x="21" y="1171"/>
                    </a:lnTo>
                    <a:lnTo>
                      <a:pt x="28" y="1123"/>
                    </a:lnTo>
                    <a:lnTo>
                      <a:pt x="36" y="1075"/>
                    </a:lnTo>
                    <a:lnTo>
                      <a:pt x="45" y="1026"/>
                    </a:lnTo>
                    <a:lnTo>
                      <a:pt x="56" y="978"/>
                    </a:lnTo>
                    <a:lnTo>
                      <a:pt x="67" y="929"/>
                    </a:lnTo>
                    <a:lnTo>
                      <a:pt x="79" y="881"/>
                    </a:lnTo>
                    <a:lnTo>
                      <a:pt x="91" y="832"/>
                    </a:lnTo>
                    <a:lnTo>
                      <a:pt x="104" y="785"/>
                    </a:lnTo>
                    <a:lnTo>
                      <a:pt x="119" y="737"/>
                    </a:lnTo>
                    <a:lnTo>
                      <a:pt x="134" y="690"/>
                    </a:lnTo>
                    <a:lnTo>
                      <a:pt x="150" y="644"/>
                    </a:lnTo>
                    <a:lnTo>
                      <a:pt x="167" y="599"/>
                    </a:lnTo>
                    <a:lnTo>
                      <a:pt x="184" y="555"/>
                    </a:lnTo>
                    <a:lnTo>
                      <a:pt x="203" y="512"/>
                    </a:lnTo>
                    <a:lnTo>
                      <a:pt x="221" y="469"/>
                    </a:lnTo>
                    <a:lnTo>
                      <a:pt x="241" y="429"/>
                    </a:lnTo>
                    <a:lnTo>
                      <a:pt x="260" y="388"/>
                    </a:lnTo>
                    <a:lnTo>
                      <a:pt x="282" y="351"/>
                    </a:lnTo>
                    <a:lnTo>
                      <a:pt x="303" y="315"/>
                    </a:lnTo>
                    <a:lnTo>
                      <a:pt x="324" y="280"/>
                    </a:lnTo>
                    <a:lnTo>
                      <a:pt x="347" y="247"/>
                    </a:lnTo>
                    <a:lnTo>
                      <a:pt x="370" y="216"/>
                    </a:lnTo>
                    <a:lnTo>
                      <a:pt x="393" y="188"/>
                    </a:lnTo>
                    <a:lnTo>
                      <a:pt x="416" y="159"/>
                    </a:lnTo>
                    <a:lnTo>
                      <a:pt x="439" y="132"/>
                    </a:lnTo>
                    <a:lnTo>
                      <a:pt x="463" y="104"/>
                    </a:lnTo>
                    <a:lnTo>
                      <a:pt x="487" y="77"/>
                    </a:lnTo>
                    <a:lnTo>
                      <a:pt x="510" y="51"/>
                    </a:lnTo>
                    <a:lnTo>
                      <a:pt x="534" y="26"/>
                    </a:lnTo>
                    <a:lnTo>
                      <a:pt x="558" y="0"/>
                    </a:lnTo>
                    <a:close/>
                  </a:path>
                </a:pathLst>
              </a:custGeom>
              <a:solidFill>
                <a:srgbClr val="25A9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294" name="Freeform 70"/>
              <p:cNvSpPr>
                <a:spLocks/>
              </p:cNvSpPr>
              <p:nvPr/>
            </p:nvSpPr>
            <p:spPr bwMode="auto">
              <a:xfrm>
                <a:off x="3370" y="1492"/>
                <a:ext cx="184" cy="244"/>
              </a:xfrm>
              <a:custGeom>
                <a:avLst/>
                <a:gdLst>
                  <a:gd name="T0" fmla="*/ 0 w 1287"/>
                  <a:gd name="T1" fmla="*/ 0 h 1711"/>
                  <a:gd name="T2" fmla="*/ 0 w 1287"/>
                  <a:gd name="T3" fmla="*/ 0 h 1711"/>
                  <a:gd name="T4" fmla="*/ 0 w 1287"/>
                  <a:gd name="T5" fmla="*/ 0 h 1711"/>
                  <a:gd name="T6" fmla="*/ 0 w 1287"/>
                  <a:gd name="T7" fmla="*/ 0 h 1711"/>
                  <a:gd name="T8" fmla="*/ 0 w 1287"/>
                  <a:gd name="T9" fmla="*/ 0 h 1711"/>
                  <a:gd name="T10" fmla="*/ 0 w 1287"/>
                  <a:gd name="T11" fmla="*/ 0 h 1711"/>
                  <a:gd name="T12" fmla="*/ 0 w 1287"/>
                  <a:gd name="T13" fmla="*/ 0 h 1711"/>
                  <a:gd name="T14" fmla="*/ 0 w 1287"/>
                  <a:gd name="T15" fmla="*/ 0 h 1711"/>
                  <a:gd name="T16" fmla="*/ 0 w 1287"/>
                  <a:gd name="T17" fmla="*/ 0 h 1711"/>
                  <a:gd name="T18" fmla="*/ 0 w 1287"/>
                  <a:gd name="T19" fmla="*/ 0 h 1711"/>
                  <a:gd name="T20" fmla="*/ 0 w 1287"/>
                  <a:gd name="T21" fmla="*/ 0 h 1711"/>
                  <a:gd name="T22" fmla="*/ 0 w 1287"/>
                  <a:gd name="T23" fmla="*/ 0 h 1711"/>
                  <a:gd name="T24" fmla="*/ 0 w 1287"/>
                  <a:gd name="T25" fmla="*/ 0 h 1711"/>
                  <a:gd name="T26" fmla="*/ 0 w 1287"/>
                  <a:gd name="T27" fmla="*/ 0 h 1711"/>
                  <a:gd name="T28" fmla="*/ 0 w 1287"/>
                  <a:gd name="T29" fmla="*/ 0 h 1711"/>
                  <a:gd name="T30" fmla="*/ 0 w 1287"/>
                  <a:gd name="T31" fmla="*/ 0 h 1711"/>
                  <a:gd name="T32" fmla="*/ 0 w 1287"/>
                  <a:gd name="T33" fmla="*/ 0 h 1711"/>
                  <a:gd name="T34" fmla="*/ 0 w 1287"/>
                  <a:gd name="T35" fmla="*/ 0 h 1711"/>
                  <a:gd name="T36" fmla="*/ 0 w 1287"/>
                  <a:gd name="T37" fmla="*/ 0 h 1711"/>
                  <a:gd name="T38" fmla="*/ 0 w 1287"/>
                  <a:gd name="T39" fmla="*/ 0 h 1711"/>
                  <a:gd name="T40" fmla="*/ 0 w 1287"/>
                  <a:gd name="T41" fmla="*/ 0 h 1711"/>
                  <a:gd name="T42" fmla="*/ 0 w 1287"/>
                  <a:gd name="T43" fmla="*/ 0 h 1711"/>
                  <a:gd name="T44" fmla="*/ 0 w 1287"/>
                  <a:gd name="T45" fmla="*/ 0 h 1711"/>
                  <a:gd name="T46" fmla="*/ 0 w 1287"/>
                  <a:gd name="T47" fmla="*/ 0 h 1711"/>
                  <a:gd name="T48" fmla="*/ 0 w 1287"/>
                  <a:gd name="T49" fmla="*/ 0 h 1711"/>
                  <a:gd name="T50" fmla="*/ 0 w 1287"/>
                  <a:gd name="T51" fmla="*/ 0 h 1711"/>
                  <a:gd name="T52" fmla="*/ 0 w 1287"/>
                  <a:gd name="T53" fmla="*/ 0 h 1711"/>
                  <a:gd name="T54" fmla="*/ 0 w 1287"/>
                  <a:gd name="T55" fmla="*/ 0 h 1711"/>
                  <a:gd name="T56" fmla="*/ 0 w 1287"/>
                  <a:gd name="T57" fmla="*/ 0 h 1711"/>
                  <a:gd name="T58" fmla="*/ 0 w 1287"/>
                  <a:gd name="T59" fmla="*/ 0 h 1711"/>
                  <a:gd name="T60" fmla="*/ 0 w 1287"/>
                  <a:gd name="T61" fmla="*/ 0 h 1711"/>
                  <a:gd name="T62" fmla="*/ 0 w 1287"/>
                  <a:gd name="T63" fmla="*/ 0 h 1711"/>
                  <a:gd name="T64" fmla="*/ 0 w 1287"/>
                  <a:gd name="T65" fmla="*/ 0 h 1711"/>
                  <a:gd name="T66" fmla="*/ 0 w 1287"/>
                  <a:gd name="T67" fmla="*/ 0 h 1711"/>
                  <a:gd name="T68" fmla="*/ 0 w 1287"/>
                  <a:gd name="T69" fmla="*/ 0 h 1711"/>
                  <a:gd name="T70" fmla="*/ 0 w 1287"/>
                  <a:gd name="T71" fmla="*/ 0 h 1711"/>
                  <a:gd name="T72" fmla="*/ 0 w 1287"/>
                  <a:gd name="T73" fmla="*/ 0 h 1711"/>
                  <a:gd name="T74" fmla="*/ 0 w 1287"/>
                  <a:gd name="T75" fmla="*/ 0 h 1711"/>
                  <a:gd name="T76" fmla="*/ 0 w 1287"/>
                  <a:gd name="T77" fmla="*/ 0 h 1711"/>
                  <a:gd name="T78" fmla="*/ 0 w 1287"/>
                  <a:gd name="T79" fmla="*/ 0 h 1711"/>
                  <a:gd name="T80" fmla="*/ 0 w 1287"/>
                  <a:gd name="T81" fmla="*/ 0 h 1711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1287"/>
                  <a:gd name="T124" fmla="*/ 0 h 1711"/>
                  <a:gd name="T125" fmla="*/ 1287 w 1287"/>
                  <a:gd name="T126" fmla="*/ 1711 h 1711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1287" h="1711">
                    <a:moveTo>
                      <a:pt x="1037" y="501"/>
                    </a:moveTo>
                    <a:lnTo>
                      <a:pt x="1022" y="530"/>
                    </a:lnTo>
                    <a:lnTo>
                      <a:pt x="1006" y="560"/>
                    </a:lnTo>
                    <a:lnTo>
                      <a:pt x="992" y="592"/>
                    </a:lnTo>
                    <a:lnTo>
                      <a:pt x="977" y="625"/>
                    </a:lnTo>
                    <a:lnTo>
                      <a:pt x="964" y="660"/>
                    </a:lnTo>
                    <a:lnTo>
                      <a:pt x="951" y="695"/>
                    </a:lnTo>
                    <a:lnTo>
                      <a:pt x="940" y="732"/>
                    </a:lnTo>
                    <a:lnTo>
                      <a:pt x="929" y="769"/>
                    </a:lnTo>
                    <a:lnTo>
                      <a:pt x="918" y="808"/>
                    </a:lnTo>
                    <a:lnTo>
                      <a:pt x="908" y="846"/>
                    </a:lnTo>
                    <a:lnTo>
                      <a:pt x="900" y="887"/>
                    </a:lnTo>
                    <a:lnTo>
                      <a:pt x="892" y="927"/>
                    </a:lnTo>
                    <a:lnTo>
                      <a:pt x="884" y="967"/>
                    </a:lnTo>
                    <a:lnTo>
                      <a:pt x="877" y="1009"/>
                    </a:lnTo>
                    <a:lnTo>
                      <a:pt x="871" y="1050"/>
                    </a:lnTo>
                    <a:lnTo>
                      <a:pt x="866" y="1092"/>
                    </a:lnTo>
                    <a:lnTo>
                      <a:pt x="862" y="1134"/>
                    </a:lnTo>
                    <a:lnTo>
                      <a:pt x="857" y="1176"/>
                    </a:lnTo>
                    <a:lnTo>
                      <a:pt x="855" y="1217"/>
                    </a:lnTo>
                    <a:lnTo>
                      <a:pt x="853" y="1259"/>
                    </a:lnTo>
                    <a:lnTo>
                      <a:pt x="851" y="1300"/>
                    </a:lnTo>
                    <a:lnTo>
                      <a:pt x="851" y="1342"/>
                    </a:lnTo>
                    <a:lnTo>
                      <a:pt x="851" y="1382"/>
                    </a:lnTo>
                    <a:lnTo>
                      <a:pt x="852" y="1422"/>
                    </a:lnTo>
                    <a:lnTo>
                      <a:pt x="854" y="1462"/>
                    </a:lnTo>
                    <a:lnTo>
                      <a:pt x="856" y="1500"/>
                    </a:lnTo>
                    <a:lnTo>
                      <a:pt x="861" y="1538"/>
                    </a:lnTo>
                    <a:lnTo>
                      <a:pt x="865" y="1574"/>
                    </a:lnTo>
                    <a:lnTo>
                      <a:pt x="870" y="1610"/>
                    </a:lnTo>
                    <a:lnTo>
                      <a:pt x="875" y="1645"/>
                    </a:lnTo>
                    <a:lnTo>
                      <a:pt x="882" y="1679"/>
                    </a:lnTo>
                    <a:lnTo>
                      <a:pt x="889" y="1711"/>
                    </a:lnTo>
                    <a:lnTo>
                      <a:pt x="7" y="1515"/>
                    </a:lnTo>
                    <a:lnTo>
                      <a:pt x="4" y="1482"/>
                    </a:lnTo>
                    <a:lnTo>
                      <a:pt x="1" y="1448"/>
                    </a:lnTo>
                    <a:lnTo>
                      <a:pt x="0" y="1412"/>
                    </a:lnTo>
                    <a:lnTo>
                      <a:pt x="0" y="1375"/>
                    </a:lnTo>
                    <a:lnTo>
                      <a:pt x="1" y="1336"/>
                    </a:lnTo>
                    <a:lnTo>
                      <a:pt x="3" y="1297"/>
                    </a:lnTo>
                    <a:lnTo>
                      <a:pt x="5" y="1257"/>
                    </a:lnTo>
                    <a:lnTo>
                      <a:pt x="9" y="1215"/>
                    </a:lnTo>
                    <a:lnTo>
                      <a:pt x="13" y="1174"/>
                    </a:lnTo>
                    <a:lnTo>
                      <a:pt x="18" y="1132"/>
                    </a:lnTo>
                    <a:lnTo>
                      <a:pt x="25" y="1089"/>
                    </a:lnTo>
                    <a:lnTo>
                      <a:pt x="32" y="1046"/>
                    </a:lnTo>
                    <a:lnTo>
                      <a:pt x="40" y="1002"/>
                    </a:lnTo>
                    <a:lnTo>
                      <a:pt x="48" y="959"/>
                    </a:lnTo>
                    <a:lnTo>
                      <a:pt x="59" y="916"/>
                    </a:lnTo>
                    <a:lnTo>
                      <a:pt x="68" y="872"/>
                    </a:lnTo>
                    <a:lnTo>
                      <a:pt x="79" y="829"/>
                    </a:lnTo>
                    <a:lnTo>
                      <a:pt x="91" y="786"/>
                    </a:lnTo>
                    <a:lnTo>
                      <a:pt x="103" y="744"/>
                    </a:lnTo>
                    <a:lnTo>
                      <a:pt x="117" y="703"/>
                    </a:lnTo>
                    <a:lnTo>
                      <a:pt x="130" y="661"/>
                    </a:lnTo>
                    <a:lnTo>
                      <a:pt x="144" y="621"/>
                    </a:lnTo>
                    <a:lnTo>
                      <a:pt x="160" y="581"/>
                    </a:lnTo>
                    <a:lnTo>
                      <a:pt x="175" y="542"/>
                    </a:lnTo>
                    <a:lnTo>
                      <a:pt x="192" y="505"/>
                    </a:lnTo>
                    <a:lnTo>
                      <a:pt x="208" y="469"/>
                    </a:lnTo>
                    <a:lnTo>
                      <a:pt x="226" y="434"/>
                    </a:lnTo>
                    <a:lnTo>
                      <a:pt x="244" y="400"/>
                    </a:lnTo>
                    <a:lnTo>
                      <a:pt x="262" y="369"/>
                    </a:lnTo>
                    <a:lnTo>
                      <a:pt x="281" y="338"/>
                    </a:lnTo>
                    <a:lnTo>
                      <a:pt x="300" y="310"/>
                    </a:lnTo>
                    <a:lnTo>
                      <a:pt x="320" y="283"/>
                    </a:lnTo>
                    <a:lnTo>
                      <a:pt x="347" y="249"/>
                    </a:lnTo>
                    <a:lnTo>
                      <a:pt x="375" y="214"/>
                    </a:lnTo>
                    <a:lnTo>
                      <a:pt x="404" y="179"/>
                    </a:lnTo>
                    <a:lnTo>
                      <a:pt x="434" y="144"/>
                    </a:lnTo>
                    <a:lnTo>
                      <a:pt x="465" y="109"/>
                    </a:lnTo>
                    <a:lnTo>
                      <a:pt x="496" y="73"/>
                    </a:lnTo>
                    <a:lnTo>
                      <a:pt x="528" y="38"/>
                    </a:lnTo>
                    <a:lnTo>
                      <a:pt x="560" y="0"/>
                    </a:lnTo>
                    <a:lnTo>
                      <a:pt x="1287" y="143"/>
                    </a:lnTo>
                    <a:lnTo>
                      <a:pt x="1251" y="190"/>
                    </a:lnTo>
                    <a:lnTo>
                      <a:pt x="1217" y="236"/>
                    </a:lnTo>
                    <a:lnTo>
                      <a:pt x="1184" y="282"/>
                    </a:lnTo>
                    <a:lnTo>
                      <a:pt x="1151" y="327"/>
                    </a:lnTo>
                    <a:lnTo>
                      <a:pt x="1120" y="372"/>
                    </a:lnTo>
                    <a:lnTo>
                      <a:pt x="1091" y="415"/>
                    </a:lnTo>
                    <a:lnTo>
                      <a:pt x="1063" y="459"/>
                    </a:lnTo>
                    <a:lnTo>
                      <a:pt x="1037" y="501"/>
                    </a:lnTo>
                    <a:close/>
                  </a:path>
                </a:pathLst>
              </a:custGeom>
              <a:solidFill>
                <a:srgbClr val="25A9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295" name="Freeform 71"/>
              <p:cNvSpPr>
                <a:spLocks noEditPoints="1"/>
              </p:cNvSpPr>
              <p:nvPr/>
            </p:nvSpPr>
            <p:spPr bwMode="auto">
              <a:xfrm>
                <a:off x="3367" y="1489"/>
                <a:ext cx="192" cy="252"/>
              </a:xfrm>
              <a:custGeom>
                <a:avLst/>
                <a:gdLst>
                  <a:gd name="T0" fmla="*/ 0 w 1349"/>
                  <a:gd name="T1" fmla="*/ 0 h 1764"/>
                  <a:gd name="T2" fmla="*/ 0 w 1349"/>
                  <a:gd name="T3" fmla="*/ 0 h 1764"/>
                  <a:gd name="T4" fmla="*/ 0 w 1349"/>
                  <a:gd name="T5" fmla="*/ 0 h 1764"/>
                  <a:gd name="T6" fmla="*/ 0 w 1349"/>
                  <a:gd name="T7" fmla="*/ 0 h 1764"/>
                  <a:gd name="T8" fmla="*/ 0 w 1349"/>
                  <a:gd name="T9" fmla="*/ 0 h 1764"/>
                  <a:gd name="T10" fmla="*/ 0 w 1349"/>
                  <a:gd name="T11" fmla="*/ 0 h 1764"/>
                  <a:gd name="T12" fmla="*/ 0 w 1349"/>
                  <a:gd name="T13" fmla="*/ 0 h 1764"/>
                  <a:gd name="T14" fmla="*/ 0 w 1349"/>
                  <a:gd name="T15" fmla="*/ 0 h 1764"/>
                  <a:gd name="T16" fmla="*/ 0 w 1349"/>
                  <a:gd name="T17" fmla="*/ 0 h 1764"/>
                  <a:gd name="T18" fmla="*/ 0 w 1349"/>
                  <a:gd name="T19" fmla="*/ 0 h 1764"/>
                  <a:gd name="T20" fmla="*/ 0 w 1349"/>
                  <a:gd name="T21" fmla="*/ 0 h 1764"/>
                  <a:gd name="T22" fmla="*/ 0 w 1349"/>
                  <a:gd name="T23" fmla="*/ 0 h 1764"/>
                  <a:gd name="T24" fmla="*/ 0 w 1349"/>
                  <a:gd name="T25" fmla="*/ 0 h 1764"/>
                  <a:gd name="T26" fmla="*/ 0 w 1349"/>
                  <a:gd name="T27" fmla="*/ 0 h 1764"/>
                  <a:gd name="T28" fmla="*/ 0 w 1349"/>
                  <a:gd name="T29" fmla="*/ 0 h 1764"/>
                  <a:gd name="T30" fmla="*/ 0 w 1349"/>
                  <a:gd name="T31" fmla="*/ 0 h 1764"/>
                  <a:gd name="T32" fmla="*/ 0 w 1349"/>
                  <a:gd name="T33" fmla="*/ 0 h 1764"/>
                  <a:gd name="T34" fmla="*/ 0 w 1349"/>
                  <a:gd name="T35" fmla="*/ 0 h 1764"/>
                  <a:gd name="T36" fmla="*/ 0 w 1349"/>
                  <a:gd name="T37" fmla="*/ 0 h 1764"/>
                  <a:gd name="T38" fmla="*/ 0 w 1349"/>
                  <a:gd name="T39" fmla="*/ 0 h 1764"/>
                  <a:gd name="T40" fmla="*/ 0 w 1349"/>
                  <a:gd name="T41" fmla="*/ 0 h 1764"/>
                  <a:gd name="T42" fmla="*/ 0 w 1349"/>
                  <a:gd name="T43" fmla="*/ 0 h 1764"/>
                  <a:gd name="T44" fmla="*/ 0 w 1349"/>
                  <a:gd name="T45" fmla="*/ 0 h 1764"/>
                  <a:gd name="T46" fmla="*/ 0 w 1349"/>
                  <a:gd name="T47" fmla="*/ 0 h 1764"/>
                  <a:gd name="T48" fmla="*/ 0 w 1349"/>
                  <a:gd name="T49" fmla="*/ 0 h 1764"/>
                  <a:gd name="T50" fmla="*/ 0 w 1349"/>
                  <a:gd name="T51" fmla="*/ 0 h 1764"/>
                  <a:gd name="T52" fmla="*/ 0 w 1349"/>
                  <a:gd name="T53" fmla="*/ 0 h 1764"/>
                  <a:gd name="T54" fmla="*/ 0 w 1349"/>
                  <a:gd name="T55" fmla="*/ 0 h 1764"/>
                  <a:gd name="T56" fmla="*/ 0 w 1349"/>
                  <a:gd name="T57" fmla="*/ 0 h 1764"/>
                  <a:gd name="T58" fmla="*/ 0 w 1349"/>
                  <a:gd name="T59" fmla="*/ 0 h 1764"/>
                  <a:gd name="T60" fmla="*/ 0 w 1349"/>
                  <a:gd name="T61" fmla="*/ 0 h 1764"/>
                  <a:gd name="T62" fmla="*/ 0 w 1349"/>
                  <a:gd name="T63" fmla="*/ 0 h 1764"/>
                  <a:gd name="T64" fmla="*/ 0 w 1349"/>
                  <a:gd name="T65" fmla="*/ 0 h 1764"/>
                  <a:gd name="T66" fmla="*/ 0 w 1349"/>
                  <a:gd name="T67" fmla="*/ 0 h 1764"/>
                  <a:gd name="T68" fmla="*/ 0 w 1349"/>
                  <a:gd name="T69" fmla="*/ 0 h 1764"/>
                  <a:gd name="T70" fmla="*/ 0 w 1349"/>
                  <a:gd name="T71" fmla="*/ 0 h 1764"/>
                  <a:gd name="T72" fmla="*/ 0 w 1349"/>
                  <a:gd name="T73" fmla="*/ 0 h 1764"/>
                  <a:gd name="T74" fmla="*/ 0 w 1349"/>
                  <a:gd name="T75" fmla="*/ 0 h 1764"/>
                  <a:gd name="T76" fmla="*/ 0 w 1349"/>
                  <a:gd name="T77" fmla="*/ 0 h 1764"/>
                  <a:gd name="T78" fmla="*/ 0 w 1349"/>
                  <a:gd name="T79" fmla="*/ 0 h 1764"/>
                  <a:gd name="T80" fmla="*/ 0 w 1349"/>
                  <a:gd name="T81" fmla="*/ 0 h 1764"/>
                  <a:gd name="T82" fmla="*/ 0 w 1349"/>
                  <a:gd name="T83" fmla="*/ 0 h 1764"/>
                  <a:gd name="T84" fmla="*/ 0 w 1349"/>
                  <a:gd name="T85" fmla="*/ 0 h 1764"/>
                  <a:gd name="T86" fmla="*/ 0 w 1349"/>
                  <a:gd name="T87" fmla="*/ 0 h 1764"/>
                  <a:gd name="T88" fmla="*/ 0 w 1349"/>
                  <a:gd name="T89" fmla="*/ 0 h 1764"/>
                  <a:gd name="T90" fmla="*/ 0 w 1349"/>
                  <a:gd name="T91" fmla="*/ 0 h 1764"/>
                  <a:gd name="T92" fmla="*/ 0 w 1349"/>
                  <a:gd name="T93" fmla="*/ 0 h 1764"/>
                  <a:gd name="T94" fmla="*/ 0 w 1349"/>
                  <a:gd name="T95" fmla="*/ 0 h 1764"/>
                  <a:gd name="T96" fmla="*/ 0 w 1349"/>
                  <a:gd name="T97" fmla="*/ 0 h 1764"/>
                  <a:gd name="T98" fmla="*/ 0 w 1349"/>
                  <a:gd name="T99" fmla="*/ 0 h 1764"/>
                  <a:gd name="T100" fmla="*/ 0 w 1349"/>
                  <a:gd name="T101" fmla="*/ 0 h 1764"/>
                  <a:gd name="T102" fmla="*/ 0 w 1349"/>
                  <a:gd name="T103" fmla="*/ 0 h 1764"/>
                  <a:gd name="T104" fmla="*/ 0 w 1349"/>
                  <a:gd name="T105" fmla="*/ 0 h 1764"/>
                  <a:gd name="T106" fmla="*/ 0 w 1349"/>
                  <a:gd name="T107" fmla="*/ 0 h 1764"/>
                  <a:gd name="T108" fmla="*/ 0 w 1349"/>
                  <a:gd name="T109" fmla="*/ 0 h 1764"/>
                  <a:gd name="T110" fmla="*/ 0 w 1349"/>
                  <a:gd name="T111" fmla="*/ 0 h 1764"/>
                  <a:gd name="T112" fmla="*/ 0 w 1349"/>
                  <a:gd name="T113" fmla="*/ 0 h 1764"/>
                  <a:gd name="T114" fmla="*/ 0 w 1349"/>
                  <a:gd name="T115" fmla="*/ 0 h 1764"/>
                  <a:gd name="T116" fmla="*/ 0 w 1349"/>
                  <a:gd name="T117" fmla="*/ 0 h 1764"/>
                  <a:gd name="T118" fmla="*/ 0 w 1349"/>
                  <a:gd name="T119" fmla="*/ 0 h 1764"/>
                  <a:gd name="T120" fmla="*/ 0 w 1349"/>
                  <a:gd name="T121" fmla="*/ 0 h 1764"/>
                  <a:gd name="T122" fmla="*/ 0 w 1349"/>
                  <a:gd name="T123" fmla="*/ 0 h 1764"/>
                  <a:gd name="T124" fmla="*/ 0 w 1349"/>
                  <a:gd name="T125" fmla="*/ 0 h 176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1349"/>
                  <a:gd name="T190" fmla="*/ 0 h 1764"/>
                  <a:gd name="T191" fmla="*/ 1349 w 1349"/>
                  <a:gd name="T192" fmla="*/ 1764 h 1764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1349" h="1764">
                    <a:moveTo>
                      <a:pt x="574" y="0"/>
                    </a:moveTo>
                    <a:lnTo>
                      <a:pt x="565" y="9"/>
                    </a:lnTo>
                    <a:lnTo>
                      <a:pt x="536" y="42"/>
                    </a:lnTo>
                    <a:lnTo>
                      <a:pt x="506" y="75"/>
                    </a:lnTo>
                    <a:lnTo>
                      <a:pt x="475" y="110"/>
                    </a:lnTo>
                    <a:lnTo>
                      <a:pt x="445" y="145"/>
                    </a:lnTo>
                    <a:lnTo>
                      <a:pt x="414" y="182"/>
                    </a:lnTo>
                    <a:lnTo>
                      <a:pt x="383" y="218"/>
                    </a:lnTo>
                    <a:lnTo>
                      <a:pt x="353" y="255"/>
                    </a:lnTo>
                    <a:lnTo>
                      <a:pt x="325" y="291"/>
                    </a:lnTo>
                    <a:lnTo>
                      <a:pt x="304" y="320"/>
                    </a:lnTo>
                    <a:lnTo>
                      <a:pt x="283" y="350"/>
                    </a:lnTo>
                    <a:lnTo>
                      <a:pt x="264" y="381"/>
                    </a:lnTo>
                    <a:lnTo>
                      <a:pt x="244" y="414"/>
                    </a:lnTo>
                    <a:lnTo>
                      <a:pt x="225" y="449"/>
                    </a:lnTo>
                    <a:lnTo>
                      <a:pt x="208" y="486"/>
                    </a:lnTo>
                    <a:lnTo>
                      <a:pt x="190" y="523"/>
                    </a:lnTo>
                    <a:lnTo>
                      <a:pt x="174" y="561"/>
                    </a:lnTo>
                    <a:lnTo>
                      <a:pt x="158" y="600"/>
                    </a:lnTo>
                    <a:lnTo>
                      <a:pt x="143" y="642"/>
                    </a:lnTo>
                    <a:lnTo>
                      <a:pt x="128" y="683"/>
                    </a:lnTo>
                    <a:lnTo>
                      <a:pt x="114" y="725"/>
                    </a:lnTo>
                    <a:lnTo>
                      <a:pt x="101" y="767"/>
                    </a:lnTo>
                    <a:lnTo>
                      <a:pt x="89" y="810"/>
                    </a:lnTo>
                    <a:lnTo>
                      <a:pt x="77" y="854"/>
                    </a:lnTo>
                    <a:lnTo>
                      <a:pt x="66" y="897"/>
                    </a:lnTo>
                    <a:lnTo>
                      <a:pt x="56" y="942"/>
                    </a:lnTo>
                    <a:lnTo>
                      <a:pt x="47" y="985"/>
                    </a:lnTo>
                    <a:lnTo>
                      <a:pt x="38" y="1029"/>
                    </a:lnTo>
                    <a:lnTo>
                      <a:pt x="30" y="1073"/>
                    </a:lnTo>
                    <a:lnTo>
                      <a:pt x="24" y="1116"/>
                    </a:lnTo>
                    <a:lnTo>
                      <a:pt x="18" y="1159"/>
                    </a:lnTo>
                    <a:lnTo>
                      <a:pt x="12" y="1201"/>
                    </a:lnTo>
                    <a:lnTo>
                      <a:pt x="8" y="1243"/>
                    </a:lnTo>
                    <a:lnTo>
                      <a:pt x="4" y="1284"/>
                    </a:lnTo>
                    <a:lnTo>
                      <a:pt x="2" y="1324"/>
                    </a:lnTo>
                    <a:lnTo>
                      <a:pt x="0" y="1364"/>
                    </a:lnTo>
                    <a:lnTo>
                      <a:pt x="0" y="1402"/>
                    </a:lnTo>
                    <a:lnTo>
                      <a:pt x="0" y="1438"/>
                    </a:lnTo>
                    <a:lnTo>
                      <a:pt x="1" y="1474"/>
                    </a:lnTo>
                    <a:lnTo>
                      <a:pt x="3" y="1508"/>
                    </a:lnTo>
                    <a:lnTo>
                      <a:pt x="6" y="1540"/>
                    </a:lnTo>
                    <a:lnTo>
                      <a:pt x="8" y="1557"/>
                    </a:lnTo>
                    <a:lnTo>
                      <a:pt x="942" y="1764"/>
                    </a:lnTo>
                    <a:lnTo>
                      <a:pt x="933" y="1728"/>
                    </a:lnTo>
                    <a:lnTo>
                      <a:pt x="926" y="1695"/>
                    </a:lnTo>
                    <a:lnTo>
                      <a:pt x="919" y="1661"/>
                    </a:lnTo>
                    <a:lnTo>
                      <a:pt x="913" y="1625"/>
                    </a:lnTo>
                    <a:lnTo>
                      <a:pt x="908" y="1589"/>
                    </a:lnTo>
                    <a:lnTo>
                      <a:pt x="903" y="1552"/>
                    </a:lnTo>
                    <a:lnTo>
                      <a:pt x="900" y="1513"/>
                    </a:lnTo>
                    <a:lnTo>
                      <a:pt x="898" y="1475"/>
                    </a:lnTo>
                    <a:lnTo>
                      <a:pt x="896" y="1435"/>
                    </a:lnTo>
                    <a:lnTo>
                      <a:pt x="896" y="1396"/>
                    </a:lnTo>
                    <a:lnTo>
                      <a:pt x="896" y="1354"/>
                    </a:lnTo>
                    <a:lnTo>
                      <a:pt x="896" y="1314"/>
                    </a:lnTo>
                    <a:lnTo>
                      <a:pt x="898" y="1273"/>
                    </a:lnTo>
                    <a:lnTo>
                      <a:pt x="900" y="1231"/>
                    </a:lnTo>
                    <a:lnTo>
                      <a:pt x="903" y="1190"/>
                    </a:lnTo>
                    <a:lnTo>
                      <a:pt x="907" y="1148"/>
                    </a:lnTo>
                    <a:lnTo>
                      <a:pt x="913" y="1107"/>
                    </a:lnTo>
                    <a:lnTo>
                      <a:pt x="918" y="1066"/>
                    </a:lnTo>
                    <a:lnTo>
                      <a:pt x="924" y="1025"/>
                    </a:lnTo>
                    <a:lnTo>
                      <a:pt x="931" y="984"/>
                    </a:lnTo>
                    <a:lnTo>
                      <a:pt x="938" y="945"/>
                    </a:lnTo>
                    <a:lnTo>
                      <a:pt x="947" y="904"/>
                    </a:lnTo>
                    <a:lnTo>
                      <a:pt x="955" y="866"/>
                    </a:lnTo>
                    <a:lnTo>
                      <a:pt x="965" y="828"/>
                    </a:lnTo>
                    <a:lnTo>
                      <a:pt x="976" y="791"/>
                    </a:lnTo>
                    <a:lnTo>
                      <a:pt x="986" y="755"/>
                    </a:lnTo>
                    <a:lnTo>
                      <a:pt x="997" y="719"/>
                    </a:lnTo>
                    <a:lnTo>
                      <a:pt x="1010" y="685"/>
                    </a:lnTo>
                    <a:lnTo>
                      <a:pt x="1022" y="652"/>
                    </a:lnTo>
                    <a:lnTo>
                      <a:pt x="1035" y="621"/>
                    </a:lnTo>
                    <a:lnTo>
                      <a:pt x="1050" y="591"/>
                    </a:lnTo>
                    <a:lnTo>
                      <a:pt x="1064" y="562"/>
                    </a:lnTo>
                    <a:lnTo>
                      <a:pt x="1079" y="535"/>
                    </a:lnTo>
                    <a:lnTo>
                      <a:pt x="1107" y="490"/>
                    </a:lnTo>
                    <a:lnTo>
                      <a:pt x="1136" y="444"/>
                    </a:lnTo>
                    <a:lnTo>
                      <a:pt x="1167" y="399"/>
                    </a:lnTo>
                    <a:lnTo>
                      <a:pt x="1198" y="353"/>
                    </a:lnTo>
                    <a:lnTo>
                      <a:pt x="1231" y="309"/>
                    </a:lnTo>
                    <a:lnTo>
                      <a:pt x="1263" y="264"/>
                    </a:lnTo>
                    <a:lnTo>
                      <a:pt x="1295" y="222"/>
                    </a:lnTo>
                    <a:lnTo>
                      <a:pt x="1327" y="180"/>
                    </a:lnTo>
                    <a:lnTo>
                      <a:pt x="1349" y="152"/>
                    </a:lnTo>
                    <a:lnTo>
                      <a:pt x="587" y="2"/>
                    </a:lnTo>
                    <a:lnTo>
                      <a:pt x="574" y="0"/>
                    </a:lnTo>
                    <a:close/>
                    <a:moveTo>
                      <a:pt x="1270" y="182"/>
                    </a:moveTo>
                    <a:lnTo>
                      <a:pt x="1240" y="221"/>
                    </a:lnTo>
                    <a:lnTo>
                      <a:pt x="1210" y="261"/>
                    </a:lnTo>
                    <a:lnTo>
                      <a:pt x="1180" y="303"/>
                    </a:lnTo>
                    <a:lnTo>
                      <a:pt x="1150" y="344"/>
                    </a:lnTo>
                    <a:lnTo>
                      <a:pt x="1121" y="386"/>
                    </a:lnTo>
                    <a:lnTo>
                      <a:pt x="1093" y="428"/>
                    </a:lnTo>
                    <a:lnTo>
                      <a:pt x="1065" y="470"/>
                    </a:lnTo>
                    <a:lnTo>
                      <a:pt x="1041" y="513"/>
                    </a:lnTo>
                    <a:lnTo>
                      <a:pt x="1028" y="534"/>
                    </a:lnTo>
                    <a:lnTo>
                      <a:pt x="1017" y="557"/>
                    </a:lnTo>
                    <a:lnTo>
                      <a:pt x="1006" y="580"/>
                    </a:lnTo>
                    <a:lnTo>
                      <a:pt x="994" y="604"/>
                    </a:lnTo>
                    <a:lnTo>
                      <a:pt x="984" y="628"/>
                    </a:lnTo>
                    <a:lnTo>
                      <a:pt x="973" y="654"/>
                    </a:lnTo>
                    <a:lnTo>
                      <a:pt x="963" y="681"/>
                    </a:lnTo>
                    <a:lnTo>
                      <a:pt x="954" y="708"/>
                    </a:lnTo>
                    <a:lnTo>
                      <a:pt x="945" y="736"/>
                    </a:lnTo>
                    <a:lnTo>
                      <a:pt x="935" y="764"/>
                    </a:lnTo>
                    <a:lnTo>
                      <a:pt x="927" y="793"/>
                    </a:lnTo>
                    <a:lnTo>
                      <a:pt x="920" y="822"/>
                    </a:lnTo>
                    <a:lnTo>
                      <a:pt x="904" y="882"/>
                    </a:lnTo>
                    <a:lnTo>
                      <a:pt x="892" y="944"/>
                    </a:lnTo>
                    <a:lnTo>
                      <a:pt x="883" y="992"/>
                    </a:lnTo>
                    <a:lnTo>
                      <a:pt x="875" y="1041"/>
                    </a:lnTo>
                    <a:lnTo>
                      <a:pt x="868" y="1091"/>
                    </a:lnTo>
                    <a:lnTo>
                      <a:pt x="863" y="1140"/>
                    </a:lnTo>
                    <a:lnTo>
                      <a:pt x="858" y="1190"/>
                    </a:lnTo>
                    <a:lnTo>
                      <a:pt x="855" y="1239"/>
                    </a:lnTo>
                    <a:lnTo>
                      <a:pt x="853" y="1288"/>
                    </a:lnTo>
                    <a:lnTo>
                      <a:pt x="851" y="1338"/>
                    </a:lnTo>
                    <a:lnTo>
                      <a:pt x="851" y="1386"/>
                    </a:lnTo>
                    <a:lnTo>
                      <a:pt x="852" y="1435"/>
                    </a:lnTo>
                    <a:lnTo>
                      <a:pt x="855" y="1482"/>
                    </a:lnTo>
                    <a:lnTo>
                      <a:pt x="858" y="1529"/>
                    </a:lnTo>
                    <a:lnTo>
                      <a:pt x="863" y="1574"/>
                    </a:lnTo>
                    <a:lnTo>
                      <a:pt x="868" y="1619"/>
                    </a:lnTo>
                    <a:lnTo>
                      <a:pt x="875" y="1662"/>
                    </a:lnTo>
                    <a:lnTo>
                      <a:pt x="884" y="1705"/>
                    </a:lnTo>
                    <a:lnTo>
                      <a:pt x="865" y="1701"/>
                    </a:lnTo>
                    <a:lnTo>
                      <a:pt x="832" y="1693"/>
                    </a:lnTo>
                    <a:lnTo>
                      <a:pt x="787" y="1683"/>
                    </a:lnTo>
                    <a:lnTo>
                      <a:pt x="733" y="1671"/>
                    </a:lnTo>
                    <a:lnTo>
                      <a:pt x="671" y="1657"/>
                    </a:lnTo>
                    <a:lnTo>
                      <a:pt x="602" y="1642"/>
                    </a:lnTo>
                    <a:lnTo>
                      <a:pt x="530" y="1626"/>
                    </a:lnTo>
                    <a:lnTo>
                      <a:pt x="457" y="1610"/>
                    </a:lnTo>
                    <a:lnTo>
                      <a:pt x="382" y="1594"/>
                    </a:lnTo>
                    <a:lnTo>
                      <a:pt x="312" y="1578"/>
                    </a:lnTo>
                    <a:lnTo>
                      <a:pt x="245" y="1563"/>
                    </a:lnTo>
                    <a:lnTo>
                      <a:pt x="185" y="1550"/>
                    </a:lnTo>
                    <a:lnTo>
                      <a:pt x="133" y="1538"/>
                    </a:lnTo>
                    <a:lnTo>
                      <a:pt x="92" y="1529"/>
                    </a:lnTo>
                    <a:lnTo>
                      <a:pt x="64" y="1523"/>
                    </a:lnTo>
                    <a:lnTo>
                      <a:pt x="50" y="1520"/>
                    </a:lnTo>
                    <a:lnTo>
                      <a:pt x="48" y="1494"/>
                    </a:lnTo>
                    <a:lnTo>
                      <a:pt x="47" y="1467"/>
                    </a:lnTo>
                    <a:lnTo>
                      <a:pt x="46" y="1439"/>
                    </a:lnTo>
                    <a:lnTo>
                      <a:pt x="46" y="1410"/>
                    </a:lnTo>
                    <a:lnTo>
                      <a:pt x="46" y="1380"/>
                    </a:lnTo>
                    <a:lnTo>
                      <a:pt x="47" y="1350"/>
                    </a:lnTo>
                    <a:lnTo>
                      <a:pt x="48" y="1319"/>
                    </a:lnTo>
                    <a:lnTo>
                      <a:pt x="50" y="1287"/>
                    </a:lnTo>
                    <a:lnTo>
                      <a:pt x="53" y="1254"/>
                    </a:lnTo>
                    <a:lnTo>
                      <a:pt x="56" y="1221"/>
                    </a:lnTo>
                    <a:lnTo>
                      <a:pt x="60" y="1188"/>
                    </a:lnTo>
                    <a:lnTo>
                      <a:pt x="64" y="1154"/>
                    </a:lnTo>
                    <a:lnTo>
                      <a:pt x="69" y="1120"/>
                    </a:lnTo>
                    <a:lnTo>
                      <a:pt x="74" y="1085"/>
                    </a:lnTo>
                    <a:lnTo>
                      <a:pt x="81" y="1050"/>
                    </a:lnTo>
                    <a:lnTo>
                      <a:pt x="87" y="1015"/>
                    </a:lnTo>
                    <a:lnTo>
                      <a:pt x="97" y="965"/>
                    </a:lnTo>
                    <a:lnTo>
                      <a:pt x="109" y="916"/>
                    </a:lnTo>
                    <a:lnTo>
                      <a:pt x="121" y="867"/>
                    </a:lnTo>
                    <a:lnTo>
                      <a:pt x="134" y="818"/>
                    </a:lnTo>
                    <a:lnTo>
                      <a:pt x="148" y="769"/>
                    </a:lnTo>
                    <a:lnTo>
                      <a:pt x="163" y="721"/>
                    </a:lnTo>
                    <a:lnTo>
                      <a:pt x="179" y="674"/>
                    </a:lnTo>
                    <a:lnTo>
                      <a:pt x="196" y="628"/>
                    </a:lnTo>
                    <a:lnTo>
                      <a:pt x="214" y="584"/>
                    </a:lnTo>
                    <a:lnTo>
                      <a:pt x="233" y="540"/>
                    </a:lnTo>
                    <a:lnTo>
                      <a:pt x="251" y="498"/>
                    </a:lnTo>
                    <a:lnTo>
                      <a:pt x="272" y="459"/>
                    </a:lnTo>
                    <a:lnTo>
                      <a:pt x="292" y="421"/>
                    </a:lnTo>
                    <a:lnTo>
                      <a:pt x="314" y="384"/>
                    </a:lnTo>
                    <a:lnTo>
                      <a:pt x="337" y="350"/>
                    </a:lnTo>
                    <a:lnTo>
                      <a:pt x="360" y="319"/>
                    </a:lnTo>
                    <a:lnTo>
                      <a:pt x="388" y="284"/>
                    </a:lnTo>
                    <a:lnTo>
                      <a:pt x="416" y="249"/>
                    </a:lnTo>
                    <a:lnTo>
                      <a:pt x="445" y="215"/>
                    </a:lnTo>
                    <a:lnTo>
                      <a:pt x="474" y="180"/>
                    </a:lnTo>
                    <a:lnTo>
                      <a:pt x="504" y="145"/>
                    </a:lnTo>
                    <a:lnTo>
                      <a:pt x="533" y="112"/>
                    </a:lnTo>
                    <a:lnTo>
                      <a:pt x="562" y="80"/>
                    </a:lnTo>
                    <a:lnTo>
                      <a:pt x="590" y="48"/>
                    </a:lnTo>
                    <a:lnTo>
                      <a:pt x="624" y="54"/>
                    </a:lnTo>
                    <a:lnTo>
                      <a:pt x="698" y="70"/>
                    </a:lnTo>
                    <a:lnTo>
                      <a:pt x="799" y="90"/>
                    </a:lnTo>
                    <a:lnTo>
                      <a:pt x="916" y="112"/>
                    </a:lnTo>
                    <a:lnTo>
                      <a:pt x="1033" y="135"/>
                    </a:lnTo>
                    <a:lnTo>
                      <a:pt x="1141" y="157"/>
                    </a:lnTo>
                    <a:lnTo>
                      <a:pt x="1224" y="172"/>
                    </a:lnTo>
                    <a:lnTo>
                      <a:pt x="1270" y="18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296" name="Freeform 72"/>
              <p:cNvSpPr>
                <a:spLocks/>
              </p:cNvSpPr>
              <p:nvPr/>
            </p:nvSpPr>
            <p:spPr bwMode="auto">
              <a:xfrm>
                <a:off x="3423" y="1644"/>
                <a:ext cx="40" cy="66"/>
              </a:xfrm>
              <a:custGeom>
                <a:avLst/>
                <a:gdLst>
                  <a:gd name="T0" fmla="*/ 0 w 282"/>
                  <a:gd name="T1" fmla="*/ 0 h 460"/>
                  <a:gd name="T2" fmla="*/ 0 w 282"/>
                  <a:gd name="T3" fmla="*/ 0 h 460"/>
                  <a:gd name="T4" fmla="*/ 0 w 282"/>
                  <a:gd name="T5" fmla="*/ 0 h 460"/>
                  <a:gd name="T6" fmla="*/ 0 w 282"/>
                  <a:gd name="T7" fmla="*/ 0 h 460"/>
                  <a:gd name="T8" fmla="*/ 0 w 282"/>
                  <a:gd name="T9" fmla="*/ 0 h 460"/>
                  <a:gd name="T10" fmla="*/ 0 w 282"/>
                  <a:gd name="T11" fmla="*/ 0 h 460"/>
                  <a:gd name="T12" fmla="*/ 0 w 282"/>
                  <a:gd name="T13" fmla="*/ 0 h 460"/>
                  <a:gd name="T14" fmla="*/ 0 w 282"/>
                  <a:gd name="T15" fmla="*/ 0 h 460"/>
                  <a:gd name="T16" fmla="*/ 0 w 282"/>
                  <a:gd name="T17" fmla="*/ 0 h 460"/>
                  <a:gd name="T18" fmla="*/ 0 w 282"/>
                  <a:gd name="T19" fmla="*/ 0 h 460"/>
                  <a:gd name="T20" fmla="*/ 0 w 282"/>
                  <a:gd name="T21" fmla="*/ 0 h 460"/>
                  <a:gd name="T22" fmla="*/ 0 w 282"/>
                  <a:gd name="T23" fmla="*/ 0 h 460"/>
                  <a:gd name="T24" fmla="*/ 0 w 282"/>
                  <a:gd name="T25" fmla="*/ 0 h 460"/>
                  <a:gd name="T26" fmla="*/ 0 w 282"/>
                  <a:gd name="T27" fmla="*/ 0 h 460"/>
                  <a:gd name="T28" fmla="*/ 0 w 282"/>
                  <a:gd name="T29" fmla="*/ 0 h 460"/>
                  <a:gd name="T30" fmla="*/ 0 w 282"/>
                  <a:gd name="T31" fmla="*/ 0 h 460"/>
                  <a:gd name="T32" fmla="*/ 0 w 282"/>
                  <a:gd name="T33" fmla="*/ 0 h 460"/>
                  <a:gd name="T34" fmla="*/ 0 w 282"/>
                  <a:gd name="T35" fmla="*/ 0 h 460"/>
                  <a:gd name="T36" fmla="*/ 0 w 282"/>
                  <a:gd name="T37" fmla="*/ 0 h 460"/>
                  <a:gd name="T38" fmla="*/ 0 w 282"/>
                  <a:gd name="T39" fmla="*/ 0 h 460"/>
                  <a:gd name="T40" fmla="*/ 0 w 282"/>
                  <a:gd name="T41" fmla="*/ 0 h 460"/>
                  <a:gd name="T42" fmla="*/ 0 w 282"/>
                  <a:gd name="T43" fmla="*/ 0 h 460"/>
                  <a:gd name="T44" fmla="*/ 0 w 282"/>
                  <a:gd name="T45" fmla="*/ 0 h 460"/>
                  <a:gd name="T46" fmla="*/ 0 w 282"/>
                  <a:gd name="T47" fmla="*/ 0 h 460"/>
                  <a:gd name="T48" fmla="*/ 0 w 282"/>
                  <a:gd name="T49" fmla="*/ 0 h 460"/>
                  <a:gd name="T50" fmla="*/ 0 w 282"/>
                  <a:gd name="T51" fmla="*/ 0 h 460"/>
                  <a:gd name="T52" fmla="*/ 0 w 282"/>
                  <a:gd name="T53" fmla="*/ 0 h 460"/>
                  <a:gd name="T54" fmla="*/ 0 w 282"/>
                  <a:gd name="T55" fmla="*/ 0 h 460"/>
                  <a:gd name="T56" fmla="*/ 0 w 282"/>
                  <a:gd name="T57" fmla="*/ 0 h 460"/>
                  <a:gd name="T58" fmla="*/ 0 w 282"/>
                  <a:gd name="T59" fmla="*/ 0 h 460"/>
                  <a:gd name="T60" fmla="*/ 0 w 282"/>
                  <a:gd name="T61" fmla="*/ 0 h 460"/>
                  <a:gd name="T62" fmla="*/ 0 w 282"/>
                  <a:gd name="T63" fmla="*/ 0 h 460"/>
                  <a:gd name="T64" fmla="*/ 0 w 282"/>
                  <a:gd name="T65" fmla="*/ 0 h 460"/>
                  <a:gd name="T66" fmla="*/ 0 w 282"/>
                  <a:gd name="T67" fmla="*/ 0 h 460"/>
                  <a:gd name="T68" fmla="*/ 0 w 282"/>
                  <a:gd name="T69" fmla="*/ 0 h 460"/>
                  <a:gd name="T70" fmla="*/ 0 w 282"/>
                  <a:gd name="T71" fmla="*/ 0 h 460"/>
                  <a:gd name="T72" fmla="*/ 0 w 282"/>
                  <a:gd name="T73" fmla="*/ 0 h 460"/>
                  <a:gd name="T74" fmla="*/ 0 w 282"/>
                  <a:gd name="T75" fmla="*/ 0 h 460"/>
                  <a:gd name="T76" fmla="*/ 0 w 282"/>
                  <a:gd name="T77" fmla="*/ 0 h 460"/>
                  <a:gd name="T78" fmla="*/ 0 w 282"/>
                  <a:gd name="T79" fmla="*/ 0 h 460"/>
                  <a:gd name="T80" fmla="*/ 0 w 282"/>
                  <a:gd name="T81" fmla="*/ 0 h 460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282"/>
                  <a:gd name="T124" fmla="*/ 0 h 460"/>
                  <a:gd name="T125" fmla="*/ 282 w 282"/>
                  <a:gd name="T126" fmla="*/ 460 h 460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282" h="460">
                    <a:moveTo>
                      <a:pt x="202" y="331"/>
                    </a:moveTo>
                    <a:lnTo>
                      <a:pt x="204" y="318"/>
                    </a:lnTo>
                    <a:lnTo>
                      <a:pt x="206" y="306"/>
                    </a:lnTo>
                    <a:lnTo>
                      <a:pt x="207" y="293"/>
                    </a:lnTo>
                    <a:lnTo>
                      <a:pt x="207" y="282"/>
                    </a:lnTo>
                    <a:lnTo>
                      <a:pt x="207" y="270"/>
                    </a:lnTo>
                    <a:lnTo>
                      <a:pt x="205" y="260"/>
                    </a:lnTo>
                    <a:lnTo>
                      <a:pt x="203" y="250"/>
                    </a:lnTo>
                    <a:lnTo>
                      <a:pt x="201" y="239"/>
                    </a:lnTo>
                    <a:lnTo>
                      <a:pt x="189" y="203"/>
                    </a:lnTo>
                    <a:lnTo>
                      <a:pt x="176" y="169"/>
                    </a:lnTo>
                    <a:lnTo>
                      <a:pt x="173" y="160"/>
                    </a:lnTo>
                    <a:lnTo>
                      <a:pt x="171" y="152"/>
                    </a:lnTo>
                    <a:lnTo>
                      <a:pt x="169" y="143"/>
                    </a:lnTo>
                    <a:lnTo>
                      <a:pt x="168" y="134"/>
                    </a:lnTo>
                    <a:lnTo>
                      <a:pt x="168" y="125"/>
                    </a:lnTo>
                    <a:lnTo>
                      <a:pt x="168" y="115"/>
                    </a:lnTo>
                    <a:lnTo>
                      <a:pt x="169" y="106"/>
                    </a:lnTo>
                    <a:lnTo>
                      <a:pt x="171" y="97"/>
                    </a:lnTo>
                    <a:lnTo>
                      <a:pt x="174" y="86"/>
                    </a:lnTo>
                    <a:lnTo>
                      <a:pt x="179" y="75"/>
                    </a:lnTo>
                    <a:lnTo>
                      <a:pt x="184" y="64"/>
                    </a:lnTo>
                    <a:lnTo>
                      <a:pt x="190" y="52"/>
                    </a:lnTo>
                    <a:lnTo>
                      <a:pt x="198" y="40"/>
                    </a:lnTo>
                    <a:lnTo>
                      <a:pt x="207" y="27"/>
                    </a:lnTo>
                    <a:lnTo>
                      <a:pt x="219" y="14"/>
                    </a:lnTo>
                    <a:lnTo>
                      <a:pt x="231" y="0"/>
                    </a:lnTo>
                    <a:lnTo>
                      <a:pt x="234" y="10"/>
                    </a:lnTo>
                    <a:lnTo>
                      <a:pt x="238" y="24"/>
                    </a:lnTo>
                    <a:lnTo>
                      <a:pt x="243" y="43"/>
                    </a:lnTo>
                    <a:lnTo>
                      <a:pt x="248" y="66"/>
                    </a:lnTo>
                    <a:lnTo>
                      <a:pt x="257" y="118"/>
                    </a:lnTo>
                    <a:lnTo>
                      <a:pt x="266" y="176"/>
                    </a:lnTo>
                    <a:lnTo>
                      <a:pt x="275" y="235"/>
                    </a:lnTo>
                    <a:lnTo>
                      <a:pt x="280" y="288"/>
                    </a:lnTo>
                    <a:lnTo>
                      <a:pt x="282" y="311"/>
                    </a:lnTo>
                    <a:lnTo>
                      <a:pt x="282" y="330"/>
                    </a:lnTo>
                    <a:lnTo>
                      <a:pt x="282" y="345"/>
                    </a:lnTo>
                    <a:lnTo>
                      <a:pt x="280" y="355"/>
                    </a:lnTo>
                    <a:lnTo>
                      <a:pt x="276" y="366"/>
                    </a:lnTo>
                    <a:lnTo>
                      <a:pt x="270" y="375"/>
                    </a:lnTo>
                    <a:lnTo>
                      <a:pt x="265" y="384"/>
                    </a:lnTo>
                    <a:lnTo>
                      <a:pt x="259" y="392"/>
                    </a:lnTo>
                    <a:lnTo>
                      <a:pt x="252" y="400"/>
                    </a:lnTo>
                    <a:lnTo>
                      <a:pt x="244" y="408"/>
                    </a:lnTo>
                    <a:lnTo>
                      <a:pt x="235" y="414"/>
                    </a:lnTo>
                    <a:lnTo>
                      <a:pt x="227" y="421"/>
                    </a:lnTo>
                    <a:lnTo>
                      <a:pt x="218" y="427"/>
                    </a:lnTo>
                    <a:lnTo>
                      <a:pt x="207" y="433"/>
                    </a:lnTo>
                    <a:lnTo>
                      <a:pt x="197" y="437"/>
                    </a:lnTo>
                    <a:lnTo>
                      <a:pt x="187" y="442"/>
                    </a:lnTo>
                    <a:lnTo>
                      <a:pt x="176" y="446"/>
                    </a:lnTo>
                    <a:lnTo>
                      <a:pt x="165" y="449"/>
                    </a:lnTo>
                    <a:lnTo>
                      <a:pt x="155" y="452"/>
                    </a:lnTo>
                    <a:lnTo>
                      <a:pt x="143" y="454"/>
                    </a:lnTo>
                    <a:lnTo>
                      <a:pt x="121" y="459"/>
                    </a:lnTo>
                    <a:lnTo>
                      <a:pt x="99" y="460"/>
                    </a:lnTo>
                    <a:lnTo>
                      <a:pt x="77" y="460"/>
                    </a:lnTo>
                    <a:lnTo>
                      <a:pt x="58" y="458"/>
                    </a:lnTo>
                    <a:lnTo>
                      <a:pt x="48" y="456"/>
                    </a:lnTo>
                    <a:lnTo>
                      <a:pt x="39" y="453"/>
                    </a:lnTo>
                    <a:lnTo>
                      <a:pt x="31" y="450"/>
                    </a:lnTo>
                    <a:lnTo>
                      <a:pt x="24" y="447"/>
                    </a:lnTo>
                    <a:lnTo>
                      <a:pt x="16" y="443"/>
                    </a:lnTo>
                    <a:lnTo>
                      <a:pt x="10" y="439"/>
                    </a:lnTo>
                    <a:lnTo>
                      <a:pt x="4" y="435"/>
                    </a:lnTo>
                    <a:lnTo>
                      <a:pt x="0" y="430"/>
                    </a:lnTo>
                    <a:lnTo>
                      <a:pt x="15" y="431"/>
                    </a:lnTo>
                    <a:lnTo>
                      <a:pt x="32" y="432"/>
                    </a:lnTo>
                    <a:lnTo>
                      <a:pt x="48" y="432"/>
                    </a:lnTo>
                    <a:lnTo>
                      <a:pt x="65" y="432"/>
                    </a:lnTo>
                    <a:lnTo>
                      <a:pt x="80" y="430"/>
                    </a:lnTo>
                    <a:lnTo>
                      <a:pt x="96" y="428"/>
                    </a:lnTo>
                    <a:lnTo>
                      <a:pt x="110" y="423"/>
                    </a:lnTo>
                    <a:lnTo>
                      <a:pt x="125" y="418"/>
                    </a:lnTo>
                    <a:lnTo>
                      <a:pt x="138" y="413"/>
                    </a:lnTo>
                    <a:lnTo>
                      <a:pt x="151" y="406"/>
                    </a:lnTo>
                    <a:lnTo>
                      <a:pt x="162" y="398"/>
                    </a:lnTo>
                    <a:lnTo>
                      <a:pt x="172" y="387"/>
                    </a:lnTo>
                    <a:lnTo>
                      <a:pt x="182" y="376"/>
                    </a:lnTo>
                    <a:lnTo>
                      <a:pt x="190" y="362"/>
                    </a:lnTo>
                    <a:lnTo>
                      <a:pt x="197" y="348"/>
                    </a:lnTo>
                    <a:lnTo>
                      <a:pt x="202" y="331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297" name="Freeform 73"/>
              <p:cNvSpPr>
                <a:spLocks/>
              </p:cNvSpPr>
              <p:nvPr/>
            </p:nvSpPr>
            <p:spPr bwMode="auto">
              <a:xfrm>
                <a:off x="3400" y="1520"/>
                <a:ext cx="89" cy="166"/>
              </a:xfrm>
              <a:custGeom>
                <a:avLst/>
                <a:gdLst>
                  <a:gd name="T0" fmla="*/ 0 w 619"/>
                  <a:gd name="T1" fmla="*/ 0 h 1164"/>
                  <a:gd name="T2" fmla="*/ 0 w 619"/>
                  <a:gd name="T3" fmla="*/ 0 h 1164"/>
                  <a:gd name="T4" fmla="*/ 0 w 619"/>
                  <a:gd name="T5" fmla="*/ 0 h 1164"/>
                  <a:gd name="T6" fmla="*/ 0 w 619"/>
                  <a:gd name="T7" fmla="*/ 0 h 1164"/>
                  <a:gd name="T8" fmla="*/ 0 w 619"/>
                  <a:gd name="T9" fmla="*/ 0 h 1164"/>
                  <a:gd name="T10" fmla="*/ 0 w 619"/>
                  <a:gd name="T11" fmla="*/ 0 h 1164"/>
                  <a:gd name="T12" fmla="*/ 0 w 619"/>
                  <a:gd name="T13" fmla="*/ 0 h 1164"/>
                  <a:gd name="T14" fmla="*/ 0 w 619"/>
                  <a:gd name="T15" fmla="*/ 0 h 1164"/>
                  <a:gd name="T16" fmla="*/ 0 w 619"/>
                  <a:gd name="T17" fmla="*/ 0 h 1164"/>
                  <a:gd name="T18" fmla="*/ 0 w 619"/>
                  <a:gd name="T19" fmla="*/ 0 h 1164"/>
                  <a:gd name="T20" fmla="*/ 0 w 619"/>
                  <a:gd name="T21" fmla="*/ 0 h 1164"/>
                  <a:gd name="T22" fmla="*/ 0 w 619"/>
                  <a:gd name="T23" fmla="*/ 0 h 1164"/>
                  <a:gd name="T24" fmla="*/ 0 w 619"/>
                  <a:gd name="T25" fmla="*/ 0 h 1164"/>
                  <a:gd name="T26" fmla="*/ 0 w 619"/>
                  <a:gd name="T27" fmla="*/ 0 h 1164"/>
                  <a:gd name="T28" fmla="*/ 0 w 619"/>
                  <a:gd name="T29" fmla="*/ 0 h 1164"/>
                  <a:gd name="T30" fmla="*/ 0 w 619"/>
                  <a:gd name="T31" fmla="*/ 0 h 1164"/>
                  <a:gd name="T32" fmla="*/ 0 w 619"/>
                  <a:gd name="T33" fmla="*/ 0 h 1164"/>
                  <a:gd name="T34" fmla="*/ 0 w 619"/>
                  <a:gd name="T35" fmla="*/ 0 h 1164"/>
                  <a:gd name="T36" fmla="*/ 0 w 619"/>
                  <a:gd name="T37" fmla="*/ 0 h 1164"/>
                  <a:gd name="T38" fmla="*/ 0 w 619"/>
                  <a:gd name="T39" fmla="*/ 0 h 1164"/>
                  <a:gd name="T40" fmla="*/ 0 w 619"/>
                  <a:gd name="T41" fmla="*/ 0 h 1164"/>
                  <a:gd name="T42" fmla="*/ 0 w 619"/>
                  <a:gd name="T43" fmla="*/ 0 h 1164"/>
                  <a:gd name="T44" fmla="*/ 0 w 619"/>
                  <a:gd name="T45" fmla="*/ 0 h 1164"/>
                  <a:gd name="T46" fmla="*/ 0 w 619"/>
                  <a:gd name="T47" fmla="*/ 0 h 1164"/>
                  <a:gd name="T48" fmla="*/ 0 w 619"/>
                  <a:gd name="T49" fmla="*/ 0 h 1164"/>
                  <a:gd name="T50" fmla="*/ 0 w 619"/>
                  <a:gd name="T51" fmla="*/ 0 h 1164"/>
                  <a:gd name="T52" fmla="*/ 0 w 619"/>
                  <a:gd name="T53" fmla="*/ 0 h 1164"/>
                  <a:gd name="T54" fmla="*/ 0 w 619"/>
                  <a:gd name="T55" fmla="*/ 0 h 1164"/>
                  <a:gd name="T56" fmla="*/ 0 w 619"/>
                  <a:gd name="T57" fmla="*/ 0 h 1164"/>
                  <a:gd name="T58" fmla="*/ 0 w 619"/>
                  <a:gd name="T59" fmla="*/ 0 h 1164"/>
                  <a:gd name="T60" fmla="*/ 0 w 619"/>
                  <a:gd name="T61" fmla="*/ 0 h 1164"/>
                  <a:gd name="T62" fmla="*/ 0 w 619"/>
                  <a:gd name="T63" fmla="*/ 0 h 1164"/>
                  <a:gd name="T64" fmla="*/ 0 w 619"/>
                  <a:gd name="T65" fmla="*/ 0 h 1164"/>
                  <a:gd name="T66" fmla="*/ 0 w 619"/>
                  <a:gd name="T67" fmla="*/ 0 h 1164"/>
                  <a:gd name="T68" fmla="*/ 0 w 619"/>
                  <a:gd name="T69" fmla="*/ 0 h 1164"/>
                  <a:gd name="T70" fmla="*/ 0 w 619"/>
                  <a:gd name="T71" fmla="*/ 0 h 1164"/>
                  <a:gd name="T72" fmla="*/ 0 w 619"/>
                  <a:gd name="T73" fmla="*/ 0 h 1164"/>
                  <a:gd name="T74" fmla="*/ 0 w 619"/>
                  <a:gd name="T75" fmla="*/ 0 h 1164"/>
                  <a:gd name="T76" fmla="*/ 0 w 619"/>
                  <a:gd name="T77" fmla="*/ 0 h 1164"/>
                  <a:gd name="T78" fmla="*/ 0 w 619"/>
                  <a:gd name="T79" fmla="*/ 0 h 1164"/>
                  <a:gd name="T80" fmla="*/ 0 w 619"/>
                  <a:gd name="T81" fmla="*/ 0 h 1164"/>
                  <a:gd name="T82" fmla="*/ 0 w 619"/>
                  <a:gd name="T83" fmla="*/ 0 h 1164"/>
                  <a:gd name="T84" fmla="*/ 0 w 619"/>
                  <a:gd name="T85" fmla="*/ 0 h 1164"/>
                  <a:gd name="T86" fmla="*/ 0 w 619"/>
                  <a:gd name="T87" fmla="*/ 0 h 1164"/>
                  <a:gd name="T88" fmla="*/ 0 w 619"/>
                  <a:gd name="T89" fmla="*/ 0 h 1164"/>
                  <a:gd name="T90" fmla="*/ 0 w 619"/>
                  <a:gd name="T91" fmla="*/ 0 h 1164"/>
                  <a:gd name="T92" fmla="*/ 0 w 619"/>
                  <a:gd name="T93" fmla="*/ 0 h 1164"/>
                  <a:gd name="T94" fmla="*/ 0 w 619"/>
                  <a:gd name="T95" fmla="*/ 0 h 1164"/>
                  <a:gd name="T96" fmla="*/ 0 w 619"/>
                  <a:gd name="T97" fmla="*/ 0 h 1164"/>
                  <a:gd name="T98" fmla="*/ 0 w 619"/>
                  <a:gd name="T99" fmla="*/ 0 h 1164"/>
                  <a:gd name="T100" fmla="*/ 0 w 619"/>
                  <a:gd name="T101" fmla="*/ 0 h 1164"/>
                  <a:gd name="T102" fmla="*/ 0 w 619"/>
                  <a:gd name="T103" fmla="*/ 0 h 1164"/>
                  <a:gd name="T104" fmla="*/ 0 w 619"/>
                  <a:gd name="T105" fmla="*/ 0 h 1164"/>
                  <a:gd name="T106" fmla="*/ 0 w 619"/>
                  <a:gd name="T107" fmla="*/ 0 h 1164"/>
                  <a:gd name="T108" fmla="*/ 0 w 619"/>
                  <a:gd name="T109" fmla="*/ 0 h 1164"/>
                  <a:gd name="T110" fmla="*/ 0 w 619"/>
                  <a:gd name="T111" fmla="*/ 0 h 1164"/>
                  <a:gd name="T112" fmla="*/ 0 w 619"/>
                  <a:gd name="T113" fmla="*/ 0 h 1164"/>
                  <a:gd name="T114" fmla="*/ 0 w 619"/>
                  <a:gd name="T115" fmla="*/ 0 h 1164"/>
                  <a:gd name="T116" fmla="*/ 0 w 619"/>
                  <a:gd name="T117" fmla="*/ 0 h 1164"/>
                  <a:gd name="T118" fmla="*/ 0 w 619"/>
                  <a:gd name="T119" fmla="*/ 0 h 1164"/>
                  <a:gd name="T120" fmla="*/ 0 w 619"/>
                  <a:gd name="T121" fmla="*/ 0 h 1164"/>
                  <a:gd name="T122" fmla="*/ 0 w 619"/>
                  <a:gd name="T123" fmla="*/ 0 h 1164"/>
                  <a:gd name="T124" fmla="*/ 0 w 619"/>
                  <a:gd name="T125" fmla="*/ 0 h 116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  <a:gd name="T189" fmla="*/ 0 w 619"/>
                  <a:gd name="T190" fmla="*/ 0 h 1164"/>
                  <a:gd name="T191" fmla="*/ 619 w 619"/>
                  <a:gd name="T192" fmla="*/ 1164 h 1164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T189" t="T190" r="T191" b="T192"/>
                <a:pathLst>
                  <a:path w="619" h="1164">
                    <a:moveTo>
                      <a:pt x="221" y="728"/>
                    </a:moveTo>
                    <a:lnTo>
                      <a:pt x="223" y="718"/>
                    </a:lnTo>
                    <a:lnTo>
                      <a:pt x="225" y="709"/>
                    </a:lnTo>
                    <a:lnTo>
                      <a:pt x="226" y="700"/>
                    </a:lnTo>
                    <a:lnTo>
                      <a:pt x="226" y="691"/>
                    </a:lnTo>
                    <a:lnTo>
                      <a:pt x="225" y="674"/>
                    </a:lnTo>
                    <a:lnTo>
                      <a:pt x="223" y="659"/>
                    </a:lnTo>
                    <a:lnTo>
                      <a:pt x="218" y="644"/>
                    </a:lnTo>
                    <a:lnTo>
                      <a:pt x="212" y="631"/>
                    </a:lnTo>
                    <a:lnTo>
                      <a:pt x="206" y="617"/>
                    </a:lnTo>
                    <a:lnTo>
                      <a:pt x="199" y="604"/>
                    </a:lnTo>
                    <a:lnTo>
                      <a:pt x="192" y="591"/>
                    </a:lnTo>
                    <a:lnTo>
                      <a:pt x="185" y="578"/>
                    </a:lnTo>
                    <a:lnTo>
                      <a:pt x="177" y="565"/>
                    </a:lnTo>
                    <a:lnTo>
                      <a:pt x="172" y="552"/>
                    </a:lnTo>
                    <a:lnTo>
                      <a:pt x="167" y="538"/>
                    </a:lnTo>
                    <a:lnTo>
                      <a:pt x="164" y="523"/>
                    </a:lnTo>
                    <a:lnTo>
                      <a:pt x="164" y="515"/>
                    </a:lnTo>
                    <a:lnTo>
                      <a:pt x="163" y="507"/>
                    </a:lnTo>
                    <a:lnTo>
                      <a:pt x="164" y="498"/>
                    </a:lnTo>
                    <a:lnTo>
                      <a:pt x="165" y="490"/>
                    </a:lnTo>
                    <a:lnTo>
                      <a:pt x="166" y="480"/>
                    </a:lnTo>
                    <a:lnTo>
                      <a:pt x="169" y="471"/>
                    </a:lnTo>
                    <a:lnTo>
                      <a:pt x="172" y="462"/>
                    </a:lnTo>
                    <a:lnTo>
                      <a:pt x="175" y="454"/>
                    </a:lnTo>
                    <a:lnTo>
                      <a:pt x="179" y="446"/>
                    </a:lnTo>
                    <a:lnTo>
                      <a:pt x="185" y="438"/>
                    </a:lnTo>
                    <a:lnTo>
                      <a:pt x="190" y="431"/>
                    </a:lnTo>
                    <a:lnTo>
                      <a:pt x="195" y="425"/>
                    </a:lnTo>
                    <a:lnTo>
                      <a:pt x="208" y="411"/>
                    </a:lnTo>
                    <a:lnTo>
                      <a:pt x="222" y="400"/>
                    </a:lnTo>
                    <a:lnTo>
                      <a:pt x="236" y="389"/>
                    </a:lnTo>
                    <a:lnTo>
                      <a:pt x="253" y="378"/>
                    </a:lnTo>
                    <a:lnTo>
                      <a:pt x="285" y="358"/>
                    </a:lnTo>
                    <a:lnTo>
                      <a:pt x="317" y="336"/>
                    </a:lnTo>
                    <a:lnTo>
                      <a:pt x="331" y="325"/>
                    </a:lnTo>
                    <a:lnTo>
                      <a:pt x="346" y="312"/>
                    </a:lnTo>
                    <a:lnTo>
                      <a:pt x="352" y="306"/>
                    </a:lnTo>
                    <a:lnTo>
                      <a:pt x="358" y="299"/>
                    </a:lnTo>
                    <a:lnTo>
                      <a:pt x="364" y="292"/>
                    </a:lnTo>
                    <a:lnTo>
                      <a:pt x="370" y="284"/>
                    </a:lnTo>
                    <a:lnTo>
                      <a:pt x="362" y="278"/>
                    </a:lnTo>
                    <a:lnTo>
                      <a:pt x="357" y="270"/>
                    </a:lnTo>
                    <a:lnTo>
                      <a:pt x="351" y="262"/>
                    </a:lnTo>
                    <a:lnTo>
                      <a:pt x="346" y="254"/>
                    </a:lnTo>
                    <a:lnTo>
                      <a:pt x="335" y="236"/>
                    </a:lnTo>
                    <a:lnTo>
                      <a:pt x="327" y="217"/>
                    </a:lnTo>
                    <a:lnTo>
                      <a:pt x="319" y="198"/>
                    </a:lnTo>
                    <a:lnTo>
                      <a:pt x="310" y="180"/>
                    </a:lnTo>
                    <a:lnTo>
                      <a:pt x="300" y="163"/>
                    </a:lnTo>
                    <a:lnTo>
                      <a:pt x="290" y="148"/>
                    </a:lnTo>
                    <a:lnTo>
                      <a:pt x="303" y="136"/>
                    </a:lnTo>
                    <a:lnTo>
                      <a:pt x="317" y="126"/>
                    </a:lnTo>
                    <a:lnTo>
                      <a:pt x="331" y="115"/>
                    </a:lnTo>
                    <a:lnTo>
                      <a:pt x="346" y="104"/>
                    </a:lnTo>
                    <a:lnTo>
                      <a:pt x="377" y="84"/>
                    </a:lnTo>
                    <a:lnTo>
                      <a:pt x="410" y="65"/>
                    </a:lnTo>
                    <a:lnTo>
                      <a:pt x="443" y="47"/>
                    </a:lnTo>
                    <a:lnTo>
                      <a:pt x="477" y="30"/>
                    </a:lnTo>
                    <a:lnTo>
                      <a:pt x="511" y="14"/>
                    </a:lnTo>
                    <a:lnTo>
                      <a:pt x="543" y="0"/>
                    </a:lnTo>
                    <a:lnTo>
                      <a:pt x="537" y="7"/>
                    </a:lnTo>
                    <a:lnTo>
                      <a:pt x="530" y="15"/>
                    </a:lnTo>
                    <a:lnTo>
                      <a:pt x="524" y="23"/>
                    </a:lnTo>
                    <a:lnTo>
                      <a:pt x="517" y="31"/>
                    </a:lnTo>
                    <a:lnTo>
                      <a:pt x="529" y="40"/>
                    </a:lnTo>
                    <a:lnTo>
                      <a:pt x="540" y="52"/>
                    </a:lnTo>
                    <a:lnTo>
                      <a:pt x="552" y="64"/>
                    </a:lnTo>
                    <a:lnTo>
                      <a:pt x="565" y="77"/>
                    </a:lnTo>
                    <a:lnTo>
                      <a:pt x="577" y="91"/>
                    </a:lnTo>
                    <a:lnTo>
                      <a:pt x="591" y="103"/>
                    </a:lnTo>
                    <a:lnTo>
                      <a:pt x="597" y="108"/>
                    </a:lnTo>
                    <a:lnTo>
                      <a:pt x="604" y="114"/>
                    </a:lnTo>
                    <a:lnTo>
                      <a:pt x="611" y="118"/>
                    </a:lnTo>
                    <a:lnTo>
                      <a:pt x="619" y="121"/>
                    </a:lnTo>
                    <a:lnTo>
                      <a:pt x="587" y="136"/>
                    </a:lnTo>
                    <a:lnTo>
                      <a:pt x="560" y="150"/>
                    </a:lnTo>
                    <a:lnTo>
                      <a:pt x="539" y="161"/>
                    </a:lnTo>
                    <a:lnTo>
                      <a:pt x="523" y="171"/>
                    </a:lnTo>
                    <a:lnTo>
                      <a:pt x="511" y="181"/>
                    </a:lnTo>
                    <a:lnTo>
                      <a:pt x="503" y="189"/>
                    </a:lnTo>
                    <a:lnTo>
                      <a:pt x="501" y="193"/>
                    </a:lnTo>
                    <a:lnTo>
                      <a:pt x="498" y="197"/>
                    </a:lnTo>
                    <a:lnTo>
                      <a:pt x="497" y="201"/>
                    </a:lnTo>
                    <a:lnTo>
                      <a:pt x="495" y="206"/>
                    </a:lnTo>
                    <a:lnTo>
                      <a:pt x="493" y="226"/>
                    </a:lnTo>
                    <a:lnTo>
                      <a:pt x="489" y="253"/>
                    </a:lnTo>
                    <a:lnTo>
                      <a:pt x="486" y="270"/>
                    </a:lnTo>
                    <a:lnTo>
                      <a:pt x="480" y="289"/>
                    </a:lnTo>
                    <a:lnTo>
                      <a:pt x="472" y="313"/>
                    </a:lnTo>
                    <a:lnTo>
                      <a:pt x="460" y="340"/>
                    </a:lnTo>
                    <a:lnTo>
                      <a:pt x="455" y="347"/>
                    </a:lnTo>
                    <a:lnTo>
                      <a:pt x="450" y="353"/>
                    </a:lnTo>
                    <a:lnTo>
                      <a:pt x="444" y="360"/>
                    </a:lnTo>
                    <a:lnTo>
                      <a:pt x="436" y="366"/>
                    </a:lnTo>
                    <a:lnTo>
                      <a:pt x="419" y="376"/>
                    </a:lnTo>
                    <a:lnTo>
                      <a:pt x="401" y="388"/>
                    </a:lnTo>
                    <a:lnTo>
                      <a:pt x="381" y="398"/>
                    </a:lnTo>
                    <a:lnTo>
                      <a:pt x="363" y="411"/>
                    </a:lnTo>
                    <a:lnTo>
                      <a:pt x="355" y="419"/>
                    </a:lnTo>
                    <a:lnTo>
                      <a:pt x="348" y="426"/>
                    </a:lnTo>
                    <a:lnTo>
                      <a:pt x="342" y="434"/>
                    </a:lnTo>
                    <a:lnTo>
                      <a:pt x="336" y="444"/>
                    </a:lnTo>
                    <a:lnTo>
                      <a:pt x="330" y="459"/>
                    </a:lnTo>
                    <a:lnTo>
                      <a:pt x="327" y="472"/>
                    </a:lnTo>
                    <a:lnTo>
                      <a:pt x="325" y="486"/>
                    </a:lnTo>
                    <a:lnTo>
                      <a:pt x="325" y="497"/>
                    </a:lnTo>
                    <a:lnTo>
                      <a:pt x="326" y="510"/>
                    </a:lnTo>
                    <a:lnTo>
                      <a:pt x="328" y="520"/>
                    </a:lnTo>
                    <a:lnTo>
                      <a:pt x="331" y="530"/>
                    </a:lnTo>
                    <a:lnTo>
                      <a:pt x="335" y="541"/>
                    </a:lnTo>
                    <a:lnTo>
                      <a:pt x="343" y="561"/>
                    </a:lnTo>
                    <a:lnTo>
                      <a:pt x="350" y="582"/>
                    </a:lnTo>
                    <a:lnTo>
                      <a:pt x="353" y="593"/>
                    </a:lnTo>
                    <a:lnTo>
                      <a:pt x="354" y="605"/>
                    </a:lnTo>
                    <a:lnTo>
                      <a:pt x="354" y="617"/>
                    </a:lnTo>
                    <a:lnTo>
                      <a:pt x="353" y="630"/>
                    </a:lnTo>
                    <a:lnTo>
                      <a:pt x="351" y="641"/>
                    </a:lnTo>
                    <a:lnTo>
                      <a:pt x="348" y="651"/>
                    </a:lnTo>
                    <a:lnTo>
                      <a:pt x="345" y="661"/>
                    </a:lnTo>
                    <a:lnTo>
                      <a:pt x="342" y="669"/>
                    </a:lnTo>
                    <a:lnTo>
                      <a:pt x="334" y="684"/>
                    </a:lnTo>
                    <a:lnTo>
                      <a:pt x="326" y="699"/>
                    </a:lnTo>
                    <a:lnTo>
                      <a:pt x="317" y="713"/>
                    </a:lnTo>
                    <a:lnTo>
                      <a:pt x="309" y="727"/>
                    </a:lnTo>
                    <a:lnTo>
                      <a:pt x="300" y="742"/>
                    </a:lnTo>
                    <a:lnTo>
                      <a:pt x="292" y="760"/>
                    </a:lnTo>
                    <a:lnTo>
                      <a:pt x="280" y="792"/>
                    </a:lnTo>
                    <a:lnTo>
                      <a:pt x="263" y="831"/>
                    </a:lnTo>
                    <a:lnTo>
                      <a:pt x="247" y="872"/>
                    </a:lnTo>
                    <a:lnTo>
                      <a:pt x="234" y="905"/>
                    </a:lnTo>
                    <a:lnTo>
                      <a:pt x="230" y="919"/>
                    </a:lnTo>
                    <a:lnTo>
                      <a:pt x="227" y="931"/>
                    </a:lnTo>
                    <a:lnTo>
                      <a:pt x="226" y="943"/>
                    </a:lnTo>
                    <a:lnTo>
                      <a:pt x="225" y="952"/>
                    </a:lnTo>
                    <a:lnTo>
                      <a:pt x="226" y="969"/>
                    </a:lnTo>
                    <a:lnTo>
                      <a:pt x="227" y="983"/>
                    </a:lnTo>
                    <a:lnTo>
                      <a:pt x="227" y="989"/>
                    </a:lnTo>
                    <a:lnTo>
                      <a:pt x="227" y="997"/>
                    </a:lnTo>
                    <a:lnTo>
                      <a:pt x="225" y="1005"/>
                    </a:lnTo>
                    <a:lnTo>
                      <a:pt x="222" y="1013"/>
                    </a:lnTo>
                    <a:lnTo>
                      <a:pt x="217" y="1024"/>
                    </a:lnTo>
                    <a:lnTo>
                      <a:pt x="209" y="1034"/>
                    </a:lnTo>
                    <a:lnTo>
                      <a:pt x="201" y="1047"/>
                    </a:lnTo>
                    <a:lnTo>
                      <a:pt x="189" y="1062"/>
                    </a:lnTo>
                    <a:lnTo>
                      <a:pt x="183" y="1069"/>
                    </a:lnTo>
                    <a:lnTo>
                      <a:pt x="174" y="1076"/>
                    </a:lnTo>
                    <a:lnTo>
                      <a:pt x="166" y="1082"/>
                    </a:lnTo>
                    <a:lnTo>
                      <a:pt x="156" y="1090"/>
                    </a:lnTo>
                    <a:lnTo>
                      <a:pt x="135" y="1102"/>
                    </a:lnTo>
                    <a:lnTo>
                      <a:pt x="113" y="1115"/>
                    </a:lnTo>
                    <a:lnTo>
                      <a:pt x="91" y="1127"/>
                    </a:lnTo>
                    <a:lnTo>
                      <a:pt x="68" y="1138"/>
                    </a:lnTo>
                    <a:lnTo>
                      <a:pt x="48" y="1151"/>
                    </a:lnTo>
                    <a:lnTo>
                      <a:pt x="31" y="1164"/>
                    </a:lnTo>
                    <a:lnTo>
                      <a:pt x="26" y="1159"/>
                    </a:lnTo>
                    <a:lnTo>
                      <a:pt x="23" y="1154"/>
                    </a:lnTo>
                    <a:lnTo>
                      <a:pt x="21" y="1149"/>
                    </a:lnTo>
                    <a:lnTo>
                      <a:pt x="20" y="1143"/>
                    </a:lnTo>
                    <a:lnTo>
                      <a:pt x="19" y="1135"/>
                    </a:lnTo>
                    <a:lnTo>
                      <a:pt x="20" y="1127"/>
                    </a:lnTo>
                    <a:lnTo>
                      <a:pt x="25" y="1111"/>
                    </a:lnTo>
                    <a:lnTo>
                      <a:pt x="33" y="1094"/>
                    </a:lnTo>
                    <a:lnTo>
                      <a:pt x="93" y="1122"/>
                    </a:lnTo>
                    <a:lnTo>
                      <a:pt x="71" y="1102"/>
                    </a:lnTo>
                    <a:lnTo>
                      <a:pt x="52" y="1084"/>
                    </a:lnTo>
                    <a:lnTo>
                      <a:pt x="37" y="1066"/>
                    </a:lnTo>
                    <a:lnTo>
                      <a:pt x="24" y="1049"/>
                    </a:lnTo>
                    <a:lnTo>
                      <a:pt x="14" y="1034"/>
                    </a:lnTo>
                    <a:lnTo>
                      <a:pt x="7" y="1018"/>
                    </a:lnTo>
                    <a:lnTo>
                      <a:pt x="2" y="1005"/>
                    </a:lnTo>
                    <a:lnTo>
                      <a:pt x="0" y="991"/>
                    </a:lnTo>
                    <a:lnTo>
                      <a:pt x="0" y="979"/>
                    </a:lnTo>
                    <a:lnTo>
                      <a:pt x="1" y="967"/>
                    </a:lnTo>
                    <a:lnTo>
                      <a:pt x="5" y="955"/>
                    </a:lnTo>
                    <a:lnTo>
                      <a:pt x="10" y="945"/>
                    </a:lnTo>
                    <a:lnTo>
                      <a:pt x="16" y="935"/>
                    </a:lnTo>
                    <a:lnTo>
                      <a:pt x="24" y="924"/>
                    </a:lnTo>
                    <a:lnTo>
                      <a:pt x="34" y="915"/>
                    </a:lnTo>
                    <a:lnTo>
                      <a:pt x="44" y="905"/>
                    </a:lnTo>
                    <a:lnTo>
                      <a:pt x="93" y="867"/>
                    </a:lnTo>
                    <a:lnTo>
                      <a:pt x="145" y="829"/>
                    </a:lnTo>
                    <a:lnTo>
                      <a:pt x="158" y="818"/>
                    </a:lnTo>
                    <a:lnTo>
                      <a:pt x="169" y="807"/>
                    </a:lnTo>
                    <a:lnTo>
                      <a:pt x="180" y="796"/>
                    </a:lnTo>
                    <a:lnTo>
                      <a:pt x="191" y="784"/>
                    </a:lnTo>
                    <a:lnTo>
                      <a:pt x="200" y="771"/>
                    </a:lnTo>
                    <a:lnTo>
                      <a:pt x="208" y="758"/>
                    </a:lnTo>
                    <a:lnTo>
                      <a:pt x="215" y="743"/>
                    </a:lnTo>
                    <a:lnTo>
                      <a:pt x="221" y="72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298" name="Freeform 74"/>
              <p:cNvSpPr>
                <a:spLocks/>
              </p:cNvSpPr>
              <p:nvPr/>
            </p:nvSpPr>
            <p:spPr bwMode="auto">
              <a:xfrm>
                <a:off x="3550" y="1265"/>
                <a:ext cx="371" cy="386"/>
              </a:xfrm>
              <a:custGeom>
                <a:avLst/>
                <a:gdLst>
                  <a:gd name="T0" fmla="*/ 0 w 2595"/>
                  <a:gd name="T1" fmla="*/ 0 h 2700"/>
                  <a:gd name="T2" fmla="*/ 0 w 2595"/>
                  <a:gd name="T3" fmla="*/ 0 h 2700"/>
                  <a:gd name="T4" fmla="*/ 0 w 2595"/>
                  <a:gd name="T5" fmla="*/ 0 h 2700"/>
                  <a:gd name="T6" fmla="*/ 0 w 2595"/>
                  <a:gd name="T7" fmla="*/ 0 h 2700"/>
                  <a:gd name="T8" fmla="*/ 0 w 2595"/>
                  <a:gd name="T9" fmla="*/ 0 h 2700"/>
                  <a:gd name="T10" fmla="*/ 0 w 2595"/>
                  <a:gd name="T11" fmla="*/ 0 h 2700"/>
                  <a:gd name="T12" fmla="*/ 0 w 2595"/>
                  <a:gd name="T13" fmla="*/ 0 h 2700"/>
                  <a:gd name="T14" fmla="*/ 0 w 2595"/>
                  <a:gd name="T15" fmla="*/ 0 h 2700"/>
                  <a:gd name="T16" fmla="*/ 0 w 2595"/>
                  <a:gd name="T17" fmla="*/ 0 h 2700"/>
                  <a:gd name="T18" fmla="*/ 0 w 2595"/>
                  <a:gd name="T19" fmla="*/ 0 h 2700"/>
                  <a:gd name="T20" fmla="*/ 0 w 2595"/>
                  <a:gd name="T21" fmla="*/ 0 h 2700"/>
                  <a:gd name="T22" fmla="*/ 0 w 2595"/>
                  <a:gd name="T23" fmla="*/ 0 h 2700"/>
                  <a:gd name="T24" fmla="*/ 0 w 2595"/>
                  <a:gd name="T25" fmla="*/ 0 h 2700"/>
                  <a:gd name="T26" fmla="*/ 0 w 2595"/>
                  <a:gd name="T27" fmla="*/ 0 h 2700"/>
                  <a:gd name="T28" fmla="*/ 0 w 2595"/>
                  <a:gd name="T29" fmla="*/ 0 h 2700"/>
                  <a:gd name="T30" fmla="*/ 0 w 2595"/>
                  <a:gd name="T31" fmla="*/ 0 h 2700"/>
                  <a:gd name="T32" fmla="*/ 0 w 2595"/>
                  <a:gd name="T33" fmla="*/ 0 h 2700"/>
                  <a:gd name="T34" fmla="*/ 0 w 2595"/>
                  <a:gd name="T35" fmla="*/ 0 h 2700"/>
                  <a:gd name="T36" fmla="*/ 0 w 2595"/>
                  <a:gd name="T37" fmla="*/ 0 h 2700"/>
                  <a:gd name="T38" fmla="*/ 0 w 2595"/>
                  <a:gd name="T39" fmla="*/ 0 h 2700"/>
                  <a:gd name="T40" fmla="*/ 0 w 2595"/>
                  <a:gd name="T41" fmla="*/ 0 h 2700"/>
                  <a:gd name="T42" fmla="*/ 0 w 2595"/>
                  <a:gd name="T43" fmla="*/ 0 h 2700"/>
                  <a:gd name="T44" fmla="*/ 0 w 2595"/>
                  <a:gd name="T45" fmla="*/ 0 h 2700"/>
                  <a:gd name="T46" fmla="*/ 0 w 2595"/>
                  <a:gd name="T47" fmla="*/ 0 h 2700"/>
                  <a:gd name="T48" fmla="*/ 0 w 2595"/>
                  <a:gd name="T49" fmla="*/ 0 h 2700"/>
                  <a:gd name="T50" fmla="*/ 0 w 2595"/>
                  <a:gd name="T51" fmla="*/ 0 h 2700"/>
                  <a:gd name="T52" fmla="*/ 0 w 2595"/>
                  <a:gd name="T53" fmla="*/ 0 h 2700"/>
                  <a:gd name="T54" fmla="*/ 0 w 2595"/>
                  <a:gd name="T55" fmla="*/ 0 h 2700"/>
                  <a:gd name="T56" fmla="*/ 0 w 2595"/>
                  <a:gd name="T57" fmla="*/ 0 h 2700"/>
                  <a:gd name="T58" fmla="*/ 0 w 2595"/>
                  <a:gd name="T59" fmla="*/ 0 h 2700"/>
                  <a:gd name="T60" fmla="*/ 0 w 2595"/>
                  <a:gd name="T61" fmla="*/ 0 h 2700"/>
                  <a:gd name="T62" fmla="*/ 0 w 2595"/>
                  <a:gd name="T63" fmla="*/ 0 h 2700"/>
                  <a:gd name="T64" fmla="*/ 0 w 2595"/>
                  <a:gd name="T65" fmla="*/ 0 h 2700"/>
                  <a:gd name="T66" fmla="*/ 0 w 2595"/>
                  <a:gd name="T67" fmla="*/ 0 h 2700"/>
                  <a:gd name="T68" fmla="*/ 0 w 2595"/>
                  <a:gd name="T69" fmla="*/ 0 h 2700"/>
                  <a:gd name="T70" fmla="*/ 0 w 2595"/>
                  <a:gd name="T71" fmla="*/ 0 h 2700"/>
                  <a:gd name="T72" fmla="*/ 0 w 2595"/>
                  <a:gd name="T73" fmla="*/ 0 h 2700"/>
                  <a:gd name="T74" fmla="*/ 0 w 2595"/>
                  <a:gd name="T75" fmla="*/ 0 h 2700"/>
                  <a:gd name="T76" fmla="*/ 0 w 2595"/>
                  <a:gd name="T77" fmla="*/ 0 h 2700"/>
                  <a:gd name="T78" fmla="*/ 0 w 2595"/>
                  <a:gd name="T79" fmla="*/ 0 h 2700"/>
                  <a:gd name="T80" fmla="*/ 0 w 2595"/>
                  <a:gd name="T81" fmla="*/ 0 h 2700"/>
                  <a:gd name="T82" fmla="*/ 0 w 2595"/>
                  <a:gd name="T83" fmla="*/ 0 h 2700"/>
                  <a:gd name="T84" fmla="*/ 0 w 2595"/>
                  <a:gd name="T85" fmla="*/ 0 h 2700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595"/>
                  <a:gd name="T130" fmla="*/ 0 h 2700"/>
                  <a:gd name="T131" fmla="*/ 2595 w 2595"/>
                  <a:gd name="T132" fmla="*/ 2700 h 2700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595" h="2700">
                    <a:moveTo>
                      <a:pt x="2593" y="1223"/>
                    </a:moveTo>
                    <a:lnTo>
                      <a:pt x="2595" y="1276"/>
                    </a:lnTo>
                    <a:lnTo>
                      <a:pt x="2594" y="1330"/>
                    </a:lnTo>
                    <a:lnTo>
                      <a:pt x="2590" y="1384"/>
                    </a:lnTo>
                    <a:lnTo>
                      <a:pt x="2583" y="1439"/>
                    </a:lnTo>
                    <a:lnTo>
                      <a:pt x="2573" y="1494"/>
                    </a:lnTo>
                    <a:lnTo>
                      <a:pt x="2559" y="1550"/>
                    </a:lnTo>
                    <a:lnTo>
                      <a:pt x="2543" y="1606"/>
                    </a:lnTo>
                    <a:lnTo>
                      <a:pt x="2523" y="1663"/>
                    </a:lnTo>
                    <a:lnTo>
                      <a:pt x="2500" y="1719"/>
                    </a:lnTo>
                    <a:lnTo>
                      <a:pt x="2476" y="1775"/>
                    </a:lnTo>
                    <a:lnTo>
                      <a:pt x="2447" y="1832"/>
                    </a:lnTo>
                    <a:lnTo>
                      <a:pt x="2415" y="1886"/>
                    </a:lnTo>
                    <a:lnTo>
                      <a:pt x="2380" y="1941"/>
                    </a:lnTo>
                    <a:lnTo>
                      <a:pt x="2342" y="1996"/>
                    </a:lnTo>
                    <a:lnTo>
                      <a:pt x="2302" y="2049"/>
                    </a:lnTo>
                    <a:lnTo>
                      <a:pt x="2259" y="2101"/>
                    </a:lnTo>
                    <a:lnTo>
                      <a:pt x="2212" y="2152"/>
                    </a:lnTo>
                    <a:lnTo>
                      <a:pt x="2162" y="2202"/>
                    </a:lnTo>
                    <a:lnTo>
                      <a:pt x="2110" y="2250"/>
                    </a:lnTo>
                    <a:lnTo>
                      <a:pt x="2055" y="2297"/>
                    </a:lnTo>
                    <a:lnTo>
                      <a:pt x="1996" y="2342"/>
                    </a:lnTo>
                    <a:lnTo>
                      <a:pt x="1935" y="2385"/>
                    </a:lnTo>
                    <a:lnTo>
                      <a:pt x="1872" y="2426"/>
                    </a:lnTo>
                    <a:lnTo>
                      <a:pt x="1805" y="2465"/>
                    </a:lnTo>
                    <a:lnTo>
                      <a:pt x="1736" y="2502"/>
                    </a:lnTo>
                    <a:lnTo>
                      <a:pt x="1663" y="2536"/>
                    </a:lnTo>
                    <a:lnTo>
                      <a:pt x="1588" y="2567"/>
                    </a:lnTo>
                    <a:lnTo>
                      <a:pt x="1510" y="2596"/>
                    </a:lnTo>
                    <a:lnTo>
                      <a:pt x="1430" y="2622"/>
                    </a:lnTo>
                    <a:lnTo>
                      <a:pt x="1346" y="2644"/>
                    </a:lnTo>
                    <a:lnTo>
                      <a:pt x="1260" y="2664"/>
                    </a:lnTo>
                    <a:lnTo>
                      <a:pt x="1171" y="2680"/>
                    </a:lnTo>
                    <a:lnTo>
                      <a:pt x="1106" y="2690"/>
                    </a:lnTo>
                    <a:lnTo>
                      <a:pt x="1044" y="2696"/>
                    </a:lnTo>
                    <a:lnTo>
                      <a:pt x="984" y="2699"/>
                    </a:lnTo>
                    <a:lnTo>
                      <a:pt x="926" y="2700"/>
                    </a:lnTo>
                    <a:lnTo>
                      <a:pt x="872" y="2698"/>
                    </a:lnTo>
                    <a:lnTo>
                      <a:pt x="819" y="2694"/>
                    </a:lnTo>
                    <a:lnTo>
                      <a:pt x="767" y="2686"/>
                    </a:lnTo>
                    <a:lnTo>
                      <a:pt x="719" y="2675"/>
                    </a:lnTo>
                    <a:lnTo>
                      <a:pt x="672" y="2663"/>
                    </a:lnTo>
                    <a:lnTo>
                      <a:pt x="628" y="2647"/>
                    </a:lnTo>
                    <a:lnTo>
                      <a:pt x="585" y="2629"/>
                    </a:lnTo>
                    <a:lnTo>
                      <a:pt x="545" y="2607"/>
                    </a:lnTo>
                    <a:lnTo>
                      <a:pt x="506" y="2583"/>
                    </a:lnTo>
                    <a:lnTo>
                      <a:pt x="470" y="2556"/>
                    </a:lnTo>
                    <a:lnTo>
                      <a:pt x="435" y="2527"/>
                    </a:lnTo>
                    <a:lnTo>
                      <a:pt x="402" y="2495"/>
                    </a:lnTo>
                    <a:lnTo>
                      <a:pt x="370" y="2460"/>
                    </a:lnTo>
                    <a:lnTo>
                      <a:pt x="340" y="2423"/>
                    </a:lnTo>
                    <a:lnTo>
                      <a:pt x="311" y="2383"/>
                    </a:lnTo>
                    <a:lnTo>
                      <a:pt x="284" y="2339"/>
                    </a:lnTo>
                    <a:lnTo>
                      <a:pt x="258" y="2294"/>
                    </a:lnTo>
                    <a:lnTo>
                      <a:pt x="234" y="2246"/>
                    </a:lnTo>
                    <a:lnTo>
                      <a:pt x="211" y="2194"/>
                    </a:lnTo>
                    <a:lnTo>
                      <a:pt x="190" y="2141"/>
                    </a:lnTo>
                    <a:lnTo>
                      <a:pt x="169" y="2085"/>
                    </a:lnTo>
                    <a:lnTo>
                      <a:pt x="150" y="2026"/>
                    </a:lnTo>
                    <a:lnTo>
                      <a:pt x="132" y="1964"/>
                    </a:lnTo>
                    <a:lnTo>
                      <a:pt x="115" y="1900"/>
                    </a:lnTo>
                    <a:lnTo>
                      <a:pt x="100" y="1833"/>
                    </a:lnTo>
                    <a:lnTo>
                      <a:pt x="84" y="1763"/>
                    </a:lnTo>
                    <a:lnTo>
                      <a:pt x="71" y="1691"/>
                    </a:lnTo>
                    <a:lnTo>
                      <a:pt x="57" y="1616"/>
                    </a:lnTo>
                    <a:lnTo>
                      <a:pt x="47" y="1550"/>
                    </a:lnTo>
                    <a:lnTo>
                      <a:pt x="37" y="1483"/>
                    </a:lnTo>
                    <a:lnTo>
                      <a:pt x="27" y="1416"/>
                    </a:lnTo>
                    <a:lnTo>
                      <a:pt x="19" y="1349"/>
                    </a:lnTo>
                    <a:lnTo>
                      <a:pt x="12" y="1281"/>
                    </a:lnTo>
                    <a:lnTo>
                      <a:pt x="6" y="1213"/>
                    </a:lnTo>
                    <a:lnTo>
                      <a:pt x="3" y="1146"/>
                    </a:lnTo>
                    <a:lnTo>
                      <a:pt x="1" y="1079"/>
                    </a:lnTo>
                    <a:lnTo>
                      <a:pt x="0" y="1012"/>
                    </a:lnTo>
                    <a:lnTo>
                      <a:pt x="2" y="946"/>
                    </a:lnTo>
                    <a:lnTo>
                      <a:pt x="7" y="881"/>
                    </a:lnTo>
                    <a:lnTo>
                      <a:pt x="14" y="817"/>
                    </a:lnTo>
                    <a:lnTo>
                      <a:pt x="24" y="754"/>
                    </a:lnTo>
                    <a:lnTo>
                      <a:pt x="38" y="692"/>
                    </a:lnTo>
                    <a:lnTo>
                      <a:pt x="54" y="632"/>
                    </a:lnTo>
                    <a:lnTo>
                      <a:pt x="74" y="574"/>
                    </a:lnTo>
                    <a:lnTo>
                      <a:pt x="98" y="517"/>
                    </a:lnTo>
                    <a:lnTo>
                      <a:pt x="126" y="462"/>
                    </a:lnTo>
                    <a:lnTo>
                      <a:pt x="158" y="411"/>
                    </a:lnTo>
                    <a:lnTo>
                      <a:pt x="194" y="361"/>
                    </a:lnTo>
                    <a:lnTo>
                      <a:pt x="235" y="314"/>
                    </a:lnTo>
                    <a:lnTo>
                      <a:pt x="281" y="268"/>
                    </a:lnTo>
                    <a:lnTo>
                      <a:pt x="331" y="227"/>
                    </a:lnTo>
                    <a:lnTo>
                      <a:pt x="387" y="187"/>
                    </a:lnTo>
                    <a:lnTo>
                      <a:pt x="448" y="151"/>
                    </a:lnTo>
                    <a:lnTo>
                      <a:pt x="515" y="119"/>
                    </a:lnTo>
                    <a:lnTo>
                      <a:pt x="588" y="90"/>
                    </a:lnTo>
                    <a:lnTo>
                      <a:pt x="666" y="64"/>
                    </a:lnTo>
                    <a:lnTo>
                      <a:pt x="751" y="44"/>
                    </a:lnTo>
                    <a:lnTo>
                      <a:pt x="843" y="26"/>
                    </a:lnTo>
                    <a:lnTo>
                      <a:pt x="940" y="13"/>
                    </a:lnTo>
                    <a:lnTo>
                      <a:pt x="1045" y="3"/>
                    </a:lnTo>
                    <a:lnTo>
                      <a:pt x="1129" y="0"/>
                    </a:lnTo>
                    <a:lnTo>
                      <a:pt x="1211" y="0"/>
                    </a:lnTo>
                    <a:lnTo>
                      <a:pt x="1290" y="4"/>
                    </a:lnTo>
                    <a:lnTo>
                      <a:pt x="1368" y="12"/>
                    </a:lnTo>
                    <a:lnTo>
                      <a:pt x="1444" y="22"/>
                    </a:lnTo>
                    <a:lnTo>
                      <a:pt x="1518" y="35"/>
                    </a:lnTo>
                    <a:lnTo>
                      <a:pt x="1590" y="52"/>
                    </a:lnTo>
                    <a:lnTo>
                      <a:pt x="1659" y="73"/>
                    </a:lnTo>
                    <a:lnTo>
                      <a:pt x="1727" y="95"/>
                    </a:lnTo>
                    <a:lnTo>
                      <a:pt x="1792" y="121"/>
                    </a:lnTo>
                    <a:lnTo>
                      <a:pt x="1855" y="149"/>
                    </a:lnTo>
                    <a:lnTo>
                      <a:pt x="1916" y="181"/>
                    </a:lnTo>
                    <a:lnTo>
                      <a:pt x="1975" y="214"/>
                    </a:lnTo>
                    <a:lnTo>
                      <a:pt x="2031" y="250"/>
                    </a:lnTo>
                    <a:lnTo>
                      <a:pt x="2086" y="290"/>
                    </a:lnTo>
                    <a:lnTo>
                      <a:pt x="2137" y="331"/>
                    </a:lnTo>
                    <a:lnTo>
                      <a:pt x="2186" y="374"/>
                    </a:lnTo>
                    <a:lnTo>
                      <a:pt x="2233" y="419"/>
                    </a:lnTo>
                    <a:lnTo>
                      <a:pt x="2276" y="467"/>
                    </a:lnTo>
                    <a:lnTo>
                      <a:pt x="2317" y="516"/>
                    </a:lnTo>
                    <a:lnTo>
                      <a:pt x="2356" y="567"/>
                    </a:lnTo>
                    <a:lnTo>
                      <a:pt x="2392" y="620"/>
                    </a:lnTo>
                    <a:lnTo>
                      <a:pt x="2425" y="674"/>
                    </a:lnTo>
                    <a:lnTo>
                      <a:pt x="2456" y="730"/>
                    </a:lnTo>
                    <a:lnTo>
                      <a:pt x="2483" y="788"/>
                    </a:lnTo>
                    <a:lnTo>
                      <a:pt x="2508" y="847"/>
                    </a:lnTo>
                    <a:lnTo>
                      <a:pt x="2529" y="907"/>
                    </a:lnTo>
                    <a:lnTo>
                      <a:pt x="2548" y="969"/>
                    </a:lnTo>
                    <a:lnTo>
                      <a:pt x="2564" y="1031"/>
                    </a:lnTo>
                    <a:lnTo>
                      <a:pt x="2577" y="1094"/>
                    </a:lnTo>
                    <a:lnTo>
                      <a:pt x="2586" y="1159"/>
                    </a:lnTo>
                    <a:lnTo>
                      <a:pt x="2593" y="1223"/>
                    </a:lnTo>
                    <a:close/>
                  </a:path>
                </a:pathLst>
              </a:custGeom>
              <a:solidFill>
                <a:srgbClr val="2DAA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299" name="Freeform 75"/>
              <p:cNvSpPr>
                <a:spLocks/>
              </p:cNvSpPr>
              <p:nvPr/>
            </p:nvSpPr>
            <p:spPr bwMode="auto">
              <a:xfrm>
                <a:off x="3658" y="1266"/>
                <a:ext cx="79" cy="387"/>
              </a:xfrm>
              <a:custGeom>
                <a:avLst/>
                <a:gdLst>
                  <a:gd name="T0" fmla="*/ 0 w 556"/>
                  <a:gd name="T1" fmla="*/ 0 h 2710"/>
                  <a:gd name="T2" fmla="*/ 0 w 556"/>
                  <a:gd name="T3" fmla="*/ 0 h 2710"/>
                  <a:gd name="T4" fmla="*/ 0 w 556"/>
                  <a:gd name="T5" fmla="*/ 0 h 2710"/>
                  <a:gd name="T6" fmla="*/ 0 w 556"/>
                  <a:gd name="T7" fmla="*/ 0 h 2710"/>
                  <a:gd name="T8" fmla="*/ 0 w 556"/>
                  <a:gd name="T9" fmla="*/ 0 h 2710"/>
                  <a:gd name="T10" fmla="*/ 0 w 556"/>
                  <a:gd name="T11" fmla="*/ 0 h 2710"/>
                  <a:gd name="T12" fmla="*/ 0 w 556"/>
                  <a:gd name="T13" fmla="*/ 0 h 2710"/>
                  <a:gd name="T14" fmla="*/ 0 w 556"/>
                  <a:gd name="T15" fmla="*/ 0 h 2710"/>
                  <a:gd name="T16" fmla="*/ 0 w 556"/>
                  <a:gd name="T17" fmla="*/ 0 h 2710"/>
                  <a:gd name="T18" fmla="*/ 0 w 556"/>
                  <a:gd name="T19" fmla="*/ 0 h 2710"/>
                  <a:gd name="T20" fmla="*/ 0 w 556"/>
                  <a:gd name="T21" fmla="*/ 0 h 2710"/>
                  <a:gd name="T22" fmla="*/ 0 w 556"/>
                  <a:gd name="T23" fmla="*/ 0 h 2710"/>
                  <a:gd name="T24" fmla="*/ 0 w 556"/>
                  <a:gd name="T25" fmla="*/ 0 h 2710"/>
                  <a:gd name="T26" fmla="*/ 0 w 556"/>
                  <a:gd name="T27" fmla="*/ 0 h 2710"/>
                  <a:gd name="T28" fmla="*/ 0 w 556"/>
                  <a:gd name="T29" fmla="*/ 0 h 2710"/>
                  <a:gd name="T30" fmla="*/ 0 w 556"/>
                  <a:gd name="T31" fmla="*/ 0 h 2710"/>
                  <a:gd name="T32" fmla="*/ 0 w 556"/>
                  <a:gd name="T33" fmla="*/ 0 h 2710"/>
                  <a:gd name="T34" fmla="*/ 0 w 556"/>
                  <a:gd name="T35" fmla="*/ 0 h 2710"/>
                  <a:gd name="T36" fmla="*/ 0 w 556"/>
                  <a:gd name="T37" fmla="*/ 0 h 2710"/>
                  <a:gd name="T38" fmla="*/ 0 w 556"/>
                  <a:gd name="T39" fmla="*/ 0 h 2710"/>
                  <a:gd name="T40" fmla="*/ 0 w 556"/>
                  <a:gd name="T41" fmla="*/ 0 h 2710"/>
                  <a:gd name="T42" fmla="*/ 0 w 556"/>
                  <a:gd name="T43" fmla="*/ 0 h 2710"/>
                  <a:gd name="T44" fmla="*/ 0 w 556"/>
                  <a:gd name="T45" fmla="*/ 0 h 2710"/>
                  <a:gd name="T46" fmla="*/ 0 w 556"/>
                  <a:gd name="T47" fmla="*/ 0 h 2710"/>
                  <a:gd name="T48" fmla="*/ 0 w 556"/>
                  <a:gd name="T49" fmla="*/ 0 h 2710"/>
                  <a:gd name="T50" fmla="*/ 0 w 556"/>
                  <a:gd name="T51" fmla="*/ 0 h 2710"/>
                  <a:gd name="T52" fmla="*/ 0 w 556"/>
                  <a:gd name="T53" fmla="*/ 0 h 2710"/>
                  <a:gd name="T54" fmla="*/ 0 w 556"/>
                  <a:gd name="T55" fmla="*/ 0 h 2710"/>
                  <a:gd name="T56" fmla="*/ 0 w 556"/>
                  <a:gd name="T57" fmla="*/ 0 h 2710"/>
                  <a:gd name="T58" fmla="*/ 0 w 556"/>
                  <a:gd name="T59" fmla="*/ 0 h 2710"/>
                  <a:gd name="T60" fmla="*/ 0 w 556"/>
                  <a:gd name="T61" fmla="*/ 0 h 2710"/>
                  <a:gd name="T62" fmla="*/ 0 w 556"/>
                  <a:gd name="T63" fmla="*/ 0 h 2710"/>
                  <a:gd name="T64" fmla="*/ 0 w 556"/>
                  <a:gd name="T65" fmla="*/ 0 h 2710"/>
                  <a:gd name="T66" fmla="*/ 0 w 556"/>
                  <a:gd name="T67" fmla="*/ 0 h 2710"/>
                  <a:gd name="T68" fmla="*/ 0 w 556"/>
                  <a:gd name="T69" fmla="*/ 0 h 2710"/>
                  <a:gd name="T70" fmla="*/ 0 w 556"/>
                  <a:gd name="T71" fmla="*/ 0 h 2710"/>
                  <a:gd name="T72" fmla="*/ 0 w 556"/>
                  <a:gd name="T73" fmla="*/ 0 h 2710"/>
                  <a:gd name="T74" fmla="*/ 0 w 556"/>
                  <a:gd name="T75" fmla="*/ 0 h 2710"/>
                  <a:gd name="T76" fmla="*/ 0 w 556"/>
                  <a:gd name="T77" fmla="*/ 0 h 2710"/>
                  <a:gd name="T78" fmla="*/ 0 w 556"/>
                  <a:gd name="T79" fmla="*/ 0 h 2710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556"/>
                  <a:gd name="T121" fmla="*/ 0 h 2710"/>
                  <a:gd name="T122" fmla="*/ 556 w 556"/>
                  <a:gd name="T123" fmla="*/ 2710 h 2710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556" h="2710">
                    <a:moveTo>
                      <a:pt x="278" y="0"/>
                    </a:moveTo>
                    <a:lnTo>
                      <a:pt x="253" y="2"/>
                    </a:lnTo>
                    <a:lnTo>
                      <a:pt x="228" y="5"/>
                    </a:lnTo>
                    <a:lnTo>
                      <a:pt x="203" y="8"/>
                    </a:lnTo>
                    <a:lnTo>
                      <a:pt x="180" y="10"/>
                    </a:lnTo>
                    <a:lnTo>
                      <a:pt x="156" y="13"/>
                    </a:lnTo>
                    <a:lnTo>
                      <a:pt x="133" y="16"/>
                    </a:lnTo>
                    <a:lnTo>
                      <a:pt x="109" y="19"/>
                    </a:lnTo>
                    <a:lnTo>
                      <a:pt x="88" y="22"/>
                    </a:lnTo>
                    <a:lnTo>
                      <a:pt x="72" y="120"/>
                    </a:lnTo>
                    <a:lnTo>
                      <a:pt x="59" y="218"/>
                    </a:lnTo>
                    <a:lnTo>
                      <a:pt x="47" y="314"/>
                    </a:lnTo>
                    <a:lnTo>
                      <a:pt x="36" y="410"/>
                    </a:lnTo>
                    <a:lnTo>
                      <a:pt x="28" y="505"/>
                    </a:lnTo>
                    <a:lnTo>
                      <a:pt x="19" y="599"/>
                    </a:lnTo>
                    <a:lnTo>
                      <a:pt x="13" y="692"/>
                    </a:lnTo>
                    <a:lnTo>
                      <a:pt x="8" y="784"/>
                    </a:lnTo>
                    <a:lnTo>
                      <a:pt x="4" y="876"/>
                    </a:lnTo>
                    <a:lnTo>
                      <a:pt x="2" y="966"/>
                    </a:lnTo>
                    <a:lnTo>
                      <a:pt x="0" y="1056"/>
                    </a:lnTo>
                    <a:lnTo>
                      <a:pt x="0" y="1145"/>
                    </a:lnTo>
                    <a:lnTo>
                      <a:pt x="0" y="1233"/>
                    </a:lnTo>
                    <a:lnTo>
                      <a:pt x="2" y="1320"/>
                    </a:lnTo>
                    <a:lnTo>
                      <a:pt x="5" y="1407"/>
                    </a:lnTo>
                    <a:lnTo>
                      <a:pt x="8" y="1491"/>
                    </a:lnTo>
                    <a:lnTo>
                      <a:pt x="13" y="1575"/>
                    </a:lnTo>
                    <a:lnTo>
                      <a:pt x="18" y="1659"/>
                    </a:lnTo>
                    <a:lnTo>
                      <a:pt x="25" y="1741"/>
                    </a:lnTo>
                    <a:lnTo>
                      <a:pt x="32" y="1822"/>
                    </a:lnTo>
                    <a:lnTo>
                      <a:pt x="39" y="1902"/>
                    </a:lnTo>
                    <a:lnTo>
                      <a:pt x="47" y="1981"/>
                    </a:lnTo>
                    <a:lnTo>
                      <a:pt x="57" y="2059"/>
                    </a:lnTo>
                    <a:lnTo>
                      <a:pt x="66" y="2136"/>
                    </a:lnTo>
                    <a:lnTo>
                      <a:pt x="76" y="2211"/>
                    </a:lnTo>
                    <a:lnTo>
                      <a:pt x="87" y="2287"/>
                    </a:lnTo>
                    <a:lnTo>
                      <a:pt x="98" y="2360"/>
                    </a:lnTo>
                    <a:lnTo>
                      <a:pt x="109" y="2432"/>
                    </a:lnTo>
                    <a:lnTo>
                      <a:pt x="133" y="2573"/>
                    </a:lnTo>
                    <a:lnTo>
                      <a:pt x="159" y="2710"/>
                    </a:lnTo>
                    <a:lnTo>
                      <a:pt x="189" y="2707"/>
                    </a:lnTo>
                    <a:lnTo>
                      <a:pt x="219" y="2705"/>
                    </a:lnTo>
                    <a:lnTo>
                      <a:pt x="250" y="2702"/>
                    </a:lnTo>
                    <a:lnTo>
                      <a:pt x="282" y="2698"/>
                    </a:lnTo>
                    <a:lnTo>
                      <a:pt x="315" y="2694"/>
                    </a:lnTo>
                    <a:lnTo>
                      <a:pt x="349" y="2689"/>
                    </a:lnTo>
                    <a:lnTo>
                      <a:pt x="383" y="2683"/>
                    </a:lnTo>
                    <a:lnTo>
                      <a:pt x="419" y="2676"/>
                    </a:lnTo>
                    <a:lnTo>
                      <a:pt x="454" y="2669"/>
                    </a:lnTo>
                    <a:lnTo>
                      <a:pt x="488" y="2662"/>
                    </a:lnTo>
                    <a:lnTo>
                      <a:pt x="522" y="2654"/>
                    </a:lnTo>
                    <a:lnTo>
                      <a:pt x="556" y="2645"/>
                    </a:lnTo>
                    <a:lnTo>
                      <a:pt x="522" y="2511"/>
                    </a:lnTo>
                    <a:lnTo>
                      <a:pt x="490" y="2370"/>
                    </a:lnTo>
                    <a:lnTo>
                      <a:pt x="473" y="2298"/>
                    </a:lnTo>
                    <a:lnTo>
                      <a:pt x="458" y="2226"/>
                    </a:lnTo>
                    <a:lnTo>
                      <a:pt x="442" y="2151"/>
                    </a:lnTo>
                    <a:lnTo>
                      <a:pt x="428" y="2076"/>
                    </a:lnTo>
                    <a:lnTo>
                      <a:pt x="413" y="1999"/>
                    </a:lnTo>
                    <a:lnTo>
                      <a:pt x="399" y="1921"/>
                    </a:lnTo>
                    <a:lnTo>
                      <a:pt x="385" y="1842"/>
                    </a:lnTo>
                    <a:lnTo>
                      <a:pt x="372" y="1762"/>
                    </a:lnTo>
                    <a:lnTo>
                      <a:pt x="359" y="1682"/>
                    </a:lnTo>
                    <a:lnTo>
                      <a:pt x="348" y="1600"/>
                    </a:lnTo>
                    <a:lnTo>
                      <a:pt x="337" y="1517"/>
                    </a:lnTo>
                    <a:lnTo>
                      <a:pt x="325" y="1434"/>
                    </a:lnTo>
                    <a:lnTo>
                      <a:pt x="316" y="1350"/>
                    </a:lnTo>
                    <a:lnTo>
                      <a:pt x="307" y="1265"/>
                    </a:lnTo>
                    <a:lnTo>
                      <a:pt x="298" y="1178"/>
                    </a:lnTo>
                    <a:lnTo>
                      <a:pt x="290" y="1091"/>
                    </a:lnTo>
                    <a:lnTo>
                      <a:pt x="284" y="1004"/>
                    </a:lnTo>
                    <a:lnTo>
                      <a:pt x="278" y="915"/>
                    </a:lnTo>
                    <a:lnTo>
                      <a:pt x="273" y="827"/>
                    </a:lnTo>
                    <a:lnTo>
                      <a:pt x="270" y="738"/>
                    </a:lnTo>
                    <a:lnTo>
                      <a:pt x="266" y="648"/>
                    </a:lnTo>
                    <a:lnTo>
                      <a:pt x="264" y="557"/>
                    </a:lnTo>
                    <a:lnTo>
                      <a:pt x="263" y="465"/>
                    </a:lnTo>
                    <a:lnTo>
                      <a:pt x="264" y="374"/>
                    </a:lnTo>
                    <a:lnTo>
                      <a:pt x="265" y="281"/>
                    </a:lnTo>
                    <a:lnTo>
                      <a:pt x="269" y="188"/>
                    </a:lnTo>
                    <a:lnTo>
                      <a:pt x="273" y="94"/>
                    </a:lnTo>
                    <a:lnTo>
                      <a:pt x="278" y="0"/>
                    </a:lnTo>
                    <a:close/>
                  </a:path>
                </a:pathLst>
              </a:custGeom>
              <a:solidFill>
                <a:srgbClr val="D5353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00" name="Freeform 76"/>
              <p:cNvSpPr>
                <a:spLocks/>
              </p:cNvSpPr>
              <p:nvPr/>
            </p:nvSpPr>
            <p:spPr bwMode="auto">
              <a:xfrm>
                <a:off x="3537" y="1269"/>
                <a:ext cx="144" cy="399"/>
              </a:xfrm>
              <a:custGeom>
                <a:avLst/>
                <a:gdLst>
                  <a:gd name="T0" fmla="*/ 0 w 1008"/>
                  <a:gd name="T1" fmla="*/ 0 h 2791"/>
                  <a:gd name="T2" fmla="*/ 0 w 1008"/>
                  <a:gd name="T3" fmla="*/ 0 h 2791"/>
                  <a:gd name="T4" fmla="*/ 0 w 1008"/>
                  <a:gd name="T5" fmla="*/ 0 h 2791"/>
                  <a:gd name="T6" fmla="*/ 0 w 1008"/>
                  <a:gd name="T7" fmla="*/ 0 h 2791"/>
                  <a:gd name="T8" fmla="*/ 0 w 1008"/>
                  <a:gd name="T9" fmla="*/ 0 h 2791"/>
                  <a:gd name="T10" fmla="*/ 0 w 1008"/>
                  <a:gd name="T11" fmla="*/ 0 h 2791"/>
                  <a:gd name="T12" fmla="*/ 0 w 1008"/>
                  <a:gd name="T13" fmla="*/ 0 h 2791"/>
                  <a:gd name="T14" fmla="*/ 0 w 1008"/>
                  <a:gd name="T15" fmla="*/ 0 h 2791"/>
                  <a:gd name="T16" fmla="*/ 0 w 1008"/>
                  <a:gd name="T17" fmla="*/ 0 h 2791"/>
                  <a:gd name="T18" fmla="*/ 0 w 1008"/>
                  <a:gd name="T19" fmla="*/ 0 h 2791"/>
                  <a:gd name="T20" fmla="*/ 0 w 1008"/>
                  <a:gd name="T21" fmla="*/ 0 h 2791"/>
                  <a:gd name="T22" fmla="*/ 0 w 1008"/>
                  <a:gd name="T23" fmla="*/ 0 h 2791"/>
                  <a:gd name="T24" fmla="*/ 0 w 1008"/>
                  <a:gd name="T25" fmla="*/ 0 h 2791"/>
                  <a:gd name="T26" fmla="*/ 0 w 1008"/>
                  <a:gd name="T27" fmla="*/ 0 h 2791"/>
                  <a:gd name="T28" fmla="*/ 0 w 1008"/>
                  <a:gd name="T29" fmla="*/ 0 h 2791"/>
                  <a:gd name="T30" fmla="*/ 0 w 1008"/>
                  <a:gd name="T31" fmla="*/ 0 h 2791"/>
                  <a:gd name="T32" fmla="*/ 0 w 1008"/>
                  <a:gd name="T33" fmla="*/ 0 h 2791"/>
                  <a:gd name="T34" fmla="*/ 0 w 1008"/>
                  <a:gd name="T35" fmla="*/ 0 h 2791"/>
                  <a:gd name="T36" fmla="*/ 0 w 1008"/>
                  <a:gd name="T37" fmla="*/ 0 h 2791"/>
                  <a:gd name="T38" fmla="*/ 0 w 1008"/>
                  <a:gd name="T39" fmla="*/ 0 h 2791"/>
                  <a:gd name="T40" fmla="*/ 0 w 1008"/>
                  <a:gd name="T41" fmla="*/ 0 h 2791"/>
                  <a:gd name="T42" fmla="*/ 0 w 1008"/>
                  <a:gd name="T43" fmla="*/ 0 h 2791"/>
                  <a:gd name="T44" fmla="*/ 0 w 1008"/>
                  <a:gd name="T45" fmla="*/ 0 h 2791"/>
                  <a:gd name="T46" fmla="*/ 0 w 1008"/>
                  <a:gd name="T47" fmla="*/ 0 h 2791"/>
                  <a:gd name="T48" fmla="*/ 0 w 1008"/>
                  <a:gd name="T49" fmla="*/ 0 h 2791"/>
                  <a:gd name="T50" fmla="*/ 0 w 1008"/>
                  <a:gd name="T51" fmla="*/ 0 h 2791"/>
                  <a:gd name="T52" fmla="*/ 0 w 1008"/>
                  <a:gd name="T53" fmla="*/ 0 h 2791"/>
                  <a:gd name="T54" fmla="*/ 0 w 1008"/>
                  <a:gd name="T55" fmla="*/ 0 h 2791"/>
                  <a:gd name="T56" fmla="*/ 0 w 1008"/>
                  <a:gd name="T57" fmla="*/ 0 h 2791"/>
                  <a:gd name="T58" fmla="*/ 0 w 1008"/>
                  <a:gd name="T59" fmla="*/ 0 h 2791"/>
                  <a:gd name="T60" fmla="*/ 0 w 1008"/>
                  <a:gd name="T61" fmla="*/ 0 h 2791"/>
                  <a:gd name="T62" fmla="*/ 0 w 1008"/>
                  <a:gd name="T63" fmla="*/ 0 h 2791"/>
                  <a:gd name="T64" fmla="*/ 0 w 1008"/>
                  <a:gd name="T65" fmla="*/ 0 h 2791"/>
                  <a:gd name="T66" fmla="*/ 0 w 1008"/>
                  <a:gd name="T67" fmla="*/ 0 h 2791"/>
                  <a:gd name="T68" fmla="*/ 0 w 1008"/>
                  <a:gd name="T69" fmla="*/ 0 h 2791"/>
                  <a:gd name="T70" fmla="*/ 0 w 1008"/>
                  <a:gd name="T71" fmla="*/ 0 h 2791"/>
                  <a:gd name="T72" fmla="*/ 0 w 1008"/>
                  <a:gd name="T73" fmla="*/ 0 h 2791"/>
                  <a:gd name="T74" fmla="*/ 0 w 1008"/>
                  <a:gd name="T75" fmla="*/ 0 h 2791"/>
                  <a:gd name="T76" fmla="*/ 0 w 1008"/>
                  <a:gd name="T77" fmla="*/ 0 h 2791"/>
                  <a:gd name="T78" fmla="*/ 0 w 1008"/>
                  <a:gd name="T79" fmla="*/ 0 h 2791"/>
                  <a:gd name="T80" fmla="*/ 0 w 1008"/>
                  <a:gd name="T81" fmla="*/ 0 h 2791"/>
                  <a:gd name="T82" fmla="*/ 0 w 1008"/>
                  <a:gd name="T83" fmla="*/ 0 h 2791"/>
                  <a:gd name="T84" fmla="*/ 0 w 1008"/>
                  <a:gd name="T85" fmla="*/ 0 h 2791"/>
                  <a:gd name="T86" fmla="*/ 0 w 1008"/>
                  <a:gd name="T87" fmla="*/ 0 h 2791"/>
                  <a:gd name="T88" fmla="*/ 0 w 1008"/>
                  <a:gd name="T89" fmla="*/ 0 h 2791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008"/>
                  <a:gd name="T136" fmla="*/ 0 h 2791"/>
                  <a:gd name="T137" fmla="*/ 1008 w 1008"/>
                  <a:gd name="T138" fmla="*/ 2791 h 2791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008" h="2791">
                    <a:moveTo>
                      <a:pt x="937" y="0"/>
                    </a:moveTo>
                    <a:lnTo>
                      <a:pt x="831" y="2"/>
                    </a:lnTo>
                    <a:lnTo>
                      <a:pt x="735" y="6"/>
                    </a:lnTo>
                    <a:lnTo>
                      <a:pt x="646" y="15"/>
                    </a:lnTo>
                    <a:lnTo>
                      <a:pt x="565" y="26"/>
                    </a:lnTo>
                    <a:lnTo>
                      <a:pt x="490" y="40"/>
                    </a:lnTo>
                    <a:lnTo>
                      <a:pt x="422" y="58"/>
                    </a:lnTo>
                    <a:lnTo>
                      <a:pt x="361" y="79"/>
                    </a:lnTo>
                    <a:lnTo>
                      <a:pt x="305" y="102"/>
                    </a:lnTo>
                    <a:lnTo>
                      <a:pt x="256" y="129"/>
                    </a:lnTo>
                    <a:lnTo>
                      <a:pt x="212" y="159"/>
                    </a:lnTo>
                    <a:lnTo>
                      <a:pt x="173" y="191"/>
                    </a:lnTo>
                    <a:lnTo>
                      <a:pt x="140" y="228"/>
                    </a:lnTo>
                    <a:lnTo>
                      <a:pt x="110" y="266"/>
                    </a:lnTo>
                    <a:lnTo>
                      <a:pt x="85" y="306"/>
                    </a:lnTo>
                    <a:lnTo>
                      <a:pt x="65" y="351"/>
                    </a:lnTo>
                    <a:lnTo>
                      <a:pt x="47" y="397"/>
                    </a:lnTo>
                    <a:lnTo>
                      <a:pt x="32" y="447"/>
                    </a:lnTo>
                    <a:lnTo>
                      <a:pt x="21" y="498"/>
                    </a:lnTo>
                    <a:lnTo>
                      <a:pt x="13" y="553"/>
                    </a:lnTo>
                    <a:lnTo>
                      <a:pt x="7" y="610"/>
                    </a:lnTo>
                    <a:lnTo>
                      <a:pt x="3" y="670"/>
                    </a:lnTo>
                    <a:lnTo>
                      <a:pt x="0" y="732"/>
                    </a:lnTo>
                    <a:lnTo>
                      <a:pt x="0" y="797"/>
                    </a:lnTo>
                    <a:lnTo>
                      <a:pt x="0" y="865"/>
                    </a:lnTo>
                    <a:lnTo>
                      <a:pt x="4" y="1006"/>
                    </a:lnTo>
                    <a:lnTo>
                      <a:pt x="8" y="1157"/>
                    </a:lnTo>
                    <a:lnTo>
                      <a:pt x="9" y="1236"/>
                    </a:lnTo>
                    <a:lnTo>
                      <a:pt x="10" y="1316"/>
                    </a:lnTo>
                    <a:lnTo>
                      <a:pt x="10" y="1399"/>
                    </a:lnTo>
                    <a:lnTo>
                      <a:pt x="8" y="1485"/>
                    </a:lnTo>
                    <a:lnTo>
                      <a:pt x="5" y="1586"/>
                    </a:lnTo>
                    <a:lnTo>
                      <a:pt x="1" y="1700"/>
                    </a:lnTo>
                    <a:lnTo>
                      <a:pt x="0" y="1761"/>
                    </a:lnTo>
                    <a:lnTo>
                      <a:pt x="0" y="1823"/>
                    </a:lnTo>
                    <a:lnTo>
                      <a:pt x="1" y="1886"/>
                    </a:lnTo>
                    <a:lnTo>
                      <a:pt x="4" y="1950"/>
                    </a:lnTo>
                    <a:lnTo>
                      <a:pt x="7" y="2014"/>
                    </a:lnTo>
                    <a:lnTo>
                      <a:pt x="12" y="2080"/>
                    </a:lnTo>
                    <a:lnTo>
                      <a:pt x="19" y="2144"/>
                    </a:lnTo>
                    <a:lnTo>
                      <a:pt x="28" y="2207"/>
                    </a:lnTo>
                    <a:lnTo>
                      <a:pt x="40" y="2270"/>
                    </a:lnTo>
                    <a:lnTo>
                      <a:pt x="53" y="2330"/>
                    </a:lnTo>
                    <a:lnTo>
                      <a:pt x="70" y="2389"/>
                    </a:lnTo>
                    <a:lnTo>
                      <a:pt x="90" y="2446"/>
                    </a:lnTo>
                    <a:lnTo>
                      <a:pt x="113" y="2499"/>
                    </a:lnTo>
                    <a:lnTo>
                      <a:pt x="140" y="2550"/>
                    </a:lnTo>
                    <a:lnTo>
                      <a:pt x="170" y="2597"/>
                    </a:lnTo>
                    <a:lnTo>
                      <a:pt x="204" y="2639"/>
                    </a:lnTo>
                    <a:lnTo>
                      <a:pt x="242" y="2677"/>
                    </a:lnTo>
                    <a:lnTo>
                      <a:pt x="286" y="2711"/>
                    </a:lnTo>
                    <a:lnTo>
                      <a:pt x="333" y="2739"/>
                    </a:lnTo>
                    <a:lnTo>
                      <a:pt x="386" y="2761"/>
                    </a:lnTo>
                    <a:lnTo>
                      <a:pt x="443" y="2777"/>
                    </a:lnTo>
                    <a:lnTo>
                      <a:pt x="506" y="2788"/>
                    </a:lnTo>
                    <a:lnTo>
                      <a:pt x="574" y="2791"/>
                    </a:lnTo>
                    <a:lnTo>
                      <a:pt x="648" y="2787"/>
                    </a:lnTo>
                    <a:lnTo>
                      <a:pt x="729" y="2774"/>
                    </a:lnTo>
                    <a:lnTo>
                      <a:pt x="815" y="2755"/>
                    </a:lnTo>
                    <a:lnTo>
                      <a:pt x="908" y="2726"/>
                    </a:lnTo>
                    <a:lnTo>
                      <a:pt x="1008" y="2688"/>
                    </a:lnTo>
                    <a:lnTo>
                      <a:pt x="982" y="2551"/>
                    </a:lnTo>
                    <a:lnTo>
                      <a:pt x="958" y="2410"/>
                    </a:lnTo>
                    <a:lnTo>
                      <a:pt x="947" y="2338"/>
                    </a:lnTo>
                    <a:lnTo>
                      <a:pt x="936" y="2265"/>
                    </a:lnTo>
                    <a:lnTo>
                      <a:pt x="925" y="2189"/>
                    </a:lnTo>
                    <a:lnTo>
                      <a:pt x="915" y="2114"/>
                    </a:lnTo>
                    <a:lnTo>
                      <a:pt x="906" y="2037"/>
                    </a:lnTo>
                    <a:lnTo>
                      <a:pt x="896" y="1959"/>
                    </a:lnTo>
                    <a:lnTo>
                      <a:pt x="888" y="1880"/>
                    </a:lnTo>
                    <a:lnTo>
                      <a:pt x="881" y="1800"/>
                    </a:lnTo>
                    <a:lnTo>
                      <a:pt x="874" y="1719"/>
                    </a:lnTo>
                    <a:lnTo>
                      <a:pt x="867" y="1637"/>
                    </a:lnTo>
                    <a:lnTo>
                      <a:pt x="862" y="1553"/>
                    </a:lnTo>
                    <a:lnTo>
                      <a:pt x="857" y="1469"/>
                    </a:lnTo>
                    <a:lnTo>
                      <a:pt x="854" y="1385"/>
                    </a:lnTo>
                    <a:lnTo>
                      <a:pt x="851" y="1298"/>
                    </a:lnTo>
                    <a:lnTo>
                      <a:pt x="849" y="1211"/>
                    </a:lnTo>
                    <a:lnTo>
                      <a:pt x="849" y="1123"/>
                    </a:lnTo>
                    <a:lnTo>
                      <a:pt x="849" y="1034"/>
                    </a:lnTo>
                    <a:lnTo>
                      <a:pt x="851" y="944"/>
                    </a:lnTo>
                    <a:lnTo>
                      <a:pt x="853" y="854"/>
                    </a:lnTo>
                    <a:lnTo>
                      <a:pt x="857" y="762"/>
                    </a:lnTo>
                    <a:lnTo>
                      <a:pt x="862" y="670"/>
                    </a:lnTo>
                    <a:lnTo>
                      <a:pt x="868" y="577"/>
                    </a:lnTo>
                    <a:lnTo>
                      <a:pt x="877" y="483"/>
                    </a:lnTo>
                    <a:lnTo>
                      <a:pt x="885" y="388"/>
                    </a:lnTo>
                    <a:lnTo>
                      <a:pt x="896" y="292"/>
                    </a:lnTo>
                    <a:lnTo>
                      <a:pt x="908" y="196"/>
                    </a:lnTo>
                    <a:lnTo>
                      <a:pt x="921" y="98"/>
                    </a:lnTo>
                    <a:lnTo>
                      <a:pt x="937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01" name="Freeform 77"/>
              <p:cNvSpPr>
                <a:spLocks/>
              </p:cNvSpPr>
              <p:nvPr/>
            </p:nvSpPr>
            <p:spPr bwMode="auto">
              <a:xfrm>
                <a:off x="3695" y="1265"/>
                <a:ext cx="94" cy="379"/>
              </a:xfrm>
              <a:custGeom>
                <a:avLst/>
                <a:gdLst>
                  <a:gd name="T0" fmla="*/ 0 w 656"/>
                  <a:gd name="T1" fmla="*/ 0 h 2649"/>
                  <a:gd name="T2" fmla="*/ 0 w 656"/>
                  <a:gd name="T3" fmla="*/ 0 h 2649"/>
                  <a:gd name="T4" fmla="*/ 0 w 656"/>
                  <a:gd name="T5" fmla="*/ 0 h 2649"/>
                  <a:gd name="T6" fmla="*/ 0 w 656"/>
                  <a:gd name="T7" fmla="*/ 0 h 2649"/>
                  <a:gd name="T8" fmla="*/ 0 w 656"/>
                  <a:gd name="T9" fmla="*/ 0 h 2649"/>
                  <a:gd name="T10" fmla="*/ 0 w 656"/>
                  <a:gd name="T11" fmla="*/ 0 h 2649"/>
                  <a:gd name="T12" fmla="*/ 0 w 656"/>
                  <a:gd name="T13" fmla="*/ 0 h 2649"/>
                  <a:gd name="T14" fmla="*/ 0 w 656"/>
                  <a:gd name="T15" fmla="*/ 0 h 2649"/>
                  <a:gd name="T16" fmla="*/ 0 w 656"/>
                  <a:gd name="T17" fmla="*/ 0 h 2649"/>
                  <a:gd name="T18" fmla="*/ 0 w 656"/>
                  <a:gd name="T19" fmla="*/ 0 h 2649"/>
                  <a:gd name="T20" fmla="*/ 0 w 656"/>
                  <a:gd name="T21" fmla="*/ 0 h 2649"/>
                  <a:gd name="T22" fmla="*/ 0 w 656"/>
                  <a:gd name="T23" fmla="*/ 0 h 2649"/>
                  <a:gd name="T24" fmla="*/ 0 w 656"/>
                  <a:gd name="T25" fmla="*/ 0 h 2649"/>
                  <a:gd name="T26" fmla="*/ 0 w 656"/>
                  <a:gd name="T27" fmla="*/ 0 h 2649"/>
                  <a:gd name="T28" fmla="*/ 0 w 656"/>
                  <a:gd name="T29" fmla="*/ 0 h 2649"/>
                  <a:gd name="T30" fmla="*/ 0 w 656"/>
                  <a:gd name="T31" fmla="*/ 0 h 2649"/>
                  <a:gd name="T32" fmla="*/ 0 w 656"/>
                  <a:gd name="T33" fmla="*/ 0 h 2649"/>
                  <a:gd name="T34" fmla="*/ 0 w 656"/>
                  <a:gd name="T35" fmla="*/ 0 h 2649"/>
                  <a:gd name="T36" fmla="*/ 0 w 656"/>
                  <a:gd name="T37" fmla="*/ 0 h 2649"/>
                  <a:gd name="T38" fmla="*/ 0 w 656"/>
                  <a:gd name="T39" fmla="*/ 0 h 2649"/>
                  <a:gd name="T40" fmla="*/ 0 w 656"/>
                  <a:gd name="T41" fmla="*/ 0 h 2649"/>
                  <a:gd name="T42" fmla="*/ 0 w 656"/>
                  <a:gd name="T43" fmla="*/ 0 h 2649"/>
                  <a:gd name="T44" fmla="*/ 0 w 656"/>
                  <a:gd name="T45" fmla="*/ 0 h 2649"/>
                  <a:gd name="T46" fmla="*/ 0 w 656"/>
                  <a:gd name="T47" fmla="*/ 0 h 2649"/>
                  <a:gd name="T48" fmla="*/ 0 w 656"/>
                  <a:gd name="T49" fmla="*/ 0 h 2649"/>
                  <a:gd name="T50" fmla="*/ 0 w 656"/>
                  <a:gd name="T51" fmla="*/ 0 h 2649"/>
                  <a:gd name="T52" fmla="*/ 0 w 656"/>
                  <a:gd name="T53" fmla="*/ 0 h 2649"/>
                  <a:gd name="T54" fmla="*/ 0 w 656"/>
                  <a:gd name="T55" fmla="*/ 0 h 2649"/>
                  <a:gd name="T56" fmla="*/ 0 w 656"/>
                  <a:gd name="T57" fmla="*/ 0 h 2649"/>
                  <a:gd name="T58" fmla="*/ 0 w 656"/>
                  <a:gd name="T59" fmla="*/ 0 h 2649"/>
                  <a:gd name="T60" fmla="*/ 0 w 656"/>
                  <a:gd name="T61" fmla="*/ 0 h 2649"/>
                  <a:gd name="T62" fmla="*/ 0 w 656"/>
                  <a:gd name="T63" fmla="*/ 0 h 2649"/>
                  <a:gd name="T64" fmla="*/ 0 w 656"/>
                  <a:gd name="T65" fmla="*/ 0 h 2649"/>
                  <a:gd name="T66" fmla="*/ 0 w 656"/>
                  <a:gd name="T67" fmla="*/ 0 h 2649"/>
                  <a:gd name="T68" fmla="*/ 0 w 656"/>
                  <a:gd name="T69" fmla="*/ 0 h 2649"/>
                  <a:gd name="T70" fmla="*/ 0 w 656"/>
                  <a:gd name="T71" fmla="*/ 0 h 2649"/>
                  <a:gd name="T72" fmla="*/ 0 w 656"/>
                  <a:gd name="T73" fmla="*/ 0 h 2649"/>
                  <a:gd name="T74" fmla="*/ 0 w 656"/>
                  <a:gd name="T75" fmla="*/ 0 h 2649"/>
                  <a:gd name="T76" fmla="*/ 0 w 656"/>
                  <a:gd name="T77" fmla="*/ 0 h 2649"/>
                  <a:gd name="T78" fmla="*/ 0 w 656"/>
                  <a:gd name="T79" fmla="*/ 0 h 2649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656"/>
                  <a:gd name="T121" fmla="*/ 0 h 2649"/>
                  <a:gd name="T122" fmla="*/ 656 w 656"/>
                  <a:gd name="T123" fmla="*/ 2649 h 2649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656" h="2649">
                    <a:moveTo>
                      <a:pt x="243" y="2"/>
                    </a:moveTo>
                    <a:lnTo>
                      <a:pt x="217" y="1"/>
                    </a:lnTo>
                    <a:lnTo>
                      <a:pt x="191" y="0"/>
                    </a:lnTo>
                    <a:lnTo>
                      <a:pt x="164" y="0"/>
                    </a:lnTo>
                    <a:lnTo>
                      <a:pt x="138" y="0"/>
                    </a:lnTo>
                    <a:lnTo>
                      <a:pt x="111" y="0"/>
                    </a:lnTo>
                    <a:lnTo>
                      <a:pt x="84" y="1"/>
                    </a:lnTo>
                    <a:lnTo>
                      <a:pt x="57" y="2"/>
                    </a:lnTo>
                    <a:lnTo>
                      <a:pt x="30" y="3"/>
                    </a:lnTo>
                    <a:lnTo>
                      <a:pt x="22" y="4"/>
                    </a:lnTo>
                    <a:lnTo>
                      <a:pt x="15" y="4"/>
                    </a:lnTo>
                    <a:lnTo>
                      <a:pt x="10" y="98"/>
                    </a:lnTo>
                    <a:lnTo>
                      <a:pt x="6" y="192"/>
                    </a:lnTo>
                    <a:lnTo>
                      <a:pt x="2" y="285"/>
                    </a:lnTo>
                    <a:lnTo>
                      <a:pt x="1" y="378"/>
                    </a:lnTo>
                    <a:lnTo>
                      <a:pt x="0" y="469"/>
                    </a:lnTo>
                    <a:lnTo>
                      <a:pt x="1" y="561"/>
                    </a:lnTo>
                    <a:lnTo>
                      <a:pt x="3" y="652"/>
                    </a:lnTo>
                    <a:lnTo>
                      <a:pt x="7" y="742"/>
                    </a:lnTo>
                    <a:lnTo>
                      <a:pt x="10" y="831"/>
                    </a:lnTo>
                    <a:lnTo>
                      <a:pt x="15" y="919"/>
                    </a:lnTo>
                    <a:lnTo>
                      <a:pt x="21" y="1008"/>
                    </a:lnTo>
                    <a:lnTo>
                      <a:pt x="27" y="1095"/>
                    </a:lnTo>
                    <a:lnTo>
                      <a:pt x="35" y="1182"/>
                    </a:lnTo>
                    <a:lnTo>
                      <a:pt x="44" y="1269"/>
                    </a:lnTo>
                    <a:lnTo>
                      <a:pt x="53" y="1354"/>
                    </a:lnTo>
                    <a:lnTo>
                      <a:pt x="62" y="1438"/>
                    </a:lnTo>
                    <a:lnTo>
                      <a:pt x="74" y="1521"/>
                    </a:lnTo>
                    <a:lnTo>
                      <a:pt x="85" y="1604"/>
                    </a:lnTo>
                    <a:lnTo>
                      <a:pt x="96" y="1686"/>
                    </a:lnTo>
                    <a:lnTo>
                      <a:pt x="109" y="1766"/>
                    </a:lnTo>
                    <a:lnTo>
                      <a:pt x="122" y="1846"/>
                    </a:lnTo>
                    <a:lnTo>
                      <a:pt x="136" y="1925"/>
                    </a:lnTo>
                    <a:lnTo>
                      <a:pt x="150" y="2003"/>
                    </a:lnTo>
                    <a:lnTo>
                      <a:pt x="165" y="2080"/>
                    </a:lnTo>
                    <a:lnTo>
                      <a:pt x="179" y="2155"/>
                    </a:lnTo>
                    <a:lnTo>
                      <a:pt x="195" y="2230"/>
                    </a:lnTo>
                    <a:lnTo>
                      <a:pt x="210" y="2302"/>
                    </a:lnTo>
                    <a:lnTo>
                      <a:pt x="227" y="2374"/>
                    </a:lnTo>
                    <a:lnTo>
                      <a:pt x="259" y="2515"/>
                    </a:lnTo>
                    <a:lnTo>
                      <a:pt x="293" y="2649"/>
                    </a:lnTo>
                    <a:lnTo>
                      <a:pt x="339" y="2637"/>
                    </a:lnTo>
                    <a:lnTo>
                      <a:pt x="387" y="2625"/>
                    </a:lnTo>
                    <a:lnTo>
                      <a:pt x="432" y="2611"/>
                    </a:lnTo>
                    <a:lnTo>
                      <a:pt x="478" y="2596"/>
                    </a:lnTo>
                    <a:lnTo>
                      <a:pt x="523" y="2581"/>
                    </a:lnTo>
                    <a:lnTo>
                      <a:pt x="568" y="2565"/>
                    </a:lnTo>
                    <a:lnTo>
                      <a:pt x="612" y="2548"/>
                    </a:lnTo>
                    <a:lnTo>
                      <a:pt x="656" y="2531"/>
                    </a:lnTo>
                    <a:lnTo>
                      <a:pt x="635" y="2464"/>
                    </a:lnTo>
                    <a:lnTo>
                      <a:pt x="613" y="2397"/>
                    </a:lnTo>
                    <a:lnTo>
                      <a:pt x="592" y="2329"/>
                    </a:lnTo>
                    <a:lnTo>
                      <a:pt x="572" y="2260"/>
                    </a:lnTo>
                    <a:lnTo>
                      <a:pt x="551" y="2189"/>
                    </a:lnTo>
                    <a:lnTo>
                      <a:pt x="532" y="2118"/>
                    </a:lnTo>
                    <a:lnTo>
                      <a:pt x="512" y="2046"/>
                    </a:lnTo>
                    <a:lnTo>
                      <a:pt x="493" y="1972"/>
                    </a:lnTo>
                    <a:lnTo>
                      <a:pt x="475" y="1898"/>
                    </a:lnTo>
                    <a:lnTo>
                      <a:pt x="456" y="1822"/>
                    </a:lnTo>
                    <a:lnTo>
                      <a:pt x="439" y="1746"/>
                    </a:lnTo>
                    <a:lnTo>
                      <a:pt x="421" y="1668"/>
                    </a:lnTo>
                    <a:lnTo>
                      <a:pt x="404" y="1591"/>
                    </a:lnTo>
                    <a:lnTo>
                      <a:pt x="389" y="1512"/>
                    </a:lnTo>
                    <a:lnTo>
                      <a:pt x="373" y="1432"/>
                    </a:lnTo>
                    <a:lnTo>
                      <a:pt x="359" y="1352"/>
                    </a:lnTo>
                    <a:lnTo>
                      <a:pt x="346" y="1271"/>
                    </a:lnTo>
                    <a:lnTo>
                      <a:pt x="332" y="1190"/>
                    </a:lnTo>
                    <a:lnTo>
                      <a:pt x="320" y="1108"/>
                    </a:lnTo>
                    <a:lnTo>
                      <a:pt x="308" y="1025"/>
                    </a:lnTo>
                    <a:lnTo>
                      <a:pt x="297" y="942"/>
                    </a:lnTo>
                    <a:lnTo>
                      <a:pt x="288" y="858"/>
                    </a:lnTo>
                    <a:lnTo>
                      <a:pt x="278" y="775"/>
                    </a:lnTo>
                    <a:lnTo>
                      <a:pt x="270" y="690"/>
                    </a:lnTo>
                    <a:lnTo>
                      <a:pt x="263" y="605"/>
                    </a:lnTo>
                    <a:lnTo>
                      <a:pt x="258" y="519"/>
                    </a:lnTo>
                    <a:lnTo>
                      <a:pt x="253" y="433"/>
                    </a:lnTo>
                    <a:lnTo>
                      <a:pt x="248" y="348"/>
                    </a:lnTo>
                    <a:lnTo>
                      <a:pt x="245" y="262"/>
                    </a:lnTo>
                    <a:lnTo>
                      <a:pt x="243" y="176"/>
                    </a:lnTo>
                    <a:lnTo>
                      <a:pt x="242" y="89"/>
                    </a:lnTo>
                    <a:lnTo>
                      <a:pt x="243" y="2"/>
                    </a:lnTo>
                    <a:close/>
                  </a:path>
                </a:pathLst>
              </a:custGeom>
              <a:solidFill>
                <a:srgbClr val="23509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02" name="Freeform 78"/>
              <p:cNvSpPr>
                <a:spLocks/>
              </p:cNvSpPr>
              <p:nvPr/>
            </p:nvSpPr>
            <p:spPr bwMode="auto">
              <a:xfrm>
                <a:off x="3730" y="1266"/>
                <a:ext cx="107" cy="361"/>
              </a:xfrm>
              <a:custGeom>
                <a:avLst/>
                <a:gdLst>
                  <a:gd name="T0" fmla="*/ 0 w 747"/>
                  <a:gd name="T1" fmla="*/ 0 h 2529"/>
                  <a:gd name="T2" fmla="*/ 0 w 747"/>
                  <a:gd name="T3" fmla="*/ 0 h 2529"/>
                  <a:gd name="T4" fmla="*/ 0 w 747"/>
                  <a:gd name="T5" fmla="*/ 0 h 2529"/>
                  <a:gd name="T6" fmla="*/ 0 w 747"/>
                  <a:gd name="T7" fmla="*/ 0 h 2529"/>
                  <a:gd name="T8" fmla="*/ 0 w 747"/>
                  <a:gd name="T9" fmla="*/ 0 h 2529"/>
                  <a:gd name="T10" fmla="*/ 0 w 747"/>
                  <a:gd name="T11" fmla="*/ 0 h 2529"/>
                  <a:gd name="T12" fmla="*/ 0 w 747"/>
                  <a:gd name="T13" fmla="*/ 0 h 2529"/>
                  <a:gd name="T14" fmla="*/ 0 w 747"/>
                  <a:gd name="T15" fmla="*/ 0 h 2529"/>
                  <a:gd name="T16" fmla="*/ 0 w 747"/>
                  <a:gd name="T17" fmla="*/ 0 h 2529"/>
                  <a:gd name="T18" fmla="*/ 0 w 747"/>
                  <a:gd name="T19" fmla="*/ 0 h 2529"/>
                  <a:gd name="T20" fmla="*/ 0 w 747"/>
                  <a:gd name="T21" fmla="*/ 0 h 2529"/>
                  <a:gd name="T22" fmla="*/ 0 w 747"/>
                  <a:gd name="T23" fmla="*/ 0 h 2529"/>
                  <a:gd name="T24" fmla="*/ 0 w 747"/>
                  <a:gd name="T25" fmla="*/ 0 h 2529"/>
                  <a:gd name="T26" fmla="*/ 0 w 747"/>
                  <a:gd name="T27" fmla="*/ 0 h 2529"/>
                  <a:gd name="T28" fmla="*/ 0 w 747"/>
                  <a:gd name="T29" fmla="*/ 0 h 2529"/>
                  <a:gd name="T30" fmla="*/ 0 w 747"/>
                  <a:gd name="T31" fmla="*/ 0 h 2529"/>
                  <a:gd name="T32" fmla="*/ 0 w 747"/>
                  <a:gd name="T33" fmla="*/ 0 h 2529"/>
                  <a:gd name="T34" fmla="*/ 0 w 747"/>
                  <a:gd name="T35" fmla="*/ 0 h 2529"/>
                  <a:gd name="T36" fmla="*/ 0 w 747"/>
                  <a:gd name="T37" fmla="*/ 0 h 2529"/>
                  <a:gd name="T38" fmla="*/ 0 w 747"/>
                  <a:gd name="T39" fmla="*/ 0 h 2529"/>
                  <a:gd name="T40" fmla="*/ 0 w 747"/>
                  <a:gd name="T41" fmla="*/ 0 h 2529"/>
                  <a:gd name="T42" fmla="*/ 0 w 747"/>
                  <a:gd name="T43" fmla="*/ 0 h 2529"/>
                  <a:gd name="T44" fmla="*/ 0 w 747"/>
                  <a:gd name="T45" fmla="*/ 0 h 2529"/>
                  <a:gd name="T46" fmla="*/ 0 w 747"/>
                  <a:gd name="T47" fmla="*/ 0 h 2529"/>
                  <a:gd name="T48" fmla="*/ 0 w 747"/>
                  <a:gd name="T49" fmla="*/ 0 h 2529"/>
                  <a:gd name="T50" fmla="*/ 0 w 747"/>
                  <a:gd name="T51" fmla="*/ 0 h 2529"/>
                  <a:gd name="T52" fmla="*/ 0 w 747"/>
                  <a:gd name="T53" fmla="*/ 0 h 2529"/>
                  <a:gd name="T54" fmla="*/ 0 w 747"/>
                  <a:gd name="T55" fmla="*/ 0 h 2529"/>
                  <a:gd name="T56" fmla="*/ 0 w 747"/>
                  <a:gd name="T57" fmla="*/ 0 h 2529"/>
                  <a:gd name="T58" fmla="*/ 0 w 747"/>
                  <a:gd name="T59" fmla="*/ 0 h 2529"/>
                  <a:gd name="T60" fmla="*/ 0 w 747"/>
                  <a:gd name="T61" fmla="*/ 0 h 2529"/>
                  <a:gd name="T62" fmla="*/ 0 w 747"/>
                  <a:gd name="T63" fmla="*/ 0 h 2529"/>
                  <a:gd name="T64" fmla="*/ 0 w 747"/>
                  <a:gd name="T65" fmla="*/ 0 h 2529"/>
                  <a:gd name="T66" fmla="*/ 0 w 747"/>
                  <a:gd name="T67" fmla="*/ 0 h 2529"/>
                  <a:gd name="T68" fmla="*/ 0 w 747"/>
                  <a:gd name="T69" fmla="*/ 0 h 2529"/>
                  <a:gd name="T70" fmla="*/ 0 w 747"/>
                  <a:gd name="T71" fmla="*/ 0 h 2529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747"/>
                  <a:gd name="T109" fmla="*/ 0 h 2529"/>
                  <a:gd name="T110" fmla="*/ 747 w 747"/>
                  <a:gd name="T111" fmla="*/ 2529 h 2529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747" h="2529">
                    <a:moveTo>
                      <a:pt x="1" y="0"/>
                    </a:moveTo>
                    <a:lnTo>
                      <a:pt x="0" y="87"/>
                    </a:lnTo>
                    <a:lnTo>
                      <a:pt x="1" y="174"/>
                    </a:lnTo>
                    <a:lnTo>
                      <a:pt x="3" y="260"/>
                    </a:lnTo>
                    <a:lnTo>
                      <a:pt x="6" y="346"/>
                    </a:lnTo>
                    <a:lnTo>
                      <a:pt x="11" y="431"/>
                    </a:lnTo>
                    <a:lnTo>
                      <a:pt x="16" y="517"/>
                    </a:lnTo>
                    <a:lnTo>
                      <a:pt x="21" y="603"/>
                    </a:lnTo>
                    <a:lnTo>
                      <a:pt x="28" y="688"/>
                    </a:lnTo>
                    <a:lnTo>
                      <a:pt x="36" y="773"/>
                    </a:lnTo>
                    <a:lnTo>
                      <a:pt x="46" y="856"/>
                    </a:lnTo>
                    <a:lnTo>
                      <a:pt x="55" y="940"/>
                    </a:lnTo>
                    <a:lnTo>
                      <a:pt x="66" y="1023"/>
                    </a:lnTo>
                    <a:lnTo>
                      <a:pt x="78" y="1106"/>
                    </a:lnTo>
                    <a:lnTo>
                      <a:pt x="90" y="1188"/>
                    </a:lnTo>
                    <a:lnTo>
                      <a:pt x="104" y="1269"/>
                    </a:lnTo>
                    <a:lnTo>
                      <a:pt x="117" y="1350"/>
                    </a:lnTo>
                    <a:lnTo>
                      <a:pt x="131" y="1430"/>
                    </a:lnTo>
                    <a:lnTo>
                      <a:pt x="147" y="1510"/>
                    </a:lnTo>
                    <a:lnTo>
                      <a:pt x="162" y="1589"/>
                    </a:lnTo>
                    <a:lnTo>
                      <a:pt x="179" y="1666"/>
                    </a:lnTo>
                    <a:lnTo>
                      <a:pt x="197" y="1744"/>
                    </a:lnTo>
                    <a:lnTo>
                      <a:pt x="214" y="1820"/>
                    </a:lnTo>
                    <a:lnTo>
                      <a:pt x="233" y="1896"/>
                    </a:lnTo>
                    <a:lnTo>
                      <a:pt x="251" y="1970"/>
                    </a:lnTo>
                    <a:lnTo>
                      <a:pt x="270" y="2044"/>
                    </a:lnTo>
                    <a:lnTo>
                      <a:pt x="290" y="2116"/>
                    </a:lnTo>
                    <a:lnTo>
                      <a:pt x="309" y="2187"/>
                    </a:lnTo>
                    <a:lnTo>
                      <a:pt x="330" y="2258"/>
                    </a:lnTo>
                    <a:lnTo>
                      <a:pt x="350" y="2327"/>
                    </a:lnTo>
                    <a:lnTo>
                      <a:pt x="371" y="2395"/>
                    </a:lnTo>
                    <a:lnTo>
                      <a:pt x="393" y="2462"/>
                    </a:lnTo>
                    <a:lnTo>
                      <a:pt x="414" y="2529"/>
                    </a:lnTo>
                    <a:lnTo>
                      <a:pt x="458" y="2510"/>
                    </a:lnTo>
                    <a:lnTo>
                      <a:pt x="501" y="2490"/>
                    </a:lnTo>
                    <a:lnTo>
                      <a:pt x="544" y="2470"/>
                    </a:lnTo>
                    <a:lnTo>
                      <a:pt x="586" y="2449"/>
                    </a:lnTo>
                    <a:lnTo>
                      <a:pt x="627" y="2427"/>
                    </a:lnTo>
                    <a:lnTo>
                      <a:pt x="669" y="2405"/>
                    </a:lnTo>
                    <a:lnTo>
                      <a:pt x="708" y="2383"/>
                    </a:lnTo>
                    <a:lnTo>
                      <a:pt x="747" y="2360"/>
                    </a:lnTo>
                    <a:lnTo>
                      <a:pt x="723" y="2303"/>
                    </a:lnTo>
                    <a:lnTo>
                      <a:pt x="699" y="2245"/>
                    </a:lnTo>
                    <a:lnTo>
                      <a:pt x="675" y="2185"/>
                    </a:lnTo>
                    <a:lnTo>
                      <a:pt x="652" y="2122"/>
                    </a:lnTo>
                    <a:lnTo>
                      <a:pt x="631" y="2058"/>
                    </a:lnTo>
                    <a:lnTo>
                      <a:pt x="609" y="1992"/>
                    </a:lnTo>
                    <a:lnTo>
                      <a:pt x="588" y="1925"/>
                    </a:lnTo>
                    <a:lnTo>
                      <a:pt x="567" y="1855"/>
                    </a:lnTo>
                    <a:lnTo>
                      <a:pt x="547" y="1784"/>
                    </a:lnTo>
                    <a:lnTo>
                      <a:pt x="528" y="1713"/>
                    </a:lnTo>
                    <a:lnTo>
                      <a:pt x="509" y="1639"/>
                    </a:lnTo>
                    <a:lnTo>
                      <a:pt x="490" y="1565"/>
                    </a:lnTo>
                    <a:lnTo>
                      <a:pt x="472" y="1489"/>
                    </a:lnTo>
                    <a:lnTo>
                      <a:pt x="454" y="1413"/>
                    </a:lnTo>
                    <a:lnTo>
                      <a:pt x="436" y="1335"/>
                    </a:lnTo>
                    <a:lnTo>
                      <a:pt x="420" y="1258"/>
                    </a:lnTo>
                    <a:lnTo>
                      <a:pt x="386" y="1101"/>
                    </a:lnTo>
                    <a:lnTo>
                      <a:pt x="354" y="942"/>
                    </a:lnTo>
                    <a:lnTo>
                      <a:pt x="322" y="784"/>
                    </a:lnTo>
                    <a:lnTo>
                      <a:pt x="291" y="626"/>
                    </a:lnTo>
                    <a:lnTo>
                      <a:pt x="260" y="469"/>
                    </a:lnTo>
                    <a:lnTo>
                      <a:pt x="229" y="315"/>
                    </a:lnTo>
                    <a:lnTo>
                      <a:pt x="198" y="164"/>
                    </a:lnTo>
                    <a:lnTo>
                      <a:pt x="166" y="16"/>
                    </a:lnTo>
                    <a:lnTo>
                      <a:pt x="146" y="14"/>
                    </a:lnTo>
                    <a:lnTo>
                      <a:pt x="125" y="11"/>
                    </a:lnTo>
                    <a:lnTo>
                      <a:pt x="105" y="9"/>
                    </a:lnTo>
                    <a:lnTo>
                      <a:pt x="84" y="7"/>
                    </a:lnTo>
                    <a:lnTo>
                      <a:pt x="63" y="4"/>
                    </a:lnTo>
                    <a:lnTo>
                      <a:pt x="43" y="3"/>
                    </a:lnTo>
                    <a:lnTo>
                      <a:pt x="22" y="1"/>
                    </a:lnTo>
                    <a:lnTo>
                      <a:pt x="1" y="0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03" name="Freeform 79"/>
              <p:cNvSpPr>
                <a:spLocks/>
              </p:cNvSpPr>
              <p:nvPr/>
            </p:nvSpPr>
            <p:spPr bwMode="auto">
              <a:xfrm>
                <a:off x="3694" y="1369"/>
                <a:ext cx="227" cy="276"/>
              </a:xfrm>
              <a:custGeom>
                <a:avLst/>
                <a:gdLst>
                  <a:gd name="T0" fmla="*/ 0 w 1592"/>
                  <a:gd name="T1" fmla="*/ 0 h 1931"/>
                  <a:gd name="T2" fmla="*/ 0 w 1592"/>
                  <a:gd name="T3" fmla="*/ 0 h 1931"/>
                  <a:gd name="T4" fmla="*/ 0 w 1592"/>
                  <a:gd name="T5" fmla="*/ 0 h 1931"/>
                  <a:gd name="T6" fmla="*/ 0 w 1592"/>
                  <a:gd name="T7" fmla="*/ 0 h 1931"/>
                  <a:gd name="T8" fmla="*/ 0 w 1592"/>
                  <a:gd name="T9" fmla="*/ 0 h 1931"/>
                  <a:gd name="T10" fmla="*/ 0 w 1592"/>
                  <a:gd name="T11" fmla="*/ 0 h 1931"/>
                  <a:gd name="T12" fmla="*/ 0 w 1592"/>
                  <a:gd name="T13" fmla="*/ 0 h 1931"/>
                  <a:gd name="T14" fmla="*/ 0 w 1592"/>
                  <a:gd name="T15" fmla="*/ 0 h 1931"/>
                  <a:gd name="T16" fmla="*/ 0 w 1592"/>
                  <a:gd name="T17" fmla="*/ 0 h 1931"/>
                  <a:gd name="T18" fmla="*/ 0 w 1592"/>
                  <a:gd name="T19" fmla="*/ 0 h 1931"/>
                  <a:gd name="T20" fmla="*/ 0 w 1592"/>
                  <a:gd name="T21" fmla="*/ 0 h 1931"/>
                  <a:gd name="T22" fmla="*/ 0 w 1592"/>
                  <a:gd name="T23" fmla="*/ 0 h 1931"/>
                  <a:gd name="T24" fmla="*/ 0 w 1592"/>
                  <a:gd name="T25" fmla="*/ 0 h 1931"/>
                  <a:gd name="T26" fmla="*/ 0 w 1592"/>
                  <a:gd name="T27" fmla="*/ 0 h 1931"/>
                  <a:gd name="T28" fmla="*/ 0 w 1592"/>
                  <a:gd name="T29" fmla="*/ 0 h 1931"/>
                  <a:gd name="T30" fmla="*/ 0 w 1592"/>
                  <a:gd name="T31" fmla="*/ 0 h 1931"/>
                  <a:gd name="T32" fmla="*/ 0 w 1592"/>
                  <a:gd name="T33" fmla="*/ 0 h 1931"/>
                  <a:gd name="T34" fmla="*/ 0 w 1592"/>
                  <a:gd name="T35" fmla="*/ 0 h 1931"/>
                  <a:gd name="T36" fmla="*/ 0 w 1592"/>
                  <a:gd name="T37" fmla="*/ 0 h 1931"/>
                  <a:gd name="T38" fmla="*/ 0 w 1592"/>
                  <a:gd name="T39" fmla="*/ 0 h 1931"/>
                  <a:gd name="T40" fmla="*/ 0 w 1592"/>
                  <a:gd name="T41" fmla="*/ 0 h 1931"/>
                  <a:gd name="T42" fmla="*/ 0 w 1592"/>
                  <a:gd name="T43" fmla="*/ 0 h 1931"/>
                  <a:gd name="T44" fmla="*/ 0 w 1592"/>
                  <a:gd name="T45" fmla="*/ 0 h 1931"/>
                  <a:gd name="T46" fmla="*/ 0 w 1592"/>
                  <a:gd name="T47" fmla="*/ 0 h 1931"/>
                  <a:gd name="T48" fmla="*/ 0 w 1592"/>
                  <a:gd name="T49" fmla="*/ 0 h 1931"/>
                  <a:gd name="T50" fmla="*/ 0 w 1592"/>
                  <a:gd name="T51" fmla="*/ 0 h 1931"/>
                  <a:gd name="T52" fmla="*/ 0 w 1592"/>
                  <a:gd name="T53" fmla="*/ 0 h 1931"/>
                  <a:gd name="T54" fmla="*/ 0 w 1592"/>
                  <a:gd name="T55" fmla="*/ 0 h 1931"/>
                  <a:gd name="T56" fmla="*/ 0 w 1592"/>
                  <a:gd name="T57" fmla="*/ 0 h 1931"/>
                  <a:gd name="T58" fmla="*/ 0 w 1592"/>
                  <a:gd name="T59" fmla="*/ 0 h 1931"/>
                  <a:gd name="T60" fmla="*/ 0 w 1592"/>
                  <a:gd name="T61" fmla="*/ 0 h 1931"/>
                  <a:gd name="T62" fmla="*/ 0 w 1592"/>
                  <a:gd name="T63" fmla="*/ 0 h 1931"/>
                  <a:gd name="T64" fmla="*/ 0 w 1592"/>
                  <a:gd name="T65" fmla="*/ 0 h 1931"/>
                  <a:gd name="T66" fmla="*/ 0 w 1592"/>
                  <a:gd name="T67" fmla="*/ 0 h 1931"/>
                  <a:gd name="T68" fmla="*/ 0 w 1592"/>
                  <a:gd name="T69" fmla="*/ 0 h 1931"/>
                  <a:gd name="T70" fmla="*/ 0 w 1592"/>
                  <a:gd name="T71" fmla="*/ 0 h 1931"/>
                  <a:gd name="T72" fmla="*/ 0 w 1592"/>
                  <a:gd name="T73" fmla="*/ 0 h 1931"/>
                  <a:gd name="T74" fmla="*/ 0 w 1592"/>
                  <a:gd name="T75" fmla="*/ 0 h 1931"/>
                  <a:gd name="T76" fmla="*/ 0 w 1592"/>
                  <a:gd name="T77" fmla="*/ 0 h 1931"/>
                  <a:gd name="T78" fmla="*/ 0 w 1592"/>
                  <a:gd name="T79" fmla="*/ 0 h 1931"/>
                  <a:gd name="T80" fmla="*/ 0 w 1592"/>
                  <a:gd name="T81" fmla="*/ 0 h 1931"/>
                  <a:gd name="T82" fmla="*/ 0 w 1592"/>
                  <a:gd name="T83" fmla="*/ 0 h 1931"/>
                  <a:gd name="T84" fmla="*/ 0 w 1592"/>
                  <a:gd name="T85" fmla="*/ 0 h 1931"/>
                  <a:gd name="T86" fmla="*/ 0 w 1592"/>
                  <a:gd name="T87" fmla="*/ 0 h 1931"/>
                  <a:gd name="T88" fmla="*/ 0 w 1592"/>
                  <a:gd name="T89" fmla="*/ 0 h 1931"/>
                  <a:gd name="T90" fmla="*/ 0 w 1592"/>
                  <a:gd name="T91" fmla="*/ 0 h 1931"/>
                  <a:gd name="T92" fmla="*/ 0 w 1592"/>
                  <a:gd name="T93" fmla="*/ 0 h 1931"/>
                  <a:gd name="T94" fmla="*/ 0 w 1592"/>
                  <a:gd name="T95" fmla="*/ 0 h 1931"/>
                  <a:gd name="T96" fmla="*/ 0 w 1592"/>
                  <a:gd name="T97" fmla="*/ 0 h 1931"/>
                  <a:gd name="T98" fmla="*/ 0 w 1592"/>
                  <a:gd name="T99" fmla="*/ 0 h 1931"/>
                  <a:gd name="T100" fmla="*/ 0 w 1592"/>
                  <a:gd name="T101" fmla="*/ 0 h 1931"/>
                  <a:gd name="T102" fmla="*/ 0 w 1592"/>
                  <a:gd name="T103" fmla="*/ 0 h 1931"/>
                  <a:gd name="T104" fmla="*/ 0 w 1592"/>
                  <a:gd name="T105" fmla="*/ 0 h 1931"/>
                  <a:gd name="T106" fmla="*/ 0 w 1592"/>
                  <a:gd name="T107" fmla="*/ 0 h 1931"/>
                  <a:gd name="T108" fmla="*/ 0 w 1592"/>
                  <a:gd name="T109" fmla="*/ 0 h 1931"/>
                  <a:gd name="T110" fmla="*/ 0 w 1592"/>
                  <a:gd name="T111" fmla="*/ 0 h 1931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592"/>
                  <a:gd name="T169" fmla="*/ 0 h 1931"/>
                  <a:gd name="T170" fmla="*/ 1592 w 1592"/>
                  <a:gd name="T171" fmla="*/ 1931 h 1931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592" h="1931">
                    <a:moveTo>
                      <a:pt x="1592" y="497"/>
                    </a:moveTo>
                    <a:lnTo>
                      <a:pt x="1592" y="465"/>
                    </a:lnTo>
                    <a:lnTo>
                      <a:pt x="1591" y="432"/>
                    </a:lnTo>
                    <a:lnTo>
                      <a:pt x="1588" y="399"/>
                    </a:lnTo>
                    <a:lnTo>
                      <a:pt x="1583" y="367"/>
                    </a:lnTo>
                    <a:lnTo>
                      <a:pt x="1578" y="335"/>
                    </a:lnTo>
                    <a:lnTo>
                      <a:pt x="1571" y="303"/>
                    </a:lnTo>
                    <a:lnTo>
                      <a:pt x="1562" y="271"/>
                    </a:lnTo>
                    <a:lnTo>
                      <a:pt x="1554" y="240"/>
                    </a:lnTo>
                    <a:lnTo>
                      <a:pt x="1544" y="209"/>
                    </a:lnTo>
                    <a:lnTo>
                      <a:pt x="1532" y="178"/>
                    </a:lnTo>
                    <a:lnTo>
                      <a:pt x="1521" y="148"/>
                    </a:lnTo>
                    <a:lnTo>
                      <a:pt x="1509" y="118"/>
                    </a:lnTo>
                    <a:lnTo>
                      <a:pt x="1495" y="88"/>
                    </a:lnTo>
                    <a:lnTo>
                      <a:pt x="1482" y="58"/>
                    </a:lnTo>
                    <a:lnTo>
                      <a:pt x="1467" y="29"/>
                    </a:lnTo>
                    <a:lnTo>
                      <a:pt x="1453" y="0"/>
                    </a:lnTo>
                    <a:lnTo>
                      <a:pt x="1448" y="36"/>
                    </a:lnTo>
                    <a:lnTo>
                      <a:pt x="1440" y="73"/>
                    </a:lnTo>
                    <a:lnTo>
                      <a:pt x="1432" y="110"/>
                    </a:lnTo>
                    <a:lnTo>
                      <a:pt x="1422" y="146"/>
                    </a:lnTo>
                    <a:lnTo>
                      <a:pt x="1410" y="182"/>
                    </a:lnTo>
                    <a:lnTo>
                      <a:pt x="1397" y="217"/>
                    </a:lnTo>
                    <a:lnTo>
                      <a:pt x="1383" y="253"/>
                    </a:lnTo>
                    <a:lnTo>
                      <a:pt x="1367" y="289"/>
                    </a:lnTo>
                    <a:lnTo>
                      <a:pt x="1351" y="324"/>
                    </a:lnTo>
                    <a:lnTo>
                      <a:pt x="1332" y="358"/>
                    </a:lnTo>
                    <a:lnTo>
                      <a:pt x="1313" y="392"/>
                    </a:lnTo>
                    <a:lnTo>
                      <a:pt x="1294" y="426"/>
                    </a:lnTo>
                    <a:lnTo>
                      <a:pt x="1273" y="459"/>
                    </a:lnTo>
                    <a:lnTo>
                      <a:pt x="1251" y="492"/>
                    </a:lnTo>
                    <a:lnTo>
                      <a:pt x="1229" y="524"/>
                    </a:lnTo>
                    <a:lnTo>
                      <a:pt x="1206" y="556"/>
                    </a:lnTo>
                    <a:lnTo>
                      <a:pt x="1182" y="587"/>
                    </a:lnTo>
                    <a:lnTo>
                      <a:pt x="1157" y="618"/>
                    </a:lnTo>
                    <a:lnTo>
                      <a:pt x="1133" y="648"/>
                    </a:lnTo>
                    <a:lnTo>
                      <a:pt x="1108" y="677"/>
                    </a:lnTo>
                    <a:lnTo>
                      <a:pt x="1083" y="705"/>
                    </a:lnTo>
                    <a:lnTo>
                      <a:pt x="1057" y="733"/>
                    </a:lnTo>
                    <a:lnTo>
                      <a:pt x="1031" y="760"/>
                    </a:lnTo>
                    <a:lnTo>
                      <a:pt x="1005" y="786"/>
                    </a:lnTo>
                    <a:lnTo>
                      <a:pt x="980" y="811"/>
                    </a:lnTo>
                    <a:lnTo>
                      <a:pt x="954" y="836"/>
                    </a:lnTo>
                    <a:lnTo>
                      <a:pt x="928" y="858"/>
                    </a:lnTo>
                    <a:lnTo>
                      <a:pt x="902" y="881"/>
                    </a:lnTo>
                    <a:lnTo>
                      <a:pt x="877" y="902"/>
                    </a:lnTo>
                    <a:lnTo>
                      <a:pt x="852" y="922"/>
                    </a:lnTo>
                    <a:lnTo>
                      <a:pt x="828" y="941"/>
                    </a:lnTo>
                    <a:lnTo>
                      <a:pt x="804" y="959"/>
                    </a:lnTo>
                    <a:lnTo>
                      <a:pt x="771" y="983"/>
                    </a:lnTo>
                    <a:lnTo>
                      <a:pt x="736" y="1011"/>
                    </a:lnTo>
                    <a:lnTo>
                      <a:pt x="697" y="1041"/>
                    </a:lnTo>
                    <a:lnTo>
                      <a:pt x="658" y="1073"/>
                    </a:lnTo>
                    <a:lnTo>
                      <a:pt x="618" y="1109"/>
                    </a:lnTo>
                    <a:lnTo>
                      <a:pt x="576" y="1145"/>
                    </a:lnTo>
                    <a:lnTo>
                      <a:pt x="532" y="1183"/>
                    </a:lnTo>
                    <a:lnTo>
                      <a:pt x="489" y="1223"/>
                    </a:lnTo>
                    <a:lnTo>
                      <a:pt x="445" y="1264"/>
                    </a:lnTo>
                    <a:lnTo>
                      <a:pt x="402" y="1306"/>
                    </a:lnTo>
                    <a:lnTo>
                      <a:pt x="359" y="1348"/>
                    </a:lnTo>
                    <a:lnTo>
                      <a:pt x="316" y="1391"/>
                    </a:lnTo>
                    <a:lnTo>
                      <a:pt x="275" y="1434"/>
                    </a:lnTo>
                    <a:lnTo>
                      <a:pt x="236" y="1477"/>
                    </a:lnTo>
                    <a:lnTo>
                      <a:pt x="198" y="1519"/>
                    </a:lnTo>
                    <a:lnTo>
                      <a:pt x="163" y="1560"/>
                    </a:lnTo>
                    <a:lnTo>
                      <a:pt x="130" y="1602"/>
                    </a:lnTo>
                    <a:lnTo>
                      <a:pt x="100" y="1641"/>
                    </a:lnTo>
                    <a:lnTo>
                      <a:pt x="73" y="1679"/>
                    </a:lnTo>
                    <a:lnTo>
                      <a:pt x="51" y="1715"/>
                    </a:lnTo>
                    <a:lnTo>
                      <a:pt x="31" y="1751"/>
                    </a:lnTo>
                    <a:lnTo>
                      <a:pt x="15" y="1783"/>
                    </a:lnTo>
                    <a:lnTo>
                      <a:pt x="5" y="1813"/>
                    </a:lnTo>
                    <a:lnTo>
                      <a:pt x="0" y="1840"/>
                    </a:lnTo>
                    <a:lnTo>
                      <a:pt x="0" y="1863"/>
                    </a:lnTo>
                    <a:lnTo>
                      <a:pt x="5" y="1885"/>
                    </a:lnTo>
                    <a:lnTo>
                      <a:pt x="17" y="1902"/>
                    </a:lnTo>
                    <a:lnTo>
                      <a:pt x="35" y="1915"/>
                    </a:lnTo>
                    <a:lnTo>
                      <a:pt x="59" y="1925"/>
                    </a:lnTo>
                    <a:lnTo>
                      <a:pt x="91" y="1931"/>
                    </a:lnTo>
                    <a:lnTo>
                      <a:pt x="130" y="1931"/>
                    </a:lnTo>
                    <a:lnTo>
                      <a:pt x="177" y="1926"/>
                    </a:lnTo>
                    <a:lnTo>
                      <a:pt x="267" y="1913"/>
                    </a:lnTo>
                    <a:lnTo>
                      <a:pt x="354" y="1897"/>
                    </a:lnTo>
                    <a:lnTo>
                      <a:pt x="439" y="1878"/>
                    </a:lnTo>
                    <a:lnTo>
                      <a:pt x="520" y="1857"/>
                    </a:lnTo>
                    <a:lnTo>
                      <a:pt x="597" y="1832"/>
                    </a:lnTo>
                    <a:lnTo>
                      <a:pt x="672" y="1806"/>
                    </a:lnTo>
                    <a:lnTo>
                      <a:pt x="743" y="1778"/>
                    </a:lnTo>
                    <a:lnTo>
                      <a:pt x="811" y="1747"/>
                    </a:lnTo>
                    <a:lnTo>
                      <a:pt x="876" y="1713"/>
                    </a:lnTo>
                    <a:lnTo>
                      <a:pt x="938" y="1677"/>
                    </a:lnTo>
                    <a:lnTo>
                      <a:pt x="997" y="1640"/>
                    </a:lnTo>
                    <a:lnTo>
                      <a:pt x="1053" y="1601"/>
                    </a:lnTo>
                    <a:lnTo>
                      <a:pt x="1106" y="1559"/>
                    </a:lnTo>
                    <a:lnTo>
                      <a:pt x="1156" y="1516"/>
                    </a:lnTo>
                    <a:lnTo>
                      <a:pt x="1203" y="1470"/>
                    </a:lnTo>
                    <a:lnTo>
                      <a:pt x="1247" y="1424"/>
                    </a:lnTo>
                    <a:lnTo>
                      <a:pt x="1289" y="1375"/>
                    </a:lnTo>
                    <a:lnTo>
                      <a:pt x="1328" y="1325"/>
                    </a:lnTo>
                    <a:lnTo>
                      <a:pt x="1363" y="1273"/>
                    </a:lnTo>
                    <a:lnTo>
                      <a:pt x="1396" y="1220"/>
                    </a:lnTo>
                    <a:lnTo>
                      <a:pt x="1427" y="1165"/>
                    </a:lnTo>
                    <a:lnTo>
                      <a:pt x="1455" y="1111"/>
                    </a:lnTo>
                    <a:lnTo>
                      <a:pt x="1480" y="1054"/>
                    </a:lnTo>
                    <a:lnTo>
                      <a:pt x="1502" y="995"/>
                    </a:lnTo>
                    <a:lnTo>
                      <a:pt x="1522" y="936"/>
                    </a:lnTo>
                    <a:lnTo>
                      <a:pt x="1540" y="876"/>
                    </a:lnTo>
                    <a:lnTo>
                      <a:pt x="1554" y="815"/>
                    </a:lnTo>
                    <a:lnTo>
                      <a:pt x="1567" y="753"/>
                    </a:lnTo>
                    <a:lnTo>
                      <a:pt x="1577" y="690"/>
                    </a:lnTo>
                    <a:lnTo>
                      <a:pt x="1584" y="627"/>
                    </a:lnTo>
                    <a:lnTo>
                      <a:pt x="1589" y="563"/>
                    </a:lnTo>
                    <a:lnTo>
                      <a:pt x="1592" y="497"/>
                    </a:lnTo>
                    <a:close/>
                  </a:path>
                </a:pathLst>
              </a:custGeom>
              <a:solidFill>
                <a:srgbClr val="0D9F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04" name="Freeform 80"/>
              <p:cNvSpPr>
                <a:spLocks/>
              </p:cNvSpPr>
              <p:nvPr/>
            </p:nvSpPr>
            <p:spPr bwMode="auto">
              <a:xfrm>
                <a:off x="3666" y="1545"/>
                <a:ext cx="71" cy="108"/>
              </a:xfrm>
              <a:custGeom>
                <a:avLst/>
                <a:gdLst>
                  <a:gd name="T0" fmla="*/ 0 w 502"/>
                  <a:gd name="T1" fmla="*/ 0 h 756"/>
                  <a:gd name="T2" fmla="*/ 0 w 502"/>
                  <a:gd name="T3" fmla="*/ 0 h 756"/>
                  <a:gd name="T4" fmla="*/ 0 w 502"/>
                  <a:gd name="T5" fmla="*/ 0 h 756"/>
                  <a:gd name="T6" fmla="*/ 0 w 502"/>
                  <a:gd name="T7" fmla="*/ 0 h 756"/>
                  <a:gd name="T8" fmla="*/ 0 w 502"/>
                  <a:gd name="T9" fmla="*/ 0 h 756"/>
                  <a:gd name="T10" fmla="*/ 0 w 502"/>
                  <a:gd name="T11" fmla="*/ 0 h 756"/>
                  <a:gd name="T12" fmla="*/ 0 w 502"/>
                  <a:gd name="T13" fmla="*/ 0 h 756"/>
                  <a:gd name="T14" fmla="*/ 0 w 502"/>
                  <a:gd name="T15" fmla="*/ 0 h 756"/>
                  <a:gd name="T16" fmla="*/ 0 w 502"/>
                  <a:gd name="T17" fmla="*/ 0 h 756"/>
                  <a:gd name="T18" fmla="*/ 0 w 502"/>
                  <a:gd name="T19" fmla="*/ 0 h 756"/>
                  <a:gd name="T20" fmla="*/ 0 w 502"/>
                  <a:gd name="T21" fmla="*/ 0 h 756"/>
                  <a:gd name="T22" fmla="*/ 0 w 502"/>
                  <a:gd name="T23" fmla="*/ 0 h 756"/>
                  <a:gd name="T24" fmla="*/ 0 w 502"/>
                  <a:gd name="T25" fmla="*/ 0 h 756"/>
                  <a:gd name="T26" fmla="*/ 0 w 502"/>
                  <a:gd name="T27" fmla="*/ 0 h 756"/>
                  <a:gd name="T28" fmla="*/ 0 w 502"/>
                  <a:gd name="T29" fmla="*/ 0 h 756"/>
                  <a:gd name="T30" fmla="*/ 0 w 502"/>
                  <a:gd name="T31" fmla="*/ 0 h 756"/>
                  <a:gd name="T32" fmla="*/ 0 w 502"/>
                  <a:gd name="T33" fmla="*/ 0 h 756"/>
                  <a:gd name="T34" fmla="*/ 0 w 502"/>
                  <a:gd name="T35" fmla="*/ 0 h 756"/>
                  <a:gd name="T36" fmla="*/ 0 w 502"/>
                  <a:gd name="T37" fmla="*/ 0 h 756"/>
                  <a:gd name="T38" fmla="*/ 0 w 502"/>
                  <a:gd name="T39" fmla="*/ 0 h 756"/>
                  <a:gd name="T40" fmla="*/ 0 w 502"/>
                  <a:gd name="T41" fmla="*/ 0 h 756"/>
                  <a:gd name="T42" fmla="*/ 0 w 502"/>
                  <a:gd name="T43" fmla="*/ 0 h 756"/>
                  <a:gd name="T44" fmla="*/ 0 w 502"/>
                  <a:gd name="T45" fmla="*/ 0 h 756"/>
                  <a:gd name="T46" fmla="*/ 0 w 502"/>
                  <a:gd name="T47" fmla="*/ 0 h 756"/>
                  <a:gd name="T48" fmla="*/ 0 w 502"/>
                  <a:gd name="T49" fmla="*/ 0 h 756"/>
                  <a:gd name="T50" fmla="*/ 0 w 502"/>
                  <a:gd name="T51" fmla="*/ 0 h 756"/>
                  <a:gd name="T52" fmla="*/ 0 w 502"/>
                  <a:gd name="T53" fmla="*/ 0 h 756"/>
                  <a:gd name="T54" fmla="*/ 0 w 502"/>
                  <a:gd name="T55" fmla="*/ 0 h 756"/>
                  <a:gd name="T56" fmla="*/ 0 w 502"/>
                  <a:gd name="T57" fmla="*/ 0 h 756"/>
                  <a:gd name="T58" fmla="*/ 0 w 502"/>
                  <a:gd name="T59" fmla="*/ 0 h 756"/>
                  <a:gd name="T60" fmla="*/ 0 w 502"/>
                  <a:gd name="T61" fmla="*/ 0 h 756"/>
                  <a:gd name="T62" fmla="*/ 0 w 502"/>
                  <a:gd name="T63" fmla="*/ 0 h 756"/>
                  <a:gd name="T64" fmla="*/ 0 w 502"/>
                  <a:gd name="T65" fmla="*/ 0 h 756"/>
                  <a:gd name="T66" fmla="*/ 0 w 502"/>
                  <a:gd name="T67" fmla="*/ 0 h 756"/>
                  <a:gd name="T68" fmla="*/ 0 w 502"/>
                  <a:gd name="T69" fmla="*/ 0 h 756"/>
                  <a:gd name="T70" fmla="*/ 0 w 502"/>
                  <a:gd name="T71" fmla="*/ 0 h 756"/>
                  <a:gd name="T72" fmla="*/ 0 w 502"/>
                  <a:gd name="T73" fmla="*/ 0 h 75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502"/>
                  <a:gd name="T112" fmla="*/ 0 h 756"/>
                  <a:gd name="T113" fmla="*/ 502 w 502"/>
                  <a:gd name="T114" fmla="*/ 756 h 75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502" h="756">
                    <a:moveTo>
                      <a:pt x="0" y="77"/>
                    </a:moveTo>
                    <a:lnTo>
                      <a:pt x="11" y="168"/>
                    </a:lnTo>
                    <a:lnTo>
                      <a:pt x="22" y="257"/>
                    </a:lnTo>
                    <a:lnTo>
                      <a:pt x="35" y="344"/>
                    </a:lnTo>
                    <a:lnTo>
                      <a:pt x="48" y="430"/>
                    </a:lnTo>
                    <a:lnTo>
                      <a:pt x="62" y="513"/>
                    </a:lnTo>
                    <a:lnTo>
                      <a:pt x="76" y="596"/>
                    </a:lnTo>
                    <a:lnTo>
                      <a:pt x="91" y="678"/>
                    </a:lnTo>
                    <a:lnTo>
                      <a:pt x="105" y="756"/>
                    </a:lnTo>
                    <a:lnTo>
                      <a:pt x="135" y="755"/>
                    </a:lnTo>
                    <a:lnTo>
                      <a:pt x="166" y="752"/>
                    </a:lnTo>
                    <a:lnTo>
                      <a:pt x="197" y="749"/>
                    </a:lnTo>
                    <a:lnTo>
                      <a:pt x="229" y="745"/>
                    </a:lnTo>
                    <a:lnTo>
                      <a:pt x="262" y="741"/>
                    </a:lnTo>
                    <a:lnTo>
                      <a:pt x="295" y="736"/>
                    </a:lnTo>
                    <a:lnTo>
                      <a:pt x="330" y="730"/>
                    </a:lnTo>
                    <a:lnTo>
                      <a:pt x="365" y="723"/>
                    </a:lnTo>
                    <a:lnTo>
                      <a:pt x="400" y="716"/>
                    </a:lnTo>
                    <a:lnTo>
                      <a:pt x="435" y="709"/>
                    </a:lnTo>
                    <a:lnTo>
                      <a:pt x="468" y="701"/>
                    </a:lnTo>
                    <a:lnTo>
                      <a:pt x="502" y="692"/>
                    </a:lnTo>
                    <a:lnTo>
                      <a:pt x="482" y="613"/>
                    </a:lnTo>
                    <a:lnTo>
                      <a:pt x="463" y="530"/>
                    </a:lnTo>
                    <a:lnTo>
                      <a:pt x="443" y="446"/>
                    </a:lnTo>
                    <a:lnTo>
                      <a:pt x="423" y="359"/>
                    </a:lnTo>
                    <a:lnTo>
                      <a:pt x="405" y="273"/>
                    </a:lnTo>
                    <a:lnTo>
                      <a:pt x="386" y="183"/>
                    </a:lnTo>
                    <a:lnTo>
                      <a:pt x="369" y="92"/>
                    </a:lnTo>
                    <a:lnTo>
                      <a:pt x="351" y="0"/>
                    </a:lnTo>
                    <a:lnTo>
                      <a:pt x="309" y="10"/>
                    </a:lnTo>
                    <a:lnTo>
                      <a:pt x="266" y="21"/>
                    </a:lnTo>
                    <a:lnTo>
                      <a:pt x="223" y="32"/>
                    </a:lnTo>
                    <a:lnTo>
                      <a:pt x="178" y="41"/>
                    </a:lnTo>
                    <a:lnTo>
                      <a:pt x="134" y="50"/>
                    </a:lnTo>
                    <a:lnTo>
                      <a:pt x="90" y="59"/>
                    </a:lnTo>
                    <a:lnTo>
                      <a:pt x="45" y="69"/>
                    </a:lnTo>
                    <a:lnTo>
                      <a:pt x="0" y="77"/>
                    </a:lnTo>
                    <a:close/>
                  </a:path>
                </a:pathLst>
              </a:custGeom>
              <a:solidFill>
                <a:srgbClr val="BA393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05" name="Freeform 81"/>
              <p:cNvSpPr>
                <a:spLocks/>
              </p:cNvSpPr>
              <p:nvPr/>
            </p:nvSpPr>
            <p:spPr bwMode="auto">
              <a:xfrm>
                <a:off x="3538" y="1552"/>
                <a:ext cx="143" cy="115"/>
              </a:xfrm>
              <a:custGeom>
                <a:avLst/>
                <a:gdLst>
                  <a:gd name="T0" fmla="*/ 0 w 1000"/>
                  <a:gd name="T1" fmla="*/ 0 h 805"/>
                  <a:gd name="T2" fmla="*/ 0 w 1000"/>
                  <a:gd name="T3" fmla="*/ 0 h 805"/>
                  <a:gd name="T4" fmla="*/ 0 w 1000"/>
                  <a:gd name="T5" fmla="*/ 0 h 805"/>
                  <a:gd name="T6" fmla="*/ 0 w 1000"/>
                  <a:gd name="T7" fmla="*/ 0 h 805"/>
                  <a:gd name="T8" fmla="*/ 0 w 1000"/>
                  <a:gd name="T9" fmla="*/ 0 h 805"/>
                  <a:gd name="T10" fmla="*/ 0 w 1000"/>
                  <a:gd name="T11" fmla="*/ 0 h 805"/>
                  <a:gd name="T12" fmla="*/ 0 w 1000"/>
                  <a:gd name="T13" fmla="*/ 0 h 805"/>
                  <a:gd name="T14" fmla="*/ 0 w 1000"/>
                  <a:gd name="T15" fmla="*/ 0 h 805"/>
                  <a:gd name="T16" fmla="*/ 0 w 1000"/>
                  <a:gd name="T17" fmla="*/ 0 h 805"/>
                  <a:gd name="T18" fmla="*/ 0 w 1000"/>
                  <a:gd name="T19" fmla="*/ 0 h 805"/>
                  <a:gd name="T20" fmla="*/ 0 w 1000"/>
                  <a:gd name="T21" fmla="*/ 0 h 805"/>
                  <a:gd name="T22" fmla="*/ 0 w 1000"/>
                  <a:gd name="T23" fmla="*/ 0 h 805"/>
                  <a:gd name="T24" fmla="*/ 0 w 1000"/>
                  <a:gd name="T25" fmla="*/ 0 h 805"/>
                  <a:gd name="T26" fmla="*/ 0 w 1000"/>
                  <a:gd name="T27" fmla="*/ 0 h 805"/>
                  <a:gd name="T28" fmla="*/ 0 w 1000"/>
                  <a:gd name="T29" fmla="*/ 0 h 805"/>
                  <a:gd name="T30" fmla="*/ 0 w 1000"/>
                  <a:gd name="T31" fmla="*/ 0 h 805"/>
                  <a:gd name="T32" fmla="*/ 0 w 1000"/>
                  <a:gd name="T33" fmla="*/ 0 h 805"/>
                  <a:gd name="T34" fmla="*/ 0 w 1000"/>
                  <a:gd name="T35" fmla="*/ 0 h 805"/>
                  <a:gd name="T36" fmla="*/ 0 w 1000"/>
                  <a:gd name="T37" fmla="*/ 0 h 805"/>
                  <a:gd name="T38" fmla="*/ 0 w 1000"/>
                  <a:gd name="T39" fmla="*/ 0 h 805"/>
                  <a:gd name="T40" fmla="*/ 0 w 1000"/>
                  <a:gd name="T41" fmla="*/ 0 h 805"/>
                  <a:gd name="T42" fmla="*/ 0 w 1000"/>
                  <a:gd name="T43" fmla="*/ 0 h 805"/>
                  <a:gd name="T44" fmla="*/ 0 w 1000"/>
                  <a:gd name="T45" fmla="*/ 0 h 805"/>
                  <a:gd name="T46" fmla="*/ 0 w 1000"/>
                  <a:gd name="T47" fmla="*/ 0 h 805"/>
                  <a:gd name="T48" fmla="*/ 0 w 1000"/>
                  <a:gd name="T49" fmla="*/ 0 h 805"/>
                  <a:gd name="T50" fmla="*/ 0 w 1000"/>
                  <a:gd name="T51" fmla="*/ 0 h 805"/>
                  <a:gd name="T52" fmla="*/ 0 w 1000"/>
                  <a:gd name="T53" fmla="*/ 0 h 805"/>
                  <a:gd name="T54" fmla="*/ 0 w 1000"/>
                  <a:gd name="T55" fmla="*/ 0 h 805"/>
                  <a:gd name="T56" fmla="*/ 0 w 1000"/>
                  <a:gd name="T57" fmla="*/ 0 h 805"/>
                  <a:gd name="T58" fmla="*/ 0 w 1000"/>
                  <a:gd name="T59" fmla="*/ 0 h 805"/>
                  <a:gd name="T60" fmla="*/ 0 w 1000"/>
                  <a:gd name="T61" fmla="*/ 0 h 805"/>
                  <a:gd name="T62" fmla="*/ 0 w 1000"/>
                  <a:gd name="T63" fmla="*/ 0 h 805"/>
                  <a:gd name="T64" fmla="*/ 0 w 1000"/>
                  <a:gd name="T65" fmla="*/ 0 h 805"/>
                  <a:gd name="T66" fmla="*/ 0 w 1000"/>
                  <a:gd name="T67" fmla="*/ 0 h 805"/>
                  <a:gd name="T68" fmla="*/ 0 w 1000"/>
                  <a:gd name="T69" fmla="*/ 0 h 805"/>
                  <a:gd name="T70" fmla="*/ 0 w 1000"/>
                  <a:gd name="T71" fmla="*/ 0 h 80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000"/>
                  <a:gd name="T109" fmla="*/ 0 h 805"/>
                  <a:gd name="T110" fmla="*/ 1000 w 1000"/>
                  <a:gd name="T111" fmla="*/ 805 h 805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000" h="805">
                    <a:moveTo>
                      <a:pt x="0" y="0"/>
                    </a:moveTo>
                    <a:lnTo>
                      <a:pt x="4" y="53"/>
                    </a:lnTo>
                    <a:lnTo>
                      <a:pt x="8" y="105"/>
                    </a:lnTo>
                    <a:lnTo>
                      <a:pt x="14" y="155"/>
                    </a:lnTo>
                    <a:lnTo>
                      <a:pt x="21" y="205"/>
                    </a:lnTo>
                    <a:lnTo>
                      <a:pt x="30" y="254"/>
                    </a:lnTo>
                    <a:lnTo>
                      <a:pt x="40" y="301"/>
                    </a:lnTo>
                    <a:lnTo>
                      <a:pt x="51" y="348"/>
                    </a:lnTo>
                    <a:lnTo>
                      <a:pt x="65" y="391"/>
                    </a:lnTo>
                    <a:lnTo>
                      <a:pt x="80" y="434"/>
                    </a:lnTo>
                    <a:lnTo>
                      <a:pt x="97" y="476"/>
                    </a:lnTo>
                    <a:lnTo>
                      <a:pt x="114" y="515"/>
                    </a:lnTo>
                    <a:lnTo>
                      <a:pt x="135" y="552"/>
                    </a:lnTo>
                    <a:lnTo>
                      <a:pt x="157" y="588"/>
                    </a:lnTo>
                    <a:lnTo>
                      <a:pt x="181" y="620"/>
                    </a:lnTo>
                    <a:lnTo>
                      <a:pt x="206" y="651"/>
                    </a:lnTo>
                    <a:lnTo>
                      <a:pt x="234" y="679"/>
                    </a:lnTo>
                    <a:lnTo>
                      <a:pt x="264" y="704"/>
                    </a:lnTo>
                    <a:lnTo>
                      <a:pt x="296" y="727"/>
                    </a:lnTo>
                    <a:lnTo>
                      <a:pt x="330" y="748"/>
                    </a:lnTo>
                    <a:lnTo>
                      <a:pt x="368" y="765"/>
                    </a:lnTo>
                    <a:lnTo>
                      <a:pt x="406" y="780"/>
                    </a:lnTo>
                    <a:lnTo>
                      <a:pt x="447" y="791"/>
                    </a:lnTo>
                    <a:lnTo>
                      <a:pt x="491" y="798"/>
                    </a:lnTo>
                    <a:lnTo>
                      <a:pt x="537" y="804"/>
                    </a:lnTo>
                    <a:lnTo>
                      <a:pt x="586" y="805"/>
                    </a:lnTo>
                    <a:lnTo>
                      <a:pt x="636" y="803"/>
                    </a:lnTo>
                    <a:lnTo>
                      <a:pt x="690" y="796"/>
                    </a:lnTo>
                    <a:lnTo>
                      <a:pt x="747" y="786"/>
                    </a:lnTo>
                    <a:lnTo>
                      <a:pt x="806" y="773"/>
                    </a:lnTo>
                    <a:lnTo>
                      <a:pt x="868" y="755"/>
                    </a:lnTo>
                    <a:lnTo>
                      <a:pt x="933" y="733"/>
                    </a:lnTo>
                    <a:lnTo>
                      <a:pt x="1000" y="706"/>
                    </a:lnTo>
                    <a:lnTo>
                      <a:pt x="986" y="628"/>
                    </a:lnTo>
                    <a:lnTo>
                      <a:pt x="971" y="546"/>
                    </a:lnTo>
                    <a:lnTo>
                      <a:pt x="957" y="463"/>
                    </a:lnTo>
                    <a:lnTo>
                      <a:pt x="943" y="380"/>
                    </a:lnTo>
                    <a:lnTo>
                      <a:pt x="930" y="294"/>
                    </a:lnTo>
                    <a:lnTo>
                      <a:pt x="917" y="207"/>
                    </a:lnTo>
                    <a:lnTo>
                      <a:pt x="906" y="118"/>
                    </a:lnTo>
                    <a:lnTo>
                      <a:pt x="895" y="27"/>
                    </a:lnTo>
                    <a:lnTo>
                      <a:pt x="870" y="36"/>
                    </a:lnTo>
                    <a:lnTo>
                      <a:pt x="845" y="45"/>
                    </a:lnTo>
                    <a:lnTo>
                      <a:pt x="820" y="52"/>
                    </a:lnTo>
                    <a:lnTo>
                      <a:pt x="794" y="59"/>
                    </a:lnTo>
                    <a:lnTo>
                      <a:pt x="769" y="66"/>
                    </a:lnTo>
                    <a:lnTo>
                      <a:pt x="743" y="73"/>
                    </a:lnTo>
                    <a:lnTo>
                      <a:pt x="716" y="79"/>
                    </a:lnTo>
                    <a:lnTo>
                      <a:pt x="690" y="84"/>
                    </a:lnTo>
                    <a:lnTo>
                      <a:pt x="663" y="89"/>
                    </a:lnTo>
                    <a:lnTo>
                      <a:pt x="635" y="93"/>
                    </a:lnTo>
                    <a:lnTo>
                      <a:pt x="608" y="96"/>
                    </a:lnTo>
                    <a:lnTo>
                      <a:pt x="580" y="99"/>
                    </a:lnTo>
                    <a:lnTo>
                      <a:pt x="553" y="102"/>
                    </a:lnTo>
                    <a:lnTo>
                      <a:pt x="525" y="104"/>
                    </a:lnTo>
                    <a:lnTo>
                      <a:pt x="497" y="105"/>
                    </a:lnTo>
                    <a:lnTo>
                      <a:pt x="468" y="105"/>
                    </a:lnTo>
                    <a:lnTo>
                      <a:pt x="439" y="105"/>
                    </a:lnTo>
                    <a:lnTo>
                      <a:pt x="411" y="104"/>
                    </a:lnTo>
                    <a:lnTo>
                      <a:pt x="382" y="102"/>
                    </a:lnTo>
                    <a:lnTo>
                      <a:pt x="353" y="98"/>
                    </a:lnTo>
                    <a:lnTo>
                      <a:pt x="324" y="95"/>
                    </a:lnTo>
                    <a:lnTo>
                      <a:pt x="294" y="91"/>
                    </a:lnTo>
                    <a:lnTo>
                      <a:pt x="265" y="86"/>
                    </a:lnTo>
                    <a:lnTo>
                      <a:pt x="236" y="80"/>
                    </a:lnTo>
                    <a:lnTo>
                      <a:pt x="206" y="74"/>
                    </a:lnTo>
                    <a:lnTo>
                      <a:pt x="177" y="65"/>
                    </a:lnTo>
                    <a:lnTo>
                      <a:pt x="147" y="57"/>
                    </a:lnTo>
                    <a:lnTo>
                      <a:pt x="119" y="48"/>
                    </a:lnTo>
                    <a:lnTo>
                      <a:pt x="89" y="37"/>
                    </a:lnTo>
                    <a:lnTo>
                      <a:pt x="59" y="26"/>
                    </a:lnTo>
                    <a:lnTo>
                      <a:pt x="30" y="1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4E6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06" name="Freeform 82"/>
              <p:cNvSpPr>
                <a:spLocks/>
              </p:cNvSpPr>
              <p:nvPr/>
            </p:nvSpPr>
            <p:spPr bwMode="auto">
              <a:xfrm>
                <a:off x="3716" y="1530"/>
                <a:ext cx="73" cy="113"/>
              </a:xfrm>
              <a:custGeom>
                <a:avLst/>
                <a:gdLst>
                  <a:gd name="T0" fmla="*/ 0 w 515"/>
                  <a:gd name="T1" fmla="*/ 0 h 796"/>
                  <a:gd name="T2" fmla="*/ 0 w 515"/>
                  <a:gd name="T3" fmla="*/ 0 h 796"/>
                  <a:gd name="T4" fmla="*/ 0 w 515"/>
                  <a:gd name="T5" fmla="*/ 0 h 796"/>
                  <a:gd name="T6" fmla="*/ 0 w 515"/>
                  <a:gd name="T7" fmla="*/ 0 h 796"/>
                  <a:gd name="T8" fmla="*/ 0 w 515"/>
                  <a:gd name="T9" fmla="*/ 0 h 796"/>
                  <a:gd name="T10" fmla="*/ 0 w 515"/>
                  <a:gd name="T11" fmla="*/ 0 h 796"/>
                  <a:gd name="T12" fmla="*/ 0 w 515"/>
                  <a:gd name="T13" fmla="*/ 0 h 796"/>
                  <a:gd name="T14" fmla="*/ 0 w 515"/>
                  <a:gd name="T15" fmla="*/ 0 h 796"/>
                  <a:gd name="T16" fmla="*/ 0 w 515"/>
                  <a:gd name="T17" fmla="*/ 0 h 796"/>
                  <a:gd name="T18" fmla="*/ 0 w 515"/>
                  <a:gd name="T19" fmla="*/ 0 h 796"/>
                  <a:gd name="T20" fmla="*/ 0 w 515"/>
                  <a:gd name="T21" fmla="*/ 0 h 796"/>
                  <a:gd name="T22" fmla="*/ 0 w 515"/>
                  <a:gd name="T23" fmla="*/ 0 h 796"/>
                  <a:gd name="T24" fmla="*/ 0 w 515"/>
                  <a:gd name="T25" fmla="*/ 0 h 796"/>
                  <a:gd name="T26" fmla="*/ 0 w 515"/>
                  <a:gd name="T27" fmla="*/ 0 h 796"/>
                  <a:gd name="T28" fmla="*/ 0 w 515"/>
                  <a:gd name="T29" fmla="*/ 0 h 796"/>
                  <a:gd name="T30" fmla="*/ 0 w 515"/>
                  <a:gd name="T31" fmla="*/ 0 h 796"/>
                  <a:gd name="T32" fmla="*/ 0 w 515"/>
                  <a:gd name="T33" fmla="*/ 0 h 796"/>
                  <a:gd name="T34" fmla="*/ 0 w 515"/>
                  <a:gd name="T35" fmla="*/ 0 h 796"/>
                  <a:gd name="T36" fmla="*/ 0 w 515"/>
                  <a:gd name="T37" fmla="*/ 0 h 796"/>
                  <a:gd name="T38" fmla="*/ 0 w 515"/>
                  <a:gd name="T39" fmla="*/ 0 h 796"/>
                  <a:gd name="T40" fmla="*/ 0 w 515"/>
                  <a:gd name="T41" fmla="*/ 0 h 796"/>
                  <a:gd name="T42" fmla="*/ 0 w 515"/>
                  <a:gd name="T43" fmla="*/ 0 h 796"/>
                  <a:gd name="T44" fmla="*/ 0 w 515"/>
                  <a:gd name="T45" fmla="*/ 0 h 796"/>
                  <a:gd name="T46" fmla="*/ 0 w 515"/>
                  <a:gd name="T47" fmla="*/ 0 h 796"/>
                  <a:gd name="T48" fmla="*/ 0 w 515"/>
                  <a:gd name="T49" fmla="*/ 0 h 796"/>
                  <a:gd name="T50" fmla="*/ 0 w 515"/>
                  <a:gd name="T51" fmla="*/ 0 h 796"/>
                  <a:gd name="T52" fmla="*/ 0 w 515"/>
                  <a:gd name="T53" fmla="*/ 0 h 796"/>
                  <a:gd name="T54" fmla="*/ 0 w 515"/>
                  <a:gd name="T55" fmla="*/ 0 h 796"/>
                  <a:gd name="T56" fmla="*/ 0 w 515"/>
                  <a:gd name="T57" fmla="*/ 0 h 796"/>
                  <a:gd name="T58" fmla="*/ 0 w 515"/>
                  <a:gd name="T59" fmla="*/ 0 h 796"/>
                  <a:gd name="T60" fmla="*/ 0 w 515"/>
                  <a:gd name="T61" fmla="*/ 0 h 796"/>
                  <a:gd name="T62" fmla="*/ 0 w 515"/>
                  <a:gd name="T63" fmla="*/ 0 h 796"/>
                  <a:gd name="T64" fmla="*/ 0 w 515"/>
                  <a:gd name="T65" fmla="*/ 0 h 79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515"/>
                  <a:gd name="T100" fmla="*/ 0 h 796"/>
                  <a:gd name="T101" fmla="*/ 515 w 515"/>
                  <a:gd name="T102" fmla="*/ 796 h 79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515" h="796">
                    <a:moveTo>
                      <a:pt x="0" y="104"/>
                    </a:moveTo>
                    <a:lnTo>
                      <a:pt x="18" y="196"/>
                    </a:lnTo>
                    <a:lnTo>
                      <a:pt x="35" y="287"/>
                    </a:lnTo>
                    <a:lnTo>
                      <a:pt x="54" y="377"/>
                    </a:lnTo>
                    <a:lnTo>
                      <a:pt x="72" y="463"/>
                    </a:lnTo>
                    <a:lnTo>
                      <a:pt x="92" y="550"/>
                    </a:lnTo>
                    <a:lnTo>
                      <a:pt x="112" y="634"/>
                    </a:lnTo>
                    <a:lnTo>
                      <a:pt x="131" y="717"/>
                    </a:lnTo>
                    <a:lnTo>
                      <a:pt x="151" y="796"/>
                    </a:lnTo>
                    <a:lnTo>
                      <a:pt x="198" y="784"/>
                    </a:lnTo>
                    <a:lnTo>
                      <a:pt x="245" y="772"/>
                    </a:lnTo>
                    <a:lnTo>
                      <a:pt x="291" y="758"/>
                    </a:lnTo>
                    <a:lnTo>
                      <a:pt x="337" y="743"/>
                    </a:lnTo>
                    <a:lnTo>
                      <a:pt x="382" y="728"/>
                    </a:lnTo>
                    <a:lnTo>
                      <a:pt x="427" y="712"/>
                    </a:lnTo>
                    <a:lnTo>
                      <a:pt x="471" y="695"/>
                    </a:lnTo>
                    <a:lnTo>
                      <a:pt x="515" y="677"/>
                    </a:lnTo>
                    <a:lnTo>
                      <a:pt x="489" y="599"/>
                    </a:lnTo>
                    <a:lnTo>
                      <a:pt x="464" y="517"/>
                    </a:lnTo>
                    <a:lnTo>
                      <a:pt x="439" y="435"/>
                    </a:lnTo>
                    <a:lnTo>
                      <a:pt x="414" y="352"/>
                    </a:lnTo>
                    <a:lnTo>
                      <a:pt x="391" y="266"/>
                    </a:lnTo>
                    <a:lnTo>
                      <a:pt x="367" y="179"/>
                    </a:lnTo>
                    <a:lnTo>
                      <a:pt x="344" y="90"/>
                    </a:lnTo>
                    <a:lnTo>
                      <a:pt x="322" y="0"/>
                    </a:lnTo>
                    <a:lnTo>
                      <a:pt x="285" y="15"/>
                    </a:lnTo>
                    <a:lnTo>
                      <a:pt x="247" y="28"/>
                    </a:lnTo>
                    <a:lnTo>
                      <a:pt x="208" y="41"/>
                    </a:lnTo>
                    <a:lnTo>
                      <a:pt x="167" y="55"/>
                    </a:lnTo>
                    <a:lnTo>
                      <a:pt x="127" y="67"/>
                    </a:lnTo>
                    <a:lnTo>
                      <a:pt x="86" y="80"/>
                    </a:lnTo>
                    <a:lnTo>
                      <a:pt x="43" y="92"/>
                    </a:lnTo>
                    <a:lnTo>
                      <a:pt x="0" y="104"/>
                    </a:lnTo>
                    <a:close/>
                  </a:path>
                </a:pathLst>
              </a:custGeom>
              <a:solidFill>
                <a:srgbClr val="1B4D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07" name="Freeform 83"/>
              <p:cNvSpPr>
                <a:spLocks/>
              </p:cNvSpPr>
              <p:nvPr/>
            </p:nvSpPr>
            <p:spPr bwMode="auto">
              <a:xfrm>
                <a:off x="3762" y="1508"/>
                <a:ext cx="75" cy="118"/>
              </a:xfrm>
              <a:custGeom>
                <a:avLst/>
                <a:gdLst>
                  <a:gd name="T0" fmla="*/ 0 w 526"/>
                  <a:gd name="T1" fmla="*/ 0 h 830"/>
                  <a:gd name="T2" fmla="*/ 0 w 526"/>
                  <a:gd name="T3" fmla="*/ 0 h 830"/>
                  <a:gd name="T4" fmla="*/ 0 w 526"/>
                  <a:gd name="T5" fmla="*/ 0 h 830"/>
                  <a:gd name="T6" fmla="*/ 0 w 526"/>
                  <a:gd name="T7" fmla="*/ 0 h 830"/>
                  <a:gd name="T8" fmla="*/ 0 w 526"/>
                  <a:gd name="T9" fmla="*/ 0 h 830"/>
                  <a:gd name="T10" fmla="*/ 0 w 526"/>
                  <a:gd name="T11" fmla="*/ 0 h 830"/>
                  <a:gd name="T12" fmla="*/ 0 w 526"/>
                  <a:gd name="T13" fmla="*/ 0 h 830"/>
                  <a:gd name="T14" fmla="*/ 0 w 526"/>
                  <a:gd name="T15" fmla="*/ 0 h 830"/>
                  <a:gd name="T16" fmla="*/ 0 w 526"/>
                  <a:gd name="T17" fmla="*/ 0 h 830"/>
                  <a:gd name="T18" fmla="*/ 0 w 526"/>
                  <a:gd name="T19" fmla="*/ 0 h 830"/>
                  <a:gd name="T20" fmla="*/ 0 w 526"/>
                  <a:gd name="T21" fmla="*/ 0 h 830"/>
                  <a:gd name="T22" fmla="*/ 0 w 526"/>
                  <a:gd name="T23" fmla="*/ 0 h 830"/>
                  <a:gd name="T24" fmla="*/ 0 w 526"/>
                  <a:gd name="T25" fmla="*/ 0 h 830"/>
                  <a:gd name="T26" fmla="*/ 0 w 526"/>
                  <a:gd name="T27" fmla="*/ 0 h 830"/>
                  <a:gd name="T28" fmla="*/ 0 w 526"/>
                  <a:gd name="T29" fmla="*/ 0 h 830"/>
                  <a:gd name="T30" fmla="*/ 0 w 526"/>
                  <a:gd name="T31" fmla="*/ 0 h 830"/>
                  <a:gd name="T32" fmla="*/ 0 w 526"/>
                  <a:gd name="T33" fmla="*/ 0 h 830"/>
                  <a:gd name="T34" fmla="*/ 0 w 526"/>
                  <a:gd name="T35" fmla="*/ 0 h 830"/>
                  <a:gd name="T36" fmla="*/ 0 w 526"/>
                  <a:gd name="T37" fmla="*/ 0 h 830"/>
                  <a:gd name="T38" fmla="*/ 0 w 526"/>
                  <a:gd name="T39" fmla="*/ 0 h 830"/>
                  <a:gd name="T40" fmla="*/ 0 w 526"/>
                  <a:gd name="T41" fmla="*/ 0 h 830"/>
                  <a:gd name="T42" fmla="*/ 0 w 526"/>
                  <a:gd name="T43" fmla="*/ 0 h 830"/>
                  <a:gd name="T44" fmla="*/ 0 w 526"/>
                  <a:gd name="T45" fmla="*/ 0 h 830"/>
                  <a:gd name="T46" fmla="*/ 0 w 526"/>
                  <a:gd name="T47" fmla="*/ 0 h 830"/>
                  <a:gd name="T48" fmla="*/ 0 w 526"/>
                  <a:gd name="T49" fmla="*/ 0 h 830"/>
                  <a:gd name="T50" fmla="*/ 0 w 526"/>
                  <a:gd name="T51" fmla="*/ 0 h 830"/>
                  <a:gd name="T52" fmla="*/ 0 w 526"/>
                  <a:gd name="T53" fmla="*/ 0 h 830"/>
                  <a:gd name="T54" fmla="*/ 0 w 526"/>
                  <a:gd name="T55" fmla="*/ 0 h 830"/>
                  <a:gd name="T56" fmla="*/ 0 w 526"/>
                  <a:gd name="T57" fmla="*/ 0 h 830"/>
                  <a:gd name="T58" fmla="*/ 0 w 526"/>
                  <a:gd name="T59" fmla="*/ 0 h 830"/>
                  <a:gd name="T60" fmla="*/ 0 w 526"/>
                  <a:gd name="T61" fmla="*/ 0 h 830"/>
                  <a:gd name="T62" fmla="*/ 0 w 526"/>
                  <a:gd name="T63" fmla="*/ 0 h 830"/>
                  <a:gd name="T64" fmla="*/ 0 w 526"/>
                  <a:gd name="T65" fmla="*/ 0 h 830"/>
                  <a:gd name="T66" fmla="*/ 0 w 526"/>
                  <a:gd name="T67" fmla="*/ 0 h 830"/>
                  <a:gd name="T68" fmla="*/ 0 w 526"/>
                  <a:gd name="T69" fmla="*/ 0 h 830"/>
                  <a:gd name="T70" fmla="*/ 0 w 526"/>
                  <a:gd name="T71" fmla="*/ 0 h 830"/>
                  <a:gd name="T72" fmla="*/ 0 w 526"/>
                  <a:gd name="T73" fmla="*/ 0 h 830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526"/>
                  <a:gd name="T112" fmla="*/ 0 h 830"/>
                  <a:gd name="T113" fmla="*/ 526 w 526"/>
                  <a:gd name="T114" fmla="*/ 830 h 830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526" h="830">
                    <a:moveTo>
                      <a:pt x="193" y="830"/>
                    </a:moveTo>
                    <a:lnTo>
                      <a:pt x="236" y="812"/>
                    </a:lnTo>
                    <a:lnTo>
                      <a:pt x="280" y="792"/>
                    </a:lnTo>
                    <a:lnTo>
                      <a:pt x="323" y="771"/>
                    </a:lnTo>
                    <a:lnTo>
                      <a:pt x="365" y="751"/>
                    </a:lnTo>
                    <a:lnTo>
                      <a:pt x="406" y="729"/>
                    </a:lnTo>
                    <a:lnTo>
                      <a:pt x="447" y="707"/>
                    </a:lnTo>
                    <a:lnTo>
                      <a:pt x="487" y="685"/>
                    </a:lnTo>
                    <a:lnTo>
                      <a:pt x="526" y="662"/>
                    </a:lnTo>
                    <a:lnTo>
                      <a:pt x="511" y="626"/>
                    </a:lnTo>
                    <a:lnTo>
                      <a:pt x="494" y="589"/>
                    </a:lnTo>
                    <a:lnTo>
                      <a:pt x="480" y="552"/>
                    </a:lnTo>
                    <a:lnTo>
                      <a:pt x="464" y="514"/>
                    </a:lnTo>
                    <a:lnTo>
                      <a:pt x="450" y="476"/>
                    </a:lnTo>
                    <a:lnTo>
                      <a:pt x="435" y="435"/>
                    </a:lnTo>
                    <a:lnTo>
                      <a:pt x="421" y="395"/>
                    </a:lnTo>
                    <a:lnTo>
                      <a:pt x="406" y="354"/>
                    </a:lnTo>
                    <a:lnTo>
                      <a:pt x="380" y="269"/>
                    </a:lnTo>
                    <a:lnTo>
                      <a:pt x="353" y="182"/>
                    </a:lnTo>
                    <a:lnTo>
                      <a:pt x="328" y="92"/>
                    </a:lnTo>
                    <a:lnTo>
                      <a:pt x="303" y="0"/>
                    </a:lnTo>
                    <a:lnTo>
                      <a:pt x="271" y="22"/>
                    </a:lnTo>
                    <a:lnTo>
                      <a:pt x="237" y="42"/>
                    </a:lnTo>
                    <a:lnTo>
                      <a:pt x="201" y="62"/>
                    </a:lnTo>
                    <a:lnTo>
                      <a:pt x="164" y="82"/>
                    </a:lnTo>
                    <a:lnTo>
                      <a:pt x="125" y="100"/>
                    </a:lnTo>
                    <a:lnTo>
                      <a:pt x="85" y="119"/>
                    </a:lnTo>
                    <a:lnTo>
                      <a:pt x="44" y="137"/>
                    </a:lnTo>
                    <a:lnTo>
                      <a:pt x="0" y="153"/>
                    </a:lnTo>
                    <a:lnTo>
                      <a:pt x="22" y="243"/>
                    </a:lnTo>
                    <a:lnTo>
                      <a:pt x="45" y="332"/>
                    </a:lnTo>
                    <a:lnTo>
                      <a:pt x="69" y="419"/>
                    </a:lnTo>
                    <a:lnTo>
                      <a:pt x="92" y="505"/>
                    </a:lnTo>
                    <a:lnTo>
                      <a:pt x="117" y="588"/>
                    </a:lnTo>
                    <a:lnTo>
                      <a:pt x="142" y="670"/>
                    </a:lnTo>
                    <a:lnTo>
                      <a:pt x="167" y="752"/>
                    </a:lnTo>
                    <a:lnTo>
                      <a:pt x="193" y="830"/>
                    </a:lnTo>
                    <a:close/>
                  </a:path>
                </a:pathLst>
              </a:custGeom>
              <a:solidFill>
                <a:srgbClr val="F4D8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08" name="Freeform 84"/>
              <p:cNvSpPr>
                <a:spLocks/>
              </p:cNvSpPr>
              <p:nvPr/>
            </p:nvSpPr>
            <p:spPr bwMode="auto">
              <a:xfrm>
                <a:off x="3586" y="1609"/>
                <a:ext cx="17" cy="21"/>
              </a:xfrm>
              <a:custGeom>
                <a:avLst/>
                <a:gdLst>
                  <a:gd name="T0" fmla="*/ 0 w 120"/>
                  <a:gd name="T1" fmla="*/ 0 h 146"/>
                  <a:gd name="T2" fmla="*/ 0 w 120"/>
                  <a:gd name="T3" fmla="*/ 0 h 146"/>
                  <a:gd name="T4" fmla="*/ 0 w 120"/>
                  <a:gd name="T5" fmla="*/ 0 h 146"/>
                  <a:gd name="T6" fmla="*/ 0 w 120"/>
                  <a:gd name="T7" fmla="*/ 0 h 146"/>
                  <a:gd name="T8" fmla="*/ 0 w 120"/>
                  <a:gd name="T9" fmla="*/ 0 h 146"/>
                  <a:gd name="T10" fmla="*/ 0 w 120"/>
                  <a:gd name="T11" fmla="*/ 0 h 146"/>
                  <a:gd name="T12" fmla="*/ 0 w 120"/>
                  <a:gd name="T13" fmla="*/ 0 h 146"/>
                  <a:gd name="T14" fmla="*/ 0 w 120"/>
                  <a:gd name="T15" fmla="*/ 0 h 146"/>
                  <a:gd name="T16" fmla="*/ 0 w 120"/>
                  <a:gd name="T17" fmla="*/ 0 h 146"/>
                  <a:gd name="T18" fmla="*/ 0 w 120"/>
                  <a:gd name="T19" fmla="*/ 0 h 146"/>
                  <a:gd name="T20" fmla="*/ 0 w 120"/>
                  <a:gd name="T21" fmla="*/ 0 h 146"/>
                  <a:gd name="T22" fmla="*/ 0 w 120"/>
                  <a:gd name="T23" fmla="*/ 0 h 146"/>
                  <a:gd name="T24" fmla="*/ 0 w 120"/>
                  <a:gd name="T25" fmla="*/ 0 h 146"/>
                  <a:gd name="T26" fmla="*/ 0 w 120"/>
                  <a:gd name="T27" fmla="*/ 0 h 146"/>
                  <a:gd name="T28" fmla="*/ 0 w 120"/>
                  <a:gd name="T29" fmla="*/ 0 h 146"/>
                  <a:gd name="T30" fmla="*/ 0 w 120"/>
                  <a:gd name="T31" fmla="*/ 0 h 146"/>
                  <a:gd name="T32" fmla="*/ 0 w 120"/>
                  <a:gd name="T33" fmla="*/ 0 h 146"/>
                  <a:gd name="T34" fmla="*/ 0 w 120"/>
                  <a:gd name="T35" fmla="*/ 0 h 146"/>
                  <a:gd name="T36" fmla="*/ 0 w 120"/>
                  <a:gd name="T37" fmla="*/ 0 h 146"/>
                  <a:gd name="T38" fmla="*/ 0 w 120"/>
                  <a:gd name="T39" fmla="*/ 0 h 146"/>
                  <a:gd name="T40" fmla="*/ 0 w 120"/>
                  <a:gd name="T41" fmla="*/ 0 h 146"/>
                  <a:gd name="T42" fmla="*/ 0 w 120"/>
                  <a:gd name="T43" fmla="*/ 0 h 146"/>
                  <a:gd name="T44" fmla="*/ 0 w 120"/>
                  <a:gd name="T45" fmla="*/ 0 h 146"/>
                  <a:gd name="T46" fmla="*/ 0 w 120"/>
                  <a:gd name="T47" fmla="*/ 0 h 146"/>
                  <a:gd name="T48" fmla="*/ 0 w 120"/>
                  <a:gd name="T49" fmla="*/ 0 h 146"/>
                  <a:gd name="T50" fmla="*/ 0 w 120"/>
                  <a:gd name="T51" fmla="*/ 0 h 146"/>
                  <a:gd name="T52" fmla="*/ 0 w 120"/>
                  <a:gd name="T53" fmla="*/ 0 h 146"/>
                  <a:gd name="T54" fmla="*/ 0 w 120"/>
                  <a:gd name="T55" fmla="*/ 0 h 146"/>
                  <a:gd name="T56" fmla="*/ 0 w 120"/>
                  <a:gd name="T57" fmla="*/ 0 h 146"/>
                  <a:gd name="T58" fmla="*/ 0 w 120"/>
                  <a:gd name="T59" fmla="*/ 0 h 146"/>
                  <a:gd name="T60" fmla="*/ 0 w 120"/>
                  <a:gd name="T61" fmla="*/ 0 h 146"/>
                  <a:gd name="T62" fmla="*/ 0 w 120"/>
                  <a:gd name="T63" fmla="*/ 0 h 146"/>
                  <a:gd name="T64" fmla="*/ 0 w 120"/>
                  <a:gd name="T65" fmla="*/ 0 h 146"/>
                  <a:gd name="T66" fmla="*/ 0 w 120"/>
                  <a:gd name="T67" fmla="*/ 0 h 146"/>
                  <a:gd name="T68" fmla="*/ 0 w 120"/>
                  <a:gd name="T69" fmla="*/ 0 h 146"/>
                  <a:gd name="T70" fmla="*/ 0 w 120"/>
                  <a:gd name="T71" fmla="*/ 0 h 146"/>
                  <a:gd name="T72" fmla="*/ 0 w 120"/>
                  <a:gd name="T73" fmla="*/ 0 h 146"/>
                  <a:gd name="T74" fmla="*/ 0 w 120"/>
                  <a:gd name="T75" fmla="*/ 0 h 146"/>
                  <a:gd name="T76" fmla="*/ 0 w 120"/>
                  <a:gd name="T77" fmla="*/ 0 h 146"/>
                  <a:gd name="T78" fmla="*/ 0 w 120"/>
                  <a:gd name="T79" fmla="*/ 0 h 146"/>
                  <a:gd name="T80" fmla="*/ 0 w 120"/>
                  <a:gd name="T81" fmla="*/ 0 h 146"/>
                  <a:gd name="T82" fmla="*/ 0 w 120"/>
                  <a:gd name="T83" fmla="*/ 0 h 146"/>
                  <a:gd name="T84" fmla="*/ 0 w 120"/>
                  <a:gd name="T85" fmla="*/ 0 h 146"/>
                  <a:gd name="T86" fmla="*/ 0 w 120"/>
                  <a:gd name="T87" fmla="*/ 0 h 14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20"/>
                  <a:gd name="T133" fmla="*/ 0 h 146"/>
                  <a:gd name="T134" fmla="*/ 120 w 120"/>
                  <a:gd name="T135" fmla="*/ 146 h 14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20" h="146">
                    <a:moveTo>
                      <a:pt x="42" y="57"/>
                    </a:moveTo>
                    <a:lnTo>
                      <a:pt x="34" y="57"/>
                    </a:lnTo>
                    <a:lnTo>
                      <a:pt x="25" y="56"/>
                    </a:lnTo>
                    <a:lnTo>
                      <a:pt x="19" y="55"/>
                    </a:lnTo>
                    <a:lnTo>
                      <a:pt x="14" y="53"/>
                    </a:lnTo>
                    <a:lnTo>
                      <a:pt x="11" y="50"/>
                    </a:lnTo>
                    <a:lnTo>
                      <a:pt x="8" y="47"/>
                    </a:lnTo>
                    <a:lnTo>
                      <a:pt x="7" y="44"/>
                    </a:lnTo>
                    <a:lnTo>
                      <a:pt x="6" y="41"/>
                    </a:lnTo>
                    <a:lnTo>
                      <a:pt x="6" y="37"/>
                    </a:lnTo>
                    <a:lnTo>
                      <a:pt x="7" y="33"/>
                    </a:lnTo>
                    <a:lnTo>
                      <a:pt x="9" y="28"/>
                    </a:lnTo>
                    <a:lnTo>
                      <a:pt x="11" y="24"/>
                    </a:lnTo>
                    <a:lnTo>
                      <a:pt x="17" y="17"/>
                    </a:lnTo>
                    <a:lnTo>
                      <a:pt x="24" y="10"/>
                    </a:lnTo>
                    <a:lnTo>
                      <a:pt x="34" y="5"/>
                    </a:lnTo>
                    <a:lnTo>
                      <a:pt x="42" y="2"/>
                    </a:lnTo>
                    <a:lnTo>
                      <a:pt x="47" y="0"/>
                    </a:lnTo>
                    <a:lnTo>
                      <a:pt x="51" y="0"/>
                    </a:lnTo>
                    <a:lnTo>
                      <a:pt x="55" y="2"/>
                    </a:lnTo>
                    <a:lnTo>
                      <a:pt x="59" y="4"/>
                    </a:lnTo>
                    <a:lnTo>
                      <a:pt x="62" y="6"/>
                    </a:lnTo>
                    <a:lnTo>
                      <a:pt x="65" y="10"/>
                    </a:lnTo>
                    <a:lnTo>
                      <a:pt x="67" y="14"/>
                    </a:lnTo>
                    <a:lnTo>
                      <a:pt x="69" y="20"/>
                    </a:lnTo>
                    <a:lnTo>
                      <a:pt x="69" y="27"/>
                    </a:lnTo>
                    <a:lnTo>
                      <a:pt x="70" y="36"/>
                    </a:lnTo>
                    <a:lnTo>
                      <a:pt x="69" y="45"/>
                    </a:lnTo>
                    <a:lnTo>
                      <a:pt x="67" y="56"/>
                    </a:lnTo>
                    <a:lnTo>
                      <a:pt x="74" y="55"/>
                    </a:lnTo>
                    <a:lnTo>
                      <a:pt x="81" y="54"/>
                    </a:lnTo>
                    <a:lnTo>
                      <a:pt x="87" y="54"/>
                    </a:lnTo>
                    <a:lnTo>
                      <a:pt x="93" y="55"/>
                    </a:lnTo>
                    <a:lnTo>
                      <a:pt x="98" y="56"/>
                    </a:lnTo>
                    <a:lnTo>
                      <a:pt x="102" y="58"/>
                    </a:lnTo>
                    <a:lnTo>
                      <a:pt x="106" y="60"/>
                    </a:lnTo>
                    <a:lnTo>
                      <a:pt x="109" y="64"/>
                    </a:lnTo>
                    <a:lnTo>
                      <a:pt x="112" y="67"/>
                    </a:lnTo>
                    <a:lnTo>
                      <a:pt x="115" y="70"/>
                    </a:lnTo>
                    <a:lnTo>
                      <a:pt x="116" y="73"/>
                    </a:lnTo>
                    <a:lnTo>
                      <a:pt x="118" y="77"/>
                    </a:lnTo>
                    <a:lnTo>
                      <a:pt x="120" y="85"/>
                    </a:lnTo>
                    <a:lnTo>
                      <a:pt x="120" y="93"/>
                    </a:lnTo>
                    <a:lnTo>
                      <a:pt x="117" y="101"/>
                    </a:lnTo>
                    <a:lnTo>
                      <a:pt x="114" y="107"/>
                    </a:lnTo>
                    <a:lnTo>
                      <a:pt x="112" y="110"/>
                    </a:lnTo>
                    <a:lnTo>
                      <a:pt x="109" y="113"/>
                    </a:lnTo>
                    <a:lnTo>
                      <a:pt x="106" y="115"/>
                    </a:lnTo>
                    <a:lnTo>
                      <a:pt x="103" y="116"/>
                    </a:lnTo>
                    <a:lnTo>
                      <a:pt x="100" y="117"/>
                    </a:lnTo>
                    <a:lnTo>
                      <a:pt x="96" y="118"/>
                    </a:lnTo>
                    <a:lnTo>
                      <a:pt x="92" y="118"/>
                    </a:lnTo>
                    <a:lnTo>
                      <a:pt x="87" y="117"/>
                    </a:lnTo>
                    <a:lnTo>
                      <a:pt x="83" y="116"/>
                    </a:lnTo>
                    <a:lnTo>
                      <a:pt x="78" y="114"/>
                    </a:lnTo>
                    <a:lnTo>
                      <a:pt x="73" y="111"/>
                    </a:lnTo>
                    <a:lnTo>
                      <a:pt x="68" y="107"/>
                    </a:lnTo>
                    <a:lnTo>
                      <a:pt x="66" y="115"/>
                    </a:lnTo>
                    <a:lnTo>
                      <a:pt x="64" y="123"/>
                    </a:lnTo>
                    <a:lnTo>
                      <a:pt x="61" y="129"/>
                    </a:lnTo>
                    <a:lnTo>
                      <a:pt x="58" y="134"/>
                    </a:lnTo>
                    <a:lnTo>
                      <a:pt x="53" y="138"/>
                    </a:lnTo>
                    <a:lnTo>
                      <a:pt x="50" y="141"/>
                    </a:lnTo>
                    <a:lnTo>
                      <a:pt x="46" y="144"/>
                    </a:lnTo>
                    <a:lnTo>
                      <a:pt x="42" y="145"/>
                    </a:lnTo>
                    <a:lnTo>
                      <a:pt x="38" y="146"/>
                    </a:lnTo>
                    <a:lnTo>
                      <a:pt x="34" y="146"/>
                    </a:lnTo>
                    <a:lnTo>
                      <a:pt x="29" y="146"/>
                    </a:lnTo>
                    <a:lnTo>
                      <a:pt x="24" y="145"/>
                    </a:lnTo>
                    <a:lnTo>
                      <a:pt x="21" y="143"/>
                    </a:lnTo>
                    <a:lnTo>
                      <a:pt x="17" y="141"/>
                    </a:lnTo>
                    <a:lnTo>
                      <a:pt x="13" y="138"/>
                    </a:lnTo>
                    <a:lnTo>
                      <a:pt x="10" y="135"/>
                    </a:lnTo>
                    <a:lnTo>
                      <a:pt x="7" y="132"/>
                    </a:lnTo>
                    <a:lnTo>
                      <a:pt x="5" y="128"/>
                    </a:lnTo>
                    <a:lnTo>
                      <a:pt x="3" y="124"/>
                    </a:lnTo>
                    <a:lnTo>
                      <a:pt x="1" y="118"/>
                    </a:lnTo>
                    <a:lnTo>
                      <a:pt x="0" y="114"/>
                    </a:lnTo>
                    <a:lnTo>
                      <a:pt x="0" y="109"/>
                    </a:lnTo>
                    <a:lnTo>
                      <a:pt x="0" y="104"/>
                    </a:lnTo>
                    <a:lnTo>
                      <a:pt x="1" y="99"/>
                    </a:lnTo>
                    <a:lnTo>
                      <a:pt x="3" y="93"/>
                    </a:lnTo>
                    <a:lnTo>
                      <a:pt x="6" y="87"/>
                    </a:lnTo>
                    <a:lnTo>
                      <a:pt x="9" y="82"/>
                    </a:lnTo>
                    <a:lnTo>
                      <a:pt x="14" y="77"/>
                    </a:lnTo>
                    <a:lnTo>
                      <a:pt x="19" y="72"/>
                    </a:lnTo>
                    <a:lnTo>
                      <a:pt x="25" y="67"/>
                    </a:lnTo>
                    <a:lnTo>
                      <a:pt x="34" y="63"/>
                    </a:lnTo>
                    <a:lnTo>
                      <a:pt x="42" y="57"/>
                    </a:lnTo>
                    <a:close/>
                  </a:path>
                </a:pathLst>
              </a:custGeom>
              <a:solidFill>
                <a:srgbClr val="BF3B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09" name="Freeform 85"/>
              <p:cNvSpPr>
                <a:spLocks/>
              </p:cNvSpPr>
              <p:nvPr/>
            </p:nvSpPr>
            <p:spPr bwMode="auto">
              <a:xfrm>
                <a:off x="3615" y="1579"/>
                <a:ext cx="27" cy="22"/>
              </a:xfrm>
              <a:custGeom>
                <a:avLst/>
                <a:gdLst>
                  <a:gd name="T0" fmla="*/ 0 w 188"/>
                  <a:gd name="T1" fmla="*/ 0 h 153"/>
                  <a:gd name="T2" fmla="*/ 0 w 188"/>
                  <a:gd name="T3" fmla="*/ 0 h 153"/>
                  <a:gd name="T4" fmla="*/ 0 w 188"/>
                  <a:gd name="T5" fmla="*/ 0 h 153"/>
                  <a:gd name="T6" fmla="*/ 0 w 188"/>
                  <a:gd name="T7" fmla="*/ 0 h 153"/>
                  <a:gd name="T8" fmla="*/ 0 w 188"/>
                  <a:gd name="T9" fmla="*/ 0 h 153"/>
                  <a:gd name="T10" fmla="*/ 0 w 188"/>
                  <a:gd name="T11" fmla="*/ 0 h 153"/>
                  <a:gd name="T12" fmla="*/ 0 w 188"/>
                  <a:gd name="T13" fmla="*/ 0 h 153"/>
                  <a:gd name="T14" fmla="*/ 0 w 188"/>
                  <a:gd name="T15" fmla="*/ 0 h 153"/>
                  <a:gd name="T16" fmla="*/ 0 w 188"/>
                  <a:gd name="T17" fmla="*/ 0 h 153"/>
                  <a:gd name="T18" fmla="*/ 0 w 188"/>
                  <a:gd name="T19" fmla="*/ 0 h 153"/>
                  <a:gd name="T20" fmla="*/ 0 w 188"/>
                  <a:gd name="T21" fmla="*/ 0 h 153"/>
                  <a:gd name="T22" fmla="*/ 0 w 188"/>
                  <a:gd name="T23" fmla="*/ 0 h 153"/>
                  <a:gd name="T24" fmla="*/ 0 w 188"/>
                  <a:gd name="T25" fmla="*/ 0 h 153"/>
                  <a:gd name="T26" fmla="*/ 0 w 188"/>
                  <a:gd name="T27" fmla="*/ 0 h 153"/>
                  <a:gd name="T28" fmla="*/ 0 w 188"/>
                  <a:gd name="T29" fmla="*/ 0 h 153"/>
                  <a:gd name="T30" fmla="*/ 0 w 188"/>
                  <a:gd name="T31" fmla="*/ 0 h 153"/>
                  <a:gd name="T32" fmla="*/ 0 w 188"/>
                  <a:gd name="T33" fmla="*/ 0 h 153"/>
                  <a:gd name="T34" fmla="*/ 0 w 188"/>
                  <a:gd name="T35" fmla="*/ 0 h 153"/>
                  <a:gd name="T36" fmla="*/ 0 w 188"/>
                  <a:gd name="T37" fmla="*/ 0 h 153"/>
                  <a:gd name="T38" fmla="*/ 0 w 188"/>
                  <a:gd name="T39" fmla="*/ 0 h 153"/>
                  <a:gd name="T40" fmla="*/ 0 w 188"/>
                  <a:gd name="T41" fmla="*/ 0 h 153"/>
                  <a:gd name="T42" fmla="*/ 0 w 188"/>
                  <a:gd name="T43" fmla="*/ 0 h 153"/>
                  <a:gd name="T44" fmla="*/ 0 w 188"/>
                  <a:gd name="T45" fmla="*/ 0 h 153"/>
                  <a:gd name="T46" fmla="*/ 0 w 188"/>
                  <a:gd name="T47" fmla="*/ 0 h 153"/>
                  <a:gd name="T48" fmla="*/ 0 w 188"/>
                  <a:gd name="T49" fmla="*/ 0 h 153"/>
                  <a:gd name="T50" fmla="*/ 0 w 188"/>
                  <a:gd name="T51" fmla="*/ 0 h 153"/>
                  <a:gd name="T52" fmla="*/ 0 w 188"/>
                  <a:gd name="T53" fmla="*/ 0 h 153"/>
                  <a:gd name="T54" fmla="*/ 0 w 188"/>
                  <a:gd name="T55" fmla="*/ 0 h 153"/>
                  <a:gd name="T56" fmla="*/ 0 w 188"/>
                  <a:gd name="T57" fmla="*/ 0 h 153"/>
                  <a:gd name="T58" fmla="*/ 0 w 188"/>
                  <a:gd name="T59" fmla="*/ 0 h 153"/>
                  <a:gd name="T60" fmla="*/ 0 w 188"/>
                  <a:gd name="T61" fmla="*/ 0 h 153"/>
                  <a:gd name="T62" fmla="*/ 0 w 188"/>
                  <a:gd name="T63" fmla="*/ 0 h 153"/>
                  <a:gd name="T64" fmla="*/ 0 w 188"/>
                  <a:gd name="T65" fmla="*/ 0 h 153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88"/>
                  <a:gd name="T100" fmla="*/ 0 h 153"/>
                  <a:gd name="T101" fmla="*/ 188 w 188"/>
                  <a:gd name="T102" fmla="*/ 153 h 153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88" h="153">
                    <a:moveTo>
                      <a:pt x="0" y="0"/>
                    </a:moveTo>
                    <a:lnTo>
                      <a:pt x="20" y="3"/>
                    </a:lnTo>
                    <a:lnTo>
                      <a:pt x="37" y="7"/>
                    </a:lnTo>
                    <a:lnTo>
                      <a:pt x="53" y="11"/>
                    </a:lnTo>
                    <a:lnTo>
                      <a:pt x="67" y="15"/>
                    </a:lnTo>
                    <a:lnTo>
                      <a:pt x="80" y="21"/>
                    </a:lnTo>
                    <a:lnTo>
                      <a:pt x="91" y="27"/>
                    </a:lnTo>
                    <a:lnTo>
                      <a:pt x="103" y="35"/>
                    </a:lnTo>
                    <a:lnTo>
                      <a:pt x="112" y="43"/>
                    </a:lnTo>
                    <a:lnTo>
                      <a:pt x="121" y="52"/>
                    </a:lnTo>
                    <a:lnTo>
                      <a:pt x="130" y="63"/>
                    </a:lnTo>
                    <a:lnTo>
                      <a:pt x="139" y="75"/>
                    </a:lnTo>
                    <a:lnTo>
                      <a:pt x="148" y="87"/>
                    </a:lnTo>
                    <a:lnTo>
                      <a:pt x="167" y="117"/>
                    </a:lnTo>
                    <a:lnTo>
                      <a:pt x="188" y="153"/>
                    </a:lnTo>
                    <a:lnTo>
                      <a:pt x="182" y="151"/>
                    </a:lnTo>
                    <a:lnTo>
                      <a:pt x="164" y="144"/>
                    </a:lnTo>
                    <a:lnTo>
                      <a:pt x="151" y="139"/>
                    </a:lnTo>
                    <a:lnTo>
                      <a:pt x="138" y="134"/>
                    </a:lnTo>
                    <a:lnTo>
                      <a:pt x="122" y="127"/>
                    </a:lnTo>
                    <a:lnTo>
                      <a:pt x="107" y="118"/>
                    </a:lnTo>
                    <a:lnTo>
                      <a:pt x="90" y="108"/>
                    </a:lnTo>
                    <a:lnTo>
                      <a:pt x="74" y="98"/>
                    </a:lnTo>
                    <a:lnTo>
                      <a:pt x="58" y="85"/>
                    </a:lnTo>
                    <a:lnTo>
                      <a:pt x="44" y="71"/>
                    </a:lnTo>
                    <a:lnTo>
                      <a:pt x="36" y="64"/>
                    </a:lnTo>
                    <a:lnTo>
                      <a:pt x="29" y="55"/>
                    </a:lnTo>
                    <a:lnTo>
                      <a:pt x="23" y="47"/>
                    </a:lnTo>
                    <a:lnTo>
                      <a:pt x="18" y="39"/>
                    </a:lnTo>
                    <a:lnTo>
                      <a:pt x="13" y="30"/>
                    </a:lnTo>
                    <a:lnTo>
                      <a:pt x="8" y="20"/>
                    </a:lnTo>
                    <a:lnTo>
                      <a:pt x="4" y="1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008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10" name="Freeform 86"/>
              <p:cNvSpPr>
                <a:spLocks/>
              </p:cNvSpPr>
              <p:nvPr/>
            </p:nvSpPr>
            <p:spPr bwMode="auto">
              <a:xfrm>
                <a:off x="3645" y="1570"/>
                <a:ext cx="5" cy="18"/>
              </a:xfrm>
              <a:custGeom>
                <a:avLst/>
                <a:gdLst>
                  <a:gd name="T0" fmla="*/ 0 w 37"/>
                  <a:gd name="T1" fmla="*/ 0 h 129"/>
                  <a:gd name="T2" fmla="*/ 0 w 37"/>
                  <a:gd name="T3" fmla="*/ 0 h 129"/>
                  <a:gd name="T4" fmla="*/ 0 w 37"/>
                  <a:gd name="T5" fmla="*/ 0 h 129"/>
                  <a:gd name="T6" fmla="*/ 0 w 37"/>
                  <a:gd name="T7" fmla="*/ 0 h 129"/>
                  <a:gd name="T8" fmla="*/ 0 w 37"/>
                  <a:gd name="T9" fmla="*/ 0 h 129"/>
                  <a:gd name="T10" fmla="*/ 0 w 37"/>
                  <a:gd name="T11" fmla="*/ 0 h 129"/>
                  <a:gd name="T12" fmla="*/ 0 w 37"/>
                  <a:gd name="T13" fmla="*/ 0 h 129"/>
                  <a:gd name="T14" fmla="*/ 0 w 37"/>
                  <a:gd name="T15" fmla="*/ 0 h 129"/>
                  <a:gd name="T16" fmla="*/ 0 w 37"/>
                  <a:gd name="T17" fmla="*/ 0 h 129"/>
                  <a:gd name="T18" fmla="*/ 0 w 37"/>
                  <a:gd name="T19" fmla="*/ 0 h 129"/>
                  <a:gd name="T20" fmla="*/ 0 w 37"/>
                  <a:gd name="T21" fmla="*/ 0 h 129"/>
                  <a:gd name="T22" fmla="*/ 0 w 37"/>
                  <a:gd name="T23" fmla="*/ 0 h 129"/>
                  <a:gd name="T24" fmla="*/ 0 w 37"/>
                  <a:gd name="T25" fmla="*/ 0 h 129"/>
                  <a:gd name="T26" fmla="*/ 0 w 37"/>
                  <a:gd name="T27" fmla="*/ 0 h 129"/>
                  <a:gd name="T28" fmla="*/ 0 w 37"/>
                  <a:gd name="T29" fmla="*/ 0 h 129"/>
                  <a:gd name="T30" fmla="*/ 0 w 37"/>
                  <a:gd name="T31" fmla="*/ 0 h 129"/>
                  <a:gd name="T32" fmla="*/ 0 w 37"/>
                  <a:gd name="T33" fmla="*/ 0 h 129"/>
                  <a:gd name="T34" fmla="*/ 0 w 37"/>
                  <a:gd name="T35" fmla="*/ 0 h 129"/>
                  <a:gd name="T36" fmla="*/ 0 w 37"/>
                  <a:gd name="T37" fmla="*/ 0 h 129"/>
                  <a:gd name="T38" fmla="*/ 0 w 37"/>
                  <a:gd name="T39" fmla="*/ 0 h 129"/>
                  <a:gd name="T40" fmla="*/ 0 w 37"/>
                  <a:gd name="T41" fmla="*/ 0 h 129"/>
                  <a:gd name="T42" fmla="*/ 0 w 37"/>
                  <a:gd name="T43" fmla="*/ 0 h 129"/>
                  <a:gd name="T44" fmla="*/ 0 w 37"/>
                  <a:gd name="T45" fmla="*/ 0 h 12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37"/>
                  <a:gd name="T70" fmla="*/ 0 h 129"/>
                  <a:gd name="T71" fmla="*/ 37 w 37"/>
                  <a:gd name="T72" fmla="*/ 129 h 129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37" h="129">
                    <a:moveTo>
                      <a:pt x="27" y="0"/>
                    </a:moveTo>
                    <a:lnTo>
                      <a:pt x="33" y="21"/>
                    </a:lnTo>
                    <a:lnTo>
                      <a:pt x="36" y="38"/>
                    </a:lnTo>
                    <a:lnTo>
                      <a:pt x="37" y="45"/>
                    </a:lnTo>
                    <a:lnTo>
                      <a:pt x="36" y="52"/>
                    </a:lnTo>
                    <a:lnTo>
                      <a:pt x="36" y="59"/>
                    </a:lnTo>
                    <a:lnTo>
                      <a:pt x="35" y="66"/>
                    </a:lnTo>
                    <a:lnTo>
                      <a:pt x="30" y="80"/>
                    </a:lnTo>
                    <a:lnTo>
                      <a:pt x="24" y="94"/>
                    </a:lnTo>
                    <a:lnTo>
                      <a:pt x="15" y="110"/>
                    </a:lnTo>
                    <a:lnTo>
                      <a:pt x="5" y="129"/>
                    </a:lnTo>
                    <a:lnTo>
                      <a:pt x="4" y="125"/>
                    </a:lnTo>
                    <a:lnTo>
                      <a:pt x="2" y="114"/>
                    </a:lnTo>
                    <a:lnTo>
                      <a:pt x="1" y="99"/>
                    </a:lnTo>
                    <a:lnTo>
                      <a:pt x="0" y="80"/>
                    </a:lnTo>
                    <a:lnTo>
                      <a:pt x="1" y="70"/>
                    </a:lnTo>
                    <a:lnTo>
                      <a:pt x="2" y="59"/>
                    </a:lnTo>
                    <a:lnTo>
                      <a:pt x="3" y="48"/>
                    </a:lnTo>
                    <a:lnTo>
                      <a:pt x="6" y="38"/>
                    </a:lnTo>
                    <a:lnTo>
                      <a:pt x="9" y="27"/>
                    </a:lnTo>
                    <a:lnTo>
                      <a:pt x="14" y="18"/>
                    </a:lnTo>
                    <a:lnTo>
                      <a:pt x="20" y="9"/>
                    </a:lnTo>
                    <a:lnTo>
                      <a:pt x="27" y="0"/>
                    </a:lnTo>
                    <a:close/>
                  </a:path>
                </a:pathLst>
              </a:custGeom>
              <a:solidFill>
                <a:srgbClr val="008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11" name="Freeform 87"/>
              <p:cNvSpPr>
                <a:spLocks/>
              </p:cNvSpPr>
              <p:nvPr/>
            </p:nvSpPr>
            <p:spPr bwMode="auto">
              <a:xfrm>
                <a:off x="3645" y="1540"/>
                <a:ext cx="5" cy="12"/>
              </a:xfrm>
              <a:custGeom>
                <a:avLst/>
                <a:gdLst>
                  <a:gd name="T0" fmla="*/ 0 w 33"/>
                  <a:gd name="T1" fmla="*/ 0 h 87"/>
                  <a:gd name="T2" fmla="*/ 0 w 33"/>
                  <a:gd name="T3" fmla="*/ 0 h 87"/>
                  <a:gd name="T4" fmla="*/ 0 w 33"/>
                  <a:gd name="T5" fmla="*/ 0 h 87"/>
                  <a:gd name="T6" fmla="*/ 0 w 33"/>
                  <a:gd name="T7" fmla="*/ 0 h 87"/>
                  <a:gd name="T8" fmla="*/ 0 w 33"/>
                  <a:gd name="T9" fmla="*/ 0 h 87"/>
                  <a:gd name="T10" fmla="*/ 0 w 33"/>
                  <a:gd name="T11" fmla="*/ 0 h 87"/>
                  <a:gd name="T12" fmla="*/ 0 w 33"/>
                  <a:gd name="T13" fmla="*/ 0 h 87"/>
                  <a:gd name="T14" fmla="*/ 0 w 33"/>
                  <a:gd name="T15" fmla="*/ 0 h 87"/>
                  <a:gd name="T16" fmla="*/ 0 w 33"/>
                  <a:gd name="T17" fmla="*/ 0 h 87"/>
                  <a:gd name="T18" fmla="*/ 0 w 33"/>
                  <a:gd name="T19" fmla="*/ 0 h 87"/>
                  <a:gd name="T20" fmla="*/ 0 w 33"/>
                  <a:gd name="T21" fmla="*/ 0 h 87"/>
                  <a:gd name="T22" fmla="*/ 0 w 33"/>
                  <a:gd name="T23" fmla="*/ 0 h 87"/>
                  <a:gd name="T24" fmla="*/ 0 w 33"/>
                  <a:gd name="T25" fmla="*/ 0 h 87"/>
                  <a:gd name="T26" fmla="*/ 0 w 33"/>
                  <a:gd name="T27" fmla="*/ 0 h 87"/>
                  <a:gd name="T28" fmla="*/ 0 w 33"/>
                  <a:gd name="T29" fmla="*/ 0 h 87"/>
                  <a:gd name="T30" fmla="*/ 0 w 33"/>
                  <a:gd name="T31" fmla="*/ 0 h 87"/>
                  <a:gd name="T32" fmla="*/ 0 w 33"/>
                  <a:gd name="T33" fmla="*/ 0 h 87"/>
                  <a:gd name="T34" fmla="*/ 0 w 33"/>
                  <a:gd name="T35" fmla="*/ 0 h 87"/>
                  <a:gd name="T36" fmla="*/ 0 w 33"/>
                  <a:gd name="T37" fmla="*/ 0 h 87"/>
                  <a:gd name="T38" fmla="*/ 0 w 33"/>
                  <a:gd name="T39" fmla="*/ 0 h 87"/>
                  <a:gd name="T40" fmla="*/ 0 w 33"/>
                  <a:gd name="T41" fmla="*/ 0 h 87"/>
                  <a:gd name="T42" fmla="*/ 0 w 33"/>
                  <a:gd name="T43" fmla="*/ 0 h 87"/>
                  <a:gd name="T44" fmla="*/ 0 w 33"/>
                  <a:gd name="T45" fmla="*/ 0 h 87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33"/>
                  <a:gd name="T70" fmla="*/ 0 h 87"/>
                  <a:gd name="T71" fmla="*/ 33 w 33"/>
                  <a:gd name="T72" fmla="*/ 87 h 87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33" h="87">
                    <a:moveTo>
                      <a:pt x="19" y="0"/>
                    </a:moveTo>
                    <a:lnTo>
                      <a:pt x="26" y="12"/>
                    </a:lnTo>
                    <a:lnTo>
                      <a:pt x="31" y="22"/>
                    </a:lnTo>
                    <a:lnTo>
                      <a:pt x="32" y="27"/>
                    </a:lnTo>
                    <a:lnTo>
                      <a:pt x="33" y="31"/>
                    </a:lnTo>
                    <a:lnTo>
                      <a:pt x="33" y="37"/>
                    </a:lnTo>
                    <a:lnTo>
                      <a:pt x="32" y="41"/>
                    </a:lnTo>
                    <a:lnTo>
                      <a:pt x="30" y="50"/>
                    </a:lnTo>
                    <a:lnTo>
                      <a:pt x="25" y="60"/>
                    </a:lnTo>
                    <a:lnTo>
                      <a:pt x="19" y="73"/>
                    </a:lnTo>
                    <a:lnTo>
                      <a:pt x="10" y="87"/>
                    </a:lnTo>
                    <a:lnTo>
                      <a:pt x="9" y="84"/>
                    </a:lnTo>
                    <a:lnTo>
                      <a:pt x="6" y="78"/>
                    </a:lnTo>
                    <a:lnTo>
                      <a:pt x="3" y="69"/>
                    </a:lnTo>
                    <a:lnTo>
                      <a:pt x="1" y="56"/>
                    </a:lnTo>
                    <a:lnTo>
                      <a:pt x="0" y="50"/>
                    </a:lnTo>
                    <a:lnTo>
                      <a:pt x="0" y="43"/>
                    </a:lnTo>
                    <a:lnTo>
                      <a:pt x="0" y="36"/>
                    </a:lnTo>
                    <a:lnTo>
                      <a:pt x="2" y="28"/>
                    </a:lnTo>
                    <a:lnTo>
                      <a:pt x="4" y="21"/>
                    </a:lnTo>
                    <a:lnTo>
                      <a:pt x="7" y="14"/>
                    </a:lnTo>
                    <a:lnTo>
                      <a:pt x="12" y="7"/>
                    </a:lnTo>
                    <a:lnTo>
                      <a:pt x="19" y="0"/>
                    </a:lnTo>
                    <a:close/>
                  </a:path>
                </a:pathLst>
              </a:custGeom>
              <a:solidFill>
                <a:srgbClr val="008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12" name="Freeform 88"/>
              <p:cNvSpPr>
                <a:spLocks/>
              </p:cNvSpPr>
              <p:nvPr/>
            </p:nvSpPr>
            <p:spPr bwMode="auto">
              <a:xfrm>
                <a:off x="3642" y="1529"/>
                <a:ext cx="6" cy="11"/>
              </a:xfrm>
              <a:custGeom>
                <a:avLst/>
                <a:gdLst>
                  <a:gd name="T0" fmla="*/ 0 w 41"/>
                  <a:gd name="T1" fmla="*/ 0 h 77"/>
                  <a:gd name="T2" fmla="*/ 0 w 41"/>
                  <a:gd name="T3" fmla="*/ 0 h 77"/>
                  <a:gd name="T4" fmla="*/ 0 w 41"/>
                  <a:gd name="T5" fmla="*/ 0 h 77"/>
                  <a:gd name="T6" fmla="*/ 0 w 41"/>
                  <a:gd name="T7" fmla="*/ 0 h 77"/>
                  <a:gd name="T8" fmla="*/ 0 w 41"/>
                  <a:gd name="T9" fmla="*/ 0 h 77"/>
                  <a:gd name="T10" fmla="*/ 0 w 41"/>
                  <a:gd name="T11" fmla="*/ 0 h 77"/>
                  <a:gd name="T12" fmla="*/ 0 w 41"/>
                  <a:gd name="T13" fmla="*/ 0 h 77"/>
                  <a:gd name="T14" fmla="*/ 0 w 41"/>
                  <a:gd name="T15" fmla="*/ 0 h 77"/>
                  <a:gd name="T16" fmla="*/ 0 w 41"/>
                  <a:gd name="T17" fmla="*/ 0 h 77"/>
                  <a:gd name="T18" fmla="*/ 0 w 41"/>
                  <a:gd name="T19" fmla="*/ 0 h 77"/>
                  <a:gd name="T20" fmla="*/ 0 w 41"/>
                  <a:gd name="T21" fmla="*/ 0 h 77"/>
                  <a:gd name="T22" fmla="*/ 0 w 41"/>
                  <a:gd name="T23" fmla="*/ 0 h 77"/>
                  <a:gd name="T24" fmla="*/ 0 w 41"/>
                  <a:gd name="T25" fmla="*/ 0 h 77"/>
                  <a:gd name="T26" fmla="*/ 0 w 41"/>
                  <a:gd name="T27" fmla="*/ 0 h 77"/>
                  <a:gd name="T28" fmla="*/ 0 w 41"/>
                  <a:gd name="T29" fmla="*/ 0 h 77"/>
                  <a:gd name="T30" fmla="*/ 0 w 41"/>
                  <a:gd name="T31" fmla="*/ 0 h 77"/>
                  <a:gd name="T32" fmla="*/ 0 w 41"/>
                  <a:gd name="T33" fmla="*/ 0 h 77"/>
                  <a:gd name="T34" fmla="*/ 0 w 41"/>
                  <a:gd name="T35" fmla="*/ 0 h 77"/>
                  <a:gd name="T36" fmla="*/ 0 w 41"/>
                  <a:gd name="T37" fmla="*/ 0 h 77"/>
                  <a:gd name="T38" fmla="*/ 0 w 41"/>
                  <a:gd name="T39" fmla="*/ 0 h 77"/>
                  <a:gd name="T40" fmla="*/ 0 w 41"/>
                  <a:gd name="T41" fmla="*/ 0 h 77"/>
                  <a:gd name="T42" fmla="*/ 0 w 41"/>
                  <a:gd name="T43" fmla="*/ 0 h 77"/>
                  <a:gd name="T44" fmla="*/ 0 w 41"/>
                  <a:gd name="T45" fmla="*/ 0 h 77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41"/>
                  <a:gd name="T70" fmla="*/ 0 h 77"/>
                  <a:gd name="T71" fmla="*/ 41 w 41"/>
                  <a:gd name="T72" fmla="*/ 77 h 77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41" h="77">
                    <a:moveTo>
                      <a:pt x="2" y="0"/>
                    </a:moveTo>
                    <a:lnTo>
                      <a:pt x="15" y="5"/>
                    </a:lnTo>
                    <a:lnTo>
                      <a:pt x="24" y="10"/>
                    </a:lnTo>
                    <a:lnTo>
                      <a:pt x="27" y="13"/>
                    </a:lnTo>
                    <a:lnTo>
                      <a:pt x="30" y="18"/>
                    </a:lnTo>
                    <a:lnTo>
                      <a:pt x="33" y="21"/>
                    </a:lnTo>
                    <a:lnTo>
                      <a:pt x="35" y="25"/>
                    </a:lnTo>
                    <a:lnTo>
                      <a:pt x="37" y="35"/>
                    </a:lnTo>
                    <a:lnTo>
                      <a:pt x="40" y="47"/>
                    </a:lnTo>
                    <a:lnTo>
                      <a:pt x="41" y="60"/>
                    </a:lnTo>
                    <a:lnTo>
                      <a:pt x="41" y="77"/>
                    </a:lnTo>
                    <a:lnTo>
                      <a:pt x="39" y="76"/>
                    </a:lnTo>
                    <a:lnTo>
                      <a:pt x="33" y="71"/>
                    </a:lnTo>
                    <a:lnTo>
                      <a:pt x="25" y="65"/>
                    </a:lnTo>
                    <a:lnTo>
                      <a:pt x="17" y="57"/>
                    </a:lnTo>
                    <a:lnTo>
                      <a:pt x="13" y="52"/>
                    </a:lnTo>
                    <a:lnTo>
                      <a:pt x="9" y="47"/>
                    </a:lnTo>
                    <a:lnTo>
                      <a:pt x="5" y="40"/>
                    </a:lnTo>
                    <a:lnTo>
                      <a:pt x="3" y="33"/>
                    </a:lnTo>
                    <a:lnTo>
                      <a:pt x="1" y="26"/>
                    </a:lnTo>
                    <a:lnTo>
                      <a:pt x="0" y="18"/>
                    </a:lnTo>
                    <a:lnTo>
                      <a:pt x="0" y="9"/>
                    </a:lnTo>
                    <a:lnTo>
                      <a:pt x="2" y="0"/>
                    </a:lnTo>
                    <a:close/>
                  </a:path>
                </a:pathLst>
              </a:custGeom>
              <a:solidFill>
                <a:srgbClr val="008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13" name="Freeform 89"/>
              <p:cNvSpPr>
                <a:spLocks/>
              </p:cNvSpPr>
              <p:nvPr/>
            </p:nvSpPr>
            <p:spPr bwMode="auto">
              <a:xfrm>
                <a:off x="3645" y="1524"/>
                <a:ext cx="6" cy="12"/>
              </a:xfrm>
              <a:custGeom>
                <a:avLst/>
                <a:gdLst>
                  <a:gd name="T0" fmla="*/ 0 w 36"/>
                  <a:gd name="T1" fmla="*/ 0 h 82"/>
                  <a:gd name="T2" fmla="*/ 0 w 36"/>
                  <a:gd name="T3" fmla="*/ 0 h 82"/>
                  <a:gd name="T4" fmla="*/ 0 w 36"/>
                  <a:gd name="T5" fmla="*/ 0 h 82"/>
                  <a:gd name="T6" fmla="*/ 0 w 36"/>
                  <a:gd name="T7" fmla="*/ 0 h 82"/>
                  <a:gd name="T8" fmla="*/ 0 w 36"/>
                  <a:gd name="T9" fmla="*/ 0 h 82"/>
                  <a:gd name="T10" fmla="*/ 0 w 36"/>
                  <a:gd name="T11" fmla="*/ 0 h 82"/>
                  <a:gd name="T12" fmla="*/ 0 w 36"/>
                  <a:gd name="T13" fmla="*/ 0 h 82"/>
                  <a:gd name="T14" fmla="*/ 0 w 36"/>
                  <a:gd name="T15" fmla="*/ 0 h 82"/>
                  <a:gd name="T16" fmla="*/ 0 w 36"/>
                  <a:gd name="T17" fmla="*/ 0 h 82"/>
                  <a:gd name="T18" fmla="*/ 0 w 36"/>
                  <a:gd name="T19" fmla="*/ 0 h 82"/>
                  <a:gd name="T20" fmla="*/ 0 w 36"/>
                  <a:gd name="T21" fmla="*/ 0 h 82"/>
                  <a:gd name="T22" fmla="*/ 0 w 36"/>
                  <a:gd name="T23" fmla="*/ 0 h 82"/>
                  <a:gd name="T24" fmla="*/ 0 w 36"/>
                  <a:gd name="T25" fmla="*/ 0 h 82"/>
                  <a:gd name="T26" fmla="*/ 0 w 36"/>
                  <a:gd name="T27" fmla="*/ 0 h 82"/>
                  <a:gd name="T28" fmla="*/ 0 w 36"/>
                  <a:gd name="T29" fmla="*/ 0 h 82"/>
                  <a:gd name="T30" fmla="*/ 0 w 36"/>
                  <a:gd name="T31" fmla="*/ 0 h 82"/>
                  <a:gd name="T32" fmla="*/ 0 w 36"/>
                  <a:gd name="T33" fmla="*/ 0 h 82"/>
                  <a:gd name="T34" fmla="*/ 0 w 36"/>
                  <a:gd name="T35" fmla="*/ 0 h 82"/>
                  <a:gd name="T36" fmla="*/ 0 w 36"/>
                  <a:gd name="T37" fmla="*/ 0 h 82"/>
                  <a:gd name="T38" fmla="*/ 0 w 36"/>
                  <a:gd name="T39" fmla="*/ 0 h 82"/>
                  <a:gd name="T40" fmla="*/ 0 w 36"/>
                  <a:gd name="T41" fmla="*/ 0 h 82"/>
                  <a:gd name="T42" fmla="*/ 0 w 36"/>
                  <a:gd name="T43" fmla="*/ 0 h 82"/>
                  <a:gd name="T44" fmla="*/ 0 w 36"/>
                  <a:gd name="T45" fmla="*/ 0 h 82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36"/>
                  <a:gd name="T70" fmla="*/ 0 h 82"/>
                  <a:gd name="T71" fmla="*/ 36 w 36"/>
                  <a:gd name="T72" fmla="*/ 82 h 82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36" h="82">
                    <a:moveTo>
                      <a:pt x="26" y="0"/>
                    </a:moveTo>
                    <a:lnTo>
                      <a:pt x="32" y="12"/>
                    </a:lnTo>
                    <a:lnTo>
                      <a:pt x="35" y="24"/>
                    </a:lnTo>
                    <a:lnTo>
                      <a:pt x="36" y="28"/>
                    </a:lnTo>
                    <a:lnTo>
                      <a:pt x="36" y="33"/>
                    </a:lnTo>
                    <a:lnTo>
                      <a:pt x="35" y="37"/>
                    </a:lnTo>
                    <a:lnTo>
                      <a:pt x="34" y="41"/>
                    </a:lnTo>
                    <a:lnTo>
                      <a:pt x="30" y="50"/>
                    </a:lnTo>
                    <a:lnTo>
                      <a:pt x="24" y="60"/>
                    </a:lnTo>
                    <a:lnTo>
                      <a:pt x="16" y="70"/>
                    </a:lnTo>
                    <a:lnTo>
                      <a:pt x="5" y="82"/>
                    </a:lnTo>
                    <a:lnTo>
                      <a:pt x="4" y="80"/>
                    </a:lnTo>
                    <a:lnTo>
                      <a:pt x="3" y="73"/>
                    </a:lnTo>
                    <a:lnTo>
                      <a:pt x="1" y="64"/>
                    </a:lnTo>
                    <a:lnTo>
                      <a:pt x="0" y="51"/>
                    </a:lnTo>
                    <a:lnTo>
                      <a:pt x="0" y="45"/>
                    </a:lnTo>
                    <a:lnTo>
                      <a:pt x="1" y="38"/>
                    </a:lnTo>
                    <a:lnTo>
                      <a:pt x="3" y="31"/>
                    </a:lnTo>
                    <a:lnTo>
                      <a:pt x="5" y="25"/>
                    </a:lnTo>
                    <a:lnTo>
                      <a:pt x="8" y="17"/>
                    </a:lnTo>
                    <a:lnTo>
                      <a:pt x="13" y="11"/>
                    </a:lnTo>
                    <a:lnTo>
                      <a:pt x="19" y="5"/>
                    </a:lnTo>
                    <a:lnTo>
                      <a:pt x="26" y="0"/>
                    </a:lnTo>
                    <a:close/>
                  </a:path>
                </a:pathLst>
              </a:custGeom>
              <a:solidFill>
                <a:srgbClr val="008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14" name="Freeform 90"/>
              <p:cNvSpPr>
                <a:spLocks/>
              </p:cNvSpPr>
              <p:nvPr/>
            </p:nvSpPr>
            <p:spPr bwMode="auto">
              <a:xfrm>
                <a:off x="3581" y="1599"/>
                <a:ext cx="5" cy="12"/>
              </a:xfrm>
              <a:custGeom>
                <a:avLst/>
                <a:gdLst>
                  <a:gd name="T0" fmla="*/ 0 w 33"/>
                  <a:gd name="T1" fmla="*/ 0 h 88"/>
                  <a:gd name="T2" fmla="*/ 0 w 33"/>
                  <a:gd name="T3" fmla="*/ 0 h 88"/>
                  <a:gd name="T4" fmla="*/ 0 w 33"/>
                  <a:gd name="T5" fmla="*/ 0 h 88"/>
                  <a:gd name="T6" fmla="*/ 0 w 33"/>
                  <a:gd name="T7" fmla="*/ 0 h 88"/>
                  <a:gd name="T8" fmla="*/ 0 w 33"/>
                  <a:gd name="T9" fmla="*/ 0 h 88"/>
                  <a:gd name="T10" fmla="*/ 0 w 33"/>
                  <a:gd name="T11" fmla="*/ 0 h 88"/>
                  <a:gd name="T12" fmla="*/ 0 w 33"/>
                  <a:gd name="T13" fmla="*/ 0 h 88"/>
                  <a:gd name="T14" fmla="*/ 0 w 33"/>
                  <a:gd name="T15" fmla="*/ 0 h 88"/>
                  <a:gd name="T16" fmla="*/ 0 w 33"/>
                  <a:gd name="T17" fmla="*/ 0 h 88"/>
                  <a:gd name="T18" fmla="*/ 0 w 33"/>
                  <a:gd name="T19" fmla="*/ 0 h 88"/>
                  <a:gd name="T20" fmla="*/ 0 w 33"/>
                  <a:gd name="T21" fmla="*/ 0 h 88"/>
                  <a:gd name="T22" fmla="*/ 0 w 33"/>
                  <a:gd name="T23" fmla="*/ 0 h 88"/>
                  <a:gd name="T24" fmla="*/ 0 w 33"/>
                  <a:gd name="T25" fmla="*/ 0 h 88"/>
                  <a:gd name="T26" fmla="*/ 0 w 33"/>
                  <a:gd name="T27" fmla="*/ 0 h 88"/>
                  <a:gd name="T28" fmla="*/ 0 w 33"/>
                  <a:gd name="T29" fmla="*/ 0 h 88"/>
                  <a:gd name="T30" fmla="*/ 0 w 33"/>
                  <a:gd name="T31" fmla="*/ 0 h 88"/>
                  <a:gd name="T32" fmla="*/ 0 w 33"/>
                  <a:gd name="T33" fmla="*/ 0 h 88"/>
                  <a:gd name="T34" fmla="*/ 0 w 33"/>
                  <a:gd name="T35" fmla="*/ 0 h 88"/>
                  <a:gd name="T36" fmla="*/ 0 w 33"/>
                  <a:gd name="T37" fmla="*/ 0 h 88"/>
                  <a:gd name="T38" fmla="*/ 0 w 33"/>
                  <a:gd name="T39" fmla="*/ 0 h 88"/>
                  <a:gd name="T40" fmla="*/ 0 w 33"/>
                  <a:gd name="T41" fmla="*/ 0 h 88"/>
                  <a:gd name="T42" fmla="*/ 0 w 33"/>
                  <a:gd name="T43" fmla="*/ 0 h 88"/>
                  <a:gd name="T44" fmla="*/ 0 w 33"/>
                  <a:gd name="T45" fmla="*/ 0 h 88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33"/>
                  <a:gd name="T70" fmla="*/ 0 h 88"/>
                  <a:gd name="T71" fmla="*/ 33 w 33"/>
                  <a:gd name="T72" fmla="*/ 88 h 88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33" h="88">
                    <a:moveTo>
                      <a:pt x="7" y="0"/>
                    </a:moveTo>
                    <a:lnTo>
                      <a:pt x="18" y="9"/>
                    </a:lnTo>
                    <a:lnTo>
                      <a:pt x="25" y="18"/>
                    </a:lnTo>
                    <a:lnTo>
                      <a:pt x="28" y="22"/>
                    </a:lnTo>
                    <a:lnTo>
                      <a:pt x="31" y="26"/>
                    </a:lnTo>
                    <a:lnTo>
                      <a:pt x="32" y="31"/>
                    </a:lnTo>
                    <a:lnTo>
                      <a:pt x="33" y="35"/>
                    </a:lnTo>
                    <a:lnTo>
                      <a:pt x="33" y="46"/>
                    </a:lnTo>
                    <a:lnTo>
                      <a:pt x="31" y="58"/>
                    </a:lnTo>
                    <a:lnTo>
                      <a:pt x="28" y="71"/>
                    </a:lnTo>
                    <a:lnTo>
                      <a:pt x="24" y="88"/>
                    </a:lnTo>
                    <a:lnTo>
                      <a:pt x="23" y="86"/>
                    </a:lnTo>
                    <a:lnTo>
                      <a:pt x="18" y="81"/>
                    </a:lnTo>
                    <a:lnTo>
                      <a:pt x="12" y="72"/>
                    </a:lnTo>
                    <a:lnTo>
                      <a:pt x="7" y="62"/>
                    </a:lnTo>
                    <a:lnTo>
                      <a:pt x="4" y="56"/>
                    </a:lnTo>
                    <a:lnTo>
                      <a:pt x="2" y="49"/>
                    </a:lnTo>
                    <a:lnTo>
                      <a:pt x="0" y="41"/>
                    </a:lnTo>
                    <a:lnTo>
                      <a:pt x="0" y="34"/>
                    </a:lnTo>
                    <a:lnTo>
                      <a:pt x="0" y="26"/>
                    </a:lnTo>
                    <a:lnTo>
                      <a:pt x="1" y="18"/>
                    </a:lnTo>
                    <a:lnTo>
                      <a:pt x="3" y="9"/>
                    </a:lnTo>
                    <a:lnTo>
                      <a:pt x="7" y="0"/>
                    </a:lnTo>
                    <a:close/>
                  </a:path>
                </a:pathLst>
              </a:custGeom>
              <a:solidFill>
                <a:srgbClr val="008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15" name="Freeform 91"/>
              <p:cNvSpPr>
                <a:spLocks/>
              </p:cNvSpPr>
              <p:nvPr/>
            </p:nvSpPr>
            <p:spPr bwMode="auto">
              <a:xfrm>
                <a:off x="3577" y="1583"/>
                <a:ext cx="5" cy="12"/>
              </a:xfrm>
              <a:custGeom>
                <a:avLst/>
                <a:gdLst>
                  <a:gd name="T0" fmla="*/ 0 w 33"/>
                  <a:gd name="T1" fmla="*/ 0 h 89"/>
                  <a:gd name="T2" fmla="*/ 0 w 33"/>
                  <a:gd name="T3" fmla="*/ 0 h 89"/>
                  <a:gd name="T4" fmla="*/ 0 w 33"/>
                  <a:gd name="T5" fmla="*/ 0 h 89"/>
                  <a:gd name="T6" fmla="*/ 0 w 33"/>
                  <a:gd name="T7" fmla="*/ 0 h 89"/>
                  <a:gd name="T8" fmla="*/ 0 w 33"/>
                  <a:gd name="T9" fmla="*/ 0 h 89"/>
                  <a:gd name="T10" fmla="*/ 0 w 33"/>
                  <a:gd name="T11" fmla="*/ 0 h 89"/>
                  <a:gd name="T12" fmla="*/ 0 w 33"/>
                  <a:gd name="T13" fmla="*/ 0 h 89"/>
                  <a:gd name="T14" fmla="*/ 0 w 33"/>
                  <a:gd name="T15" fmla="*/ 0 h 89"/>
                  <a:gd name="T16" fmla="*/ 0 w 33"/>
                  <a:gd name="T17" fmla="*/ 0 h 89"/>
                  <a:gd name="T18" fmla="*/ 0 w 33"/>
                  <a:gd name="T19" fmla="*/ 0 h 89"/>
                  <a:gd name="T20" fmla="*/ 0 w 33"/>
                  <a:gd name="T21" fmla="*/ 0 h 89"/>
                  <a:gd name="T22" fmla="*/ 0 w 33"/>
                  <a:gd name="T23" fmla="*/ 0 h 89"/>
                  <a:gd name="T24" fmla="*/ 0 w 33"/>
                  <a:gd name="T25" fmla="*/ 0 h 89"/>
                  <a:gd name="T26" fmla="*/ 0 w 33"/>
                  <a:gd name="T27" fmla="*/ 0 h 89"/>
                  <a:gd name="T28" fmla="*/ 0 w 33"/>
                  <a:gd name="T29" fmla="*/ 0 h 89"/>
                  <a:gd name="T30" fmla="*/ 0 w 33"/>
                  <a:gd name="T31" fmla="*/ 0 h 89"/>
                  <a:gd name="T32" fmla="*/ 0 w 33"/>
                  <a:gd name="T33" fmla="*/ 0 h 89"/>
                  <a:gd name="T34" fmla="*/ 0 w 33"/>
                  <a:gd name="T35" fmla="*/ 0 h 89"/>
                  <a:gd name="T36" fmla="*/ 0 w 33"/>
                  <a:gd name="T37" fmla="*/ 0 h 89"/>
                  <a:gd name="T38" fmla="*/ 0 w 33"/>
                  <a:gd name="T39" fmla="*/ 0 h 89"/>
                  <a:gd name="T40" fmla="*/ 0 w 33"/>
                  <a:gd name="T41" fmla="*/ 0 h 89"/>
                  <a:gd name="T42" fmla="*/ 0 w 33"/>
                  <a:gd name="T43" fmla="*/ 0 h 89"/>
                  <a:gd name="T44" fmla="*/ 0 w 33"/>
                  <a:gd name="T45" fmla="*/ 0 h 8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33"/>
                  <a:gd name="T70" fmla="*/ 0 h 89"/>
                  <a:gd name="T71" fmla="*/ 33 w 33"/>
                  <a:gd name="T72" fmla="*/ 89 h 89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33" h="89">
                    <a:moveTo>
                      <a:pt x="13" y="0"/>
                    </a:moveTo>
                    <a:lnTo>
                      <a:pt x="22" y="11"/>
                    </a:lnTo>
                    <a:lnTo>
                      <a:pt x="29" y="20"/>
                    </a:lnTo>
                    <a:lnTo>
                      <a:pt x="31" y="25"/>
                    </a:lnTo>
                    <a:lnTo>
                      <a:pt x="32" y="29"/>
                    </a:lnTo>
                    <a:lnTo>
                      <a:pt x="33" y="34"/>
                    </a:lnTo>
                    <a:lnTo>
                      <a:pt x="33" y="39"/>
                    </a:lnTo>
                    <a:lnTo>
                      <a:pt x="32" y="49"/>
                    </a:lnTo>
                    <a:lnTo>
                      <a:pt x="29" y="60"/>
                    </a:lnTo>
                    <a:lnTo>
                      <a:pt x="23" y="74"/>
                    </a:lnTo>
                    <a:lnTo>
                      <a:pt x="17" y="89"/>
                    </a:lnTo>
                    <a:lnTo>
                      <a:pt x="16" y="87"/>
                    </a:lnTo>
                    <a:lnTo>
                      <a:pt x="12" y="81"/>
                    </a:lnTo>
                    <a:lnTo>
                      <a:pt x="8" y="72"/>
                    </a:lnTo>
                    <a:lnTo>
                      <a:pt x="4" y="60"/>
                    </a:lnTo>
                    <a:lnTo>
                      <a:pt x="2" y="53"/>
                    </a:lnTo>
                    <a:lnTo>
                      <a:pt x="1" y="47"/>
                    </a:lnTo>
                    <a:lnTo>
                      <a:pt x="0" y="40"/>
                    </a:lnTo>
                    <a:lnTo>
                      <a:pt x="1" y="31"/>
                    </a:lnTo>
                    <a:lnTo>
                      <a:pt x="2" y="24"/>
                    </a:lnTo>
                    <a:lnTo>
                      <a:pt x="4" y="16"/>
                    </a:lnTo>
                    <a:lnTo>
                      <a:pt x="8" y="9"/>
                    </a:lnTo>
                    <a:lnTo>
                      <a:pt x="13" y="0"/>
                    </a:lnTo>
                    <a:close/>
                  </a:path>
                </a:pathLst>
              </a:custGeom>
              <a:solidFill>
                <a:srgbClr val="008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16" name="Freeform 92"/>
              <p:cNvSpPr>
                <a:spLocks/>
              </p:cNvSpPr>
              <p:nvPr/>
            </p:nvSpPr>
            <p:spPr bwMode="auto">
              <a:xfrm>
                <a:off x="3643" y="1507"/>
                <a:ext cx="5" cy="12"/>
              </a:xfrm>
              <a:custGeom>
                <a:avLst/>
                <a:gdLst>
                  <a:gd name="T0" fmla="*/ 0 w 36"/>
                  <a:gd name="T1" fmla="*/ 0 h 83"/>
                  <a:gd name="T2" fmla="*/ 0 w 36"/>
                  <a:gd name="T3" fmla="*/ 0 h 83"/>
                  <a:gd name="T4" fmla="*/ 0 w 36"/>
                  <a:gd name="T5" fmla="*/ 0 h 83"/>
                  <a:gd name="T6" fmla="*/ 0 w 36"/>
                  <a:gd name="T7" fmla="*/ 0 h 83"/>
                  <a:gd name="T8" fmla="*/ 0 w 36"/>
                  <a:gd name="T9" fmla="*/ 0 h 83"/>
                  <a:gd name="T10" fmla="*/ 0 w 36"/>
                  <a:gd name="T11" fmla="*/ 0 h 83"/>
                  <a:gd name="T12" fmla="*/ 0 w 36"/>
                  <a:gd name="T13" fmla="*/ 0 h 83"/>
                  <a:gd name="T14" fmla="*/ 0 w 36"/>
                  <a:gd name="T15" fmla="*/ 0 h 83"/>
                  <a:gd name="T16" fmla="*/ 0 w 36"/>
                  <a:gd name="T17" fmla="*/ 0 h 83"/>
                  <a:gd name="T18" fmla="*/ 0 w 36"/>
                  <a:gd name="T19" fmla="*/ 0 h 83"/>
                  <a:gd name="T20" fmla="*/ 0 w 36"/>
                  <a:gd name="T21" fmla="*/ 0 h 83"/>
                  <a:gd name="T22" fmla="*/ 0 w 36"/>
                  <a:gd name="T23" fmla="*/ 0 h 83"/>
                  <a:gd name="T24" fmla="*/ 0 w 36"/>
                  <a:gd name="T25" fmla="*/ 0 h 83"/>
                  <a:gd name="T26" fmla="*/ 0 w 36"/>
                  <a:gd name="T27" fmla="*/ 0 h 83"/>
                  <a:gd name="T28" fmla="*/ 0 w 36"/>
                  <a:gd name="T29" fmla="*/ 0 h 83"/>
                  <a:gd name="T30" fmla="*/ 0 w 36"/>
                  <a:gd name="T31" fmla="*/ 0 h 83"/>
                  <a:gd name="T32" fmla="*/ 0 w 36"/>
                  <a:gd name="T33" fmla="*/ 0 h 83"/>
                  <a:gd name="T34" fmla="*/ 0 w 36"/>
                  <a:gd name="T35" fmla="*/ 0 h 83"/>
                  <a:gd name="T36" fmla="*/ 0 w 36"/>
                  <a:gd name="T37" fmla="*/ 0 h 83"/>
                  <a:gd name="T38" fmla="*/ 0 w 36"/>
                  <a:gd name="T39" fmla="*/ 0 h 83"/>
                  <a:gd name="T40" fmla="*/ 0 w 36"/>
                  <a:gd name="T41" fmla="*/ 0 h 83"/>
                  <a:gd name="T42" fmla="*/ 0 w 36"/>
                  <a:gd name="T43" fmla="*/ 0 h 83"/>
                  <a:gd name="T44" fmla="*/ 0 w 36"/>
                  <a:gd name="T45" fmla="*/ 0 h 83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36"/>
                  <a:gd name="T70" fmla="*/ 0 h 83"/>
                  <a:gd name="T71" fmla="*/ 36 w 36"/>
                  <a:gd name="T72" fmla="*/ 83 h 83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36" h="83">
                    <a:moveTo>
                      <a:pt x="25" y="0"/>
                    </a:moveTo>
                    <a:lnTo>
                      <a:pt x="31" y="12"/>
                    </a:lnTo>
                    <a:lnTo>
                      <a:pt x="36" y="23"/>
                    </a:lnTo>
                    <a:lnTo>
                      <a:pt x="36" y="28"/>
                    </a:lnTo>
                    <a:lnTo>
                      <a:pt x="36" y="32"/>
                    </a:lnTo>
                    <a:lnTo>
                      <a:pt x="36" y="37"/>
                    </a:lnTo>
                    <a:lnTo>
                      <a:pt x="35" y="41"/>
                    </a:lnTo>
                    <a:lnTo>
                      <a:pt x="30" y="50"/>
                    </a:lnTo>
                    <a:lnTo>
                      <a:pt x="24" y="59"/>
                    </a:lnTo>
                    <a:lnTo>
                      <a:pt x="16" y="70"/>
                    </a:lnTo>
                    <a:lnTo>
                      <a:pt x="7" y="83"/>
                    </a:lnTo>
                    <a:lnTo>
                      <a:pt x="6" y="80"/>
                    </a:lnTo>
                    <a:lnTo>
                      <a:pt x="4" y="73"/>
                    </a:lnTo>
                    <a:lnTo>
                      <a:pt x="2" y="64"/>
                    </a:lnTo>
                    <a:lnTo>
                      <a:pt x="0" y="52"/>
                    </a:lnTo>
                    <a:lnTo>
                      <a:pt x="0" y="44"/>
                    </a:lnTo>
                    <a:lnTo>
                      <a:pt x="2" y="38"/>
                    </a:lnTo>
                    <a:lnTo>
                      <a:pt x="4" y="31"/>
                    </a:lnTo>
                    <a:lnTo>
                      <a:pt x="6" y="24"/>
                    </a:lnTo>
                    <a:lnTo>
                      <a:pt x="9" y="18"/>
                    </a:lnTo>
                    <a:lnTo>
                      <a:pt x="13" y="11"/>
                    </a:lnTo>
                    <a:lnTo>
                      <a:pt x="19" y="5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8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17" name="Freeform 93"/>
              <p:cNvSpPr>
                <a:spLocks/>
              </p:cNvSpPr>
              <p:nvPr/>
            </p:nvSpPr>
            <p:spPr bwMode="auto">
              <a:xfrm>
                <a:off x="3605" y="1621"/>
                <a:ext cx="12" cy="7"/>
              </a:xfrm>
              <a:custGeom>
                <a:avLst/>
                <a:gdLst>
                  <a:gd name="T0" fmla="*/ 0 w 79"/>
                  <a:gd name="T1" fmla="*/ 0 h 53"/>
                  <a:gd name="T2" fmla="*/ 0 w 79"/>
                  <a:gd name="T3" fmla="*/ 0 h 53"/>
                  <a:gd name="T4" fmla="*/ 0 w 79"/>
                  <a:gd name="T5" fmla="*/ 0 h 53"/>
                  <a:gd name="T6" fmla="*/ 0 w 79"/>
                  <a:gd name="T7" fmla="*/ 0 h 53"/>
                  <a:gd name="T8" fmla="*/ 0 w 79"/>
                  <a:gd name="T9" fmla="*/ 0 h 53"/>
                  <a:gd name="T10" fmla="*/ 0 w 79"/>
                  <a:gd name="T11" fmla="*/ 0 h 53"/>
                  <a:gd name="T12" fmla="*/ 0 w 79"/>
                  <a:gd name="T13" fmla="*/ 0 h 53"/>
                  <a:gd name="T14" fmla="*/ 0 w 79"/>
                  <a:gd name="T15" fmla="*/ 0 h 53"/>
                  <a:gd name="T16" fmla="*/ 0 w 79"/>
                  <a:gd name="T17" fmla="*/ 0 h 53"/>
                  <a:gd name="T18" fmla="*/ 0 w 79"/>
                  <a:gd name="T19" fmla="*/ 0 h 53"/>
                  <a:gd name="T20" fmla="*/ 0 w 79"/>
                  <a:gd name="T21" fmla="*/ 0 h 53"/>
                  <a:gd name="T22" fmla="*/ 0 w 79"/>
                  <a:gd name="T23" fmla="*/ 0 h 53"/>
                  <a:gd name="T24" fmla="*/ 0 w 79"/>
                  <a:gd name="T25" fmla="*/ 0 h 53"/>
                  <a:gd name="T26" fmla="*/ 0 w 79"/>
                  <a:gd name="T27" fmla="*/ 0 h 53"/>
                  <a:gd name="T28" fmla="*/ 0 w 79"/>
                  <a:gd name="T29" fmla="*/ 0 h 53"/>
                  <a:gd name="T30" fmla="*/ 0 w 79"/>
                  <a:gd name="T31" fmla="*/ 0 h 53"/>
                  <a:gd name="T32" fmla="*/ 0 w 79"/>
                  <a:gd name="T33" fmla="*/ 0 h 53"/>
                  <a:gd name="T34" fmla="*/ 0 w 79"/>
                  <a:gd name="T35" fmla="*/ 0 h 53"/>
                  <a:gd name="T36" fmla="*/ 0 w 79"/>
                  <a:gd name="T37" fmla="*/ 0 h 53"/>
                  <a:gd name="T38" fmla="*/ 0 w 79"/>
                  <a:gd name="T39" fmla="*/ 0 h 53"/>
                  <a:gd name="T40" fmla="*/ 0 w 79"/>
                  <a:gd name="T41" fmla="*/ 0 h 53"/>
                  <a:gd name="T42" fmla="*/ 0 w 79"/>
                  <a:gd name="T43" fmla="*/ 0 h 53"/>
                  <a:gd name="T44" fmla="*/ 0 w 79"/>
                  <a:gd name="T45" fmla="*/ 0 h 53"/>
                  <a:gd name="T46" fmla="*/ 0 w 79"/>
                  <a:gd name="T47" fmla="*/ 0 h 53"/>
                  <a:gd name="T48" fmla="*/ 0 w 79"/>
                  <a:gd name="T49" fmla="*/ 0 h 53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79"/>
                  <a:gd name="T76" fmla="*/ 0 h 53"/>
                  <a:gd name="T77" fmla="*/ 79 w 79"/>
                  <a:gd name="T78" fmla="*/ 53 h 53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79" h="53">
                    <a:moveTo>
                      <a:pt x="0" y="51"/>
                    </a:moveTo>
                    <a:lnTo>
                      <a:pt x="1" y="42"/>
                    </a:lnTo>
                    <a:lnTo>
                      <a:pt x="4" y="35"/>
                    </a:lnTo>
                    <a:lnTo>
                      <a:pt x="6" y="29"/>
                    </a:lnTo>
                    <a:lnTo>
                      <a:pt x="9" y="24"/>
                    </a:lnTo>
                    <a:lnTo>
                      <a:pt x="12" y="20"/>
                    </a:lnTo>
                    <a:lnTo>
                      <a:pt x="15" y="16"/>
                    </a:lnTo>
                    <a:lnTo>
                      <a:pt x="20" y="12"/>
                    </a:lnTo>
                    <a:lnTo>
                      <a:pt x="24" y="10"/>
                    </a:lnTo>
                    <a:lnTo>
                      <a:pt x="34" y="6"/>
                    </a:lnTo>
                    <a:lnTo>
                      <a:pt x="46" y="4"/>
                    </a:lnTo>
                    <a:lnTo>
                      <a:pt x="61" y="2"/>
                    </a:lnTo>
                    <a:lnTo>
                      <a:pt x="79" y="0"/>
                    </a:lnTo>
                    <a:lnTo>
                      <a:pt x="76" y="3"/>
                    </a:lnTo>
                    <a:lnTo>
                      <a:pt x="73" y="10"/>
                    </a:lnTo>
                    <a:lnTo>
                      <a:pt x="67" y="20"/>
                    </a:lnTo>
                    <a:lnTo>
                      <a:pt x="59" y="30"/>
                    </a:lnTo>
                    <a:lnTo>
                      <a:pt x="54" y="35"/>
                    </a:lnTo>
                    <a:lnTo>
                      <a:pt x="49" y="40"/>
                    </a:lnTo>
                    <a:lnTo>
                      <a:pt x="41" y="45"/>
                    </a:lnTo>
                    <a:lnTo>
                      <a:pt x="35" y="49"/>
                    </a:lnTo>
                    <a:lnTo>
                      <a:pt x="27" y="51"/>
                    </a:lnTo>
                    <a:lnTo>
                      <a:pt x="19" y="53"/>
                    </a:lnTo>
                    <a:lnTo>
                      <a:pt x="9" y="53"/>
                    </a:lnTo>
                    <a:lnTo>
                      <a:pt x="0" y="51"/>
                    </a:lnTo>
                    <a:close/>
                  </a:path>
                </a:pathLst>
              </a:custGeom>
              <a:solidFill>
                <a:srgbClr val="008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18" name="Freeform 94"/>
              <p:cNvSpPr>
                <a:spLocks/>
              </p:cNvSpPr>
              <p:nvPr/>
            </p:nvSpPr>
            <p:spPr bwMode="auto">
              <a:xfrm>
                <a:off x="3616" y="1621"/>
                <a:ext cx="11" cy="6"/>
              </a:xfrm>
              <a:custGeom>
                <a:avLst/>
                <a:gdLst>
                  <a:gd name="T0" fmla="*/ 0 w 76"/>
                  <a:gd name="T1" fmla="*/ 0 h 39"/>
                  <a:gd name="T2" fmla="*/ 0 w 76"/>
                  <a:gd name="T3" fmla="*/ 0 h 39"/>
                  <a:gd name="T4" fmla="*/ 0 w 76"/>
                  <a:gd name="T5" fmla="*/ 0 h 39"/>
                  <a:gd name="T6" fmla="*/ 0 w 76"/>
                  <a:gd name="T7" fmla="*/ 0 h 39"/>
                  <a:gd name="T8" fmla="*/ 0 w 76"/>
                  <a:gd name="T9" fmla="*/ 0 h 39"/>
                  <a:gd name="T10" fmla="*/ 0 w 76"/>
                  <a:gd name="T11" fmla="*/ 0 h 39"/>
                  <a:gd name="T12" fmla="*/ 0 w 76"/>
                  <a:gd name="T13" fmla="*/ 0 h 39"/>
                  <a:gd name="T14" fmla="*/ 0 w 76"/>
                  <a:gd name="T15" fmla="*/ 0 h 39"/>
                  <a:gd name="T16" fmla="*/ 0 w 76"/>
                  <a:gd name="T17" fmla="*/ 0 h 39"/>
                  <a:gd name="T18" fmla="*/ 0 w 76"/>
                  <a:gd name="T19" fmla="*/ 0 h 39"/>
                  <a:gd name="T20" fmla="*/ 0 w 76"/>
                  <a:gd name="T21" fmla="*/ 0 h 39"/>
                  <a:gd name="T22" fmla="*/ 0 w 76"/>
                  <a:gd name="T23" fmla="*/ 0 h 39"/>
                  <a:gd name="T24" fmla="*/ 0 w 76"/>
                  <a:gd name="T25" fmla="*/ 0 h 39"/>
                  <a:gd name="T26" fmla="*/ 0 w 76"/>
                  <a:gd name="T27" fmla="*/ 0 h 39"/>
                  <a:gd name="T28" fmla="*/ 0 w 76"/>
                  <a:gd name="T29" fmla="*/ 0 h 39"/>
                  <a:gd name="T30" fmla="*/ 0 w 76"/>
                  <a:gd name="T31" fmla="*/ 0 h 39"/>
                  <a:gd name="T32" fmla="*/ 0 w 76"/>
                  <a:gd name="T33" fmla="*/ 0 h 39"/>
                  <a:gd name="T34" fmla="*/ 0 w 76"/>
                  <a:gd name="T35" fmla="*/ 0 h 39"/>
                  <a:gd name="T36" fmla="*/ 0 w 76"/>
                  <a:gd name="T37" fmla="*/ 0 h 39"/>
                  <a:gd name="T38" fmla="*/ 0 w 76"/>
                  <a:gd name="T39" fmla="*/ 0 h 39"/>
                  <a:gd name="T40" fmla="*/ 0 w 76"/>
                  <a:gd name="T41" fmla="*/ 0 h 39"/>
                  <a:gd name="T42" fmla="*/ 0 w 76"/>
                  <a:gd name="T43" fmla="*/ 0 h 39"/>
                  <a:gd name="T44" fmla="*/ 0 w 76"/>
                  <a:gd name="T45" fmla="*/ 0 h 3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76"/>
                  <a:gd name="T70" fmla="*/ 0 h 39"/>
                  <a:gd name="T71" fmla="*/ 76 w 76"/>
                  <a:gd name="T72" fmla="*/ 39 h 39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76" h="39">
                    <a:moveTo>
                      <a:pt x="76" y="30"/>
                    </a:moveTo>
                    <a:lnTo>
                      <a:pt x="63" y="35"/>
                    </a:lnTo>
                    <a:lnTo>
                      <a:pt x="54" y="39"/>
                    </a:lnTo>
                    <a:lnTo>
                      <a:pt x="50" y="39"/>
                    </a:lnTo>
                    <a:lnTo>
                      <a:pt x="45" y="39"/>
                    </a:lnTo>
                    <a:lnTo>
                      <a:pt x="42" y="37"/>
                    </a:lnTo>
                    <a:lnTo>
                      <a:pt x="38" y="36"/>
                    </a:lnTo>
                    <a:lnTo>
                      <a:pt x="29" y="31"/>
                    </a:lnTo>
                    <a:lnTo>
                      <a:pt x="21" y="24"/>
                    </a:lnTo>
                    <a:lnTo>
                      <a:pt x="12" y="15"/>
                    </a:lnTo>
                    <a:lnTo>
                      <a:pt x="0" y="4"/>
                    </a:lnTo>
                    <a:lnTo>
                      <a:pt x="2" y="3"/>
                    </a:lnTo>
                    <a:lnTo>
                      <a:pt x="9" y="2"/>
                    </a:lnTo>
                    <a:lnTo>
                      <a:pt x="18" y="1"/>
                    </a:lnTo>
                    <a:lnTo>
                      <a:pt x="29" y="0"/>
                    </a:lnTo>
                    <a:lnTo>
                      <a:pt x="36" y="1"/>
                    </a:lnTo>
                    <a:lnTo>
                      <a:pt x="42" y="2"/>
                    </a:lnTo>
                    <a:lnTo>
                      <a:pt x="48" y="4"/>
                    </a:lnTo>
                    <a:lnTo>
                      <a:pt x="54" y="7"/>
                    </a:lnTo>
                    <a:lnTo>
                      <a:pt x="59" y="12"/>
                    </a:lnTo>
                    <a:lnTo>
                      <a:pt x="66" y="16"/>
                    </a:lnTo>
                    <a:lnTo>
                      <a:pt x="71" y="22"/>
                    </a:lnTo>
                    <a:lnTo>
                      <a:pt x="76" y="30"/>
                    </a:lnTo>
                    <a:close/>
                  </a:path>
                </a:pathLst>
              </a:custGeom>
              <a:solidFill>
                <a:srgbClr val="008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19" name="Freeform 95"/>
              <p:cNvSpPr>
                <a:spLocks/>
              </p:cNvSpPr>
              <p:nvPr/>
            </p:nvSpPr>
            <p:spPr bwMode="auto">
              <a:xfrm>
                <a:off x="3624" y="1584"/>
                <a:ext cx="27" cy="31"/>
              </a:xfrm>
              <a:custGeom>
                <a:avLst/>
                <a:gdLst>
                  <a:gd name="T0" fmla="*/ 0 w 192"/>
                  <a:gd name="T1" fmla="*/ 0 h 216"/>
                  <a:gd name="T2" fmla="*/ 0 w 192"/>
                  <a:gd name="T3" fmla="*/ 0 h 216"/>
                  <a:gd name="T4" fmla="*/ 0 w 192"/>
                  <a:gd name="T5" fmla="*/ 0 h 216"/>
                  <a:gd name="T6" fmla="*/ 0 w 192"/>
                  <a:gd name="T7" fmla="*/ 0 h 216"/>
                  <a:gd name="T8" fmla="*/ 0 w 192"/>
                  <a:gd name="T9" fmla="*/ 0 h 216"/>
                  <a:gd name="T10" fmla="*/ 0 w 192"/>
                  <a:gd name="T11" fmla="*/ 0 h 216"/>
                  <a:gd name="T12" fmla="*/ 0 w 192"/>
                  <a:gd name="T13" fmla="*/ 0 h 216"/>
                  <a:gd name="T14" fmla="*/ 0 w 192"/>
                  <a:gd name="T15" fmla="*/ 0 h 216"/>
                  <a:gd name="T16" fmla="*/ 0 w 192"/>
                  <a:gd name="T17" fmla="*/ 0 h 216"/>
                  <a:gd name="T18" fmla="*/ 0 w 192"/>
                  <a:gd name="T19" fmla="*/ 0 h 216"/>
                  <a:gd name="T20" fmla="*/ 0 w 192"/>
                  <a:gd name="T21" fmla="*/ 0 h 216"/>
                  <a:gd name="T22" fmla="*/ 0 w 192"/>
                  <a:gd name="T23" fmla="*/ 0 h 216"/>
                  <a:gd name="T24" fmla="*/ 0 w 192"/>
                  <a:gd name="T25" fmla="*/ 0 h 216"/>
                  <a:gd name="T26" fmla="*/ 0 w 192"/>
                  <a:gd name="T27" fmla="*/ 0 h 216"/>
                  <a:gd name="T28" fmla="*/ 0 w 192"/>
                  <a:gd name="T29" fmla="*/ 0 h 216"/>
                  <a:gd name="T30" fmla="*/ 0 w 192"/>
                  <a:gd name="T31" fmla="*/ 0 h 216"/>
                  <a:gd name="T32" fmla="*/ 0 w 192"/>
                  <a:gd name="T33" fmla="*/ 0 h 216"/>
                  <a:gd name="T34" fmla="*/ 0 w 192"/>
                  <a:gd name="T35" fmla="*/ 0 h 216"/>
                  <a:gd name="T36" fmla="*/ 0 w 192"/>
                  <a:gd name="T37" fmla="*/ 0 h 216"/>
                  <a:gd name="T38" fmla="*/ 0 w 192"/>
                  <a:gd name="T39" fmla="*/ 0 h 216"/>
                  <a:gd name="T40" fmla="*/ 0 w 192"/>
                  <a:gd name="T41" fmla="*/ 0 h 216"/>
                  <a:gd name="T42" fmla="*/ 0 w 192"/>
                  <a:gd name="T43" fmla="*/ 0 h 216"/>
                  <a:gd name="T44" fmla="*/ 0 w 192"/>
                  <a:gd name="T45" fmla="*/ 0 h 216"/>
                  <a:gd name="T46" fmla="*/ 0 w 192"/>
                  <a:gd name="T47" fmla="*/ 0 h 216"/>
                  <a:gd name="T48" fmla="*/ 0 w 192"/>
                  <a:gd name="T49" fmla="*/ 0 h 216"/>
                  <a:gd name="T50" fmla="*/ 0 w 192"/>
                  <a:gd name="T51" fmla="*/ 0 h 216"/>
                  <a:gd name="T52" fmla="*/ 0 w 192"/>
                  <a:gd name="T53" fmla="*/ 0 h 216"/>
                  <a:gd name="T54" fmla="*/ 0 w 192"/>
                  <a:gd name="T55" fmla="*/ 0 h 216"/>
                  <a:gd name="T56" fmla="*/ 0 w 192"/>
                  <a:gd name="T57" fmla="*/ 0 h 216"/>
                  <a:gd name="T58" fmla="*/ 0 w 192"/>
                  <a:gd name="T59" fmla="*/ 0 h 216"/>
                  <a:gd name="T60" fmla="*/ 0 w 192"/>
                  <a:gd name="T61" fmla="*/ 0 h 216"/>
                  <a:gd name="T62" fmla="*/ 0 w 192"/>
                  <a:gd name="T63" fmla="*/ 0 h 216"/>
                  <a:gd name="T64" fmla="*/ 0 w 192"/>
                  <a:gd name="T65" fmla="*/ 0 h 216"/>
                  <a:gd name="T66" fmla="*/ 0 w 192"/>
                  <a:gd name="T67" fmla="*/ 0 h 216"/>
                  <a:gd name="T68" fmla="*/ 0 w 192"/>
                  <a:gd name="T69" fmla="*/ 0 h 216"/>
                  <a:gd name="T70" fmla="*/ 0 w 192"/>
                  <a:gd name="T71" fmla="*/ 0 h 216"/>
                  <a:gd name="T72" fmla="*/ 0 w 192"/>
                  <a:gd name="T73" fmla="*/ 0 h 216"/>
                  <a:gd name="T74" fmla="*/ 0 w 192"/>
                  <a:gd name="T75" fmla="*/ 0 h 216"/>
                  <a:gd name="T76" fmla="*/ 0 w 192"/>
                  <a:gd name="T77" fmla="*/ 0 h 216"/>
                  <a:gd name="T78" fmla="*/ 0 w 192"/>
                  <a:gd name="T79" fmla="*/ 0 h 216"/>
                  <a:gd name="T80" fmla="*/ 0 w 192"/>
                  <a:gd name="T81" fmla="*/ 0 h 216"/>
                  <a:gd name="T82" fmla="*/ 0 w 192"/>
                  <a:gd name="T83" fmla="*/ 0 h 216"/>
                  <a:gd name="T84" fmla="*/ 0 w 192"/>
                  <a:gd name="T85" fmla="*/ 0 h 216"/>
                  <a:gd name="T86" fmla="*/ 0 w 192"/>
                  <a:gd name="T87" fmla="*/ 0 h 216"/>
                  <a:gd name="T88" fmla="*/ 0 w 192"/>
                  <a:gd name="T89" fmla="*/ 0 h 216"/>
                  <a:gd name="T90" fmla="*/ 0 w 192"/>
                  <a:gd name="T91" fmla="*/ 0 h 216"/>
                  <a:gd name="T92" fmla="*/ 0 w 192"/>
                  <a:gd name="T93" fmla="*/ 0 h 216"/>
                  <a:gd name="T94" fmla="*/ 0 w 192"/>
                  <a:gd name="T95" fmla="*/ 0 h 21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192"/>
                  <a:gd name="T145" fmla="*/ 0 h 216"/>
                  <a:gd name="T146" fmla="*/ 192 w 192"/>
                  <a:gd name="T147" fmla="*/ 216 h 21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192" h="216">
                    <a:moveTo>
                      <a:pt x="111" y="77"/>
                    </a:moveTo>
                    <a:lnTo>
                      <a:pt x="99" y="68"/>
                    </a:lnTo>
                    <a:lnTo>
                      <a:pt x="90" y="58"/>
                    </a:lnTo>
                    <a:lnTo>
                      <a:pt x="84" y="50"/>
                    </a:lnTo>
                    <a:lnTo>
                      <a:pt x="80" y="42"/>
                    </a:lnTo>
                    <a:lnTo>
                      <a:pt x="77" y="35"/>
                    </a:lnTo>
                    <a:lnTo>
                      <a:pt x="76" y="28"/>
                    </a:lnTo>
                    <a:lnTo>
                      <a:pt x="77" y="22"/>
                    </a:lnTo>
                    <a:lnTo>
                      <a:pt x="80" y="17"/>
                    </a:lnTo>
                    <a:lnTo>
                      <a:pt x="83" y="13"/>
                    </a:lnTo>
                    <a:lnTo>
                      <a:pt x="88" y="9"/>
                    </a:lnTo>
                    <a:lnTo>
                      <a:pt x="93" y="6"/>
                    </a:lnTo>
                    <a:lnTo>
                      <a:pt x="100" y="3"/>
                    </a:lnTo>
                    <a:lnTo>
                      <a:pt x="107" y="2"/>
                    </a:lnTo>
                    <a:lnTo>
                      <a:pt x="115" y="0"/>
                    </a:lnTo>
                    <a:lnTo>
                      <a:pt x="122" y="0"/>
                    </a:lnTo>
                    <a:lnTo>
                      <a:pt x="130" y="0"/>
                    </a:lnTo>
                    <a:lnTo>
                      <a:pt x="139" y="1"/>
                    </a:lnTo>
                    <a:lnTo>
                      <a:pt x="147" y="2"/>
                    </a:lnTo>
                    <a:lnTo>
                      <a:pt x="154" y="5"/>
                    </a:lnTo>
                    <a:lnTo>
                      <a:pt x="160" y="7"/>
                    </a:lnTo>
                    <a:lnTo>
                      <a:pt x="167" y="11"/>
                    </a:lnTo>
                    <a:lnTo>
                      <a:pt x="173" y="15"/>
                    </a:lnTo>
                    <a:lnTo>
                      <a:pt x="177" y="20"/>
                    </a:lnTo>
                    <a:lnTo>
                      <a:pt x="180" y="26"/>
                    </a:lnTo>
                    <a:lnTo>
                      <a:pt x="182" y="33"/>
                    </a:lnTo>
                    <a:lnTo>
                      <a:pt x="182" y="41"/>
                    </a:lnTo>
                    <a:lnTo>
                      <a:pt x="180" y="48"/>
                    </a:lnTo>
                    <a:lnTo>
                      <a:pt x="177" y="57"/>
                    </a:lnTo>
                    <a:lnTo>
                      <a:pt x="172" y="67"/>
                    </a:lnTo>
                    <a:lnTo>
                      <a:pt x="165" y="78"/>
                    </a:lnTo>
                    <a:lnTo>
                      <a:pt x="155" y="88"/>
                    </a:lnTo>
                    <a:lnTo>
                      <a:pt x="143" y="101"/>
                    </a:lnTo>
                    <a:lnTo>
                      <a:pt x="153" y="107"/>
                    </a:lnTo>
                    <a:lnTo>
                      <a:pt x="162" y="113"/>
                    </a:lnTo>
                    <a:lnTo>
                      <a:pt x="171" y="121"/>
                    </a:lnTo>
                    <a:lnTo>
                      <a:pt x="177" y="127"/>
                    </a:lnTo>
                    <a:lnTo>
                      <a:pt x="182" y="134"/>
                    </a:lnTo>
                    <a:lnTo>
                      <a:pt x="186" y="140"/>
                    </a:lnTo>
                    <a:lnTo>
                      <a:pt x="189" y="147"/>
                    </a:lnTo>
                    <a:lnTo>
                      <a:pt x="191" y="155"/>
                    </a:lnTo>
                    <a:lnTo>
                      <a:pt x="192" y="161"/>
                    </a:lnTo>
                    <a:lnTo>
                      <a:pt x="192" y="168"/>
                    </a:lnTo>
                    <a:lnTo>
                      <a:pt x="191" y="174"/>
                    </a:lnTo>
                    <a:lnTo>
                      <a:pt x="190" y="180"/>
                    </a:lnTo>
                    <a:lnTo>
                      <a:pt x="188" y="187"/>
                    </a:lnTo>
                    <a:lnTo>
                      <a:pt x="185" y="192"/>
                    </a:lnTo>
                    <a:lnTo>
                      <a:pt x="182" y="197"/>
                    </a:lnTo>
                    <a:lnTo>
                      <a:pt x="178" y="201"/>
                    </a:lnTo>
                    <a:lnTo>
                      <a:pt x="174" y="205"/>
                    </a:lnTo>
                    <a:lnTo>
                      <a:pt x="169" y="209"/>
                    </a:lnTo>
                    <a:lnTo>
                      <a:pt x="163" y="212"/>
                    </a:lnTo>
                    <a:lnTo>
                      <a:pt x="158" y="214"/>
                    </a:lnTo>
                    <a:lnTo>
                      <a:pt x="153" y="216"/>
                    </a:lnTo>
                    <a:lnTo>
                      <a:pt x="147" y="216"/>
                    </a:lnTo>
                    <a:lnTo>
                      <a:pt x="142" y="216"/>
                    </a:lnTo>
                    <a:lnTo>
                      <a:pt x="136" y="215"/>
                    </a:lnTo>
                    <a:lnTo>
                      <a:pt x="130" y="213"/>
                    </a:lnTo>
                    <a:lnTo>
                      <a:pt x="125" y="209"/>
                    </a:lnTo>
                    <a:lnTo>
                      <a:pt x="120" y="204"/>
                    </a:lnTo>
                    <a:lnTo>
                      <a:pt x="115" y="199"/>
                    </a:lnTo>
                    <a:lnTo>
                      <a:pt x="110" y="193"/>
                    </a:lnTo>
                    <a:lnTo>
                      <a:pt x="106" y="185"/>
                    </a:lnTo>
                    <a:lnTo>
                      <a:pt x="103" y="175"/>
                    </a:lnTo>
                    <a:lnTo>
                      <a:pt x="98" y="165"/>
                    </a:lnTo>
                    <a:lnTo>
                      <a:pt x="89" y="173"/>
                    </a:lnTo>
                    <a:lnTo>
                      <a:pt x="80" y="179"/>
                    </a:lnTo>
                    <a:lnTo>
                      <a:pt x="70" y="185"/>
                    </a:lnTo>
                    <a:lnTo>
                      <a:pt x="62" y="188"/>
                    </a:lnTo>
                    <a:lnTo>
                      <a:pt x="53" y="189"/>
                    </a:lnTo>
                    <a:lnTo>
                      <a:pt x="46" y="189"/>
                    </a:lnTo>
                    <a:lnTo>
                      <a:pt x="38" y="188"/>
                    </a:lnTo>
                    <a:lnTo>
                      <a:pt x="31" y="186"/>
                    </a:lnTo>
                    <a:lnTo>
                      <a:pt x="25" y="183"/>
                    </a:lnTo>
                    <a:lnTo>
                      <a:pt x="20" y="178"/>
                    </a:lnTo>
                    <a:lnTo>
                      <a:pt x="15" y="173"/>
                    </a:lnTo>
                    <a:lnTo>
                      <a:pt x="11" y="168"/>
                    </a:lnTo>
                    <a:lnTo>
                      <a:pt x="7" y="161"/>
                    </a:lnTo>
                    <a:lnTo>
                      <a:pt x="4" y="155"/>
                    </a:lnTo>
                    <a:lnTo>
                      <a:pt x="2" y="147"/>
                    </a:lnTo>
                    <a:lnTo>
                      <a:pt x="1" y="140"/>
                    </a:lnTo>
                    <a:lnTo>
                      <a:pt x="0" y="132"/>
                    </a:lnTo>
                    <a:lnTo>
                      <a:pt x="0" y="125"/>
                    </a:lnTo>
                    <a:lnTo>
                      <a:pt x="1" y="117"/>
                    </a:lnTo>
                    <a:lnTo>
                      <a:pt x="3" y="110"/>
                    </a:lnTo>
                    <a:lnTo>
                      <a:pt x="6" y="103"/>
                    </a:lnTo>
                    <a:lnTo>
                      <a:pt x="11" y="96"/>
                    </a:lnTo>
                    <a:lnTo>
                      <a:pt x="16" y="91"/>
                    </a:lnTo>
                    <a:lnTo>
                      <a:pt x="22" y="84"/>
                    </a:lnTo>
                    <a:lnTo>
                      <a:pt x="29" y="80"/>
                    </a:lnTo>
                    <a:lnTo>
                      <a:pt x="36" y="76"/>
                    </a:lnTo>
                    <a:lnTo>
                      <a:pt x="46" y="73"/>
                    </a:lnTo>
                    <a:lnTo>
                      <a:pt x="57" y="71"/>
                    </a:lnTo>
                    <a:lnTo>
                      <a:pt x="68" y="71"/>
                    </a:lnTo>
                    <a:lnTo>
                      <a:pt x="81" y="71"/>
                    </a:lnTo>
                    <a:lnTo>
                      <a:pt x="95" y="73"/>
                    </a:lnTo>
                    <a:lnTo>
                      <a:pt x="111" y="77"/>
                    </a:lnTo>
                    <a:close/>
                  </a:path>
                </a:pathLst>
              </a:custGeom>
              <a:solidFill>
                <a:srgbClr val="BF3B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20" name="Freeform 96"/>
              <p:cNvSpPr>
                <a:spLocks/>
              </p:cNvSpPr>
              <p:nvPr/>
            </p:nvSpPr>
            <p:spPr bwMode="auto">
              <a:xfrm>
                <a:off x="3641" y="1493"/>
                <a:ext cx="6" cy="7"/>
              </a:xfrm>
              <a:custGeom>
                <a:avLst/>
                <a:gdLst>
                  <a:gd name="T0" fmla="*/ 0 w 45"/>
                  <a:gd name="T1" fmla="*/ 0 h 50"/>
                  <a:gd name="T2" fmla="*/ 0 w 45"/>
                  <a:gd name="T3" fmla="*/ 0 h 50"/>
                  <a:gd name="T4" fmla="*/ 0 w 45"/>
                  <a:gd name="T5" fmla="*/ 0 h 50"/>
                  <a:gd name="T6" fmla="*/ 0 w 45"/>
                  <a:gd name="T7" fmla="*/ 0 h 50"/>
                  <a:gd name="T8" fmla="*/ 0 w 45"/>
                  <a:gd name="T9" fmla="*/ 0 h 50"/>
                  <a:gd name="T10" fmla="*/ 0 w 45"/>
                  <a:gd name="T11" fmla="*/ 0 h 50"/>
                  <a:gd name="T12" fmla="*/ 0 w 45"/>
                  <a:gd name="T13" fmla="*/ 0 h 50"/>
                  <a:gd name="T14" fmla="*/ 0 w 45"/>
                  <a:gd name="T15" fmla="*/ 0 h 50"/>
                  <a:gd name="T16" fmla="*/ 0 w 45"/>
                  <a:gd name="T17" fmla="*/ 0 h 50"/>
                  <a:gd name="T18" fmla="*/ 0 w 45"/>
                  <a:gd name="T19" fmla="*/ 0 h 50"/>
                  <a:gd name="T20" fmla="*/ 0 w 45"/>
                  <a:gd name="T21" fmla="*/ 0 h 50"/>
                  <a:gd name="T22" fmla="*/ 0 w 45"/>
                  <a:gd name="T23" fmla="*/ 0 h 50"/>
                  <a:gd name="T24" fmla="*/ 0 w 45"/>
                  <a:gd name="T25" fmla="*/ 0 h 50"/>
                  <a:gd name="T26" fmla="*/ 0 w 45"/>
                  <a:gd name="T27" fmla="*/ 0 h 50"/>
                  <a:gd name="T28" fmla="*/ 0 w 45"/>
                  <a:gd name="T29" fmla="*/ 0 h 50"/>
                  <a:gd name="T30" fmla="*/ 0 w 45"/>
                  <a:gd name="T31" fmla="*/ 0 h 50"/>
                  <a:gd name="T32" fmla="*/ 0 w 45"/>
                  <a:gd name="T33" fmla="*/ 0 h 50"/>
                  <a:gd name="T34" fmla="*/ 0 w 45"/>
                  <a:gd name="T35" fmla="*/ 0 h 50"/>
                  <a:gd name="T36" fmla="*/ 0 w 45"/>
                  <a:gd name="T37" fmla="*/ 0 h 50"/>
                  <a:gd name="T38" fmla="*/ 0 w 45"/>
                  <a:gd name="T39" fmla="*/ 0 h 50"/>
                  <a:gd name="T40" fmla="*/ 0 w 45"/>
                  <a:gd name="T41" fmla="*/ 0 h 50"/>
                  <a:gd name="T42" fmla="*/ 0 w 45"/>
                  <a:gd name="T43" fmla="*/ 0 h 50"/>
                  <a:gd name="T44" fmla="*/ 0 w 45"/>
                  <a:gd name="T45" fmla="*/ 0 h 50"/>
                  <a:gd name="T46" fmla="*/ 0 w 45"/>
                  <a:gd name="T47" fmla="*/ 0 h 50"/>
                  <a:gd name="T48" fmla="*/ 0 w 45"/>
                  <a:gd name="T49" fmla="*/ 0 h 50"/>
                  <a:gd name="T50" fmla="*/ 0 w 45"/>
                  <a:gd name="T51" fmla="*/ 0 h 50"/>
                  <a:gd name="T52" fmla="*/ 0 w 45"/>
                  <a:gd name="T53" fmla="*/ 0 h 50"/>
                  <a:gd name="T54" fmla="*/ 0 w 45"/>
                  <a:gd name="T55" fmla="*/ 0 h 50"/>
                  <a:gd name="T56" fmla="*/ 0 w 45"/>
                  <a:gd name="T57" fmla="*/ 0 h 50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45"/>
                  <a:gd name="T88" fmla="*/ 0 h 50"/>
                  <a:gd name="T89" fmla="*/ 45 w 45"/>
                  <a:gd name="T90" fmla="*/ 50 h 50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45" h="50">
                    <a:moveTo>
                      <a:pt x="45" y="34"/>
                    </a:moveTo>
                    <a:lnTo>
                      <a:pt x="43" y="36"/>
                    </a:lnTo>
                    <a:lnTo>
                      <a:pt x="39" y="40"/>
                    </a:lnTo>
                    <a:lnTo>
                      <a:pt x="33" y="45"/>
                    </a:lnTo>
                    <a:lnTo>
                      <a:pt x="26" y="49"/>
                    </a:lnTo>
                    <a:lnTo>
                      <a:pt x="22" y="50"/>
                    </a:lnTo>
                    <a:lnTo>
                      <a:pt x="18" y="50"/>
                    </a:lnTo>
                    <a:lnTo>
                      <a:pt x="14" y="50"/>
                    </a:lnTo>
                    <a:lnTo>
                      <a:pt x="10" y="48"/>
                    </a:lnTo>
                    <a:lnTo>
                      <a:pt x="7" y="45"/>
                    </a:lnTo>
                    <a:lnTo>
                      <a:pt x="4" y="40"/>
                    </a:lnTo>
                    <a:lnTo>
                      <a:pt x="2" y="34"/>
                    </a:lnTo>
                    <a:lnTo>
                      <a:pt x="0" y="24"/>
                    </a:lnTo>
                    <a:lnTo>
                      <a:pt x="0" y="17"/>
                    </a:lnTo>
                    <a:lnTo>
                      <a:pt x="0" y="11"/>
                    </a:lnTo>
                    <a:lnTo>
                      <a:pt x="2" y="7"/>
                    </a:lnTo>
                    <a:lnTo>
                      <a:pt x="4" y="4"/>
                    </a:lnTo>
                    <a:lnTo>
                      <a:pt x="7" y="1"/>
                    </a:lnTo>
                    <a:lnTo>
                      <a:pt x="11" y="0"/>
                    </a:lnTo>
                    <a:lnTo>
                      <a:pt x="15" y="0"/>
                    </a:lnTo>
                    <a:lnTo>
                      <a:pt x="21" y="1"/>
                    </a:lnTo>
                    <a:lnTo>
                      <a:pt x="25" y="3"/>
                    </a:lnTo>
                    <a:lnTo>
                      <a:pt x="29" y="5"/>
                    </a:lnTo>
                    <a:lnTo>
                      <a:pt x="33" y="8"/>
                    </a:lnTo>
                    <a:lnTo>
                      <a:pt x="37" y="12"/>
                    </a:lnTo>
                    <a:lnTo>
                      <a:pt x="40" y="17"/>
                    </a:lnTo>
                    <a:lnTo>
                      <a:pt x="43" y="22"/>
                    </a:lnTo>
                    <a:lnTo>
                      <a:pt x="44" y="28"/>
                    </a:lnTo>
                    <a:lnTo>
                      <a:pt x="45" y="34"/>
                    </a:lnTo>
                    <a:close/>
                  </a:path>
                </a:pathLst>
              </a:custGeom>
              <a:solidFill>
                <a:srgbClr val="BF3B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21" name="Freeform 97"/>
              <p:cNvSpPr>
                <a:spLocks/>
              </p:cNvSpPr>
              <p:nvPr/>
            </p:nvSpPr>
            <p:spPr bwMode="auto">
              <a:xfrm>
                <a:off x="3636" y="1597"/>
                <a:ext cx="6" cy="9"/>
              </a:xfrm>
              <a:custGeom>
                <a:avLst/>
                <a:gdLst>
                  <a:gd name="T0" fmla="*/ 0 w 46"/>
                  <a:gd name="T1" fmla="*/ 0 h 58"/>
                  <a:gd name="T2" fmla="*/ 0 w 46"/>
                  <a:gd name="T3" fmla="*/ 0 h 58"/>
                  <a:gd name="T4" fmla="*/ 0 w 46"/>
                  <a:gd name="T5" fmla="*/ 0 h 58"/>
                  <a:gd name="T6" fmla="*/ 0 w 46"/>
                  <a:gd name="T7" fmla="*/ 0 h 58"/>
                  <a:gd name="T8" fmla="*/ 0 w 46"/>
                  <a:gd name="T9" fmla="*/ 0 h 58"/>
                  <a:gd name="T10" fmla="*/ 0 w 46"/>
                  <a:gd name="T11" fmla="*/ 0 h 58"/>
                  <a:gd name="T12" fmla="*/ 0 w 46"/>
                  <a:gd name="T13" fmla="*/ 0 h 58"/>
                  <a:gd name="T14" fmla="*/ 0 w 46"/>
                  <a:gd name="T15" fmla="*/ 0 h 58"/>
                  <a:gd name="T16" fmla="*/ 0 w 46"/>
                  <a:gd name="T17" fmla="*/ 0 h 58"/>
                  <a:gd name="T18" fmla="*/ 0 w 46"/>
                  <a:gd name="T19" fmla="*/ 0 h 58"/>
                  <a:gd name="T20" fmla="*/ 0 w 46"/>
                  <a:gd name="T21" fmla="*/ 0 h 58"/>
                  <a:gd name="T22" fmla="*/ 0 w 46"/>
                  <a:gd name="T23" fmla="*/ 0 h 58"/>
                  <a:gd name="T24" fmla="*/ 0 w 46"/>
                  <a:gd name="T25" fmla="*/ 0 h 58"/>
                  <a:gd name="T26" fmla="*/ 0 w 46"/>
                  <a:gd name="T27" fmla="*/ 0 h 58"/>
                  <a:gd name="T28" fmla="*/ 0 w 46"/>
                  <a:gd name="T29" fmla="*/ 0 h 58"/>
                  <a:gd name="T30" fmla="*/ 0 w 46"/>
                  <a:gd name="T31" fmla="*/ 0 h 58"/>
                  <a:gd name="T32" fmla="*/ 0 w 46"/>
                  <a:gd name="T33" fmla="*/ 0 h 58"/>
                  <a:gd name="T34" fmla="*/ 0 w 46"/>
                  <a:gd name="T35" fmla="*/ 0 h 58"/>
                  <a:gd name="T36" fmla="*/ 0 w 46"/>
                  <a:gd name="T37" fmla="*/ 0 h 58"/>
                  <a:gd name="T38" fmla="*/ 0 w 46"/>
                  <a:gd name="T39" fmla="*/ 0 h 58"/>
                  <a:gd name="T40" fmla="*/ 0 w 46"/>
                  <a:gd name="T41" fmla="*/ 0 h 58"/>
                  <a:gd name="T42" fmla="*/ 0 w 46"/>
                  <a:gd name="T43" fmla="*/ 0 h 58"/>
                  <a:gd name="T44" fmla="*/ 0 w 46"/>
                  <a:gd name="T45" fmla="*/ 0 h 58"/>
                  <a:gd name="T46" fmla="*/ 0 w 46"/>
                  <a:gd name="T47" fmla="*/ 0 h 58"/>
                  <a:gd name="T48" fmla="*/ 0 w 46"/>
                  <a:gd name="T49" fmla="*/ 0 h 58"/>
                  <a:gd name="T50" fmla="*/ 0 w 46"/>
                  <a:gd name="T51" fmla="*/ 0 h 58"/>
                  <a:gd name="T52" fmla="*/ 0 w 46"/>
                  <a:gd name="T53" fmla="*/ 0 h 58"/>
                  <a:gd name="T54" fmla="*/ 0 w 46"/>
                  <a:gd name="T55" fmla="*/ 0 h 58"/>
                  <a:gd name="T56" fmla="*/ 0 w 46"/>
                  <a:gd name="T57" fmla="*/ 0 h 58"/>
                  <a:gd name="T58" fmla="*/ 0 w 46"/>
                  <a:gd name="T59" fmla="*/ 0 h 58"/>
                  <a:gd name="T60" fmla="*/ 0 w 46"/>
                  <a:gd name="T61" fmla="*/ 0 h 58"/>
                  <a:gd name="T62" fmla="*/ 0 w 46"/>
                  <a:gd name="T63" fmla="*/ 0 h 58"/>
                  <a:gd name="T64" fmla="*/ 0 w 46"/>
                  <a:gd name="T65" fmla="*/ 0 h 58"/>
                  <a:gd name="T66" fmla="*/ 0 w 46"/>
                  <a:gd name="T67" fmla="*/ 0 h 58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46"/>
                  <a:gd name="T103" fmla="*/ 0 h 58"/>
                  <a:gd name="T104" fmla="*/ 46 w 46"/>
                  <a:gd name="T105" fmla="*/ 58 h 58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46" h="58">
                    <a:moveTo>
                      <a:pt x="46" y="36"/>
                    </a:moveTo>
                    <a:lnTo>
                      <a:pt x="46" y="22"/>
                    </a:lnTo>
                    <a:lnTo>
                      <a:pt x="46" y="31"/>
                    </a:lnTo>
                    <a:lnTo>
                      <a:pt x="46" y="37"/>
                    </a:lnTo>
                    <a:lnTo>
                      <a:pt x="45" y="43"/>
                    </a:lnTo>
                    <a:lnTo>
                      <a:pt x="42" y="48"/>
                    </a:lnTo>
                    <a:lnTo>
                      <a:pt x="39" y="51"/>
                    </a:lnTo>
                    <a:lnTo>
                      <a:pt x="35" y="55"/>
                    </a:lnTo>
                    <a:lnTo>
                      <a:pt x="31" y="57"/>
                    </a:lnTo>
                    <a:lnTo>
                      <a:pt x="27" y="58"/>
                    </a:lnTo>
                    <a:lnTo>
                      <a:pt x="22" y="57"/>
                    </a:lnTo>
                    <a:lnTo>
                      <a:pt x="17" y="56"/>
                    </a:lnTo>
                    <a:lnTo>
                      <a:pt x="13" y="53"/>
                    </a:lnTo>
                    <a:lnTo>
                      <a:pt x="9" y="50"/>
                    </a:lnTo>
                    <a:lnTo>
                      <a:pt x="5" y="46"/>
                    </a:lnTo>
                    <a:lnTo>
                      <a:pt x="3" y="40"/>
                    </a:lnTo>
                    <a:lnTo>
                      <a:pt x="1" y="34"/>
                    </a:lnTo>
                    <a:lnTo>
                      <a:pt x="0" y="27"/>
                    </a:lnTo>
                    <a:lnTo>
                      <a:pt x="0" y="18"/>
                    </a:lnTo>
                    <a:lnTo>
                      <a:pt x="2" y="12"/>
                    </a:lnTo>
                    <a:lnTo>
                      <a:pt x="4" y="7"/>
                    </a:lnTo>
                    <a:lnTo>
                      <a:pt x="6" y="4"/>
                    </a:lnTo>
                    <a:lnTo>
                      <a:pt x="10" y="2"/>
                    </a:lnTo>
                    <a:lnTo>
                      <a:pt x="14" y="1"/>
                    </a:lnTo>
                    <a:lnTo>
                      <a:pt x="18" y="0"/>
                    </a:lnTo>
                    <a:lnTo>
                      <a:pt x="23" y="1"/>
                    </a:lnTo>
                    <a:lnTo>
                      <a:pt x="27" y="3"/>
                    </a:lnTo>
                    <a:lnTo>
                      <a:pt x="31" y="6"/>
                    </a:lnTo>
                    <a:lnTo>
                      <a:pt x="35" y="9"/>
                    </a:lnTo>
                    <a:lnTo>
                      <a:pt x="39" y="13"/>
                    </a:lnTo>
                    <a:lnTo>
                      <a:pt x="42" y="18"/>
                    </a:lnTo>
                    <a:lnTo>
                      <a:pt x="44" y="23"/>
                    </a:lnTo>
                    <a:lnTo>
                      <a:pt x="45" y="30"/>
                    </a:lnTo>
                    <a:lnTo>
                      <a:pt x="46" y="36"/>
                    </a:lnTo>
                    <a:close/>
                  </a:path>
                </a:pathLst>
              </a:custGeom>
              <a:solidFill>
                <a:srgbClr val="F4E25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22" name="Freeform 98"/>
              <p:cNvSpPr>
                <a:spLocks/>
              </p:cNvSpPr>
              <p:nvPr/>
            </p:nvSpPr>
            <p:spPr bwMode="auto">
              <a:xfrm>
                <a:off x="3187" y="1265"/>
                <a:ext cx="371" cy="386"/>
              </a:xfrm>
              <a:custGeom>
                <a:avLst/>
                <a:gdLst>
                  <a:gd name="T0" fmla="*/ 0 w 2595"/>
                  <a:gd name="T1" fmla="*/ 0 h 2700"/>
                  <a:gd name="T2" fmla="*/ 0 w 2595"/>
                  <a:gd name="T3" fmla="*/ 0 h 2700"/>
                  <a:gd name="T4" fmla="*/ 0 w 2595"/>
                  <a:gd name="T5" fmla="*/ 0 h 2700"/>
                  <a:gd name="T6" fmla="*/ 0 w 2595"/>
                  <a:gd name="T7" fmla="*/ 0 h 2700"/>
                  <a:gd name="T8" fmla="*/ 0 w 2595"/>
                  <a:gd name="T9" fmla="*/ 0 h 2700"/>
                  <a:gd name="T10" fmla="*/ 0 w 2595"/>
                  <a:gd name="T11" fmla="*/ 0 h 2700"/>
                  <a:gd name="T12" fmla="*/ 0 w 2595"/>
                  <a:gd name="T13" fmla="*/ 0 h 2700"/>
                  <a:gd name="T14" fmla="*/ 0 w 2595"/>
                  <a:gd name="T15" fmla="*/ 0 h 2700"/>
                  <a:gd name="T16" fmla="*/ 0 w 2595"/>
                  <a:gd name="T17" fmla="*/ 0 h 2700"/>
                  <a:gd name="T18" fmla="*/ 0 w 2595"/>
                  <a:gd name="T19" fmla="*/ 0 h 2700"/>
                  <a:gd name="T20" fmla="*/ 0 w 2595"/>
                  <a:gd name="T21" fmla="*/ 0 h 2700"/>
                  <a:gd name="T22" fmla="*/ 0 w 2595"/>
                  <a:gd name="T23" fmla="*/ 0 h 2700"/>
                  <a:gd name="T24" fmla="*/ 0 w 2595"/>
                  <a:gd name="T25" fmla="*/ 0 h 2700"/>
                  <a:gd name="T26" fmla="*/ 0 w 2595"/>
                  <a:gd name="T27" fmla="*/ 0 h 2700"/>
                  <a:gd name="T28" fmla="*/ 0 w 2595"/>
                  <a:gd name="T29" fmla="*/ 0 h 2700"/>
                  <a:gd name="T30" fmla="*/ 0 w 2595"/>
                  <a:gd name="T31" fmla="*/ 0 h 2700"/>
                  <a:gd name="T32" fmla="*/ 0 w 2595"/>
                  <a:gd name="T33" fmla="*/ 0 h 2700"/>
                  <a:gd name="T34" fmla="*/ 0 w 2595"/>
                  <a:gd name="T35" fmla="*/ 0 h 2700"/>
                  <a:gd name="T36" fmla="*/ 0 w 2595"/>
                  <a:gd name="T37" fmla="*/ 0 h 2700"/>
                  <a:gd name="T38" fmla="*/ 0 w 2595"/>
                  <a:gd name="T39" fmla="*/ 0 h 2700"/>
                  <a:gd name="T40" fmla="*/ 0 w 2595"/>
                  <a:gd name="T41" fmla="*/ 0 h 2700"/>
                  <a:gd name="T42" fmla="*/ 0 w 2595"/>
                  <a:gd name="T43" fmla="*/ 0 h 2700"/>
                  <a:gd name="T44" fmla="*/ 0 w 2595"/>
                  <a:gd name="T45" fmla="*/ 0 h 2700"/>
                  <a:gd name="T46" fmla="*/ 0 w 2595"/>
                  <a:gd name="T47" fmla="*/ 0 h 2700"/>
                  <a:gd name="T48" fmla="*/ 0 w 2595"/>
                  <a:gd name="T49" fmla="*/ 0 h 2700"/>
                  <a:gd name="T50" fmla="*/ 0 w 2595"/>
                  <a:gd name="T51" fmla="*/ 0 h 2700"/>
                  <a:gd name="T52" fmla="*/ 0 w 2595"/>
                  <a:gd name="T53" fmla="*/ 0 h 2700"/>
                  <a:gd name="T54" fmla="*/ 0 w 2595"/>
                  <a:gd name="T55" fmla="*/ 0 h 2700"/>
                  <a:gd name="T56" fmla="*/ 0 w 2595"/>
                  <a:gd name="T57" fmla="*/ 0 h 2700"/>
                  <a:gd name="T58" fmla="*/ 0 w 2595"/>
                  <a:gd name="T59" fmla="*/ 0 h 2700"/>
                  <a:gd name="T60" fmla="*/ 0 w 2595"/>
                  <a:gd name="T61" fmla="*/ 0 h 2700"/>
                  <a:gd name="T62" fmla="*/ 0 w 2595"/>
                  <a:gd name="T63" fmla="*/ 0 h 2700"/>
                  <a:gd name="T64" fmla="*/ 0 w 2595"/>
                  <a:gd name="T65" fmla="*/ 0 h 2700"/>
                  <a:gd name="T66" fmla="*/ 0 w 2595"/>
                  <a:gd name="T67" fmla="*/ 0 h 2700"/>
                  <a:gd name="T68" fmla="*/ 0 w 2595"/>
                  <a:gd name="T69" fmla="*/ 0 h 2700"/>
                  <a:gd name="T70" fmla="*/ 0 w 2595"/>
                  <a:gd name="T71" fmla="*/ 0 h 2700"/>
                  <a:gd name="T72" fmla="*/ 0 w 2595"/>
                  <a:gd name="T73" fmla="*/ 0 h 2700"/>
                  <a:gd name="T74" fmla="*/ 0 w 2595"/>
                  <a:gd name="T75" fmla="*/ 0 h 2700"/>
                  <a:gd name="T76" fmla="*/ 0 w 2595"/>
                  <a:gd name="T77" fmla="*/ 0 h 2700"/>
                  <a:gd name="T78" fmla="*/ 0 w 2595"/>
                  <a:gd name="T79" fmla="*/ 0 h 2700"/>
                  <a:gd name="T80" fmla="*/ 0 w 2595"/>
                  <a:gd name="T81" fmla="*/ 0 h 2700"/>
                  <a:gd name="T82" fmla="*/ 0 w 2595"/>
                  <a:gd name="T83" fmla="*/ 0 h 2700"/>
                  <a:gd name="T84" fmla="*/ 0 w 2595"/>
                  <a:gd name="T85" fmla="*/ 0 h 2700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595"/>
                  <a:gd name="T130" fmla="*/ 0 h 2700"/>
                  <a:gd name="T131" fmla="*/ 2595 w 2595"/>
                  <a:gd name="T132" fmla="*/ 2700 h 2700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595" h="2700">
                    <a:moveTo>
                      <a:pt x="3" y="1223"/>
                    </a:moveTo>
                    <a:lnTo>
                      <a:pt x="0" y="1276"/>
                    </a:lnTo>
                    <a:lnTo>
                      <a:pt x="2" y="1330"/>
                    </a:lnTo>
                    <a:lnTo>
                      <a:pt x="6" y="1384"/>
                    </a:lnTo>
                    <a:lnTo>
                      <a:pt x="12" y="1439"/>
                    </a:lnTo>
                    <a:lnTo>
                      <a:pt x="22" y="1494"/>
                    </a:lnTo>
                    <a:lnTo>
                      <a:pt x="36" y="1550"/>
                    </a:lnTo>
                    <a:lnTo>
                      <a:pt x="52" y="1606"/>
                    </a:lnTo>
                    <a:lnTo>
                      <a:pt x="72" y="1663"/>
                    </a:lnTo>
                    <a:lnTo>
                      <a:pt x="95" y="1719"/>
                    </a:lnTo>
                    <a:lnTo>
                      <a:pt x="120" y="1775"/>
                    </a:lnTo>
                    <a:lnTo>
                      <a:pt x="148" y="1832"/>
                    </a:lnTo>
                    <a:lnTo>
                      <a:pt x="180" y="1886"/>
                    </a:lnTo>
                    <a:lnTo>
                      <a:pt x="215" y="1941"/>
                    </a:lnTo>
                    <a:lnTo>
                      <a:pt x="253" y="1996"/>
                    </a:lnTo>
                    <a:lnTo>
                      <a:pt x="293" y="2049"/>
                    </a:lnTo>
                    <a:lnTo>
                      <a:pt x="337" y="2101"/>
                    </a:lnTo>
                    <a:lnTo>
                      <a:pt x="384" y="2152"/>
                    </a:lnTo>
                    <a:lnTo>
                      <a:pt x="432" y="2202"/>
                    </a:lnTo>
                    <a:lnTo>
                      <a:pt x="485" y="2250"/>
                    </a:lnTo>
                    <a:lnTo>
                      <a:pt x="541" y="2297"/>
                    </a:lnTo>
                    <a:lnTo>
                      <a:pt x="599" y="2342"/>
                    </a:lnTo>
                    <a:lnTo>
                      <a:pt x="660" y="2385"/>
                    </a:lnTo>
                    <a:lnTo>
                      <a:pt x="724" y="2426"/>
                    </a:lnTo>
                    <a:lnTo>
                      <a:pt x="790" y="2465"/>
                    </a:lnTo>
                    <a:lnTo>
                      <a:pt x="860" y="2502"/>
                    </a:lnTo>
                    <a:lnTo>
                      <a:pt x="933" y="2536"/>
                    </a:lnTo>
                    <a:lnTo>
                      <a:pt x="1007" y="2567"/>
                    </a:lnTo>
                    <a:lnTo>
                      <a:pt x="1086" y="2596"/>
                    </a:lnTo>
                    <a:lnTo>
                      <a:pt x="1166" y="2622"/>
                    </a:lnTo>
                    <a:lnTo>
                      <a:pt x="1249" y="2644"/>
                    </a:lnTo>
                    <a:lnTo>
                      <a:pt x="1336" y="2664"/>
                    </a:lnTo>
                    <a:lnTo>
                      <a:pt x="1424" y="2680"/>
                    </a:lnTo>
                    <a:lnTo>
                      <a:pt x="1489" y="2690"/>
                    </a:lnTo>
                    <a:lnTo>
                      <a:pt x="1552" y="2696"/>
                    </a:lnTo>
                    <a:lnTo>
                      <a:pt x="1612" y="2699"/>
                    </a:lnTo>
                    <a:lnTo>
                      <a:pt x="1668" y="2700"/>
                    </a:lnTo>
                    <a:lnTo>
                      <a:pt x="1724" y="2698"/>
                    </a:lnTo>
                    <a:lnTo>
                      <a:pt x="1777" y="2694"/>
                    </a:lnTo>
                    <a:lnTo>
                      <a:pt x="1827" y="2686"/>
                    </a:lnTo>
                    <a:lnTo>
                      <a:pt x="1876" y="2675"/>
                    </a:lnTo>
                    <a:lnTo>
                      <a:pt x="1923" y="2663"/>
                    </a:lnTo>
                    <a:lnTo>
                      <a:pt x="1967" y="2647"/>
                    </a:lnTo>
                    <a:lnTo>
                      <a:pt x="2009" y="2629"/>
                    </a:lnTo>
                    <a:lnTo>
                      <a:pt x="2050" y="2607"/>
                    </a:lnTo>
                    <a:lnTo>
                      <a:pt x="2089" y="2583"/>
                    </a:lnTo>
                    <a:lnTo>
                      <a:pt x="2126" y="2556"/>
                    </a:lnTo>
                    <a:lnTo>
                      <a:pt x="2161" y="2527"/>
                    </a:lnTo>
                    <a:lnTo>
                      <a:pt x="2194" y="2495"/>
                    </a:lnTo>
                    <a:lnTo>
                      <a:pt x="2226" y="2460"/>
                    </a:lnTo>
                    <a:lnTo>
                      <a:pt x="2256" y="2423"/>
                    </a:lnTo>
                    <a:lnTo>
                      <a:pt x="2284" y="2383"/>
                    </a:lnTo>
                    <a:lnTo>
                      <a:pt x="2312" y="2339"/>
                    </a:lnTo>
                    <a:lnTo>
                      <a:pt x="2337" y="2294"/>
                    </a:lnTo>
                    <a:lnTo>
                      <a:pt x="2362" y="2246"/>
                    </a:lnTo>
                    <a:lnTo>
                      <a:pt x="2384" y="2194"/>
                    </a:lnTo>
                    <a:lnTo>
                      <a:pt x="2406" y="2141"/>
                    </a:lnTo>
                    <a:lnTo>
                      <a:pt x="2426" y="2085"/>
                    </a:lnTo>
                    <a:lnTo>
                      <a:pt x="2445" y="2026"/>
                    </a:lnTo>
                    <a:lnTo>
                      <a:pt x="2463" y="1964"/>
                    </a:lnTo>
                    <a:lnTo>
                      <a:pt x="2481" y="1900"/>
                    </a:lnTo>
                    <a:lnTo>
                      <a:pt x="2496" y="1833"/>
                    </a:lnTo>
                    <a:lnTo>
                      <a:pt x="2511" y="1763"/>
                    </a:lnTo>
                    <a:lnTo>
                      <a:pt x="2525" y="1691"/>
                    </a:lnTo>
                    <a:lnTo>
                      <a:pt x="2538" y="1616"/>
                    </a:lnTo>
                    <a:lnTo>
                      <a:pt x="2549" y="1550"/>
                    </a:lnTo>
                    <a:lnTo>
                      <a:pt x="2559" y="1483"/>
                    </a:lnTo>
                    <a:lnTo>
                      <a:pt x="2568" y="1416"/>
                    </a:lnTo>
                    <a:lnTo>
                      <a:pt x="2577" y="1349"/>
                    </a:lnTo>
                    <a:lnTo>
                      <a:pt x="2583" y="1281"/>
                    </a:lnTo>
                    <a:lnTo>
                      <a:pt x="2589" y="1213"/>
                    </a:lnTo>
                    <a:lnTo>
                      <a:pt x="2593" y="1146"/>
                    </a:lnTo>
                    <a:lnTo>
                      <a:pt x="2595" y="1079"/>
                    </a:lnTo>
                    <a:lnTo>
                      <a:pt x="2595" y="1012"/>
                    </a:lnTo>
                    <a:lnTo>
                      <a:pt x="2593" y="946"/>
                    </a:lnTo>
                    <a:lnTo>
                      <a:pt x="2588" y="881"/>
                    </a:lnTo>
                    <a:lnTo>
                      <a:pt x="2581" y="817"/>
                    </a:lnTo>
                    <a:lnTo>
                      <a:pt x="2572" y="754"/>
                    </a:lnTo>
                    <a:lnTo>
                      <a:pt x="2558" y="692"/>
                    </a:lnTo>
                    <a:lnTo>
                      <a:pt x="2542" y="632"/>
                    </a:lnTo>
                    <a:lnTo>
                      <a:pt x="2521" y="574"/>
                    </a:lnTo>
                    <a:lnTo>
                      <a:pt x="2497" y="517"/>
                    </a:lnTo>
                    <a:lnTo>
                      <a:pt x="2469" y="462"/>
                    </a:lnTo>
                    <a:lnTo>
                      <a:pt x="2437" y="411"/>
                    </a:lnTo>
                    <a:lnTo>
                      <a:pt x="2401" y="361"/>
                    </a:lnTo>
                    <a:lnTo>
                      <a:pt x="2361" y="314"/>
                    </a:lnTo>
                    <a:lnTo>
                      <a:pt x="2314" y="268"/>
                    </a:lnTo>
                    <a:lnTo>
                      <a:pt x="2265" y="227"/>
                    </a:lnTo>
                    <a:lnTo>
                      <a:pt x="2209" y="187"/>
                    </a:lnTo>
                    <a:lnTo>
                      <a:pt x="2147" y="151"/>
                    </a:lnTo>
                    <a:lnTo>
                      <a:pt x="2081" y="119"/>
                    </a:lnTo>
                    <a:lnTo>
                      <a:pt x="2007" y="90"/>
                    </a:lnTo>
                    <a:lnTo>
                      <a:pt x="1929" y="64"/>
                    </a:lnTo>
                    <a:lnTo>
                      <a:pt x="1844" y="44"/>
                    </a:lnTo>
                    <a:lnTo>
                      <a:pt x="1753" y="26"/>
                    </a:lnTo>
                    <a:lnTo>
                      <a:pt x="1655" y="13"/>
                    </a:lnTo>
                    <a:lnTo>
                      <a:pt x="1551" y="3"/>
                    </a:lnTo>
                    <a:lnTo>
                      <a:pt x="1467" y="0"/>
                    </a:lnTo>
                    <a:lnTo>
                      <a:pt x="1385" y="0"/>
                    </a:lnTo>
                    <a:lnTo>
                      <a:pt x="1305" y="4"/>
                    </a:lnTo>
                    <a:lnTo>
                      <a:pt x="1227" y="12"/>
                    </a:lnTo>
                    <a:lnTo>
                      <a:pt x="1152" y="22"/>
                    </a:lnTo>
                    <a:lnTo>
                      <a:pt x="1077" y="35"/>
                    </a:lnTo>
                    <a:lnTo>
                      <a:pt x="1006" y="52"/>
                    </a:lnTo>
                    <a:lnTo>
                      <a:pt x="936" y="73"/>
                    </a:lnTo>
                    <a:lnTo>
                      <a:pt x="869" y="95"/>
                    </a:lnTo>
                    <a:lnTo>
                      <a:pt x="802" y="121"/>
                    </a:lnTo>
                    <a:lnTo>
                      <a:pt x="739" y="149"/>
                    </a:lnTo>
                    <a:lnTo>
                      <a:pt x="678" y="181"/>
                    </a:lnTo>
                    <a:lnTo>
                      <a:pt x="619" y="214"/>
                    </a:lnTo>
                    <a:lnTo>
                      <a:pt x="564" y="250"/>
                    </a:lnTo>
                    <a:lnTo>
                      <a:pt x="510" y="290"/>
                    </a:lnTo>
                    <a:lnTo>
                      <a:pt x="458" y="331"/>
                    </a:lnTo>
                    <a:lnTo>
                      <a:pt x="410" y="374"/>
                    </a:lnTo>
                    <a:lnTo>
                      <a:pt x="363" y="419"/>
                    </a:lnTo>
                    <a:lnTo>
                      <a:pt x="319" y="467"/>
                    </a:lnTo>
                    <a:lnTo>
                      <a:pt x="277" y="516"/>
                    </a:lnTo>
                    <a:lnTo>
                      <a:pt x="239" y="567"/>
                    </a:lnTo>
                    <a:lnTo>
                      <a:pt x="203" y="620"/>
                    </a:lnTo>
                    <a:lnTo>
                      <a:pt x="170" y="674"/>
                    </a:lnTo>
                    <a:lnTo>
                      <a:pt x="140" y="730"/>
                    </a:lnTo>
                    <a:lnTo>
                      <a:pt x="112" y="788"/>
                    </a:lnTo>
                    <a:lnTo>
                      <a:pt x="87" y="847"/>
                    </a:lnTo>
                    <a:lnTo>
                      <a:pt x="66" y="907"/>
                    </a:lnTo>
                    <a:lnTo>
                      <a:pt x="47" y="969"/>
                    </a:lnTo>
                    <a:lnTo>
                      <a:pt x="31" y="1031"/>
                    </a:lnTo>
                    <a:lnTo>
                      <a:pt x="19" y="1094"/>
                    </a:lnTo>
                    <a:lnTo>
                      <a:pt x="9" y="1159"/>
                    </a:lnTo>
                    <a:lnTo>
                      <a:pt x="3" y="1223"/>
                    </a:lnTo>
                    <a:close/>
                  </a:path>
                </a:pathLst>
              </a:custGeom>
              <a:solidFill>
                <a:srgbClr val="2DAA3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23" name="Freeform 99"/>
              <p:cNvSpPr>
                <a:spLocks/>
              </p:cNvSpPr>
              <p:nvPr/>
            </p:nvSpPr>
            <p:spPr bwMode="auto">
              <a:xfrm>
                <a:off x="3371" y="1266"/>
                <a:ext cx="80" cy="387"/>
              </a:xfrm>
              <a:custGeom>
                <a:avLst/>
                <a:gdLst>
                  <a:gd name="T0" fmla="*/ 0 w 556"/>
                  <a:gd name="T1" fmla="*/ 0 h 2710"/>
                  <a:gd name="T2" fmla="*/ 0 w 556"/>
                  <a:gd name="T3" fmla="*/ 0 h 2710"/>
                  <a:gd name="T4" fmla="*/ 0 w 556"/>
                  <a:gd name="T5" fmla="*/ 0 h 2710"/>
                  <a:gd name="T6" fmla="*/ 0 w 556"/>
                  <a:gd name="T7" fmla="*/ 0 h 2710"/>
                  <a:gd name="T8" fmla="*/ 0 w 556"/>
                  <a:gd name="T9" fmla="*/ 0 h 2710"/>
                  <a:gd name="T10" fmla="*/ 0 w 556"/>
                  <a:gd name="T11" fmla="*/ 0 h 2710"/>
                  <a:gd name="T12" fmla="*/ 0 w 556"/>
                  <a:gd name="T13" fmla="*/ 0 h 2710"/>
                  <a:gd name="T14" fmla="*/ 0 w 556"/>
                  <a:gd name="T15" fmla="*/ 0 h 2710"/>
                  <a:gd name="T16" fmla="*/ 0 w 556"/>
                  <a:gd name="T17" fmla="*/ 0 h 2710"/>
                  <a:gd name="T18" fmla="*/ 0 w 556"/>
                  <a:gd name="T19" fmla="*/ 0 h 2710"/>
                  <a:gd name="T20" fmla="*/ 0 w 556"/>
                  <a:gd name="T21" fmla="*/ 0 h 2710"/>
                  <a:gd name="T22" fmla="*/ 0 w 556"/>
                  <a:gd name="T23" fmla="*/ 0 h 2710"/>
                  <a:gd name="T24" fmla="*/ 0 w 556"/>
                  <a:gd name="T25" fmla="*/ 0 h 2710"/>
                  <a:gd name="T26" fmla="*/ 0 w 556"/>
                  <a:gd name="T27" fmla="*/ 0 h 2710"/>
                  <a:gd name="T28" fmla="*/ 0 w 556"/>
                  <a:gd name="T29" fmla="*/ 0 h 2710"/>
                  <a:gd name="T30" fmla="*/ 0 w 556"/>
                  <a:gd name="T31" fmla="*/ 0 h 2710"/>
                  <a:gd name="T32" fmla="*/ 0 w 556"/>
                  <a:gd name="T33" fmla="*/ 0 h 2710"/>
                  <a:gd name="T34" fmla="*/ 0 w 556"/>
                  <a:gd name="T35" fmla="*/ 0 h 2710"/>
                  <a:gd name="T36" fmla="*/ 0 w 556"/>
                  <a:gd name="T37" fmla="*/ 0 h 2710"/>
                  <a:gd name="T38" fmla="*/ 0 w 556"/>
                  <a:gd name="T39" fmla="*/ 0 h 2710"/>
                  <a:gd name="T40" fmla="*/ 0 w 556"/>
                  <a:gd name="T41" fmla="*/ 0 h 2710"/>
                  <a:gd name="T42" fmla="*/ 0 w 556"/>
                  <a:gd name="T43" fmla="*/ 0 h 2710"/>
                  <a:gd name="T44" fmla="*/ 0 w 556"/>
                  <a:gd name="T45" fmla="*/ 0 h 2710"/>
                  <a:gd name="T46" fmla="*/ 0 w 556"/>
                  <a:gd name="T47" fmla="*/ 0 h 2710"/>
                  <a:gd name="T48" fmla="*/ 0 w 556"/>
                  <a:gd name="T49" fmla="*/ 0 h 2710"/>
                  <a:gd name="T50" fmla="*/ 0 w 556"/>
                  <a:gd name="T51" fmla="*/ 0 h 2710"/>
                  <a:gd name="T52" fmla="*/ 0 w 556"/>
                  <a:gd name="T53" fmla="*/ 0 h 2710"/>
                  <a:gd name="T54" fmla="*/ 0 w 556"/>
                  <a:gd name="T55" fmla="*/ 0 h 2710"/>
                  <a:gd name="T56" fmla="*/ 0 w 556"/>
                  <a:gd name="T57" fmla="*/ 0 h 2710"/>
                  <a:gd name="T58" fmla="*/ 0 w 556"/>
                  <a:gd name="T59" fmla="*/ 0 h 2710"/>
                  <a:gd name="T60" fmla="*/ 0 w 556"/>
                  <a:gd name="T61" fmla="*/ 0 h 2710"/>
                  <a:gd name="T62" fmla="*/ 0 w 556"/>
                  <a:gd name="T63" fmla="*/ 0 h 2710"/>
                  <a:gd name="T64" fmla="*/ 0 w 556"/>
                  <a:gd name="T65" fmla="*/ 0 h 2710"/>
                  <a:gd name="T66" fmla="*/ 0 w 556"/>
                  <a:gd name="T67" fmla="*/ 0 h 2710"/>
                  <a:gd name="T68" fmla="*/ 0 w 556"/>
                  <a:gd name="T69" fmla="*/ 0 h 2710"/>
                  <a:gd name="T70" fmla="*/ 0 w 556"/>
                  <a:gd name="T71" fmla="*/ 0 h 2710"/>
                  <a:gd name="T72" fmla="*/ 0 w 556"/>
                  <a:gd name="T73" fmla="*/ 0 h 2710"/>
                  <a:gd name="T74" fmla="*/ 0 w 556"/>
                  <a:gd name="T75" fmla="*/ 0 h 2710"/>
                  <a:gd name="T76" fmla="*/ 0 w 556"/>
                  <a:gd name="T77" fmla="*/ 0 h 2710"/>
                  <a:gd name="T78" fmla="*/ 0 w 556"/>
                  <a:gd name="T79" fmla="*/ 0 h 2710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556"/>
                  <a:gd name="T121" fmla="*/ 0 h 2710"/>
                  <a:gd name="T122" fmla="*/ 556 w 556"/>
                  <a:gd name="T123" fmla="*/ 2710 h 2710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556" h="2710">
                    <a:moveTo>
                      <a:pt x="278" y="0"/>
                    </a:moveTo>
                    <a:lnTo>
                      <a:pt x="303" y="2"/>
                    </a:lnTo>
                    <a:lnTo>
                      <a:pt x="328" y="5"/>
                    </a:lnTo>
                    <a:lnTo>
                      <a:pt x="351" y="8"/>
                    </a:lnTo>
                    <a:lnTo>
                      <a:pt x="376" y="10"/>
                    </a:lnTo>
                    <a:lnTo>
                      <a:pt x="399" y="13"/>
                    </a:lnTo>
                    <a:lnTo>
                      <a:pt x="423" y="16"/>
                    </a:lnTo>
                    <a:lnTo>
                      <a:pt x="445" y="19"/>
                    </a:lnTo>
                    <a:lnTo>
                      <a:pt x="468" y="22"/>
                    </a:lnTo>
                    <a:lnTo>
                      <a:pt x="483" y="120"/>
                    </a:lnTo>
                    <a:lnTo>
                      <a:pt x="496" y="218"/>
                    </a:lnTo>
                    <a:lnTo>
                      <a:pt x="508" y="314"/>
                    </a:lnTo>
                    <a:lnTo>
                      <a:pt x="519" y="410"/>
                    </a:lnTo>
                    <a:lnTo>
                      <a:pt x="528" y="505"/>
                    </a:lnTo>
                    <a:lnTo>
                      <a:pt x="535" y="599"/>
                    </a:lnTo>
                    <a:lnTo>
                      <a:pt x="543" y="692"/>
                    </a:lnTo>
                    <a:lnTo>
                      <a:pt x="548" y="784"/>
                    </a:lnTo>
                    <a:lnTo>
                      <a:pt x="551" y="876"/>
                    </a:lnTo>
                    <a:lnTo>
                      <a:pt x="554" y="966"/>
                    </a:lnTo>
                    <a:lnTo>
                      <a:pt x="555" y="1056"/>
                    </a:lnTo>
                    <a:lnTo>
                      <a:pt x="556" y="1145"/>
                    </a:lnTo>
                    <a:lnTo>
                      <a:pt x="555" y="1233"/>
                    </a:lnTo>
                    <a:lnTo>
                      <a:pt x="553" y="1320"/>
                    </a:lnTo>
                    <a:lnTo>
                      <a:pt x="551" y="1407"/>
                    </a:lnTo>
                    <a:lnTo>
                      <a:pt x="547" y="1491"/>
                    </a:lnTo>
                    <a:lnTo>
                      <a:pt x="543" y="1575"/>
                    </a:lnTo>
                    <a:lnTo>
                      <a:pt x="537" y="1659"/>
                    </a:lnTo>
                    <a:lnTo>
                      <a:pt x="531" y="1741"/>
                    </a:lnTo>
                    <a:lnTo>
                      <a:pt x="524" y="1822"/>
                    </a:lnTo>
                    <a:lnTo>
                      <a:pt x="516" y="1902"/>
                    </a:lnTo>
                    <a:lnTo>
                      <a:pt x="507" y="1981"/>
                    </a:lnTo>
                    <a:lnTo>
                      <a:pt x="499" y="2059"/>
                    </a:lnTo>
                    <a:lnTo>
                      <a:pt x="489" y="2136"/>
                    </a:lnTo>
                    <a:lnTo>
                      <a:pt x="480" y="2211"/>
                    </a:lnTo>
                    <a:lnTo>
                      <a:pt x="468" y="2287"/>
                    </a:lnTo>
                    <a:lnTo>
                      <a:pt x="458" y="2360"/>
                    </a:lnTo>
                    <a:lnTo>
                      <a:pt x="446" y="2432"/>
                    </a:lnTo>
                    <a:lnTo>
                      <a:pt x="422" y="2573"/>
                    </a:lnTo>
                    <a:lnTo>
                      <a:pt x="397" y="2710"/>
                    </a:lnTo>
                    <a:lnTo>
                      <a:pt x="367" y="2707"/>
                    </a:lnTo>
                    <a:lnTo>
                      <a:pt x="336" y="2705"/>
                    </a:lnTo>
                    <a:lnTo>
                      <a:pt x="305" y="2702"/>
                    </a:lnTo>
                    <a:lnTo>
                      <a:pt x="273" y="2698"/>
                    </a:lnTo>
                    <a:lnTo>
                      <a:pt x="240" y="2694"/>
                    </a:lnTo>
                    <a:lnTo>
                      <a:pt x="207" y="2689"/>
                    </a:lnTo>
                    <a:lnTo>
                      <a:pt x="172" y="2683"/>
                    </a:lnTo>
                    <a:lnTo>
                      <a:pt x="136" y="2676"/>
                    </a:lnTo>
                    <a:lnTo>
                      <a:pt x="101" y="2669"/>
                    </a:lnTo>
                    <a:lnTo>
                      <a:pt x="67" y="2662"/>
                    </a:lnTo>
                    <a:lnTo>
                      <a:pt x="34" y="2654"/>
                    </a:lnTo>
                    <a:lnTo>
                      <a:pt x="0" y="2645"/>
                    </a:lnTo>
                    <a:lnTo>
                      <a:pt x="33" y="2511"/>
                    </a:lnTo>
                    <a:lnTo>
                      <a:pt x="66" y="2370"/>
                    </a:lnTo>
                    <a:lnTo>
                      <a:pt x="82" y="2298"/>
                    </a:lnTo>
                    <a:lnTo>
                      <a:pt x="97" y="2226"/>
                    </a:lnTo>
                    <a:lnTo>
                      <a:pt x="113" y="2151"/>
                    </a:lnTo>
                    <a:lnTo>
                      <a:pt x="128" y="2076"/>
                    </a:lnTo>
                    <a:lnTo>
                      <a:pt x="143" y="1999"/>
                    </a:lnTo>
                    <a:lnTo>
                      <a:pt x="156" y="1921"/>
                    </a:lnTo>
                    <a:lnTo>
                      <a:pt x="170" y="1842"/>
                    </a:lnTo>
                    <a:lnTo>
                      <a:pt x="183" y="1762"/>
                    </a:lnTo>
                    <a:lnTo>
                      <a:pt x="195" y="1682"/>
                    </a:lnTo>
                    <a:lnTo>
                      <a:pt x="208" y="1600"/>
                    </a:lnTo>
                    <a:lnTo>
                      <a:pt x="219" y="1517"/>
                    </a:lnTo>
                    <a:lnTo>
                      <a:pt x="229" y="1434"/>
                    </a:lnTo>
                    <a:lnTo>
                      <a:pt x="240" y="1350"/>
                    </a:lnTo>
                    <a:lnTo>
                      <a:pt x="249" y="1265"/>
                    </a:lnTo>
                    <a:lnTo>
                      <a:pt x="257" y="1178"/>
                    </a:lnTo>
                    <a:lnTo>
                      <a:pt x="265" y="1091"/>
                    </a:lnTo>
                    <a:lnTo>
                      <a:pt x="272" y="1004"/>
                    </a:lnTo>
                    <a:lnTo>
                      <a:pt x="277" y="915"/>
                    </a:lnTo>
                    <a:lnTo>
                      <a:pt x="282" y="827"/>
                    </a:lnTo>
                    <a:lnTo>
                      <a:pt x="286" y="738"/>
                    </a:lnTo>
                    <a:lnTo>
                      <a:pt x="289" y="648"/>
                    </a:lnTo>
                    <a:lnTo>
                      <a:pt x="290" y="557"/>
                    </a:lnTo>
                    <a:lnTo>
                      <a:pt x="291" y="465"/>
                    </a:lnTo>
                    <a:lnTo>
                      <a:pt x="291" y="374"/>
                    </a:lnTo>
                    <a:lnTo>
                      <a:pt x="289" y="281"/>
                    </a:lnTo>
                    <a:lnTo>
                      <a:pt x="287" y="188"/>
                    </a:lnTo>
                    <a:lnTo>
                      <a:pt x="283" y="94"/>
                    </a:lnTo>
                    <a:lnTo>
                      <a:pt x="278" y="0"/>
                    </a:lnTo>
                    <a:close/>
                  </a:path>
                </a:pathLst>
              </a:custGeom>
              <a:solidFill>
                <a:srgbClr val="D5353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24" name="Freeform 100"/>
              <p:cNvSpPr>
                <a:spLocks/>
              </p:cNvSpPr>
              <p:nvPr/>
            </p:nvSpPr>
            <p:spPr bwMode="auto">
              <a:xfrm>
                <a:off x="3428" y="1269"/>
                <a:ext cx="144" cy="399"/>
              </a:xfrm>
              <a:custGeom>
                <a:avLst/>
                <a:gdLst>
                  <a:gd name="T0" fmla="*/ 0 w 1007"/>
                  <a:gd name="T1" fmla="*/ 0 h 2791"/>
                  <a:gd name="T2" fmla="*/ 0 w 1007"/>
                  <a:gd name="T3" fmla="*/ 0 h 2791"/>
                  <a:gd name="T4" fmla="*/ 0 w 1007"/>
                  <a:gd name="T5" fmla="*/ 0 h 2791"/>
                  <a:gd name="T6" fmla="*/ 0 w 1007"/>
                  <a:gd name="T7" fmla="*/ 0 h 2791"/>
                  <a:gd name="T8" fmla="*/ 0 w 1007"/>
                  <a:gd name="T9" fmla="*/ 0 h 2791"/>
                  <a:gd name="T10" fmla="*/ 0 w 1007"/>
                  <a:gd name="T11" fmla="*/ 0 h 2791"/>
                  <a:gd name="T12" fmla="*/ 0 w 1007"/>
                  <a:gd name="T13" fmla="*/ 0 h 2791"/>
                  <a:gd name="T14" fmla="*/ 0 w 1007"/>
                  <a:gd name="T15" fmla="*/ 0 h 2791"/>
                  <a:gd name="T16" fmla="*/ 0 w 1007"/>
                  <a:gd name="T17" fmla="*/ 0 h 2791"/>
                  <a:gd name="T18" fmla="*/ 0 w 1007"/>
                  <a:gd name="T19" fmla="*/ 0 h 2791"/>
                  <a:gd name="T20" fmla="*/ 0 w 1007"/>
                  <a:gd name="T21" fmla="*/ 0 h 2791"/>
                  <a:gd name="T22" fmla="*/ 0 w 1007"/>
                  <a:gd name="T23" fmla="*/ 0 h 2791"/>
                  <a:gd name="T24" fmla="*/ 0 w 1007"/>
                  <a:gd name="T25" fmla="*/ 0 h 2791"/>
                  <a:gd name="T26" fmla="*/ 0 w 1007"/>
                  <a:gd name="T27" fmla="*/ 0 h 2791"/>
                  <a:gd name="T28" fmla="*/ 0 w 1007"/>
                  <a:gd name="T29" fmla="*/ 0 h 2791"/>
                  <a:gd name="T30" fmla="*/ 0 w 1007"/>
                  <a:gd name="T31" fmla="*/ 0 h 2791"/>
                  <a:gd name="T32" fmla="*/ 0 w 1007"/>
                  <a:gd name="T33" fmla="*/ 0 h 2791"/>
                  <a:gd name="T34" fmla="*/ 0 w 1007"/>
                  <a:gd name="T35" fmla="*/ 0 h 2791"/>
                  <a:gd name="T36" fmla="*/ 0 w 1007"/>
                  <a:gd name="T37" fmla="*/ 0 h 2791"/>
                  <a:gd name="T38" fmla="*/ 0 w 1007"/>
                  <a:gd name="T39" fmla="*/ 0 h 2791"/>
                  <a:gd name="T40" fmla="*/ 0 w 1007"/>
                  <a:gd name="T41" fmla="*/ 0 h 2791"/>
                  <a:gd name="T42" fmla="*/ 0 w 1007"/>
                  <a:gd name="T43" fmla="*/ 0 h 2791"/>
                  <a:gd name="T44" fmla="*/ 0 w 1007"/>
                  <a:gd name="T45" fmla="*/ 0 h 2791"/>
                  <a:gd name="T46" fmla="*/ 0 w 1007"/>
                  <a:gd name="T47" fmla="*/ 0 h 2791"/>
                  <a:gd name="T48" fmla="*/ 0 w 1007"/>
                  <a:gd name="T49" fmla="*/ 0 h 2791"/>
                  <a:gd name="T50" fmla="*/ 0 w 1007"/>
                  <a:gd name="T51" fmla="*/ 0 h 2791"/>
                  <a:gd name="T52" fmla="*/ 0 w 1007"/>
                  <a:gd name="T53" fmla="*/ 0 h 2791"/>
                  <a:gd name="T54" fmla="*/ 0 w 1007"/>
                  <a:gd name="T55" fmla="*/ 0 h 2791"/>
                  <a:gd name="T56" fmla="*/ 0 w 1007"/>
                  <a:gd name="T57" fmla="*/ 0 h 2791"/>
                  <a:gd name="T58" fmla="*/ 0 w 1007"/>
                  <a:gd name="T59" fmla="*/ 0 h 2791"/>
                  <a:gd name="T60" fmla="*/ 0 w 1007"/>
                  <a:gd name="T61" fmla="*/ 0 h 2791"/>
                  <a:gd name="T62" fmla="*/ 0 w 1007"/>
                  <a:gd name="T63" fmla="*/ 0 h 2791"/>
                  <a:gd name="T64" fmla="*/ 0 w 1007"/>
                  <a:gd name="T65" fmla="*/ 0 h 2791"/>
                  <a:gd name="T66" fmla="*/ 0 w 1007"/>
                  <a:gd name="T67" fmla="*/ 0 h 2791"/>
                  <a:gd name="T68" fmla="*/ 0 w 1007"/>
                  <a:gd name="T69" fmla="*/ 0 h 2791"/>
                  <a:gd name="T70" fmla="*/ 0 w 1007"/>
                  <a:gd name="T71" fmla="*/ 0 h 2791"/>
                  <a:gd name="T72" fmla="*/ 0 w 1007"/>
                  <a:gd name="T73" fmla="*/ 0 h 2791"/>
                  <a:gd name="T74" fmla="*/ 0 w 1007"/>
                  <a:gd name="T75" fmla="*/ 0 h 2791"/>
                  <a:gd name="T76" fmla="*/ 0 w 1007"/>
                  <a:gd name="T77" fmla="*/ 0 h 2791"/>
                  <a:gd name="T78" fmla="*/ 0 w 1007"/>
                  <a:gd name="T79" fmla="*/ 0 h 2791"/>
                  <a:gd name="T80" fmla="*/ 0 w 1007"/>
                  <a:gd name="T81" fmla="*/ 0 h 2791"/>
                  <a:gd name="T82" fmla="*/ 0 w 1007"/>
                  <a:gd name="T83" fmla="*/ 0 h 2791"/>
                  <a:gd name="T84" fmla="*/ 0 w 1007"/>
                  <a:gd name="T85" fmla="*/ 0 h 2791"/>
                  <a:gd name="T86" fmla="*/ 0 w 1007"/>
                  <a:gd name="T87" fmla="*/ 0 h 2791"/>
                  <a:gd name="T88" fmla="*/ 0 w 1007"/>
                  <a:gd name="T89" fmla="*/ 0 h 2791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1007"/>
                  <a:gd name="T136" fmla="*/ 0 h 2791"/>
                  <a:gd name="T137" fmla="*/ 1007 w 1007"/>
                  <a:gd name="T138" fmla="*/ 2791 h 2791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1007" h="2791">
                    <a:moveTo>
                      <a:pt x="71" y="0"/>
                    </a:moveTo>
                    <a:lnTo>
                      <a:pt x="176" y="2"/>
                    </a:lnTo>
                    <a:lnTo>
                      <a:pt x="273" y="6"/>
                    </a:lnTo>
                    <a:lnTo>
                      <a:pt x="362" y="15"/>
                    </a:lnTo>
                    <a:lnTo>
                      <a:pt x="443" y="26"/>
                    </a:lnTo>
                    <a:lnTo>
                      <a:pt x="518" y="40"/>
                    </a:lnTo>
                    <a:lnTo>
                      <a:pt x="585" y="58"/>
                    </a:lnTo>
                    <a:lnTo>
                      <a:pt x="647" y="79"/>
                    </a:lnTo>
                    <a:lnTo>
                      <a:pt x="702" y="102"/>
                    </a:lnTo>
                    <a:lnTo>
                      <a:pt x="751" y="129"/>
                    </a:lnTo>
                    <a:lnTo>
                      <a:pt x="796" y="159"/>
                    </a:lnTo>
                    <a:lnTo>
                      <a:pt x="834" y="191"/>
                    </a:lnTo>
                    <a:lnTo>
                      <a:pt x="868" y="228"/>
                    </a:lnTo>
                    <a:lnTo>
                      <a:pt x="897" y="266"/>
                    </a:lnTo>
                    <a:lnTo>
                      <a:pt x="922" y="306"/>
                    </a:lnTo>
                    <a:lnTo>
                      <a:pt x="943" y="351"/>
                    </a:lnTo>
                    <a:lnTo>
                      <a:pt x="961" y="397"/>
                    </a:lnTo>
                    <a:lnTo>
                      <a:pt x="974" y="447"/>
                    </a:lnTo>
                    <a:lnTo>
                      <a:pt x="986" y="498"/>
                    </a:lnTo>
                    <a:lnTo>
                      <a:pt x="994" y="553"/>
                    </a:lnTo>
                    <a:lnTo>
                      <a:pt x="1000" y="610"/>
                    </a:lnTo>
                    <a:lnTo>
                      <a:pt x="1004" y="670"/>
                    </a:lnTo>
                    <a:lnTo>
                      <a:pt x="1006" y="732"/>
                    </a:lnTo>
                    <a:lnTo>
                      <a:pt x="1007" y="797"/>
                    </a:lnTo>
                    <a:lnTo>
                      <a:pt x="1006" y="865"/>
                    </a:lnTo>
                    <a:lnTo>
                      <a:pt x="1003" y="1006"/>
                    </a:lnTo>
                    <a:lnTo>
                      <a:pt x="1000" y="1157"/>
                    </a:lnTo>
                    <a:lnTo>
                      <a:pt x="998" y="1236"/>
                    </a:lnTo>
                    <a:lnTo>
                      <a:pt x="998" y="1316"/>
                    </a:lnTo>
                    <a:lnTo>
                      <a:pt x="998" y="1399"/>
                    </a:lnTo>
                    <a:lnTo>
                      <a:pt x="999" y="1485"/>
                    </a:lnTo>
                    <a:lnTo>
                      <a:pt x="1003" y="1586"/>
                    </a:lnTo>
                    <a:lnTo>
                      <a:pt x="1005" y="1700"/>
                    </a:lnTo>
                    <a:lnTo>
                      <a:pt x="1006" y="1761"/>
                    </a:lnTo>
                    <a:lnTo>
                      <a:pt x="1006" y="1823"/>
                    </a:lnTo>
                    <a:lnTo>
                      <a:pt x="1006" y="1886"/>
                    </a:lnTo>
                    <a:lnTo>
                      <a:pt x="1004" y="1950"/>
                    </a:lnTo>
                    <a:lnTo>
                      <a:pt x="1000" y="2014"/>
                    </a:lnTo>
                    <a:lnTo>
                      <a:pt x="995" y="2080"/>
                    </a:lnTo>
                    <a:lnTo>
                      <a:pt x="989" y="2144"/>
                    </a:lnTo>
                    <a:lnTo>
                      <a:pt x="980" y="2207"/>
                    </a:lnTo>
                    <a:lnTo>
                      <a:pt x="968" y="2270"/>
                    </a:lnTo>
                    <a:lnTo>
                      <a:pt x="954" y="2330"/>
                    </a:lnTo>
                    <a:lnTo>
                      <a:pt x="937" y="2389"/>
                    </a:lnTo>
                    <a:lnTo>
                      <a:pt x="918" y="2446"/>
                    </a:lnTo>
                    <a:lnTo>
                      <a:pt x="895" y="2499"/>
                    </a:lnTo>
                    <a:lnTo>
                      <a:pt x="868" y="2550"/>
                    </a:lnTo>
                    <a:lnTo>
                      <a:pt x="837" y="2597"/>
                    </a:lnTo>
                    <a:lnTo>
                      <a:pt x="803" y="2639"/>
                    </a:lnTo>
                    <a:lnTo>
                      <a:pt x="765" y="2677"/>
                    </a:lnTo>
                    <a:lnTo>
                      <a:pt x="722" y="2711"/>
                    </a:lnTo>
                    <a:lnTo>
                      <a:pt x="675" y="2739"/>
                    </a:lnTo>
                    <a:lnTo>
                      <a:pt x="622" y="2761"/>
                    </a:lnTo>
                    <a:lnTo>
                      <a:pt x="564" y="2777"/>
                    </a:lnTo>
                    <a:lnTo>
                      <a:pt x="502" y="2788"/>
                    </a:lnTo>
                    <a:lnTo>
                      <a:pt x="433" y="2791"/>
                    </a:lnTo>
                    <a:lnTo>
                      <a:pt x="360" y="2787"/>
                    </a:lnTo>
                    <a:lnTo>
                      <a:pt x="279" y="2774"/>
                    </a:lnTo>
                    <a:lnTo>
                      <a:pt x="192" y="2755"/>
                    </a:lnTo>
                    <a:lnTo>
                      <a:pt x="99" y="2726"/>
                    </a:lnTo>
                    <a:lnTo>
                      <a:pt x="0" y="2688"/>
                    </a:lnTo>
                    <a:lnTo>
                      <a:pt x="25" y="2551"/>
                    </a:lnTo>
                    <a:lnTo>
                      <a:pt x="49" y="2410"/>
                    </a:lnTo>
                    <a:lnTo>
                      <a:pt x="61" y="2338"/>
                    </a:lnTo>
                    <a:lnTo>
                      <a:pt x="71" y="2265"/>
                    </a:lnTo>
                    <a:lnTo>
                      <a:pt x="83" y="2189"/>
                    </a:lnTo>
                    <a:lnTo>
                      <a:pt x="92" y="2114"/>
                    </a:lnTo>
                    <a:lnTo>
                      <a:pt x="102" y="2037"/>
                    </a:lnTo>
                    <a:lnTo>
                      <a:pt x="110" y="1959"/>
                    </a:lnTo>
                    <a:lnTo>
                      <a:pt x="119" y="1880"/>
                    </a:lnTo>
                    <a:lnTo>
                      <a:pt x="127" y="1800"/>
                    </a:lnTo>
                    <a:lnTo>
                      <a:pt x="134" y="1719"/>
                    </a:lnTo>
                    <a:lnTo>
                      <a:pt x="140" y="1637"/>
                    </a:lnTo>
                    <a:lnTo>
                      <a:pt x="146" y="1553"/>
                    </a:lnTo>
                    <a:lnTo>
                      <a:pt x="150" y="1469"/>
                    </a:lnTo>
                    <a:lnTo>
                      <a:pt x="154" y="1385"/>
                    </a:lnTo>
                    <a:lnTo>
                      <a:pt x="156" y="1298"/>
                    </a:lnTo>
                    <a:lnTo>
                      <a:pt x="158" y="1211"/>
                    </a:lnTo>
                    <a:lnTo>
                      <a:pt x="159" y="1123"/>
                    </a:lnTo>
                    <a:lnTo>
                      <a:pt x="158" y="1034"/>
                    </a:lnTo>
                    <a:lnTo>
                      <a:pt x="157" y="944"/>
                    </a:lnTo>
                    <a:lnTo>
                      <a:pt x="154" y="854"/>
                    </a:lnTo>
                    <a:lnTo>
                      <a:pt x="151" y="762"/>
                    </a:lnTo>
                    <a:lnTo>
                      <a:pt x="146" y="670"/>
                    </a:lnTo>
                    <a:lnTo>
                      <a:pt x="138" y="577"/>
                    </a:lnTo>
                    <a:lnTo>
                      <a:pt x="131" y="483"/>
                    </a:lnTo>
                    <a:lnTo>
                      <a:pt x="122" y="388"/>
                    </a:lnTo>
                    <a:lnTo>
                      <a:pt x="111" y="292"/>
                    </a:lnTo>
                    <a:lnTo>
                      <a:pt x="99" y="196"/>
                    </a:lnTo>
                    <a:lnTo>
                      <a:pt x="86" y="98"/>
                    </a:lnTo>
                    <a:lnTo>
                      <a:pt x="71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25" name="Freeform 101"/>
              <p:cNvSpPr>
                <a:spLocks/>
              </p:cNvSpPr>
              <p:nvPr/>
            </p:nvSpPr>
            <p:spPr bwMode="auto">
              <a:xfrm>
                <a:off x="3319" y="1265"/>
                <a:ext cx="94" cy="379"/>
              </a:xfrm>
              <a:custGeom>
                <a:avLst/>
                <a:gdLst>
                  <a:gd name="T0" fmla="*/ 0 w 655"/>
                  <a:gd name="T1" fmla="*/ 0 h 2649"/>
                  <a:gd name="T2" fmla="*/ 0 w 655"/>
                  <a:gd name="T3" fmla="*/ 0 h 2649"/>
                  <a:gd name="T4" fmla="*/ 0 w 655"/>
                  <a:gd name="T5" fmla="*/ 0 h 2649"/>
                  <a:gd name="T6" fmla="*/ 0 w 655"/>
                  <a:gd name="T7" fmla="*/ 0 h 2649"/>
                  <a:gd name="T8" fmla="*/ 0 w 655"/>
                  <a:gd name="T9" fmla="*/ 0 h 2649"/>
                  <a:gd name="T10" fmla="*/ 0 w 655"/>
                  <a:gd name="T11" fmla="*/ 0 h 2649"/>
                  <a:gd name="T12" fmla="*/ 0 w 655"/>
                  <a:gd name="T13" fmla="*/ 0 h 2649"/>
                  <a:gd name="T14" fmla="*/ 0 w 655"/>
                  <a:gd name="T15" fmla="*/ 0 h 2649"/>
                  <a:gd name="T16" fmla="*/ 0 w 655"/>
                  <a:gd name="T17" fmla="*/ 0 h 2649"/>
                  <a:gd name="T18" fmla="*/ 0 w 655"/>
                  <a:gd name="T19" fmla="*/ 0 h 2649"/>
                  <a:gd name="T20" fmla="*/ 0 w 655"/>
                  <a:gd name="T21" fmla="*/ 0 h 2649"/>
                  <a:gd name="T22" fmla="*/ 0 w 655"/>
                  <a:gd name="T23" fmla="*/ 0 h 2649"/>
                  <a:gd name="T24" fmla="*/ 0 w 655"/>
                  <a:gd name="T25" fmla="*/ 0 h 2649"/>
                  <a:gd name="T26" fmla="*/ 0 w 655"/>
                  <a:gd name="T27" fmla="*/ 0 h 2649"/>
                  <a:gd name="T28" fmla="*/ 0 w 655"/>
                  <a:gd name="T29" fmla="*/ 0 h 2649"/>
                  <a:gd name="T30" fmla="*/ 0 w 655"/>
                  <a:gd name="T31" fmla="*/ 0 h 2649"/>
                  <a:gd name="T32" fmla="*/ 0 w 655"/>
                  <a:gd name="T33" fmla="*/ 0 h 2649"/>
                  <a:gd name="T34" fmla="*/ 0 w 655"/>
                  <a:gd name="T35" fmla="*/ 0 h 2649"/>
                  <a:gd name="T36" fmla="*/ 0 w 655"/>
                  <a:gd name="T37" fmla="*/ 0 h 2649"/>
                  <a:gd name="T38" fmla="*/ 0 w 655"/>
                  <a:gd name="T39" fmla="*/ 0 h 2649"/>
                  <a:gd name="T40" fmla="*/ 0 w 655"/>
                  <a:gd name="T41" fmla="*/ 0 h 2649"/>
                  <a:gd name="T42" fmla="*/ 0 w 655"/>
                  <a:gd name="T43" fmla="*/ 0 h 2649"/>
                  <a:gd name="T44" fmla="*/ 0 w 655"/>
                  <a:gd name="T45" fmla="*/ 0 h 2649"/>
                  <a:gd name="T46" fmla="*/ 0 w 655"/>
                  <a:gd name="T47" fmla="*/ 0 h 2649"/>
                  <a:gd name="T48" fmla="*/ 0 w 655"/>
                  <a:gd name="T49" fmla="*/ 0 h 2649"/>
                  <a:gd name="T50" fmla="*/ 0 w 655"/>
                  <a:gd name="T51" fmla="*/ 0 h 2649"/>
                  <a:gd name="T52" fmla="*/ 0 w 655"/>
                  <a:gd name="T53" fmla="*/ 0 h 2649"/>
                  <a:gd name="T54" fmla="*/ 0 w 655"/>
                  <a:gd name="T55" fmla="*/ 0 h 2649"/>
                  <a:gd name="T56" fmla="*/ 0 w 655"/>
                  <a:gd name="T57" fmla="*/ 0 h 2649"/>
                  <a:gd name="T58" fmla="*/ 0 w 655"/>
                  <a:gd name="T59" fmla="*/ 0 h 2649"/>
                  <a:gd name="T60" fmla="*/ 0 w 655"/>
                  <a:gd name="T61" fmla="*/ 0 h 2649"/>
                  <a:gd name="T62" fmla="*/ 0 w 655"/>
                  <a:gd name="T63" fmla="*/ 0 h 2649"/>
                  <a:gd name="T64" fmla="*/ 0 w 655"/>
                  <a:gd name="T65" fmla="*/ 0 h 2649"/>
                  <a:gd name="T66" fmla="*/ 0 w 655"/>
                  <a:gd name="T67" fmla="*/ 0 h 2649"/>
                  <a:gd name="T68" fmla="*/ 0 w 655"/>
                  <a:gd name="T69" fmla="*/ 0 h 2649"/>
                  <a:gd name="T70" fmla="*/ 0 w 655"/>
                  <a:gd name="T71" fmla="*/ 0 h 2649"/>
                  <a:gd name="T72" fmla="*/ 0 w 655"/>
                  <a:gd name="T73" fmla="*/ 0 h 2649"/>
                  <a:gd name="T74" fmla="*/ 0 w 655"/>
                  <a:gd name="T75" fmla="*/ 0 h 2649"/>
                  <a:gd name="T76" fmla="*/ 0 w 655"/>
                  <a:gd name="T77" fmla="*/ 0 h 2649"/>
                  <a:gd name="T78" fmla="*/ 0 w 655"/>
                  <a:gd name="T79" fmla="*/ 0 h 2649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w 655"/>
                  <a:gd name="T121" fmla="*/ 0 h 2649"/>
                  <a:gd name="T122" fmla="*/ 655 w 655"/>
                  <a:gd name="T123" fmla="*/ 2649 h 2649"/>
                </a:gdLst>
                <a:ahLst/>
                <a:cxnLst>
                  <a:cxn ang="T80">
                    <a:pos x="T0" y="T1"/>
                  </a:cxn>
                  <a:cxn ang="T81">
                    <a:pos x="T2" y="T3"/>
                  </a:cxn>
                  <a:cxn ang="T82">
                    <a:pos x="T4" y="T5"/>
                  </a:cxn>
                  <a:cxn ang="T83">
                    <a:pos x="T6" y="T7"/>
                  </a:cxn>
                  <a:cxn ang="T84">
                    <a:pos x="T8" y="T9"/>
                  </a:cxn>
                  <a:cxn ang="T85">
                    <a:pos x="T10" y="T11"/>
                  </a:cxn>
                  <a:cxn ang="T86">
                    <a:pos x="T12" y="T13"/>
                  </a:cxn>
                  <a:cxn ang="T87">
                    <a:pos x="T14" y="T15"/>
                  </a:cxn>
                  <a:cxn ang="T88">
                    <a:pos x="T16" y="T17"/>
                  </a:cxn>
                  <a:cxn ang="T89">
                    <a:pos x="T18" y="T19"/>
                  </a:cxn>
                  <a:cxn ang="T90">
                    <a:pos x="T20" y="T21"/>
                  </a:cxn>
                  <a:cxn ang="T91">
                    <a:pos x="T22" y="T23"/>
                  </a:cxn>
                  <a:cxn ang="T92">
                    <a:pos x="T24" y="T25"/>
                  </a:cxn>
                  <a:cxn ang="T93">
                    <a:pos x="T26" y="T27"/>
                  </a:cxn>
                  <a:cxn ang="T94">
                    <a:pos x="T28" y="T29"/>
                  </a:cxn>
                  <a:cxn ang="T95">
                    <a:pos x="T30" y="T31"/>
                  </a:cxn>
                  <a:cxn ang="T96">
                    <a:pos x="T32" y="T33"/>
                  </a:cxn>
                  <a:cxn ang="T97">
                    <a:pos x="T34" y="T35"/>
                  </a:cxn>
                  <a:cxn ang="T98">
                    <a:pos x="T36" y="T37"/>
                  </a:cxn>
                  <a:cxn ang="T99">
                    <a:pos x="T38" y="T39"/>
                  </a:cxn>
                  <a:cxn ang="T100">
                    <a:pos x="T40" y="T41"/>
                  </a:cxn>
                  <a:cxn ang="T101">
                    <a:pos x="T42" y="T43"/>
                  </a:cxn>
                  <a:cxn ang="T102">
                    <a:pos x="T44" y="T45"/>
                  </a:cxn>
                  <a:cxn ang="T103">
                    <a:pos x="T46" y="T47"/>
                  </a:cxn>
                  <a:cxn ang="T104">
                    <a:pos x="T48" y="T49"/>
                  </a:cxn>
                  <a:cxn ang="T105">
                    <a:pos x="T50" y="T51"/>
                  </a:cxn>
                  <a:cxn ang="T106">
                    <a:pos x="T52" y="T53"/>
                  </a:cxn>
                  <a:cxn ang="T107">
                    <a:pos x="T54" y="T55"/>
                  </a:cxn>
                  <a:cxn ang="T108">
                    <a:pos x="T56" y="T57"/>
                  </a:cxn>
                  <a:cxn ang="T109">
                    <a:pos x="T58" y="T59"/>
                  </a:cxn>
                  <a:cxn ang="T110">
                    <a:pos x="T60" y="T61"/>
                  </a:cxn>
                  <a:cxn ang="T111">
                    <a:pos x="T62" y="T63"/>
                  </a:cxn>
                  <a:cxn ang="T112">
                    <a:pos x="T64" y="T65"/>
                  </a:cxn>
                  <a:cxn ang="T113">
                    <a:pos x="T66" y="T67"/>
                  </a:cxn>
                  <a:cxn ang="T114">
                    <a:pos x="T68" y="T69"/>
                  </a:cxn>
                  <a:cxn ang="T115">
                    <a:pos x="T70" y="T71"/>
                  </a:cxn>
                  <a:cxn ang="T116">
                    <a:pos x="T72" y="T73"/>
                  </a:cxn>
                  <a:cxn ang="T117">
                    <a:pos x="T74" y="T75"/>
                  </a:cxn>
                  <a:cxn ang="T118">
                    <a:pos x="T76" y="T77"/>
                  </a:cxn>
                  <a:cxn ang="T119">
                    <a:pos x="T78" y="T79"/>
                  </a:cxn>
                </a:cxnLst>
                <a:rect l="T120" t="T121" r="T122" b="T123"/>
                <a:pathLst>
                  <a:path w="655" h="2649">
                    <a:moveTo>
                      <a:pt x="414" y="2"/>
                    </a:moveTo>
                    <a:lnTo>
                      <a:pt x="440" y="1"/>
                    </a:lnTo>
                    <a:lnTo>
                      <a:pt x="465" y="0"/>
                    </a:lnTo>
                    <a:lnTo>
                      <a:pt x="492" y="0"/>
                    </a:lnTo>
                    <a:lnTo>
                      <a:pt x="519" y="0"/>
                    </a:lnTo>
                    <a:lnTo>
                      <a:pt x="546" y="0"/>
                    </a:lnTo>
                    <a:lnTo>
                      <a:pt x="572" y="1"/>
                    </a:lnTo>
                    <a:lnTo>
                      <a:pt x="599" y="2"/>
                    </a:lnTo>
                    <a:lnTo>
                      <a:pt x="627" y="3"/>
                    </a:lnTo>
                    <a:lnTo>
                      <a:pt x="634" y="4"/>
                    </a:lnTo>
                    <a:lnTo>
                      <a:pt x="642" y="4"/>
                    </a:lnTo>
                    <a:lnTo>
                      <a:pt x="647" y="98"/>
                    </a:lnTo>
                    <a:lnTo>
                      <a:pt x="651" y="192"/>
                    </a:lnTo>
                    <a:lnTo>
                      <a:pt x="653" y="285"/>
                    </a:lnTo>
                    <a:lnTo>
                      <a:pt x="655" y="378"/>
                    </a:lnTo>
                    <a:lnTo>
                      <a:pt x="655" y="469"/>
                    </a:lnTo>
                    <a:lnTo>
                      <a:pt x="654" y="561"/>
                    </a:lnTo>
                    <a:lnTo>
                      <a:pt x="653" y="652"/>
                    </a:lnTo>
                    <a:lnTo>
                      <a:pt x="650" y="742"/>
                    </a:lnTo>
                    <a:lnTo>
                      <a:pt x="646" y="831"/>
                    </a:lnTo>
                    <a:lnTo>
                      <a:pt x="641" y="919"/>
                    </a:lnTo>
                    <a:lnTo>
                      <a:pt x="636" y="1008"/>
                    </a:lnTo>
                    <a:lnTo>
                      <a:pt x="629" y="1095"/>
                    </a:lnTo>
                    <a:lnTo>
                      <a:pt x="621" y="1182"/>
                    </a:lnTo>
                    <a:lnTo>
                      <a:pt x="613" y="1269"/>
                    </a:lnTo>
                    <a:lnTo>
                      <a:pt x="604" y="1354"/>
                    </a:lnTo>
                    <a:lnTo>
                      <a:pt x="593" y="1438"/>
                    </a:lnTo>
                    <a:lnTo>
                      <a:pt x="583" y="1521"/>
                    </a:lnTo>
                    <a:lnTo>
                      <a:pt x="572" y="1604"/>
                    </a:lnTo>
                    <a:lnTo>
                      <a:pt x="559" y="1686"/>
                    </a:lnTo>
                    <a:lnTo>
                      <a:pt x="547" y="1766"/>
                    </a:lnTo>
                    <a:lnTo>
                      <a:pt x="534" y="1846"/>
                    </a:lnTo>
                    <a:lnTo>
                      <a:pt x="520" y="1925"/>
                    </a:lnTo>
                    <a:lnTo>
                      <a:pt x="507" y="2003"/>
                    </a:lnTo>
                    <a:lnTo>
                      <a:pt x="492" y="2080"/>
                    </a:lnTo>
                    <a:lnTo>
                      <a:pt x="477" y="2155"/>
                    </a:lnTo>
                    <a:lnTo>
                      <a:pt x="461" y="2230"/>
                    </a:lnTo>
                    <a:lnTo>
                      <a:pt x="446" y="2302"/>
                    </a:lnTo>
                    <a:lnTo>
                      <a:pt x="430" y="2374"/>
                    </a:lnTo>
                    <a:lnTo>
                      <a:pt x="397" y="2515"/>
                    </a:lnTo>
                    <a:lnTo>
                      <a:pt x="364" y="2649"/>
                    </a:lnTo>
                    <a:lnTo>
                      <a:pt x="317" y="2637"/>
                    </a:lnTo>
                    <a:lnTo>
                      <a:pt x="270" y="2625"/>
                    </a:lnTo>
                    <a:lnTo>
                      <a:pt x="224" y="2611"/>
                    </a:lnTo>
                    <a:lnTo>
                      <a:pt x="178" y="2596"/>
                    </a:lnTo>
                    <a:lnTo>
                      <a:pt x="133" y="2581"/>
                    </a:lnTo>
                    <a:lnTo>
                      <a:pt x="88" y="2565"/>
                    </a:lnTo>
                    <a:lnTo>
                      <a:pt x="44" y="2548"/>
                    </a:lnTo>
                    <a:lnTo>
                      <a:pt x="0" y="2531"/>
                    </a:lnTo>
                    <a:lnTo>
                      <a:pt x="22" y="2464"/>
                    </a:lnTo>
                    <a:lnTo>
                      <a:pt x="43" y="2397"/>
                    </a:lnTo>
                    <a:lnTo>
                      <a:pt x="64" y="2329"/>
                    </a:lnTo>
                    <a:lnTo>
                      <a:pt x="85" y="2260"/>
                    </a:lnTo>
                    <a:lnTo>
                      <a:pt x="105" y="2189"/>
                    </a:lnTo>
                    <a:lnTo>
                      <a:pt x="124" y="2118"/>
                    </a:lnTo>
                    <a:lnTo>
                      <a:pt x="144" y="2046"/>
                    </a:lnTo>
                    <a:lnTo>
                      <a:pt x="164" y="1972"/>
                    </a:lnTo>
                    <a:lnTo>
                      <a:pt x="182" y="1898"/>
                    </a:lnTo>
                    <a:lnTo>
                      <a:pt x="200" y="1822"/>
                    </a:lnTo>
                    <a:lnTo>
                      <a:pt x="217" y="1746"/>
                    </a:lnTo>
                    <a:lnTo>
                      <a:pt x="235" y="1668"/>
                    </a:lnTo>
                    <a:lnTo>
                      <a:pt x="251" y="1591"/>
                    </a:lnTo>
                    <a:lnTo>
                      <a:pt x="267" y="1512"/>
                    </a:lnTo>
                    <a:lnTo>
                      <a:pt x="282" y="1432"/>
                    </a:lnTo>
                    <a:lnTo>
                      <a:pt x="297" y="1352"/>
                    </a:lnTo>
                    <a:lnTo>
                      <a:pt x="311" y="1271"/>
                    </a:lnTo>
                    <a:lnTo>
                      <a:pt x="324" y="1190"/>
                    </a:lnTo>
                    <a:lnTo>
                      <a:pt x="336" y="1108"/>
                    </a:lnTo>
                    <a:lnTo>
                      <a:pt x="349" y="1025"/>
                    </a:lnTo>
                    <a:lnTo>
                      <a:pt x="359" y="942"/>
                    </a:lnTo>
                    <a:lnTo>
                      <a:pt x="369" y="858"/>
                    </a:lnTo>
                    <a:lnTo>
                      <a:pt x="378" y="775"/>
                    </a:lnTo>
                    <a:lnTo>
                      <a:pt x="386" y="690"/>
                    </a:lnTo>
                    <a:lnTo>
                      <a:pt x="393" y="605"/>
                    </a:lnTo>
                    <a:lnTo>
                      <a:pt x="399" y="519"/>
                    </a:lnTo>
                    <a:lnTo>
                      <a:pt x="404" y="433"/>
                    </a:lnTo>
                    <a:lnTo>
                      <a:pt x="409" y="348"/>
                    </a:lnTo>
                    <a:lnTo>
                      <a:pt x="412" y="262"/>
                    </a:lnTo>
                    <a:lnTo>
                      <a:pt x="413" y="176"/>
                    </a:lnTo>
                    <a:lnTo>
                      <a:pt x="414" y="89"/>
                    </a:lnTo>
                    <a:lnTo>
                      <a:pt x="414" y="2"/>
                    </a:lnTo>
                    <a:close/>
                  </a:path>
                </a:pathLst>
              </a:custGeom>
              <a:solidFill>
                <a:srgbClr val="23509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26" name="Freeform 102"/>
              <p:cNvSpPr>
                <a:spLocks/>
              </p:cNvSpPr>
              <p:nvPr/>
            </p:nvSpPr>
            <p:spPr bwMode="auto">
              <a:xfrm>
                <a:off x="3272" y="1266"/>
                <a:ext cx="106" cy="361"/>
              </a:xfrm>
              <a:custGeom>
                <a:avLst/>
                <a:gdLst>
                  <a:gd name="T0" fmla="*/ 0 w 747"/>
                  <a:gd name="T1" fmla="*/ 0 h 2529"/>
                  <a:gd name="T2" fmla="*/ 0 w 747"/>
                  <a:gd name="T3" fmla="*/ 0 h 2529"/>
                  <a:gd name="T4" fmla="*/ 0 w 747"/>
                  <a:gd name="T5" fmla="*/ 0 h 2529"/>
                  <a:gd name="T6" fmla="*/ 0 w 747"/>
                  <a:gd name="T7" fmla="*/ 0 h 2529"/>
                  <a:gd name="T8" fmla="*/ 0 w 747"/>
                  <a:gd name="T9" fmla="*/ 0 h 2529"/>
                  <a:gd name="T10" fmla="*/ 0 w 747"/>
                  <a:gd name="T11" fmla="*/ 0 h 2529"/>
                  <a:gd name="T12" fmla="*/ 0 w 747"/>
                  <a:gd name="T13" fmla="*/ 0 h 2529"/>
                  <a:gd name="T14" fmla="*/ 0 w 747"/>
                  <a:gd name="T15" fmla="*/ 0 h 2529"/>
                  <a:gd name="T16" fmla="*/ 0 w 747"/>
                  <a:gd name="T17" fmla="*/ 0 h 2529"/>
                  <a:gd name="T18" fmla="*/ 0 w 747"/>
                  <a:gd name="T19" fmla="*/ 0 h 2529"/>
                  <a:gd name="T20" fmla="*/ 0 w 747"/>
                  <a:gd name="T21" fmla="*/ 0 h 2529"/>
                  <a:gd name="T22" fmla="*/ 0 w 747"/>
                  <a:gd name="T23" fmla="*/ 0 h 2529"/>
                  <a:gd name="T24" fmla="*/ 0 w 747"/>
                  <a:gd name="T25" fmla="*/ 0 h 2529"/>
                  <a:gd name="T26" fmla="*/ 0 w 747"/>
                  <a:gd name="T27" fmla="*/ 0 h 2529"/>
                  <a:gd name="T28" fmla="*/ 0 w 747"/>
                  <a:gd name="T29" fmla="*/ 0 h 2529"/>
                  <a:gd name="T30" fmla="*/ 0 w 747"/>
                  <a:gd name="T31" fmla="*/ 0 h 2529"/>
                  <a:gd name="T32" fmla="*/ 0 w 747"/>
                  <a:gd name="T33" fmla="*/ 0 h 2529"/>
                  <a:gd name="T34" fmla="*/ 0 w 747"/>
                  <a:gd name="T35" fmla="*/ 0 h 2529"/>
                  <a:gd name="T36" fmla="*/ 0 w 747"/>
                  <a:gd name="T37" fmla="*/ 0 h 2529"/>
                  <a:gd name="T38" fmla="*/ 0 w 747"/>
                  <a:gd name="T39" fmla="*/ 0 h 2529"/>
                  <a:gd name="T40" fmla="*/ 0 w 747"/>
                  <a:gd name="T41" fmla="*/ 0 h 2529"/>
                  <a:gd name="T42" fmla="*/ 0 w 747"/>
                  <a:gd name="T43" fmla="*/ 0 h 2529"/>
                  <a:gd name="T44" fmla="*/ 0 w 747"/>
                  <a:gd name="T45" fmla="*/ 0 h 2529"/>
                  <a:gd name="T46" fmla="*/ 0 w 747"/>
                  <a:gd name="T47" fmla="*/ 0 h 2529"/>
                  <a:gd name="T48" fmla="*/ 0 w 747"/>
                  <a:gd name="T49" fmla="*/ 0 h 2529"/>
                  <a:gd name="T50" fmla="*/ 0 w 747"/>
                  <a:gd name="T51" fmla="*/ 0 h 2529"/>
                  <a:gd name="T52" fmla="*/ 0 w 747"/>
                  <a:gd name="T53" fmla="*/ 0 h 2529"/>
                  <a:gd name="T54" fmla="*/ 0 w 747"/>
                  <a:gd name="T55" fmla="*/ 0 h 2529"/>
                  <a:gd name="T56" fmla="*/ 0 w 747"/>
                  <a:gd name="T57" fmla="*/ 0 h 2529"/>
                  <a:gd name="T58" fmla="*/ 0 w 747"/>
                  <a:gd name="T59" fmla="*/ 0 h 2529"/>
                  <a:gd name="T60" fmla="*/ 0 w 747"/>
                  <a:gd name="T61" fmla="*/ 0 h 2529"/>
                  <a:gd name="T62" fmla="*/ 0 w 747"/>
                  <a:gd name="T63" fmla="*/ 0 h 2529"/>
                  <a:gd name="T64" fmla="*/ 0 w 747"/>
                  <a:gd name="T65" fmla="*/ 0 h 2529"/>
                  <a:gd name="T66" fmla="*/ 0 w 747"/>
                  <a:gd name="T67" fmla="*/ 0 h 2529"/>
                  <a:gd name="T68" fmla="*/ 0 w 747"/>
                  <a:gd name="T69" fmla="*/ 0 h 2529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747"/>
                  <a:gd name="T106" fmla="*/ 0 h 2529"/>
                  <a:gd name="T107" fmla="*/ 747 w 747"/>
                  <a:gd name="T108" fmla="*/ 2529 h 2529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747" h="2529">
                    <a:moveTo>
                      <a:pt x="747" y="0"/>
                    </a:moveTo>
                    <a:lnTo>
                      <a:pt x="747" y="87"/>
                    </a:lnTo>
                    <a:lnTo>
                      <a:pt x="746" y="174"/>
                    </a:lnTo>
                    <a:lnTo>
                      <a:pt x="745" y="260"/>
                    </a:lnTo>
                    <a:lnTo>
                      <a:pt x="742" y="346"/>
                    </a:lnTo>
                    <a:lnTo>
                      <a:pt x="737" y="431"/>
                    </a:lnTo>
                    <a:lnTo>
                      <a:pt x="732" y="517"/>
                    </a:lnTo>
                    <a:lnTo>
                      <a:pt x="726" y="603"/>
                    </a:lnTo>
                    <a:lnTo>
                      <a:pt x="719" y="688"/>
                    </a:lnTo>
                    <a:lnTo>
                      <a:pt x="711" y="773"/>
                    </a:lnTo>
                    <a:lnTo>
                      <a:pt x="702" y="856"/>
                    </a:lnTo>
                    <a:lnTo>
                      <a:pt x="692" y="940"/>
                    </a:lnTo>
                    <a:lnTo>
                      <a:pt x="682" y="1023"/>
                    </a:lnTo>
                    <a:lnTo>
                      <a:pt x="669" y="1106"/>
                    </a:lnTo>
                    <a:lnTo>
                      <a:pt x="657" y="1188"/>
                    </a:lnTo>
                    <a:lnTo>
                      <a:pt x="644" y="1269"/>
                    </a:lnTo>
                    <a:lnTo>
                      <a:pt x="630" y="1350"/>
                    </a:lnTo>
                    <a:lnTo>
                      <a:pt x="615" y="1430"/>
                    </a:lnTo>
                    <a:lnTo>
                      <a:pt x="600" y="1510"/>
                    </a:lnTo>
                    <a:lnTo>
                      <a:pt x="584" y="1589"/>
                    </a:lnTo>
                    <a:lnTo>
                      <a:pt x="568" y="1666"/>
                    </a:lnTo>
                    <a:lnTo>
                      <a:pt x="550" y="1744"/>
                    </a:lnTo>
                    <a:lnTo>
                      <a:pt x="533" y="1820"/>
                    </a:lnTo>
                    <a:lnTo>
                      <a:pt x="515" y="1896"/>
                    </a:lnTo>
                    <a:lnTo>
                      <a:pt x="497" y="1970"/>
                    </a:lnTo>
                    <a:lnTo>
                      <a:pt x="477" y="2044"/>
                    </a:lnTo>
                    <a:lnTo>
                      <a:pt x="457" y="2116"/>
                    </a:lnTo>
                    <a:lnTo>
                      <a:pt x="438" y="2187"/>
                    </a:lnTo>
                    <a:lnTo>
                      <a:pt x="418" y="2258"/>
                    </a:lnTo>
                    <a:lnTo>
                      <a:pt x="397" y="2327"/>
                    </a:lnTo>
                    <a:lnTo>
                      <a:pt x="376" y="2395"/>
                    </a:lnTo>
                    <a:lnTo>
                      <a:pt x="355" y="2462"/>
                    </a:lnTo>
                    <a:lnTo>
                      <a:pt x="333" y="2529"/>
                    </a:lnTo>
                    <a:lnTo>
                      <a:pt x="290" y="2510"/>
                    </a:lnTo>
                    <a:lnTo>
                      <a:pt x="245" y="2490"/>
                    </a:lnTo>
                    <a:lnTo>
                      <a:pt x="203" y="2470"/>
                    </a:lnTo>
                    <a:lnTo>
                      <a:pt x="161" y="2449"/>
                    </a:lnTo>
                    <a:lnTo>
                      <a:pt x="119" y="2427"/>
                    </a:lnTo>
                    <a:lnTo>
                      <a:pt x="79" y="2405"/>
                    </a:lnTo>
                    <a:lnTo>
                      <a:pt x="39" y="2383"/>
                    </a:lnTo>
                    <a:lnTo>
                      <a:pt x="0" y="2360"/>
                    </a:lnTo>
                    <a:lnTo>
                      <a:pt x="24" y="2303"/>
                    </a:lnTo>
                    <a:lnTo>
                      <a:pt x="48" y="2245"/>
                    </a:lnTo>
                    <a:lnTo>
                      <a:pt x="72" y="2185"/>
                    </a:lnTo>
                    <a:lnTo>
                      <a:pt x="95" y="2122"/>
                    </a:lnTo>
                    <a:lnTo>
                      <a:pt x="117" y="2058"/>
                    </a:lnTo>
                    <a:lnTo>
                      <a:pt x="138" y="1992"/>
                    </a:lnTo>
                    <a:lnTo>
                      <a:pt x="160" y="1925"/>
                    </a:lnTo>
                    <a:lnTo>
                      <a:pt x="180" y="1855"/>
                    </a:lnTo>
                    <a:lnTo>
                      <a:pt x="200" y="1784"/>
                    </a:lnTo>
                    <a:lnTo>
                      <a:pt x="220" y="1713"/>
                    </a:lnTo>
                    <a:lnTo>
                      <a:pt x="238" y="1639"/>
                    </a:lnTo>
                    <a:lnTo>
                      <a:pt x="257" y="1565"/>
                    </a:lnTo>
                    <a:lnTo>
                      <a:pt x="293" y="1413"/>
                    </a:lnTo>
                    <a:lnTo>
                      <a:pt x="328" y="1258"/>
                    </a:lnTo>
                    <a:lnTo>
                      <a:pt x="361" y="1101"/>
                    </a:lnTo>
                    <a:lnTo>
                      <a:pt x="393" y="942"/>
                    </a:lnTo>
                    <a:lnTo>
                      <a:pt x="425" y="784"/>
                    </a:lnTo>
                    <a:lnTo>
                      <a:pt x="457" y="626"/>
                    </a:lnTo>
                    <a:lnTo>
                      <a:pt x="487" y="469"/>
                    </a:lnTo>
                    <a:lnTo>
                      <a:pt x="518" y="315"/>
                    </a:lnTo>
                    <a:lnTo>
                      <a:pt x="550" y="164"/>
                    </a:lnTo>
                    <a:lnTo>
                      <a:pt x="581" y="16"/>
                    </a:lnTo>
                    <a:lnTo>
                      <a:pt x="602" y="14"/>
                    </a:lnTo>
                    <a:lnTo>
                      <a:pt x="622" y="11"/>
                    </a:lnTo>
                    <a:lnTo>
                      <a:pt x="642" y="9"/>
                    </a:lnTo>
                    <a:lnTo>
                      <a:pt x="663" y="7"/>
                    </a:lnTo>
                    <a:lnTo>
                      <a:pt x="684" y="4"/>
                    </a:lnTo>
                    <a:lnTo>
                      <a:pt x="704" y="3"/>
                    </a:lnTo>
                    <a:lnTo>
                      <a:pt x="725" y="1"/>
                    </a:lnTo>
                    <a:lnTo>
                      <a:pt x="747" y="0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27" name="Freeform 103"/>
              <p:cNvSpPr>
                <a:spLocks/>
              </p:cNvSpPr>
              <p:nvPr/>
            </p:nvSpPr>
            <p:spPr bwMode="auto">
              <a:xfrm>
                <a:off x="3188" y="1369"/>
                <a:ext cx="222" cy="274"/>
              </a:xfrm>
              <a:custGeom>
                <a:avLst/>
                <a:gdLst>
                  <a:gd name="T0" fmla="*/ 0 w 1559"/>
                  <a:gd name="T1" fmla="*/ 0 h 1917"/>
                  <a:gd name="T2" fmla="*/ 0 w 1559"/>
                  <a:gd name="T3" fmla="*/ 0 h 1917"/>
                  <a:gd name="T4" fmla="*/ 0 w 1559"/>
                  <a:gd name="T5" fmla="*/ 0 h 1917"/>
                  <a:gd name="T6" fmla="*/ 0 w 1559"/>
                  <a:gd name="T7" fmla="*/ 0 h 1917"/>
                  <a:gd name="T8" fmla="*/ 0 w 1559"/>
                  <a:gd name="T9" fmla="*/ 0 h 1917"/>
                  <a:gd name="T10" fmla="*/ 0 w 1559"/>
                  <a:gd name="T11" fmla="*/ 0 h 1917"/>
                  <a:gd name="T12" fmla="*/ 0 w 1559"/>
                  <a:gd name="T13" fmla="*/ 0 h 1917"/>
                  <a:gd name="T14" fmla="*/ 0 w 1559"/>
                  <a:gd name="T15" fmla="*/ 0 h 1917"/>
                  <a:gd name="T16" fmla="*/ 0 w 1559"/>
                  <a:gd name="T17" fmla="*/ 0 h 1917"/>
                  <a:gd name="T18" fmla="*/ 0 w 1559"/>
                  <a:gd name="T19" fmla="*/ 0 h 1917"/>
                  <a:gd name="T20" fmla="*/ 0 w 1559"/>
                  <a:gd name="T21" fmla="*/ 0 h 1917"/>
                  <a:gd name="T22" fmla="*/ 0 w 1559"/>
                  <a:gd name="T23" fmla="*/ 0 h 1917"/>
                  <a:gd name="T24" fmla="*/ 0 w 1559"/>
                  <a:gd name="T25" fmla="*/ 0 h 1917"/>
                  <a:gd name="T26" fmla="*/ 0 w 1559"/>
                  <a:gd name="T27" fmla="*/ 0 h 1917"/>
                  <a:gd name="T28" fmla="*/ 0 w 1559"/>
                  <a:gd name="T29" fmla="*/ 0 h 1917"/>
                  <a:gd name="T30" fmla="*/ 0 w 1559"/>
                  <a:gd name="T31" fmla="*/ 0 h 1917"/>
                  <a:gd name="T32" fmla="*/ 0 w 1559"/>
                  <a:gd name="T33" fmla="*/ 0 h 1917"/>
                  <a:gd name="T34" fmla="*/ 0 w 1559"/>
                  <a:gd name="T35" fmla="*/ 0 h 1917"/>
                  <a:gd name="T36" fmla="*/ 0 w 1559"/>
                  <a:gd name="T37" fmla="*/ 0 h 1917"/>
                  <a:gd name="T38" fmla="*/ 0 w 1559"/>
                  <a:gd name="T39" fmla="*/ 0 h 1917"/>
                  <a:gd name="T40" fmla="*/ 0 w 1559"/>
                  <a:gd name="T41" fmla="*/ 0 h 1917"/>
                  <a:gd name="T42" fmla="*/ 0 w 1559"/>
                  <a:gd name="T43" fmla="*/ 0 h 1917"/>
                  <a:gd name="T44" fmla="*/ 0 w 1559"/>
                  <a:gd name="T45" fmla="*/ 0 h 1917"/>
                  <a:gd name="T46" fmla="*/ 0 w 1559"/>
                  <a:gd name="T47" fmla="*/ 0 h 1917"/>
                  <a:gd name="T48" fmla="*/ 0 w 1559"/>
                  <a:gd name="T49" fmla="*/ 0 h 1917"/>
                  <a:gd name="T50" fmla="*/ 0 w 1559"/>
                  <a:gd name="T51" fmla="*/ 0 h 1917"/>
                  <a:gd name="T52" fmla="*/ 0 w 1559"/>
                  <a:gd name="T53" fmla="*/ 0 h 1917"/>
                  <a:gd name="T54" fmla="*/ 0 w 1559"/>
                  <a:gd name="T55" fmla="*/ 0 h 1917"/>
                  <a:gd name="T56" fmla="*/ 0 w 1559"/>
                  <a:gd name="T57" fmla="*/ 0 h 1917"/>
                  <a:gd name="T58" fmla="*/ 0 w 1559"/>
                  <a:gd name="T59" fmla="*/ 0 h 1917"/>
                  <a:gd name="T60" fmla="*/ 0 w 1559"/>
                  <a:gd name="T61" fmla="*/ 0 h 1917"/>
                  <a:gd name="T62" fmla="*/ 0 w 1559"/>
                  <a:gd name="T63" fmla="*/ 0 h 1917"/>
                  <a:gd name="T64" fmla="*/ 0 w 1559"/>
                  <a:gd name="T65" fmla="*/ 0 h 1917"/>
                  <a:gd name="T66" fmla="*/ 0 w 1559"/>
                  <a:gd name="T67" fmla="*/ 0 h 1917"/>
                  <a:gd name="T68" fmla="*/ 0 w 1559"/>
                  <a:gd name="T69" fmla="*/ 0 h 1917"/>
                  <a:gd name="T70" fmla="*/ 0 w 1559"/>
                  <a:gd name="T71" fmla="*/ 0 h 1917"/>
                  <a:gd name="T72" fmla="*/ 0 w 1559"/>
                  <a:gd name="T73" fmla="*/ 0 h 1917"/>
                  <a:gd name="T74" fmla="*/ 0 w 1559"/>
                  <a:gd name="T75" fmla="*/ 0 h 1917"/>
                  <a:gd name="T76" fmla="*/ 0 w 1559"/>
                  <a:gd name="T77" fmla="*/ 0 h 1917"/>
                  <a:gd name="T78" fmla="*/ 0 w 1559"/>
                  <a:gd name="T79" fmla="*/ 0 h 1917"/>
                  <a:gd name="T80" fmla="*/ 0 w 1559"/>
                  <a:gd name="T81" fmla="*/ 0 h 1917"/>
                  <a:gd name="T82" fmla="*/ 0 w 1559"/>
                  <a:gd name="T83" fmla="*/ 0 h 1917"/>
                  <a:gd name="T84" fmla="*/ 0 w 1559"/>
                  <a:gd name="T85" fmla="*/ 0 h 1917"/>
                  <a:gd name="T86" fmla="*/ 0 w 1559"/>
                  <a:gd name="T87" fmla="*/ 0 h 1917"/>
                  <a:gd name="T88" fmla="*/ 0 w 1559"/>
                  <a:gd name="T89" fmla="*/ 0 h 1917"/>
                  <a:gd name="T90" fmla="*/ 0 w 1559"/>
                  <a:gd name="T91" fmla="*/ 0 h 1917"/>
                  <a:gd name="T92" fmla="*/ 0 w 1559"/>
                  <a:gd name="T93" fmla="*/ 0 h 1917"/>
                  <a:gd name="T94" fmla="*/ 0 w 1559"/>
                  <a:gd name="T95" fmla="*/ 0 h 1917"/>
                  <a:gd name="T96" fmla="*/ 0 w 1559"/>
                  <a:gd name="T97" fmla="*/ 0 h 1917"/>
                  <a:gd name="T98" fmla="*/ 0 w 1559"/>
                  <a:gd name="T99" fmla="*/ 0 h 1917"/>
                  <a:gd name="T100" fmla="*/ 0 w 1559"/>
                  <a:gd name="T101" fmla="*/ 0 h 1917"/>
                  <a:gd name="T102" fmla="*/ 0 w 1559"/>
                  <a:gd name="T103" fmla="*/ 0 h 1917"/>
                  <a:gd name="T104" fmla="*/ 0 w 1559"/>
                  <a:gd name="T105" fmla="*/ 0 h 1917"/>
                  <a:gd name="T106" fmla="*/ 0 w 1559"/>
                  <a:gd name="T107" fmla="*/ 0 h 1917"/>
                  <a:gd name="T108" fmla="*/ 0 w 1559"/>
                  <a:gd name="T109" fmla="*/ 0 h 1917"/>
                  <a:gd name="T110" fmla="*/ 0 w 1559"/>
                  <a:gd name="T111" fmla="*/ 0 h 1917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w 1559"/>
                  <a:gd name="T169" fmla="*/ 0 h 1917"/>
                  <a:gd name="T170" fmla="*/ 1559 w 1559"/>
                  <a:gd name="T171" fmla="*/ 1917 h 1917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T168" t="T169" r="T170" b="T171"/>
                <a:pathLst>
                  <a:path w="1559" h="1917">
                    <a:moveTo>
                      <a:pt x="0" y="497"/>
                    </a:moveTo>
                    <a:lnTo>
                      <a:pt x="0" y="465"/>
                    </a:lnTo>
                    <a:lnTo>
                      <a:pt x="2" y="432"/>
                    </a:lnTo>
                    <a:lnTo>
                      <a:pt x="6" y="399"/>
                    </a:lnTo>
                    <a:lnTo>
                      <a:pt x="10" y="367"/>
                    </a:lnTo>
                    <a:lnTo>
                      <a:pt x="16" y="335"/>
                    </a:lnTo>
                    <a:lnTo>
                      <a:pt x="23" y="303"/>
                    </a:lnTo>
                    <a:lnTo>
                      <a:pt x="31" y="271"/>
                    </a:lnTo>
                    <a:lnTo>
                      <a:pt x="40" y="240"/>
                    </a:lnTo>
                    <a:lnTo>
                      <a:pt x="49" y="209"/>
                    </a:lnTo>
                    <a:lnTo>
                      <a:pt x="60" y="178"/>
                    </a:lnTo>
                    <a:lnTo>
                      <a:pt x="72" y="148"/>
                    </a:lnTo>
                    <a:lnTo>
                      <a:pt x="84" y="118"/>
                    </a:lnTo>
                    <a:lnTo>
                      <a:pt x="97" y="88"/>
                    </a:lnTo>
                    <a:lnTo>
                      <a:pt x="110" y="58"/>
                    </a:lnTo>
                    <a:lnTo>
                      <a:pt x="125" y="29"/>
                    </a:lnTo>
                    <a:lnTo>
                      <a:pt x="139" y="0"/>
                    </a:lnTo>
                    <a:lnTo>
                      <a:pt x="144" y="36"/>
                    </a:lnTo>
                    <a:lnTo>
                      <a:pt x="150" y="73"/>
                    </a:lnTo>
                    <a:lnTo>
                      <a:pt x="160" y="110"/>
                    </a:lnTo>
                    <a:lnTo>
                      <a:pt x="170" y="146"/>
                    </a:lnTo>
                    <a:lnTo>
                      <a:pt x="181" y="182"/>
                    </a:lnTo>
                    <a:lnTo>
                      <a:pt x="194" y="217"/>
                    </a:lnTo>
                    <a:lnTo>
                      <a:pt x="208" y="253"/>
                    </a:lnTo>
                    <a:lnTo>
                      <a:pt x="224" y="289"/>
                    </a:lnTo>
                    <a:lnTo>
                      <a:pt x="241" y="324"/>
                    </a:lnTo>
                    <a:lnTo>
                      <a:pt x="259" y="358"/>
                    </a:lnTo>
                    <a:lnTo>
                      <a:pt x="277" y="392"/>
                    </a:lnTo>
                    <a:lnTo>
                      <a:pt x="298" y="426"/>
                    </a:lnTo>
                    <a:lnTo>
                      <a:pt x="319" y="459"/>
                    </a:lnTo>
                    <a:lnTo>
                      <a:pt x="341" y="492"/>
                    </a:lnTo>
                    <a:lnTo>
                      <a:pt x="362" y="524"/>
                    </a:lnTo>
                    <a:lnTo>
                      <a:pt x="386" y="556"/>
                    </a:lnTo>
                    <a:lnTo>
                      <a:pt x="410" y="587"/>
                    </a:lnTo>
                    <a:lnTo>
                      <a:pt x="434" y="618"/>
                    </a:lnTo>
                    <a:lnTo>
                      <a:pt x="458" y="648"/>
                    </a:lnTo>
                    <a:lnTo>
                      <a:pt x="483" y="677"/>
                    </a:lnTo>
                    <a:lnTo>
                      <a:pt x="509" y="705"/>
                    </a:lnTo>
                    <a:lnTo>
                      <a:pt x="535" y="733"/>
                    </a:lnTo>
                    <a:lnTo>
                      <a:pt x="560" y="760"/>
                    </a:lnTo>
                    <a:lnTo>
                      <a:pt x="586" y="786"/>
                    </a:lnTo>
                    <a:lnTo>
                      <a:pt x="612" y="811"/>
                    </a:lnTo>
                    <a:lnTo>
                      <a:pt x="638" y="836"/>
                    </a:lnTo>
                    <a:lnTo>
                      <a:pt x="664" y="858"/>
                    </a:lnTo>
                    <a:lnTo>
                      <a:pt x="689" y="881"/>
                    </a:lnTo>
                    <a:lnTo>
                      <a:pt x="715" y="902"/>
                    </a:lnTo>
                    <a:lnTo>
                      <a:pt x="739" y="922"/>
                    </a:lnTo>
                    <a:lnTo>
                      <a:pt x="764" y="941"/>
                    </a:lnTo>
                    <a:lnTo>
                      <a:pt x="788" y="959"/>
                    </a:lnTo>
                    <a:lnTo>
                      <a:pt x="821" y="983"/>
                    </a:lnTo>
                    <a:lnTo>
                      <a:pt x="855" y="1011"/>
                    </a:lnTo>
                    <a:lnTo>
                      <a:pt x="892" y="1041"/>
                    </a:lnTo>
                    <a:lnTo>
                      <a:pt x="932" y="1073"/>
                    </a:lnTo>
                    <a:lnTo>
                      <a:pt x="971" y="1109"/>
                    </a:lnTo>
                    <a:lnTo>
                      <a:pt x="1012" y="1145"/>
                    </a:lnTo>
                    <a:lnTo>
                      <a:pt x="1055" y="1183"/>
                    </a:lnTo>
                    <a:lnTo>
                      <a:pt x="1097" y="1222"/>
                    </a:lnTo>
                    <a:lnTo>
                      <a:pt x="1138" y="1264"/>
                    </a:lnTo>
                    <a:lnTo>
                      <a:pt x="1181" y="1305"/>
                    </a:lnTo>
                    <a:lnTo>
                      <a:pt x="1222" y="1347"/>
                    </a:lnTo>
                    <a:lnTo>
                      <a:pt x="1262" y="1390"/>
                    </a:lnTo>
                    <a:lnTo>
                      <a:pt x="1302" y="1433"/>
                    </a:lnTo>
                    <a:lnTo>
                      <a:pt x="1340" y="1476"/>
                    </a:lnTo>
                    <a:lnTo>
                      <a:pt x="1376" y="1517"/>
                    </a:lnTo>
                    <a:lnTo>
                      <a:pt x="1409" y="1558"/>
                    </a:lnTo>
                    <a:lnTo>
                      <a:pt x="1440" y="1599"/>
                    </a:lnTo>
                    <a:lnTo>
                      <a:pt x="1469" y="1638"/>
                    </a:lnTo>
                    <a:lnTo>
                      <a:pt x="1494" y="1676"/>
                    </a:lnTo>
                    <a:lnTo>
                      <a:pt x="1515" y="1711"/>
                    </a:lnTo>
                    <a:lnTo>
                      <a:pt x="1533" y="1745"/>
                    </a:lnTo>
                    <a:lnTo>
                      <a:pt x="1546" y="1778"/>
                    </a:lnTo>
                    <a:lnTo>
                      <a:pt x="1555" y="1806"/>
                    </a:lnTo>
                    <a:lnTo>
                      <a:pt x="1559" y="1832"/>
                    </a:lnTo>
                    <a:lnTo>
                      <a:pt x="1558" y="1856"/>
                    </a:lnTo>
                    <a:lnTo>
                      <a:pt x="1552" y="1876"/>
                    </a:lnTo>
                    <a:lnTo>
                      <a:pt x="1539" y="1892"/>
                    </a:lnTo>
                    <a:lnTo>
                      <a:pt x="1521" y="1905"/>
                    </a:lnTo>
                    <a:lnTo>
                      <a:pt x="1496" y="1913"/>
                    </a:lnTo>
                    <a:lnTo>
                      <a:pt x="1464" y="1917"/>
                    </a:lnTo>
                    <a:lnTo>
                      <a:pt x="1425" y="1916"/>
                    </a:lnTo>
                    <a:lnTo>
                      <a:pt x="1378" y="1911"/>
                    </a:lnTo>
                    <a:lnTo>
                      <a:pt x="1289" y="1895"/>
                    </a:lnTo>
                    <a:lnTo>
                      <a:pt x="1204" y="1878"/>
                    </a:lnTo>
                    <a:lnTo>
                      <a:pt x="1122" y="1857"/>
                    </a:lnTo>
                    <a:lnTo>
                      <a:pt x="1042" y="1835"/>
                    </a:lnTo>
                    <a:lnTo>
                      <a:pt x="967" y="1812"/>
                    </a:lnTo>
                    <a:lnTo>
                      <a:pt x="893" y="1786"/>
                    </a:lnTo>
                    <a:lnTo>
                      <a:pt x="823" y="1758"/>
                    </a:lnTo>
                    <a:lnTo>
                      <a:pt x="756" y="1728"/>
                    </a:lnTo>
                    <a:lnTo>
                      <a:pt x="692" y="1696"/>
                    </a:lnTo>
                    <a:lnTo>
                      <a:pt x="631" y="1662"/>
                    </a:lnTo>
                    <a:lnTo>
                      <a:pt x="573" y="1627"/>
                    </a:lnTo>
                    <a:lnTo>
                      <a:pt x="518" y="1589"/>
                    </a:lnTo>
                    <a:lnTo>
                      <a:pt x="466" y="1550"/>
                    </a:lnTo>
                    <a:lnTo>
                      <a:pt x="416" y="1509"/>
                    </a:lnTo>
                    <a:lnTo>
                      <a:pt x="369" y="1466"/>
                    </a:lnTo>
                    <a:lnTo>
                      <a:pt x="326" y="1421"/>
                    </a:lnTo>
                    <a:lnTo>
                      <a:pt x="286" y="1375"/>
                    </a:lnTo>
                    <a:lnTo>
                      <a:pt x="248" y="1327"/>
                    </a:lnTo>
                    <a:lnTo>
                      <a:pt x="212" y="1277"/>
                    </a:lnTo>
                    <a:lnTo>
                      <a:pt x="180" y="1226"/>
                    </a:lnTo>
                    <a:lnTo>
                      <a:pt x="150" y="1174"/>
                    </a:lnTo>
                    <a:lnTo>
                      <a:pt x="124" y="1119"/>
                    </a:lnTo>
                    <a:lnTo>
                      <a:pt x="99" y="1063"/>
                    </a:lnTo>
                    <a:lnTo>
                      <a:pt x="78" y="1006"/>
                    </a:lnTo>
                    <a:lnTo>
                      <a:pt x="58" y="947"/>
                    </a:lnTo>
                    <a:lnTo>
                      <a:pt x="42" y="887"/>
                    </a:lnTo>
                    <a:lnTo>
                      <a:pt x="28" y="825"/>
                    </a:lnTo>
                    <a:lnTo>
                      <a:pt x="18" y="763"/>
                    </a:lnTo>
                    <a:lnTo>
                      <a:pt x="9" y="698"/>
                    </a:lnTo>
                    <a:lnTo>
                      <a:pt x="4" y="633"/>
                    </a:lnTo>
                    <a:lnTo>
                      <a:pt x="0" y="566"/>
                    </a:lnTo>
                    <a:lnTo>
                      <a:pt x="0" y="497"/>
                    </a:lnTo>
                    <a:close/>
                  </a:path>
                </a:pathLst>
              </a:custGeom>
              <a:solidFill>
                <a:srgbClr val="0D9F38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28" name="Freeform 104"/>
              <p:cNvSpPr>
                <a:spLocks/>
              </p:cNvSpPr>
              <p:nvPr/>
            </p:nvSpPr>
            <p:spPr bwMode="auto">
              <a:xfrm>
                <a:off x="3371" y="1545"/>
                <a:ext cx="72" cy="108"/>
              </a:xfrm>
              <a:custGeom>
                <a:avLst/>
                <a:gdLst>
                  <a:gd name="T0" fmla="*/ 0 w 502"/>
                  <a:gd name="T1" fmla="*/ 0 h 756"/>
                  <a:gd name="T2" fmla="*/ 0 w 502"/>
                  <a:gd name="T3" fmla="*/ 0 h 756"/>
                  <a:gd name="T4" fmla="*/ 0 w 502"/>
                  <a:gd name="T5" fmla="*/ 0 h 756"/>
                  <a:gd name="T6" fmla="*/ 0 w 502"/>
                  <a:gd name="T7" fmla="*/ 0 h 756"/>
                  <a:gd name="T8" fmla="*/ 0 w 502"/>
                  <a:gd name="T9" fmla="*/ 0 h 756"/>
                  <a:gd name="T10" fmla="*/ 0 w 502"/>
                  <a:gd name="T11" fmla="*/ 0 h 756"/>
                  <a:gd name="T12" fmla="*/ 0 w 502"/>
                  <a:gd name="T13" fmla="*/ 0 h 756"/>
                  <a:gd name="T14" fmla="*/ 0 w 502"/>
                  <a:gd name="T15" fmla="*/ 0 h 756"/>
                  <a:gd name="T16" fmla="*/ 0 w 502"/>
                  <a:gd name="T17" fmla="*/ 0 h 756"/>
                  <a:gd name="T18" fmla="*/ 0 w 502"/>
                  <a:gd name="T19" fmla="*/ 0 h 756"/>
                  <a:gd name="T20" fmla="*/ 0 w 502"/>
                  <a:gd name="T21" fmla="*/ 0 h 756"/>
                  <a:gd name="T22" fmla="*/ 0 w 502"/>
                  <a:gd name="T23" fmla="*/ 0 h 756"/>
                  <a:gd name="T24" fmla="*/ 0 w 502"/>
                  <a:gd name="T25" fmla="*/ 0 h 756"/>
                  <a:gd name="T26" fmla="*/ 0 w 502"/>
                  <a:gd name="T27" fmla="*/ 0 h 756"/>
                  <a:gd name="T28" fmla="*/ 0 w 502"/>
                  <a:gd name="T29" fmla="*/ 0 h 756"/>
                  <a:gd name="T30" fmla="*/ 0 w 502"/>
                  <a:gd name="T31" fmla="*/ 0 h 756"/>
                  <a:gd name="T32" fmla="*/ 0 w 502"/>
                  <a:gd name="T33" fmla="*/ 0 h 756"/>
                  <a:gd name="T34" fmla="*/ 0 w 502"/>
                  <a:gd name="T35" fmla="*/ 0 h 756"/>
                  <a:gd name="T36" fmla="*/ 0 w 502"/>
                  <a:gd name="T37" fmla="*/ 0 h 756"/>
                  <a:gd name="T38" fmla="*/ 0 w 502"/>
                  <a:gd name="T39" fmla="*/ 0 h 756"/>
                  <a:gd name="T40" fmla="*/ 0 w 502"/>
                  <a:gd name="T41" fmla="*/ 0 h 756"/>
                  <a:gd name="T42" fmla="*/ 0 w 502"/>
                  <a:gd name="T43" fmla="*/ 0 h 756"/>
                  <a:gd name="T44" fmla="*/ 0 w 502"/>
                  <a:gd name="T45" fmla="*/ 0 h 756"/>
                  <a:gd name="T46" fmla="*/ 0 w 502"/>
                  <a:gd name="T47" fmla="*/ 0 h 756"/>
                  <a:gd name="T48" fmla="*/ 0 w 502"/>
                  <a:gd name="T49" fmla="*/ 0 h 756"/>
                  <a:gd name="T50" fmla="*/ 0 w 502"/>
                  <a:gd name="T51" fmla="*/ 0 h 756"/>
                  <a:gd name="T52" fmla="*/ 0 w 502"/>
                  <a:gd name="T53" fmla="*/ 0 h 756"/>
                  <a:gd name="T54" fmla="*/ 0 w 502"/>
                  <a:gd name="T55" fmla="*/ 0 h 756"/>
                  <a:gd name="T56" fmla="*/ 0 w 502"/>
                  <a:gd name="T57" fmla="*/ 0 h 756"/>
                  <a:gd name="T58" fmla="*/ 0 w 502"/>
                  <a:gd name="T59" fmla="*/ 0 h 756"/>
                  <a:gd name="T60" fmla="*/ 0 w 502"/>
                  <a:gd name="T61" fmla="*/ 0 h 756"/>
                  <a:gd name="T62" fmla="*/ 0 w 502"/>
                  <a:gd name="T63" fmla="*/ 0 h 756"/>
                  <a:gd name="T64" fmla="*/ 0 w 502"/>
                  <a:gd name="T65" fmla="*/ 0 h 756"/>
                  <a:gd name="T66" fmla="*/ 0 w 502"/>
                  <a:gd name="T67" fmla="*/ 0 h 756"/>
                  <a:gd name="T68" fmla="*/ 0 w 502"/>
                  <a:gd name="T69" fmla="*/ 0 h 756"/>
                  <a:gd name="T70" fmla="*/ 0 w 502"/>
                  <a:gd name="T71" fmla="*/ 0 h 756"/>
                  <a:gd name="T72" fmla="*/ 0 w 502"/>
                  <a:gd name="T73" fmla="*/ 0 h 75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w 502"/>
                  <a:gd name="T112" fmla="*/ 0 h 756"/>
                  <a:gd name="T113" fmla="*/ 502 w 502"/>
                  <a:gd name="T114" fmla="*/ 756 h 756"/>
                </a:gdLst>
                <a:ahLst/>
                <a:cxnLst>
                  <a:cxn ang="T74">
                    <a:pos x="T0" y="T1"/>
                  </a:cxn>
                  <a:cxn ang="T75">
                    <a:pos x="T2" y="T3"/>
                  </a:cxn>
                  <a:cxn ang="T76">
                    <a:pos x="T4" y="T5"/>
                  </a:cxn>
                  <a:cxn ang="T77">
                    <a:pos x="T6" y="T7"/>
                  </a:cxn>
                  <a:cxn ang="T78">
                    <a:pos x="T8" y="T9"/>
                  </a:cxn>
                  <a:cxn ang="T79">
                    <a:pos x="T10" y="T11"/>
                  </a:cxn>
                  <a:cxn ang="T80">
                    <a:pos x="T12" y="T13"/>
                  </a:cxn>
                  <a:cxn ang="T81">
                    <a:pos x="T14" y="T15"/>
                  </a:cxn>
                  <a:cxn ang="T82">
                    <a:pos x="T16" y="T17"/>
                  </a:cxn>
                  <a:cxn ang="T83">
                    <a:pos x="T18" y="T19"/>
                  </a:cxn>
                  <a:cxn ang="T84">
                    <a:pos x="T20" y="T21"/>
                  </a:cxn>
                  <a:cxn ang="T85">
                    <a:pos x="T22" y="T23"/>
                  </a:cxn>
                  <a:cxn ang="T86">
                    <a:pos x="T24" y="T25"/>
                  </a:cxn>
                  <a:cxn ang="T87">
                    <a:pos x="T26" y="T27"/>
                  </a:cxn>
                  <a:cxn ang="T88">
                    <a:pos x="T28" y="T29"/>
                  </a:cxn>
                  <a:cxn ang="T89">
                    <a:pos x="T30" y="T31"/>
                  </a:cxn>
                  <a:cxn ang="T90">
                    <a:pos x="T32" y="T33"/>
                  </a:cxn>
                  <a:cxn ang="T91">
                    <a:pos x="T34" y="T35"/>
                  </a:cxn>
                  <a:cxn ang="T92">
                    <a:pos x="T36" y="T37"/>
                  </a:cxn>
                  <a:cxn ang="T93">
                    <a:pos x="T38" y="T39"/>
                  </a:cxn>
                  <a:cxn ang="T94">
                    <a:pos x="T40" y="T41"/>
                  </a:cxn>
                  <a:cxn ang="T95">
                    <a:pos x="T42" y="T43"/>
                  </a:cxn>
                  <a:cxn ang="T96">
                    <a:pos x="T44" y="T45"/>
                  </a:cxn>
                  <a:cxn ang="T97">
                    <a:pos x="T46" y="T47"/>
                  </a:cxn>
                  <a:cxn ang="T98">
                    <a:pos x="T48" y="T49"/>
                  </a:cxn>
                  <a:cxn ang="T99">
                    <a:pos x="T50" y="T51"/>
                  </a:cxn>
                  <a:cxn ang="T100">
                    <a:pos x="T52" y="T53"/>
                  </a:cxn>
                  <a:cxn ang="T101">
                    <a:pos x="T54" y="T55"/>
                  </a:cxn>
                  <a:cxn ang="T102">
                    <a:pos x="T56" y="T57"/>
                  </a:cxn>
                  <a:cxn ang="T103">
                    <a:pos x="T58" y="T59"/>
                  </a:cxn>
                  <a:cxn ang="T104">
                    <a:pos x="T60" y="T61"/>
                  </a:cxn>
                  <a:cxn ang="T105">
                    <a:pos x="T62" y="T63"/>
                  </a:cxn>
                  <a:cxn ang="T106">
                    <a:pos x="T64" y="T65"/>
                  </a:cxn>
                  <a:cxn ang="T107">
                    <a:pos x="T66" y="T67"/>
                  </a:cxn>
                  <a:cxn ang="T108">
                    <a:pos x="T68" y="T69"/>
                  </a:cxn>
                  <a:cxn ang="T109">
                    <a:pos x="T70" y="T71"/>
                  </a:cxn>
                  <a:cxn ang="T110">
                    <a:pos x="T72" y="T73"/>
                  </a:cxn>
                </a:cxnLst>
                <a:rect l="T111" t="T112" r="T113" b="T114"/>
                <a:pathLst>
                  <a:path w="502" h="756">
                    <a:moveTo>
                      <a:pt x="502" y="77"/>
                    </a:moveTo>
                    <a:lnTo>
                      <a:pt x="492" y="168"/>
                    </a:lnTo>
                    <a:lnTo>
                      <a:pt x="479" y="257"/>
                    </a:lnTo>
                    <a:lnTo>
                      <a:pt x="467" y="344"/>
                    </a:lnTo>
                    <a:lnTo>
                      <a:pt x="455" y="430"/>
                    </a:lnTo>
                    <a:lnTo>
                      <a:pt x="440" y="513"/>
                    </a:lnTo>
                    <a:lnTo>
                      <a:pt x="427" y="596"/>
                    </a:lnTo>
                    <a:lnTo>
                      <a:pt x="412" y="678"/>
                    </a:lnTo>
                    <a:lnTo>
                      <a:pt x="397" y="756"/>
                    </a:lnTo>
                    <a:lnTo>
                      <a:pt x="367" y="755"/>
                    </a:lnTo>
                    <a:lnTo>
                      <a:pt x="337" y="752"/>
                    </a:lnTo>
                    <a:lnTo>
                      <a:pt x="306" y="749"/>
                    </a:lnTo>
                    <a:lnTo>
                      <a:pt x="274" y="745"/>
                    </a:lnTo>
                    <a:lnTo>
                      <a:pt x="241" y="741"/>
                    </a:lnTo>
                    <a:lnTo>
                      <a:pt x="207" y="736"/>
                    </a:lnTo>
                    <a:lnTo>
                      <a:pt x="173" y="730"/>
                    </a:lnTo>
                    <a:lnTo>
                      <a:pt x="136" y="723"/>
                    </a:lnTo>
                    <a:lnTo>
                      <a:pt x="102" y="716"/>
                    </a:lnTo>
                    <a:lnTo>
                      <a:pt x="68" y="709"/>
                    </a:lnTo>
                    <a:lnTo>
                      <a:pt x="34" y="701"/>
                    </a:lnTo>
                    <a:lnTo>
                      <a:pt x="0" y="692"/>
                    </a:lnTo>
                    <a:lnTo>
                      <a:pt x="21" y="613"/>
                    </a:lnTo>
                    <a:lnTo>
                      <a:pt x="40" y="530"/>
                    </a:lnTo>
                    <a:lnTo>
                      <a:pt x="60" y="446"/>
                    </a:lnTo>
                    <a:lnTo>
                      <a:pt x="79" y="359"/>
                    </a:lnTo>
                    <a:lnTo>
                      <a:pt x="97" y="273"/>
                    </a:lnTo>
                    <a:lnTo>
                      <a:pt x="116" y="183"/>
                    </a:lnTo>
                    <a:lnTo>
                      <a:pt x="133" y="92"/>
                    </a:lnTo>
                    <a:lnTo>
                      <a:pt x="151" y="0"/>
                    </a:lnTo>
                    <a:lnTo>
                      <a:pt x="193" y="10"/>
                    </a:lnTo>
                    <a:lnTo>
                      <a:pt x="237" y="21"/>
                    </a:lnTo>
                    <a:lnTo>
                      <a:pt x="280" y="32"/>
                    </a:lnTo>
                    <a:lnTo>
                      <a:pt x="323" y="41"/>
                    </a:lnTo>
                    <a:lnTo>
                      <a:pt x="368" y="50"/>
                    </a:lnTo>
                    <a:lnTo>
                      <a:pt x="412" y="59"/>
                    </a:lnTo>
                    <a:lnTo>
                      <a:pt x="458" y="69"/>
                    </a:lnTo>
                    <a:lnTo>
                      <a:pt x="502" y="77"/>
                    </a:lnTo>
                    <a:close/>
                  </a:path>
                </a:pathLst>
              </a:custGeom>
              <a:solidFill>
                <a:srgbClr val="BA393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29" name="Freeform 105"/>
              <p:cNvSpPr>
                <a:spLocks/>
              </p:cNvSpPr>
              <p:nvPr/>
            </p:nvSpPr>
            <p:spPr bwMode="auto">
              <a:xfrm>
                <a:off x="3428" y="1552"/>
                <a:ext cx="143" cy="115"/>
              </a:xfrm>
              <a:custGeom>
                <a:avLst/>
                <a:gdLst>
                  <a:gd name="T0" fmla="*/ 0 w 1000"/>
                  <a:gd name="T1" fmla="*/ 0 h 805"/>
                  <a:gd name="T2" fmla="*/ 0 w 1000"/>
                  <a:gd name="T3" fmla="*/ 0 h 805"/>
                  <a:gd name="T4" fmla="*/ 0 w 1000"/>
                  <a:gd name="T5" fmla="*/ 0 h 805"/>
                  <a:gd name="T6" fmla="*/ 0 w 1000"/>
                  <a:gd name="T7" fmla="*/ 0 h 805"/>
                  <a:gd name="T8" fmla="*/ 0 w 1000"/>
                  <a:gd name="T9" fmla="*/ 0 h 805"/>
                  <a:gd name="T10" fmla="*/ 0 w 1000"/>
                  <a:gd name="T11" fmla="*/ 0 h 805"/>
                  <a:gd name="T12" fmla="*/ 0 w 1000"/>
                  <a:gd name="T13" fmla="*/ 0 h 805"/>
                  <a:gd name="T14" fmla="*/ 0 w 1000"/>
                  <a:gd name="T15" fmla="*/ 0 h 805"/>
                  <a:gd name="T16" fmla="*/ 0 w 1000"/>
                  <a:gd name="T17" fmla="*/ 0 h 805"/>
                  <a:gd name="T18" fmla="*/ 0 w 1000"/>
                  <a:gd name="T19" fmla="*/ 0 h 805"/>
                  <a:gd name="T20" fmla="*/ 0 w 1000"/>
                  <a:gd name="T21" fmla="*/ 0 h 805"/>
                  <a:gd name="T22" fmla="*/ 0 w 1000"/>
                  <a:gd name="T23" fmla="*/ 0 h 805"/>
                  <a:gd name="T24" fmla="*/ 0 w 1000"/>
                  <a:gd name="T25" fmla="*/ 0 h 805"/>
                  <a:gd name="T26" fmla="*/ 0 w 1000"/>
                  <a:gd name="T27" fmla="*/ 0 h 805"/>
                  <a:gd name="T28" fmla="*/ 0 w 1000"/>
                  <a:gd name="T29" fmla="*/ 0 h 805"/>
                  <a:gd name="T30" fmla="*/ 0 w 1000"/>
                  <a:gd name="T31" fmla="*/ 0 h 805"/>
                  <a:gd name="T32" fmla="*/ 0 w 1000"/>
                  <a:gd name="T33" fmla="*/ 0 h 805"/>
                  <a:gd name="T34" fmla="*/ 0 w 1000"/>
                  <a:gd name="T35" fmla="*/ 0 h 805"/>
                  <a:gd name="T36" fmla="*/ 0 w 1000"/>
                  <a:gd name="T37" fmla="*/ 0 h 805"/>
                  <a:gd name="T38" fmla="*/ 0 w 1000"/>
                  <a:gd name="T39" fmla="*/ 0 h 805"/>
                  <a:gd name="T40" fmla="*/ 0 w 1000"/>
                  <a:gd name="T41" fmla="*/ 0 h 805"/>
                  <a:gd name="T42" fmla="*/ 0 w 1000"/>
                  <a:gd name="T43" fmla="*/ 0 h 805"/>
                  <a:gd name="T44" fmla="*/ 0 w 1000"/>
                  <a:gd name="T45" fmla="*/ 0 h 805"/>
                  <a:gd name="T46" fmla="*/ 0 w 1000"/>
                  <a:gd name="T47" fmla="*/ 0 h 805"/>
                  <a:gd name="T48" fmla="*/ 0 w 1000"/>
                  <a:gd name="T49" fmla="*/ 0 h 805"/>
                  <a:gd name="T50" fmla="*/ 0 w 1000"/>
                  <a:gd name="T51" fmla="*/ 0 h 805"/>
                  <a:gd name="T52" fmla="*/ 0 w 1000"/>
                  <a:gd name="T53" fmla="*/ 0 h 805"/>
                  <a:gd name="T54" fmla="*/ 0 w 1000"/>
                  <a:gd name="T55" fmla="*/ 0 h 805"/>
                  <a:gd name="T56" fmla="*/ 0 w 1000"/>
                  <a:gd name="T57" fmla="*/ 0 h 805"/>
                  <a:gd name="T58" fmla="*/ 0 w 1000"/>
                  <a:gd name="T59" fmla="*/ 0 h 805"/>
                  <a:gd name="T60" fmla="*/ 0 w 1000"/>
                  <a:gd name="T61" fmla="*/ 0 h 805"/>
                  <a:gd name="T62" fmla="*/ 0 w 1000"/>
                  <a:gd name="T63" fmla="*/ 0 h 805"/>
                  <a:gd name="T64" fmla="*/ 0 w 1000"/>
                  <a:gd name="T65" fmla="*/ 0 h 805"/>
                  <a:gd name="T66" fmla="*/ 0 w 1000"/>
                  <a:gd name="T67" fmla="*/ 0 h 805"/>
                  <a:gd name="T68" fmla="*/ 0 w 1000"/>
                  <a:gd name="T69" fmla="*/ 0 h 805"/>
                  <a:gd name="T70" fmla="*/ 0 w 1000"/>
                  <a:gd name="T71" fmla="*/ 0 h 805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w 1000"/>
                  <a:gd name="T109" fmla="*/ 0 h 805"/>
                  <a:gd name="T110" fmla="*/ 1000 w 1000"/>
                  <a:gd name="T111" fmla="*/ 805 h 805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T108" t="T109" r="T110" b="T111"/>
                <a:pathLst>
                  <a:path w="1000" h="805">
                    <a:moveTo>
                      <a:pt x="1000" y="0"/>
                    </a:moveTo>
                    <a:lnTo>
                      <a:pt x="997" y="53"/>
                    </a:lnTo>
                    <a:lnTo>
                      <a:pt x="992" y="105"/>
                    </a:lnTo>
                    <a:lnTo>
                      <a:pt x="987" y="155"/>
                    </a:lnTo>
                    <a:lnTo>
                      <a:pt x="979" y="205"/>
                    </a:lnTo>
                    <a:lnTo>
                      <a:pt x="970" y="254"/>
                    </a:lnTo>
                    <a:lnTo>
                      <a:pt x="960" y="301"/>
                    </a:lnTo>
                    <a:lnTo>
                      <a:pt x="948" y="348"/>
                    </a:lnTo>
                    <a:lnTo>
                      <a:pt x="935" y="391"/>
                    </a:lnTo>
                    <a:lnTo>
                      <a:pt x="921" y="434"/>
                    </a:lnTo>
                    <a:lnTo>
                      <a:pt x="904" y="476"/>
                    </a:lnTo>
                    <a:lnTo>
                      <a:pt x="885" y="515"/>
                    </a:lnTo>
                    <a:lnTo>
                      <a:pt x="866" y="552"/>
                    </a:lnTo>
                    <a:lnTo>
                      <a:pt x="843" y="588"/>
                    </a:lnTo>
                    <a:lnTo>
                      <a:pt x="819" y="620"/>
                    </a:lnTo>
                    <a:lnTo>
                      <a:pt x="793" y="651"/>
                    </a:lnTo>
                    <a:lnTo>
                      <a:pt x="766" y="679"/>
                    </a:lnTo>
                    <a:lnTo>
                      <a:pt x="736" y="704"/>
                    </a:lnTo>
                    <a:lnTo>
                      <a:pt x="704" y="727"/>
                    </a:lnTo>
                    <a:lnTo>
                      <a:pt x="669" y="748"/>
                    </a:lnTo>
                    <a:lnTo>
                      <a:pt x="633" y="765"/>
                    </a:lnTo>
                    <a:lnTo>
                      <a:pt x="594" y="780"/>
                    </a:lnTo>
                    <a:lnTo>
                      <a:pt x="553" y="791"/>
                    </a:lnTo>
                    <a:lnTo>
                      <a:pt x="509" y="798"/>
                    </a:lnTo>
                    <a:lnTo>
                      <a:pt x="464" y="804"/>
                    </a:lnTo>
                    <a:lnTo>
                      <a:pt x="415" y="805"/>
                    </a:lnTo>
                    <a:lnTo>
                      <a:pt x="364" y="803"/>
                    </a:lnTo>
                    <a:lnTo>
                      <a:pt x="310" y="796"/>
                    </a:lnTo>
                    <a:lnTo>
                      <a:pt x="254" y="786"/>
                    </a:lnTo>
                    <a:lnTo>
                      <a:pt x="194" y="773"/>
                    </a:lnTo>
                    <a:lnTo>
                      <a:pt x="133" y="755"/>
                    </a:lnTo>
                    <a:lnTo>
                      <a:pt x="68" y="733"/>
                    </a:lnTo>
                    <a:lnTo>
                      <a:pt x="0" y="706"/>
                    </a:lnTo>
                    <a:lnTo>
                      <a:pt x="15" y="628"/>
                    </a:lnTo>
                    <a:lnTo>
                      <a:pt x="30" y="546"/>
                    </a:lnTo>
                    <a:lnTo>
                      <a:pt x="43" y="463"/>
                    </a:lnTo>
                    <a:lnTo>
                      <a:pt x="58" y="380"/>
                    </a:lnTo>
                    <a:lnTo>
                      <a:pt x="70" y="294"/>
                    </a:lnTo>
                    <a:lnTo>
                      <a:pt x="82" y="207"/>
                    </a:lnTo>
                    <a:lnTo>
                      <a:pt x="95" y="118"/>
                    </a:lnTo>
                    <a:lnTo>
                      <a:pt x="105" y="27"/>
                    </a:lnTo>
                    <a:lnTo>
                      <a:pt x="130" y="36"/>
                    </a:lnTo>
                    <a:lnTo>
                      <a:pt x="155" y="45"/>
                    </a:lnTo>
                    <a:lnTo>
                      <a:pt x="180" y="52"/>
                    </a:lnTo>
                    <a:lnTo>
                      <a:pt x="205" y="59"/>
                    </a:lnTo>
                    <a:lnTo>
                      <a:pt x="231" y="66"/>
                    </a:lnTo>
                    <a:lnTo>
                      <a:pt x="257" y="73"/>
                    </a:lnTo>
                    <a:lnTo>
                      <a:pt x="284" y="79"/>
                    </a:lnTo>
                    <a:lnTo>
                      <a:pt x="311" y="84"/>
                    </a:lnTo>
                    <a:lnTo>
                      <a:pt x="338" y="89"/>
                    </a:lnTo>
                    <a:lnTo>
                      <a:pt x="365" y="93"/>
                    </a:lnTo>
                    <a:lnTo>
                      <a:pt x="393" y="96"/>
                    </a:lnTo>
                    <a:lnTo>
                      <a:pt x="420" y="99"/>
                    </a:lnTo>
                    <a:lnTo>
                      <a:pt x="447" y="102"/>
                    </a:lnTo>
                    <a:lnTo>
                      <a:pt x="476" y="104"/>
                    </a:lnTo>
                    <a:lnTo>
                      <a:pt x="504" y="105"/>
                    </a:lnTo>
                    <a:lnTo>
                      <a:pt x="532" y="105"/>
                    </a:lnTo>
                    <a:lnTo>
                      <a:pt x="561" y="105"/>
                    </a:lnTo>
                    <a:lnTo>
                      <a:pt x="590" y="104"/>
                    </a:lnTo>
                    <a:lnTo>
                      <a:pt x="619" y="102"/>
                    </a:lnTo>
                    <a:lnTo>
                      <a:pt x="648" y="98"/>
                    </a:lnTo>
                    <a:lnTo>
                      <a:pt x="677" y="95"/>
                    </a:lnTo>
                    <a:lnTo>
                      <a:pt x="706" y="91"/>
                    </a:lnTo>
                    <a:lnTo>
                      <a:pt x="735" y="86"/>
                    </a:lnTo>
                    <a:lnTo>
                      <a:pt x="765" y="80"/>
                    </a:lnTo>
                    <a:lnTo>
                      <a:pt x="793" y="74"/>
                    </a:lnTo>
                    <a:lnTo>
                      <a:pt x="823" y="65"/>
                    </a:lnTo>
                    <a:lnTo>
                      <a:pt x="852" y="57"/>
                    </a:lnTo>
                    <a:lnTo>
                      <a:pt x="882" y="48"/>
                    </a:lnTo>
                    <a:lnTo>
                      <a:pt x="911" y="37"/>
                    </a:lnTo>
                    <a:lnTo>
                      <a:pt x="941" y="26"/>
                    </a:lnTo>
                    <a:lnTo>
                      <a:pt x="971" y="14"/>
                    </a:lnTo>
                    <a:lnTo>
                      <a:pt x="1000" y="0"/>
                    </a:lnTo>
                    <a:close/>
                  </a:path>
                </a:pathLst>
              </a:custGeom>
              <a:solidFill>
                <a:srgbClr val="E4E6E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30" name="Freeform 106"/>
              <p:cNvSpPr>
                <a:spLocks/>
              </p:cNvSpPr>
              <p:nvPr/>
            </p:nvSpPr>
            <p:spPr bwMode="auto">
              <a:xfrm>
                <a:off x="3319" y="1530"/>
                <a:ext cx="74" cy="113"/>
              </a:xfrm>
              <a:custGeom>
                <a:avLst/>
                <a:gdLst>
                  <a:gd name="T0" fmla="*/ 0 w 514"/>
                  <a:gd name="T1" fmla="*/ 0 h 796"/>
                  <a:gd name="T2" fmla="*/ 0 w 514"/>
                  <a:gd name="T3" fmla="*/ 0 h 796"/>
                  <a:gd name="T4" fmla="*/ 0 w 514"/>
                  <a:gd name="T5" fmla="*/ 0 h 796"/>
                  <a:gd name="T6" fmla="*/ 0 w 514"/>
                  <a:gd name="T7" fmla="*/ 0 h 796"/>
                  <a:gd name="T8" fmla="*/ 0 w 514"/>
                  <a:gd name="T9" fmla="*/ 0 h 796"/>
                  <a:gd name="T10" fmla="*/ 0 w 514"/>
                  <a:gd name="T11" fmla="*/ 0 h 796"/>
                  <a:gd name="T12" fmla="*/ 0 w 514"/>
                  <a:gd name="T13" fmla="*/ 0 h 796"/>
                  <a:gd name="T14" fmla="*/ 0 w 514"/>
                  <a:gd name="T15" fmla="*/ 0 h 796"/>
                  <a:gd name="T16" fmla="*/ 0 w 514"/>
                  <a:gd name="T17" fmla="*/ 0 h 796"/>
                  <a:gd name="T18" fmla="*/ 0 w 514"/>
                  <a:gd name="T19" fmla="*/ 0 h 796"/>
                  <a:gd name="T20" fmla="*/ 0 w 514"/>
                  <a:gd name="T21" fmla="*/ 0 h 796"/>
                  <a:gd name="T22" fmla="*/ 0 w 514"/>
                  <a:gd name="T23" fmla="*/ 0 h 796"/>
                  <a:gd name="T24" fmla="*/ 0 w 514"/>
                  <a:gd name="T25" fmla="*/ 0 h 796"/>
                  <a:gd name="T26" fmla="*/ 0 w 514"/>
                  <a:gd name="T27" fmla="*/ 0 h 796"/>
                  <a:gd name="T28" fmla="*/ 0 w 514"/>
                  <a:gd name="T29" fmla="*/ 0 h 796"/>
                  <a:gd name="T30" fmla="*/ 0 w 514"/>
                  <a:gd name="T31" fmla="*/ 0 h 796"/>
                  <a:gd name="T32" fmla="*/ 0 w 514"/>
                  <a:gd name="T33" fmla="*/ 0 h 796"/>
                  <a:gd name="T34" fmla="*/ 0 w 514"/>
                  <a:gd name="T35" fmla="*/ 0 h 796"/>
                  <a:gd name="T36" fmla="*/ 0 w 514"/>
                  <a:gd name="T37" fmla="*/ 0 h 796"/>
                  <a:gd name="T38" fmla="*/ 0 w 514"/>
                  <a:gd name="T39" fmla="*/ 0 h 796"/>
                  <a:gd name="T40" fmla="*/ 0 w 514"/>
                  <a:gd name="T41" fmla="*/ 0 h 796"/>
                  <a:gd name="T42" fmla="*/ 0 w 514"/>
                  <a:gd name="T43" fmla="*/ 0 h 796"/>
                  <a:gd name="T44" fmla="*/ 0 w 514"/>
                  <a:gd name="T45" fmla="*/ 0 h 796"/>
                  <a:gd name="T46" fmla="*/ 0 w 514"/>
                  <a:gd name="T47" fmla="*/ 0 h 796"/>
                  <a:gd name="T48" fmla="*/ 0 w 514"/>
                  <a:gd name="T49" fmla="*/ 0 h 796"/>
                  <a:gd name="T50" fmla="*/ 0 w 514"/>
                  <a:gd name="T51" fmla="*/ 0 h 796"/>
                  <a:gd name="T52" fmla="*/ 0 w 514"/>
                  <a:gd name="T53" fmla="*/ 0 h 796"/>
                  <a:gd name="T54" fmla="*/ 0 w 514"/>
                  <a:gd name="T55" fmla="*/ 0 h 796"/>
                  <a:gd name="T56" fmla="*/ 0 w 514"/>
                  <a:gd name="T57" fmla="*/ 0 h 796"/>
                  <a:gd name="T58" fmla="*/ 0 w 514"/>
                  <a:gd name="T59" fmla="*/ 0 h 796"/>
                  <a:gd name="T60" fmla="*/ 0 w 514"/>
                  <a:gd name="T61" fmla="*/ 0 h 796"/>
                  <a:gd name="T62" fmla="*/ 0 w 514"/>
                  <a:gd name="T63" fmla="*/ 0 h 796"/>
                  <a:gd name="T64" fmla="*/ 0 w 514"/>
                  <a:gd name="T65" fmla="*/ 0 h 79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514"/>
                  <a:gd name="T100" fmla="*/ 0 h 796"/>
                  <a:gd name="T101" fmla="*/ 514 w 514"/>
                  <a:gd name="T102" fmla="*/ 796 h 796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514" h="796">
                    <a:moveTo>
                      <a:pt x="514" y="104"/>
                    </a:moveTo>
                    <a:lnTo>
                      <a:pt x="496" y="196"/>
                    </a:lnTo>
                    <a:lnTo>
                      <a:pt x="479" y="287"/>
                    </a:lnTo>
                    <a:lnTo>
                      <a:pt x="460" y="377"/>
                    </a:lnTo>
                    <a:lnTo>
                      <a:pt x="442" y="463"/>
                    </a:lnTo>
                    <a:lnTo>
                      <a:pt x="423" y="550"/>
                    </a:lnTo>
                    <a:lnTo>
                      <a:pt x="403" y="634"/>
                    </a:lnTo>
                    <a:lnTo>
                      <a:pt x="384" y="717"/>
                    </a:lnTo>
                    <a:lnTo>
                      <a:pt x="363" y="796"/>
                    </a:lnTo>
                    <a:lnTo>
                      <a:pt x="317" y="784"/>
                    </a:lnTo>
                    <a:lnTo>
                      <a:pt x="269" y="772"/>
                    </a:lnTo>
                    <a:lnTo>
                      <a:pt x="223" y="758"/>
                    </a:lnTo>
                    <a:lnTo>
                      <a:pt x="178" y="743"/>
                    </a:lnTo>
                    <a:lnTo>
                      <a:pt x="133" y="728"/>
                    </a:lnTo>
                    <a:lnTo>
                      <a:pt x="88" y="712"/>
                    </a:lnTo>
                    <a:lnTo>
                      <a:pt x="44" y="695"/>
                    </a:lnTo>
                    <a:lnTo>
                      <a:pt x="0" y="677"/>
                    </a:lnTo>
                    <a:lnTo>
                      <a:pt x="25" y="599"/>
                    </a:lnTo>
                    <a:lnTo>
                      <a:pt x="51" y="517"/>
                    </a:lnTo>
                    <a:lnTo>
                      <a:pt x="76" y="435"/>
                    </a:lnTo>
                    <a:lnTo>
                      <a:pt x="101" y="352"/>
                    </a:lnTo>
                    <a:lnTo>
                      <a:pt x="124" y="266"/>
                    </a:lnTo>
                    <a:lnTo>
                      <a:pt x="147" y="179"/>
                    </a:lnTo>
                    <a:lnTo>
                      <a:pt x="170" y="90"/>
                    </a:lnTo>
                    <a:lnTo>
                      <a:pt x="192" y="0"/>
                    </a:lnTo>
                    <a:lnTo>
                      <a:pt x="230" y="15"/>
                    </a:lnTo>
                    <a:lnTo>
                      <a:pt x="268" y="28"/>
                    </a:lnTo>
                    <a:lnTo>
                      <a:pt x="307" y="41"/>
                    </a:lnTo>
                    <a:lnTo>
                      <a:pt x="346" y="55"/>
                    </a:lnTo>
                    <a:lnTo>
                      <a:pt x="388" y="67"/>
                    </a:lnTo>
                    <a:lnTo>
                      <a:pt x="429" y="80"/>
                    </a:lnTo>
                    <a:lnTo>
                      <a:pt x="472" y="92"/>
                    </a:lnTo>
                    <a:lnTo>
                      <a:pt x="514" y="104"/>
                    </a:lnTo>
                    <a:close/>
                  </a:path>
                </a:pathLst>
              </a:custGeom>
              <a:solidFill>
                <a:srgbClr val="1B4D9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31" name="Freeform 107"/>
              <p:cNvSpPr>
                <a:spLocks/>
              </p:cNvSpPr>
              <p:nvPr/>
            </p:nvSpPr>
            <p:spPr bwMode="auto">
              <a:xfrm>
                <a:off x="3272" y="1508"/>
                <a:ext cx="75" cy="118"/>
              </a:xfrm>
              <a:custGeom>
                <a:avLst/>
                <a:gdLst>
                  <a:gd name="T0" fmla="*/ 0 w 525"/>
                  <a:gd name="T1" fmla="*/ 0 h 830"/>
                  <a:gd name="T2" fmla="*/ 0 w 525"/>
                  <a:gd name="T3" fmla="*/ 0 h 830"/>
                  <a:gd name="T4" fmla="*/ 0 w 525"/>
                  <a:gd name="T5" fmla="*/ 0 h 830"/>
                  <a:gd name="T6" fmla="*/ 0 w 525"/>
                  <a:gd name="T7" fmla="*/ 0 h 830"/>
                  <a:gd name="T8" fmla="*/ 0 w 525"/>
                  <a:gd name="T9" fmla="*/ 0 h 830"/>
                  <a:gd name="T10" fmla="*/ 0 w 525"/>
                  <a:gd name="T11" fmla="*/ 0 h 830"/>
                  <a:gd name="T12" fmla="*/ 0 w 525"/>
                  <a:gd name="T13" fmla="*/ 0 h 830"/>
                  <a:gd name="T14" fmla="*/ 0 w 525"/>
                  <a:gd name="T15" fmla="*/ 0 h 830"/>
                  <a:gd name="T16" fmla="*/ 0 w 525"/>
                  <a:gd name="T17" fmla="*/ 0 h 830"/>
                  <a:gd name="T18" fmla="*/ 0 w 525"/>
                  <a:gd name="T19" fmla="*/ 0 h 830"/>
                  <a:gd name="T20" fmla="*/ 0 w 525"/>
                  <a:gd name="T21" fmla="*/ 0 h 830"/>
                  <a:gd name="T22" fmla="*/ 0 w 525"/>
                  <a:gd name="T23" fmla="*/ 0 h 830"/>
                  <a:gd name="T24" fmla="*/ 0 w 525"/>
                  <a:gd name="T25" fmla="*/ 0 h 830"/>
                  <a:gd name="T26" fmla="*/ 0 w 525"/>
                  <a:gd name="T27" fmla="*/ 0 h 830"/>
                  <a:gd name="T28" fmla="*/ 0 w 525"/>
                  <a:gd name="T29" fmla="*/ 0 h 830"/>
                  <a:gd name="T30" fmla="*/ 0 w 525"/>
                  <a:gd name="T31" fmla="*/ 0 h 830"/>
                  <a:gd name="T32" fmla="*/ 0 w 525"/>
                  <a:gd name="T33" fmla="*/ 0 h 830"/>
                  <a:gd name="T34" fmla="*/ 0 w 525"/>
                  <a:gd name="T35" fmla="*/ 0 h 830"/>
                  <a:gd name="T36" fmla="*/ 0 w 525"/>
                  <a:gd name="T37" fmla="*/ 0 h 830"/>
                  <a:gd name="T38" fmla="*/ 0 w 525"/>
                  <a:gd name="T39" fmla="*/ 0 h 830"/>
                  <a:gd name="T40" fmla="*/ 0 w 525"/>
                  <a:gd name="T41" fmla="*/ 0 h 830"/>
                  <a:gd name="T42" fmla="*/ 0 w 525"/>
                  <a:gd name="T43" fmla="*/ 0 h 830"/>
                  <a:gd name="T44" fmla="*/ 0 w 525"/>
                  <a:gd name="T45" fmla="*/ 0 h 830"/>
                  <a:gd name="T46" fmla="*/ 0 w 525"/>
                  <a:gd name="T47" fmla="*/ 0 h 830"/>
                  <a:gd name="T48" fmla="*/ 0 w 525"/>
                  <a:gd name="T49" fmla="*/ 0 h 830"/>
                  <a:gd name="T50" fmla="*/ 0 w 525"/>
                  <a:gd name="T51" fmla="*/ 0 h 830"/>
                  <a:gd name="T52" fmla="*/ 0 w 525"/>
                  <a:gd name="T53" fmla="*/ 0 h 830"/>
                  <a:gd name="T54" fmla="*/ 0 w 525"/>
                  <a:gd name="T55" fmla="*/ 0 h 830"/>
                  <a:gd name="T56" fmla="*/ 0 w 525"/>
                  <a:gd name="T57" fmla="*/ 0 h 830"/>
                  <a:gd name="T58" fmla="*/ 0 w 525"/>
                  <a:gd name="T59" fmla="*/ 0 h 830"/>
                  <a:gd name="T60" fmla="*/ 0 w 525"/>
                  <a:gd name="T61" fmla="*/ 0 h 830"/>
                  <a:gd name="T62" fmla="*/ 0 w 525"/>
                  <a:gd name="T63" fmla="*/ 0 h 830"/>
                  <a:gd name="T64" fmla="*/ 0 w 525"/>
                  <a:gd name="T65" fmla="*/ 0 h 830"/>
                  <a:gd name="T66" fmla="*/ 0 w 525"/>
                  <a:gd name="T67" fmla="*/ 0 h 830"/>
                  <a:gd name="T68" fmla="*/ 0 w 525"/>
                  <a:gd name="T69" fmla="*/ 0 h 830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w 525"/>
                  <a:gd name="T106" fmla="*/ 0 h 830"/>
                  <a:gd name="T107" fmla="*/ 525 w 525"/>
                  <a:gd name="T108" fmla="*/ 830 h 830"/>
                </a:gdLst>
                <a:ahLst/>
                <a:cxnLst>
                  <a:cxn ang="T70">
                    <a:pos x="T0" y="T1"/>
                  </a:cxn>
                  <a:cxn ang="T71">
                    <a:pos x="T2" y="T3"/>
                  </a:cxn>
                  <a:cxn ang="T72">
                    <a:pos x="T4" y="T5"/>
                  </a:cxn>
                  <a:cxn ang="T73">
                    <a:pos x="T6" y="T7"/>
                  </a:cxn>
                  <a:cxn ang="T74">
                    <a:pos x="T8" y="T9"/>
                  </a:cxn>
                  <a:cxn ang="T75">
                    <a:pos x="T10" y="T11"/>
                  </a:cxn>
                  <a:cxn ang="T76">
                    <a:pos x="T12" y="T13"/>
                  </a:cxn>
                  <a:cxn ang="T77">
                    <a:pos x="T14" y="T15"/>
                  </a:cxn>
                  <a:cxn ang="T78">
                    <a:pos x="T16" y="T17"/>
                  </a:cxn>
                  <a:cxn ang="T79">
                    <a:pos x="T18" y="T19"/>
                  </a:cxn>
                  <a:cxn ang="T80">
                    <a:pos x="T20" y="T21"/>
                  </a:cxn>
                  <a:cxn ang="T81">
                    <a:pos x="T22" y="T23"/>
                  </a:cxn>
                  <a:cxn ang="T82">
                    <a:pos x="T24" y="T25"/>
                  </a:cxn>
                  <a:cxn ang="T83">
                    <a:pos x="T26" y="T27"/>
                  </a:cxn>
                  <a:cxn ang="T84">
                    <a:pos x="T28" y="T29"/>
                  </a:cxn>
                  <a:cxn ang="T85">
                    <a:pos x="T30" y="T31"/>
                  </a:cxn>
                  <a:cxn ang="T86">
                    <a:pos x="T32" y="T33"/>
                  </a:cxn>
                  <a:cxn ang="T87">
                    <a:pos x="T34" y="T35"/>
                  </a:cxn>
                  <a:cxn ang="T88">
                    <a:pos x="T36" y="T37"/>
                  </a:cxn>
                  <a:cxn ang="T89">
                    <a:pos x="T38" y="T39"/>
                  </a:cxn>
                  <a:cxn ang="T90">
                    <a:pos x="T40" y="T41"/>
                  </a:cxn>
                  <a:cxn ang="T91">
                    <a:pos x="T42" y="T43"/>
                  </a:cxn>
                  <a:cxn ang="T92">
                    <a:pos x="T44" y="T45"/>
                  </a:cxn>
                  <a:cxn ang="T93">
                    <a:pos x="T46" y="T47"/>
                  </a:cxn>
                  <a:cxn ang="T94">
                    <a:pos x="T48" y="T49"/>
                  </a:cxn>
                  <a:cxn ang="T95">
                    <a:pos x="T50" y="T51"/>
                  </a:cxn>
                  <a:cxn ang="T96">
                    <a:pos x="T52" y="T53"/>
                  </a:cxn>
                  <a:cxn ang="T97">
                    <a:pos x="T54" y="T55"/>
                  </a:cxn>
                  <a:cxn ang="T98">
                    <a:pos x="T56" y="T57"/>
                  </a:cxn>
                  <a:cxn ang="T99">
                    <a:pos x="T58" y="T59"/>
                  </a:cxn>
                  <a:cxn ang="T100">
                    <a:pos x="T60" y="T61"/>
                  </a:cxn>
                  <a:cxn ang="T101">
                    <a:pos x="T62" y="T63"/>
                  </a:cxn>
                  <a:cxn ang="T102">
                    <a:pos x="T64" y="T65"/>
                  </a:cxn>
                  <a:cxn ang="T103">
                    <a:pos x="T66" y="T67"/>
                  </a:cxn>
                  <a:cxn ang="T104">
                    <a:pos x="T68" y="T69"/>
                  </a:cxn>
                </a:cxnLst>
                <a:rect l="T105" t="T106" r="T107" b="T108"/>
                <a:pathLst>
                  <a:path w="525" h="830">
                    <a:moveTo>
                      <a:pt x="333" y="830"/>
                    </a:moveTo>
                    <a:lnTo>
                      <a:pt x="289" y="812"/>
                    </a:lnTo>
                    <a:lnTo>
                      <a:pt x="245" y="792"/>
                    </a:lnTo>
                    <a:lnTo>
                      <a:pt x="203" y="771"/>
                    </a:lnTo>
                    <a:lnTo>
                      <a:pt x="161" y="751"/>
                    </a:lnTo>
                    <a:lnTo>
                      <a:pt x="119" y="729"/>
                    </a:lnTo>
                    <a:lnTo>
                      <a:pt x="78" y="707"/>
                    </a:lnTo>
                    <a:lnTo>
                      <a:pt x="39" y="685"/>
                    </a:lnTo>
                    <a:lnTo>
                      <a:pt x="0" y="662"/>
                    </a:lnTo>
                    <a:lnTo>
                      <a:pt x="15" y="626"/>
                    </a:lnTo>
                    <a:lnTo>
                      <a:pt x="31" y="589"/>
                    </a:lnTo>
                    <a:lnTo>
                      <a:pt x="46" y="552"/>
                    </a:lnTo>
                    <a:lnTo>
                      <a:pt x="60" y="514"/>
                    </a:lnTo>
                    <a:lnTo>
                      <a:pt x="90" y="435"/>
                    </a:lnTo>
                    <a:lnTo>
                      <a:pt x="118" y="354"/>
                    </a:lnTo>
                    <a:lnTo>
                      <a:pt x="145" y="269"/>
                    </a:lnTo>
                    <a:lnTo>
                      <a:pt x="172" y="182"/>
                    </a:lnTo>
                    <a:lnTo>
                      <a:pt x="198" y="92"/>
                    </a:lnTo>
                    <a:lnTo>
                      <a:pt x="223" y="0"/>
                    </a:lnTo>
                    <a:lnTo>
                      <a:pt x="255" y="22"/>
                    </a:lnTo>
                    <a:lnTo>
                      <a:pt x="289" y="42"/>
                    </a:lnTo>
                    <a:lnTo>
                      <a:pt x="324" y="62"/>
                    </a:lnTo>
                    <a:lnTo>
                      <a:pt x="361" y="82"/>
                    </a:lnTo>
                    <a:lnTo>
                      <a:pt x="400" y="100"/>
                    </a:lnTo>
                    <a:lnTo>
                      <a:pt x="440" y="119"/>
                    </a:lnTo>
                    <a:lnTo>
                      <a:pt x="482" y="137"/>
                    </a:lnTo>
                    <a:lnTo>
                      <a:pt x="525" y="153"/>
                    </a:lnTo>
                    <a:lnTo>
                      <a:pt x="503" y="243"/>
                    </a:lnTo>
                    <a:lnTo>
                      <a:pt x="480" y="332"/>
                    </a:lnTo>
                    <a:lnTo>
                      <a:pt x="457" y="419"/>
                    </a:lnTo>
                    <a:lnTo>
                      <a:pt x="434" y="505"/>
                    </a:lnTo>
                    <a:lnTo>
                      <a:pt x="409" y="588"/>
                    </a:lnTo>
                    <a:lnTo>
                      <a:pt x="384" y="670"/>
                    </a:lnTo>
                    <a:lnTo>
                      <a:pt x="358" y="752"/>
                    </a:lnTo>
                    <a:lnTo>
                      <a:pt x="333" y="830"/>
                    </a:lnTo>
                    <a:close/>
                  </a:path>
                </a:pathLst>
              </a:custGeom>
              <a:solidFill>
                <a:srgbClr val="F4D8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32" name="Freeform 108"/>
              <p:cNvSpPr>
                <a:spLocks/>
              </p:cNvSpPr>
              <p:nvPr/>
            </p:nvSpPr>
            <p:spPr bwMode="auto">
              <a:xfrm>
                <a:off x="3505" y="1609"/>
                <a:ext cx="17" cy="21"/>
              </a:xfrm>
              <a:custGeom>
                <a:avLst/>
                <a:gdLst>
                  <a:gd name="T0" fmla="*/ 0 w 120"/>
                  <a:gd name="T1" fmla="*/ 0 h 146"/>
                  <a:gd name="T2" fmla="*/ 0 w 120"/>
                  <a:gd name="T3" fmla="*/ 0 h 146"/>
                  <a:gd name="T4" fmla="*/ 0 w 120"/>
                  <a:gd name="T5" fmla="*/ 0 h 146"/>
                  <a:gd name="T6" fmla="*/ 0 w 120"/>
                  <a:gd name="T7" fmla="*/ 0 h 146"/>
                  <a:gd name="T8" fmla="*/ 0 w 120"/>
                  <a:gd name="T9" fmla="*/ 0 h 146"/>
                  <a:gd name="T10" fmla="*/ 0 w 120"/>
                  <a:gd name="T11" fmla="*/ 0 h 146"/>
                  <a:gd name="T12" fmla="*/ 0 w 120"/>
                  <a:gd name="T13" fmla="*/ 0 h 146"/>
                  <a:gd name="T14" fmla="*/ 0 w 120"/>
                  <a:gd name="T15" fmla="*/ 0 h 146"/>
                  <a:gd name="T16" fmla="*/ 0 w 120"/>
                  <a:gd name="T17" fmla="*/ 0 h 146"/>
                  <a:gd name="T18" fmla="*/ 0 w 120"/>
                  <a:gd name="T19" fmla="*/ 0 h 146"/>
                  <a:gd name="T20" fmla="*/ 0 w 120"/>
                  <a:gd name="T21" fmla="*/ 0 h 146"/>
                  <a:gd name="T22" fmla="*/ 0 w 120"/>
                  <a:gd name="T23" fmla="*/ 0 h 146"/>
                  <a:gd name="T24" fmla="*/ 0 w 120"/>
                  <a:gd name="T25" fmla="*/ 0 h 146"/>
                  <a:gd name="T26" fmla="*/ 0 w 120"/>
                  <a:gd name="T27" fmla="*/ 0 h 146"/>
                  <a:gd name="T28" fmla="*/ 0 w 120"/>
                  <a:gd name="T29" fmla="*/ 0 h 146"/>
                  <a:gd name="T30" fmla="*/ 0 w 120"/>
                  <a:gd name="T31" fmla="*/ 0 h 146"/>
                  <a:gd name="T32" fmla="*/ 0 w 120"/>
                  <a:gd name="T33" fmla="*/ 0 h 146"/>
                  <a:gd name="T34" fmla="*/ 0 w 120"/>
                  <a:gd name="T35" fmla="*/ 0 h 146"/>
                  <a:gd name="T36" fmla="*/ 0 w 120"/>
                  <a:gd name="T37" fmla="*/ 0 h 146"/>
                  <a:gd name="T38" fmla="*/ 0 w 120"/>
                  <a:gd name="T39" fmla="*/ 0 h 146"/>
                  <a:gd name="T40" fmla="*/ 0 w 120"/>
                  <a:gd name="T41" fmla="*/ 0 h 146"/>
                  <a:gd name="T42" fmla="*/ 0 w 120"/>
                  <a:gd name="T43" fmla="*/ 0 h 146"/>
                  <a:gd name="T44" fmla="*/ 0 w 120"/>
                  <a:gd name="T45" fmla="*/ 0 h 146"/>
                  <a:gd name="T46" fmla="*/ 0 w 120"/>
                  <a:gd name="T47" fmla="*/ 0 h 146"/>
                  <a:gd name="T48" fmla="*/ 0 w 120"/>
                  <a:gd name="T49" fmla="*/ 0 h 146"/>
                  <a:gd name="T50" fmla="*/ 0 w 120"/>
                  <a:gd name="T51" fmla="*/ 0 h 146"/>
                  <a:gd name="T52" fmla="*/ 0 w 120"/>
                  <a:gd name="T53" fmla="*/ 0 h 146"/>
                  <a:gd name="T54" fmla="*/ 0 w 120"/>
                  <a:gd name="T55" fmla="*/ 0 h 146"/>
                  <a:gd name="T56" fmla="*/ 0 w 120"/>
                  <a:gd name="T57" fmla="*/ 0 h 146"/>
                  <a:gd name="T58" fmla="*/ 0 w 120"/>
                  <a:gd name="T59" fmla="*/ 0 h 146"/>
                  <a:gd name="T60" fmla="*/ 0 w 120"/>
                  <a:gd name="T61" fmla="*/ 0 h 146"/>
                  <a:gd name="T62" fmla="*/ 0 w 120"/>
                  <a:gd name="T63" fmla="*/ 0 h 146"/>
                  <a:gd name="T64" fmla="*/ 0 w 120"/>
                  <a:gd name="T65" fmla="*/ 0 h 146"/>
                  <a:gd name="T66" fmla="*/ 0 w 120"/>
                  <a:gd name="T67" fmla="*/ 0 h 146"/>
                  <a:gd name="T68" fmla="*/ 0 w 120"/>
                  <a:gd name="T69" fmla="*/ 0 h 146"/>
                  <a:gd name="T70" fmla="*/ 0 w 120"/>
                  <a:gd name="T71" fmla="*/ 0 h 146"/>
                  <a:gd name="T72" fmla="*/ 0 w 120"/>
                  <a:gd name="T73" fmla="*/ 0 h 146"/>
                  <a:gd name="T74" fmla="*/ 0 w 120"/>
                  <a:gd name="T75" fmla="*/ 0 h 146"/>
                  <a:gd name="T76" fmla="*/ 0 w 120"/>
                  <a:gd name="T77" fmla="*/ 0 h 146"/>
                  <a:gd name="T78" fmla="*/ 0 w 120"/>
                  <a:gd name="T79" fmla="*/ 0 h 146"/>
                  <a:gd name="T80" fmla="*/ 0 w 120"/>
                  <a:gd name="T81" fmla="*/ 0 h 146"/>
                  <a:gd name="T82" fmla="*/ 0 w 120"/>
                  <a:gd name="T83" fmla="*/ 0 h 146"/>
                  <a:gd name="T84" fmla="*/ 0 w 120"/>
                  <a:gd name="T85" fmla="*/ 0 h 146"/>
                  <a:gd name="T86" fmla="*/ 0 w 120"/>
                  <a:gd name="T87" fmla="*/ 0 h 14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w 120"/>
                  <a:gd name="T133" fmla="*/ 0 h 146"/>
                  <a:gd name="T134" fmla="*/ 120 w 120"/>
                  <a:gd name="T135" fmla="*/ 146 h 146"/>
                </a:gdLst>
                <a:ahLst/>
                <a:cxnLst>
                  <a:cxn ang="T88">
                    <a:pos x="T0" y="T1"/>
                  </a:cxn>
                  <a:cxn ang="T89">
                    <a:pos x="T2" y="T3"/>
                  </a:cxn>
                  <a:cxn ang="T90">
                    <a:pos x="T4" y="T5"/>
                  </a:cxn>
                  <a:cxn ang="T91">
                    <a:pos x="T6" y="T7"/>
                  </a:cxn>
                  <a:cxn ang="T92">
                    <a:pos x="T8" y="T9"/>
                  </a:cxn>
                  <a:cxn ang="T93">
                    <a:pos x="T10" y="T11"/>
                  </a:cxn>
                  <a:cxn ang="T94">
                    <a:pos x="T12" y="T13"/>
                  </a:cxn>
                  <a:cxn ang="T95">
                    <a:pos x="T14" y="T15"/>
                  </a:cxn>
                  <a:cxn ang="T96">
                    <a:pos x="T16" y="T17"/>
                  </a:cxn>
                  <a:cxn ang="T97">
                    <a:pos x="T18" y="T19"/>
                  </a:cxn>
                  <a:cxn ang="T98">
                    <a:pos x="T20" y="T21"/>
                  </a:cxn>
                  <a:cxn ang="T99">
                    <a:pos x="T22" y="T23"/>
                  </a:cxn>
                  <a:cxn ang="T100">
                    <a:pos x="T24" y="T25"/>
                  </a:cxn>
                  <a:cxn ang="T101">
                    <a:pos x="T26" y="T27"/>
                  </a:cxn>
                  <a:cxn ang="T102">
                    <a:pos x="T28" y="T29"/>
                  </a:cxn>
                  <a:cxn ang="T103">
                    <a:pos x="T30" y="T31"/>
                  </a:cxn>
                  <a:cxn ang="T104">
                    <a:pos x="T32" y="T33"/>
                  </a:cxn>
                  <a:cxn ang="T105">
                    <a:pos x="T34" y="T35"/>
                  </a:cxn>
                  <a:cxn ang="T106">
                    <a:pos x="T36" y="T37"/>
                  </a:cxn>
                  <a:cxn ang="T107">
                    <a:pos x="T38" y="T39"/>
                  </a:cxn>
                  <a:cxn ang="T108">
                    <a:pos x="T40" y="T41"/>
                  </a:cxn>
                  <a:cxn ang="T109">
                    <a:pos x="T42" y="T43"/>
                  </a:cxn>
                  <a:cxn ang="T110">
                    <a:pos x="T44" y="T45"/>
                  </a:cxn>
                  <a:cxn ang="T111">
                    <a:pos x="T46" y="T47"/>
                  </a:cxn>
                  <a:cxn ang="T112">
                    <a:pos x="T48" y="T49"/>
                  </a:cxn>
                  <a:cxn ang="T113">
                    <a:pos x="T50" y="T51"/>
                  </a:cxn>
                  <a:cxn ang="T114">
                    <a:pos x="T52" y="T53"/>
                  </a:cxn>
                  <a:cxn ang="T115">
                    <a:pos x="T54" y="T55"/>
                  </a:cxn>
                  <a:cxn ang="T116">
                    <a:pos x="T56" y="T57"/>
                  </a:cxn>
                  <a:cxn ang="T117">
                    <a:pos x="T58" y="T59"/>
                  </a:cxn>
                  <a:cxn ang="T118">
                    <a:pos x="T60" y="T61"/>
                  </a:cxn>
                  <a:cxn ang="T119">
                    <a:pos x="T62" y="T63"/>
                  </a:cxn>
                  <a:cxn ang="T120">
                    <a:pos x="T64" y="T65"/>
                  </a:cxn>
                  <a:cxn ang="T121">
                    <a:pos x="T66" y="T67"/>
                  </a:cxn>
                  <a:cxn ang="T122">
                    <a:pos x="T68" y="T69"/>
                  </a:cxn>
                  <a:cxn ang="T123">
                    <a:pos x="T70" y="T71"/>
                  </a:cxn>
                  <a:cxn ang="T124">
                    <a:pos x="T72" y="T73"/>
                  </a:cxn>
                  <a:cxn ang="T125">
                    <a:pos x="T74" y="T75"/>
                  </a:cxn>
                  <a:cxn ang="T126">
                    <a:pos x="T76" y="T77"/>
                  </a:cxn>
                  <a:cxn ang="T127">
                    <a:pos x="T78" y="T79"/>
                  </a:cxn>
                  <a:cxn ang="T128">
                    <a:pos x="T80" y="T81"/>
                  </a:cxn>
                  <a:cxn ang="T129">
                    <a:pos x="T82" y="T83"/>
                  </a:cxn>
                  <a:cxn ang="T130">
                    <a:pos x="T84" y="T85"/>
                  </a:cxn>
                  <a:cxn ang="T131">
                    <a:pos x="T86" y="T87"/>
                  </a:cxn>
                </a:cxnLst>
                <a:rect l="T132" t="T133" r="T134" b="T135"/>
                <a:pathLst>
                  <a:path w="120" h="146">
                    <a:moveTo>
                      <a:pt x="78" y="57"/>
                    </a:moveTo>
                    <a:lnTo>
                      <a:pt x="87" y="57"/>
                    </a:lnTo>
                    <a:lnTo>
                      <a:pt x="94" y="56"/>
                    </a:lnTo>
                    <a:lnTo>
                      <a:pt x="101" y="55"/>
                    </a:lnTo>
                    <a:lnTo>
                      <a:pt x="106" y="53"/>
                    </a:lnTo>
                    <a:lnTo>
                      <a:pt x="110" y="50"/>
                    </a:lnTo>
                    <a:lnTo>
                      <a:pt x="112" y="47"/>
                    </a:lnTo>
                    <a:lnTo>
                      <a:pt x="114" y="44"/>
                    </a:lnTo>
                    <a:lnTo>
                      <a:pt x="115" y="41"/>
                    </a:lnTo>
                    <a:lnTo>
                      <a:pt x="114" y="37"/>
                    </a:lnTo>
                    <a:lnTo>
                      <a:pt x="113" y="33"/>
                    </a:lnTo>
                    <a:lnTo>
                      <a:pt x="112" y="28"/>
                    </a:lnTo>
                    <a:lnTo>
                      <a:pt x="110" y="24"/>
                    </a:lnTo>
                    <a:lnTo>
                      <a:pt x="104" y="17"/>
                    </a:lnTo>
                    <a:lnTo>
                      <a:pt x="95" y="10"/>
                    </a:lnTo>
                    <a:lnTo>
                      <a:pt x="87" y="5"/>
                    </a:lnTo>
                    <a:lnTo>
                      <a:pt x="78" y="2"/>
                    </a:lnTo>
                    <a:lnTo>
                      <a:pt x="74" y="0"/>
                    </a:lnTo>
                    <a:lnTo>
                      <a:pt x="70" y="0"/>
                    </a:lnTo>
                    <a:lnTo>
                      <a:pt x="65" y="2"/>
                    </a:lnTo>
                    <a:lnTo>
                      <a:pt x="61" y="4"/>
                    </a:lnTo>
                    <a:lnTo>
                      <a:pt x="58" y="6"/>
                    </a:lnTo>
                    <a:lnTo>
                      <a:pt x="55" y="10"/>
                    </a:lnTo>
                    <a:lnTo>
                      <a:pt x="53" y="14"/>
                    </a:lnTo>
                    <a:lnTo>
                      <a:pt x="52" y="20"/>
                    </a:lnTo>
                    <a:lnTo>
                      <a:pt x="51" y="27"/>
                    </a:lnTo>
                    <a:lnTo>
                      <a:pt x="51" y="36"/>
                    </a:lnTo>
                    <a:lnTo>
                      <a:pt x="52" y="45"/>
                    </a:lnTo>
                    <a:lnTo>
                      <a:pt x="54" y="56"/>
                    </a:lnTo>
                    <a:lnTo>
                      <a:pt x="46" y="55"/>
                    </a:lnTo>
                    <a:lnTo>
                      <a:pt x="40" y="54"/>
                    </a:lnTo>
                    <a:lnTo>
                      <a:pt x="33" y="54"/>
                    </a:lnTo>
                    <a:lnTo>
                      <a:pt x="27" y="55"/>
                    </a:lnTo>
                    <a:lnTo>
                      <a:pt x="22" y="56"/>
                    </a:lnTo>
                    <a:lnTo>
                      <a:pt x="18" y="58"/>
                    </a:lnTo>
                    <a:lnTo>
                      <a:pt x="14" y="60"/>
                    </a:lnTo>
                    <a:lnTo>
                      <a:pt x="11" y="64"/>
                    </a:lnTo>
                    <a:lnTo>
                      <a:pt x="8" y="67"/>
                    </a:lnTo>
                    <a:lnTo>
                      <a:pt x="6" y="70"/>
                    </a:lnTo>
                    <a:lnTo>
                      <a:pt x="3" y="73"/>
                    </a:lnTo>
                    <a:lnTo>
                      <a:pt x="2" y="77"/>
                    </a:lnTo>
                    <a:lnTo>
                      <a:pt x="0" y="85"/>
                    </a:lnTo>
                    <a:lnTo>
                      <a:pt x="1" y="93"/>
                    </a:lnTo>
                    <a:lnTo>
                      <a:pt x="2" y="101"/>
                    </a:lnTo>
                    <a:lnTo>
                      <a:pt x="7" y="107"/>
                    </a:lnTo>
                    <a:lnTo>
                      <a:pt x="9" y="110"/>
                    </a:lnTo>
                    <a:lnTo>
                      <a:pt x="11" y="113"/>
                    </a:lnTo>
                    <a:lnTo>
                      <a:pt x="14" y="115"/>
                    </a:lnTo>
                    <a:lnTo>
                      <a:pt x="17" y="116"/>
                    </a:lnTo>
                    <a:lnTo>
                      <a:pt x="21" y="117"/>
                    </a:lnTo>
                    <a:lnTo>
                      <a:pt x="24" y="118"/>
                    </a:lnTo>
                    <a:lnTo>
                      <a:pt x="28" y="118"/>
                    </a:lnTo>
                    <a:lnTo>
                      <a:pt x="32" y="117"/>
                    </a:lnTo>
                    <a:lnTo>
                      <a:pt x="38" y="116"/>
                    </a:lnTo>
                    <a:lnTo>
                      <a:pt x="43" y="114"/>
                    </a:lnTo>
                    <a:lnTo>
                      <a:pt x="47" y="111"/>
                    </a:lnTo>
                    <a:lnTo>
                      <a:pt x="53" y="107"/>
                    </a:lnTo>
                    <a:lnTo>
                      <a:pt x="54" y="115"/>
                    </a:lnTo>
                    <a:lnTo>
                      <a:pt x="57" y="123"/>
                    </a:lnTo>
                    <a:lnTo>
                      <a:pt x="60" y="129"/>
                    </a:lnTo>
                    <a:lnTo>
                      <a:pt x="63" y="134"/>
                    </a:lnTo>
                    <a:lnTo>
                      <a:pt x="66" y="138"/>
                    </a:lnTo>
                    <a:lnTo>
                      <a:pt x="71" y="141"/>
                    </a:lnTo>
                    <a:lnTo>
                      <a:pt x="75" y="144"/>
                    </a:lnTo>
                    <a:lnTo>
                      <a:pt x="79" y="145"/>
                    </a:lnTo>
                    <a:lnTo>
                      <a:pt x="83" y="146"/>
                    </a:lnTo>
                    <a:lnTo>
                      <a:pt x="87" y="146"/>
                    </a:lnTo>
                    <a:lnTo>
                      <a:pt x="91" y="146"/>
                    </a:lnTo>
                    <a:lnTo>
                      <a:pt x="95" y="145"/>
                    </a:lnTo>
                    <a:lnTo>
                      <a:pt x="100" y="143"/>
                    </a:lnTo>
                    <a:lnTo>
                      <a:pt x="104" y="141"/>
                    </a:lnTo>
                    <a:lnTo>
                      <a:pt x="107" y="138"/>
                    </a:lnTo>
                    <a:lnTo>
                      <a:pt x="110" y="135"/>
                    </a:lnTo>
                    <a:lnTo>
                      <a:pt x="113" y="132"/>
                    </a:lnTo>
                    <a:lnTo>
                      <a:pt x="115" y="128"/>
                    </a:lnTo>
                    <a:lnTo>
                      <a:pt x="117" y="124"/>
                    </a:lnTo>
                    <a:lnTo>
                      <a:pt x="119" y="118"/>
                    </a:lnTo>
                    <a:lnTo>
                      <a:pt x="120" y="114"/>
                    </a:lnTo>
                    <a:lnTo>
                      <a:pt x="120" y="109"/>
                    </a:lnTo>
                    <a:lnTo>
                      <a:pt x="120" y="104"/>
                    </a:lnTo>
                    <a:lnTo>
                      <a:pt x="119" y="99"/>
                    </a:lnTo>
                    <a:lnTo>
                      <a:pt x="117" y="93"/>
                    </a:lnTo>
                    <a:lnTo>
                      <a:pt x="115" y="87"/>
                    </a:lnTo>
                    <a:lnTo>
                      <a:pt x="111" y="82"/>
                    </a:lnTo>
                    <a:lnTo>
                      <a:pt x="107" y="77"/>
                    </a:lnTo>
                    <a:lnTo>
                      <a:pt x="102" y="72"/>
                    </a:lnTo>
                    <a:lnTo>
                      <a:pt x="94" y="67"/>
                    </a:lnTo>
                    <a:lnTo>
                      <a:pt x="87" y="63"/>
                    </a:lnTo>
                    <a:lnTo>
                      <a:pt x="78" y="57"/>
                    </a:lnTo>
                    <a:close/>
                  </a:path>
                </a:pathLst>
              </a:custGeom>
              <a:solidFill>
                <a:srgbClr val="BF3B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33" name="Freeform 109"/>
              <p:cNvSpPr>
                <a:spLocks/>
              </p:cNvSpPr>
              <p:nvPr/>
            </p:nvSpPr>
            <p:spPr bwMode="auto">
              <a:xfrm>
                <a:off x="3466" y="1579"/>
                <a:ext cx="27" cy="22"/>
              </a:xfrm>
              <a:custGeom>
                <a:avLst/>
                <a:gdLst>
                  <a:gd name="T0" fmla="*/ 0 w 189"/>
                  <a:gd name="T1" fmla="*/ 0 h 153"/>
                  <a:gd name="T2" fmla="*/ 0 w 189"/>
                  <a:gd name="T3" fmla="*/ 0 h 153"/>
                  <a:gd name="T4" fmla="*/ 0 w 189"/>
                  <a:gd name="T5" fmla="*/ 0 h 153"/>
                  <a:gd name="T6" fmla="*/ 0 w 189"/>
                  <a:gd name="T7" fmla="*/ 0 h 153"/>
                  <a:gd name="T8" fmla="*/ 0 w 189"/>
                  <a:gd name="T9" fmla="*/ 0 h 153"/>
                  <a:gd name="T10" fmla="*/ 0 w 189"/>
                  <a:gd name="T11" fmla="*/ 0 h 153"/>
                  <a:gd name="T12" fmla="*/ 0 w 189"/>
                  <a:gd name="T13" fmla="*/ 0 h 153"/>
                  <a:gd name="T14" fmla="*/ 0 w 189"/>
                  <a:gd name="T15" fmla="*/ 0 h 153"/>
                  <a:gd name="T16" fmla="*/ 0 w 189"/>
                  <a:gd name="T17" fmla="*/ 0 h 153"/>
                  <a:gd name="T18" fmla="*/ 0 w 189"/>
                  <a:gd name="T19" fmla="*/ 0 h 153"/>
                  <a:gd name="T20" fmla="*/ 0 w 189"/>
                  <a:gd name="T21" fmla="*/ 0 h 153"/>
                  <a:gd name="T22" fmla="*/ 0 w 189"/>
                  <a:gd name="T23" fmla="*/ 0 h 153"/>
                  <a:gd name="T24" fmla="*/ 0 w 189"/>
                  <a:gd name="T25" fmla="*/ 0 h 153"/>
                  <a:gd name="T26" fmla="*/ 0 w 189"/>
                  <a:gd name="T27" fmla="*/ 0 h 153"/>
                  <a:gd name="T28" fmla="*/ 0 w 189"/>
                  <a:gd name="T29" fmla="*/ 0 h 153"/>
                  <a:gd name="T30" fmla="*/ 0 w 189"/>
                  <a:gd name="T31" fmla="*/ 0 h 153"/>
                  <a:gd name="T32" fmla="*/ 0 w 189"/>
                  <a:gd name="T33" fmla="*/ 0 h 153"/>
                  <a:gd name="T34" fmla="*/ 0 w 189"/>
                  <a:gd name="T35" fmla="*/ 0 h 153"/>
                  <a:gd name="T36" fmla="*/ 0 w 189"/>
                  <a:gd name="T37" fmla="*/ 0 h 153"/>
                  <a:gd name="T38" fmla="*/ 0 w 189"/>
                  <a:gd name="T39" fmla="*/ 0 h 153"/>
                  <a:gd name="T40" fmla="*/ 0 w 189"/>
                  <a:gd name="T41" fmla="*/ 0 h 153"/>
                  <a:gd name="T42" fmla="*/ 0 w 189"/>
                  <a:gd name="T43" fmla="*/ 0 h 153"/>
                  <a:gd name="T44" fmla="*/ 0 w 189"/>
                  <a:gd name="T45" fmla="*/ 0 h 153"/>
                  <a:gd name="T46" fmla="*/ 0 w 189"/>
                  <a:gd name="T47" fmla="*/ 0 h 153"/>
                  <a:gd name="T48" fmla="*/ 0 w 189"/>
                  <a:gd name="T49" fmla="*/ 0 h 153"/>
                  <a:gd name="T50" fmla="*/ 0 w 189"/>
                  <a:gd name="T51" fmla="*/ 0 h 153"/>
                  <a:gd name="T52" fmla="*/ 0 w 189"/>
                  <a:gd name="T53" fmla="*/ 0 h 153"/>
                  <a:gd name="T54" fmla="*/ 0 w 189"/>
                  <a:gd name="T55" fmla="*/ 0 h 153"/>
                  <a:gd name="T56" fmla="*/ 0 w 189"/>
                  <a:gd name="T57" fmla="*/ 0 h 153"/>
                  <a:gd name="T58" fmla="*/ 0 w 189"/>
                  <a:gd name="T59" fmla="*/ 0 h 153"/>
                  <a:gd name="T60" fmla="*/ 0 w 189"/>
                  <a:gd name="T61" fmla="*/ 0 h 153"/>
                  <a:gd name="T62" fmla="*/ 0 w 189"/>
                  <a:gd name="T63" fmla="*/ 0 h 153"/>
                  <a:gd name="T64" fmla="*/ 0 w 189"/>
                  <a:gd name="T65" fmla="*/ 0 h 153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89"/>
                  <a:gd name="T100" fmla="*/ 0 h 153"/>
                  <a:gd name="T101" fmla="*/ 189 w 189"/>
                  <a:gd name="T102" fmla="*/ 153 h 153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89" h="153">
                    <a:moveTo>
                      <a:pt x="189" y="0"/>
                    </a:moveTo>
                    <a:lnTo>
                      <a:pt x="169" y="3"/>
                    </a:lnTo>
                    <a:lnTo>
                      <a:pt x="151" y="7"/>
                    </a:lnTo>
                    <a:lnTo>
                      <a:pt x="136" y="11"/>
                    </a:lnTo>
                    <a:lnTo>
                      <a:pt x="121" y="15"/>
                    </a:lnTo>
                    <a:lnTo>
                      <a:pt x="109" y="21"/>
                    </a:lnTo>
                    <a:lnTo>
                      <a:pt x="98" y="27"/>
                    </a:lnTo>
                    <a:lnTo>
                      <a:pt x="87" y="35"/>
                    </a:lnTo>
                    <a:lnTo>
                      <a:pt x="77" y="43"/>
                    </a:lnTo>
                    <a:lnTo>
                      <a:pt x="68" y="52"/>
                    </a:lnTo>
                    <a:lnTo>
                      <a:pt x="59" y="63"/>
                    </a:lnTo>
                    <a:lnTo>
                      <a:pt x="50" y="75"/>
                    </a:lnTo>
                    <a:lnTo>
                      <a:pt x="42" y="87"/>
                    </a:lnTo>
                    <a:lnTo>
                      <a:pt x="22" y="117"/>
                    </a:lnTo>
                    <a:lnTo>
                      <a:pt x="0" y="153"/>
                    </a:lnTo>
                    <a:lnTo>
                      <a:pt x="8" y="151"/>
                    </a:lnTo>
                    <a:lnTo>
                      <a:pt x="25" y="144"/>
                    </a:lnTo>
                    <a:lnTo>
                      <a:pt x="38" y="139"/>
                    </a:lnTo>
                    <a:lnTo>
                      <a:pt x="52" y="134"/>
                    </a:lnTo>
                    <a:lnTo>
                      <a:pt x="67" y="127"/>
                    </a:lnTo>
                    <a:lnTo>
                      <a:pt x="83" y="118"/>
                    </a:lnTo>
                    <a:lnTo>
                      <a:pt x="100" y="108"/>
                    </a:lnTo>
                    <a:lnTo>
                      <a:pt x="115" y="98"/>
                    </a:lnTo>
                    <a:lnTo>
                      <a:pt x="131" y="85"/>
                    </a:lnTo>
                    <a:lnTo>
                      <a:pt x="146" y="71"/>
                    </a:lnTo>
                    <a:lnTo>
                      <a:pt x="153" y="64"/>
                    </a:lnTo>
                    <a:lnTo>
                      <a:pt x="160" y="55"/>
                    </a:lnTo>
                    <a:lnTo>
                      <a:pt x="166" y="47"/>
                    </a:lnTo>
                    <a:lnTo>
                      <a:pt x="172" y="39"/>
                    </a:lnTo>
                    <a:lnTo>
                      <a:pt x="177" y="30"/>
                    </a:lnTo>
                    <a:lnTo>
                      <a:pt x="181" y="20"/>
                    </a:lnTo>
                    <a:lnTo>
                      <a:pt x="185" y="10"/>
                    </a:lnTo>
                    <a:lnTo>
                      <a:pt x="189" y="0"/>
                    </a:lnTo>
                    <a:close/>
                  </a:path>
                </a:pathLst>
              </a:custGeom>
              <a:solidFill>
                <a:srgbClr val="008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34" name="Freeform 110"/>
              <p:cNvSpPr>
                <a:spLocks/>
              </p:cNvSpPr>
              <p:nvPr/>
            </p:nvSpPr>
            <p:spPr bwMode="auto">
              <a:xfrm>
                <a:off x="3459" y="1570"/>
                <a:ext cx="5" cy="18"/>
              </a:xfrm>
              <a:custGeom>
                <a:avLst/>
                <a:gdLst>
                  <a:gd name="T0" fmla="*/ 0 w 36"/>
                  <a:gd name="T1" fmla="*/ 0 h 129"/>
                  <a:gd name="T2" fmla="*/ 0 w 36"/>
                  <a:gd name="T3" fmla="*/ 0 h 129"/>
                  <a:gd name="T4" fmla="*/ 0 w 36"/>
                  <a:gd name="T5" fmla="*/ 0 h 129"/>
                  <a:gd name="T6" fmla="*/ 0 w 36"/>
                  <a:gd name="T7" fmla="*/ 0 h 129"/>
                  <a:gd name="T8" fmla="*/ 0 w 36"/>
                  <a:gd name="T9" fmla="*/ 0 h 129"/>
                  <a:gd name="T10" fmla="*/ 0 w 36"/>
                  <a:gd name="T11" fmla="*/ 0 h 129"/>
                  <a:gd name="T12" fmla="*/ 0 w 36"/>
                  <a:gd name="T13" fmla="*/ 0 h 129"/>
                  <a:gd name="T14" fmla="*/ 0 w 36"/>
                  <a:gd name="T15" fmla="*/ 0 h 129"/>
                  <a:gd name="T16" fmla="*/ 0 w 36"/>
                  <a:gd name="T17" fmla="*/ 0 h 129"/>
                  <a:gd name="T18" fmla="*/ 0 w 36"/>
                  <a:gd name="T19" fmla="*/ 0 h 129"/>
                  <a:gd name="T20" fmla="*/ 0 w 36"/>
                  <a:gd name="T21" fmla="*/ 0 h 129"/>
                  <a:gd name="T22" fmla="*/ 0 w 36"/>
                  <a:gd name="T23" fmla="*/ 0 h 129"/>
                  <a:gd name="T24" fmla="*/ 0 w 36"/>
                  <a:gd name="T25" fmla="*/ 0 h 129"/>
                  <a:gd name="T26" fmla="*/ 0 w 36"/>
                  <a:gd name="T27" fmla="*/ 0 h 129"/>
                  <a:gd name="T28" fmla="*/ 0 w 36"/>
                  <a:gd name="T29" fmla="*/ 0 h 129"/>
                  <a:gd name="T30" fmla="*/ 0 w 36"/>
                  <a:gd name="T31" fmla="*/ 0 h 129"/>
                  <a:gd name="T32" fmla="*/ 0 w 36"/>
                  <a:gd name="T33" fmla="*/ 0 h 129"/>
                  <a:gd name="T34" fmla="*/ 0 w 36"/>
                  <a:gd name="T35" fmla="*/ 0 h 129"/>
                  <a:gd name="T36" fmla="*/ 0 w 36"/>
                  <a:gd name="T37" fmla="*/ 0 h 129"/>
                  <a:gd name="T38" fmla="*/ 0 w 36"/>
                  <a:gd name="T39" fmla="*/ 0 h 129"/>
                  <a:gd name="T40" fmla="*/ 0 w 36"/>
                  <a:gd name="T41" fmla="*/ 0 h 129"/>
                  <a:gd name="T42" fmla="*/ 0 w 36"/>
                  <a:gd name="T43" fmla="*/ 0 h 129"/>
                  <a:gd name="T44" fmla="*/ 0 w 36"/>
                  <a:gd name="T45" fmla="*/ 0 h 129"/>
                  <a:gd name="T46" fmla="*/ 0 w 36"/>
                  <a:gd name="T47" fmla="*/ 0 h 129"/>
                  <a:gd name="T48" fmla="*/ 0 w 36"/>
                  <a:gd name="T49" fmla="*/ 0 h 129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36"/>
                  <a:gd name="T76" fmla="*/ 0 h 129"/>
                  <a:gd name="T77" fmla="*/ 36 w 36"/>
                  <a:gd name="T78" fmla="*/ 129 h 129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36" h="129">
                    <a:moveTo>
                      <a:pt x="9" y="0"/>
                    </a:moveTo>
                    <a:lnTo>
                      <a:pt x="6" y="11"/>
                    </a:lnTo>
                    <a:lnTo>
                      <a:pt x="3" y="21"/>
                    </a:lnTo>
                    <a:lnTo>
                      <a:pt x="2" y="29"/>
                    </a:lnTo>
                    <a:lnTo>
                      <a:pt x="0" y="38"/>
                    </a:lnTo>
                    <a:lnTo>
                      <a:pt x="0" y="45"/>
                    </a:lnTo>
                    <a:lnTo>
                      <a:pt x="0" y="52"/>
                    </a:lnTo>
                    <a:lnTo>
                      <a:pt x="1" y="59"/>
                    </a:lnTo>
                    <a:lnTo>
                      <a:pt x="2" y="66"/>
                    </a:lnTo>
                    <a:lnTo>
                      <a:pt x="6" y="80"/>
                    </a:lnTo>
                    <a:lnTo>
                      <a:pt x="13" y="94"/>
                    </a:lnTo>
                    <a:lnTo>
                      <a:pt x="21" y="110"/>
                    </a:lnTo>
                    <a:lnTo>
                      <a:pt x="32" y="129"/>
                    </a:lnTo>
                    <a:lnTo>
                      <a:pt x="32" y="125"/>
                    </a:lnTo>
                    <a:lnTo>
                      <a:pt x="34" y="114"/>
                    </a:lnTo>
                    <a:lnTo>
                      <a:pt x="36" y="99"/>
                    </a:lnTo>
                    <a:lnTo>
                      <a:pt x="36" y="80"/>
                    </a:lnTo>
                    <a:lnTo>
                      <a:pt x="36" y="70"/>
                    </a:lnTo>
                    <a:lnTo>
                      <a:pt x="35" y="59"/>
                    </a:lnTo>
                    <a:lnTo>
                      <a:pt x="33" y="48"/>
                    </a:lnTo>
                    <a:lnTo>
                      <a:pt x="31" y="38"/>
                    </a:lnTo>
                    <a:lnTo>
                      <a:pt x="27" y="27"/>
                    </a:lnTo>
                    <a:lnTo>
                      <a:pt x="23" y="18"/>
                    </a:lnTo>
                    <a:lnTo>
                      <a:pt x="16" y="9"/>
                    </a:lnTo>
                    <a:lnTo>
                      <a:pt x="9" y="0"/>
                    </a:lnTo>
                    <a:close/>
                  </a:path>
                </a:pathLst>
              </a:custGeom>
              <a:solidFill>
                <a:srgbClr val="008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35" name="Freeform 111"/>
              <p:cNvSpPr>
                <a:spLocks/>
              </p:cNvSpPr>
              <p:nvPr/>
            </p:nvSpPr>
            <p:spPr bwMode="auto">
              <a:xfrm>
                <a:off x="3459" y="1540"/>
                <a:ext cx="5" cy="12"/>
              </a:xfrm>
              <a:custGeom>
                <a:avLst/>
                <a:gdLst>
                  <a:gd name="T0" fmla="*/ 0 w 33"/>
                  <a:gd name="T1" fmla="*/ 0 h 87"/>
                  <a:gd name="T2" fmla="*/ 0 w 33"/>
                  <a:gd name="T3" fmla="*/ 0 h 87"/>
                  <a:gd name="T4" fmla="*/ 0 w 33"/>
                  <a:gd name="T5" fmla="*/ 0 h 87"/>
                  <a:gd name="T6" fmla="*/ 0 w 33"/>
                  <a:gd name="T7" fmla="*/ 0 h 87"/>
                  <a:gd name="T8" fmla="*/ 0 w 33"/>
                  <a:gd name="T9" fmla="*/ 0 h 87"/>
                  <a:gd name="T10" fmla="*/ 0 w 33"/>
                  <a:gd name="T11" fmla="*/ 0 h 87"/>
                  <a:gd name="T12" fmla="*/ 0 w 33"/>
                  <a:gd name="T13" fmla="*/ 0 h 87"/>
                  <a:gd name="T14" fmla="*/ 0 w 33"/>
                  <a:gd name="T15" fmla="*/ 0 h 87"/>
                  <a:gd name="T16" fmla="*/ 0 w 33"/>
                  <a:gd name="T17" fmla="*/ 0 h 87"/>
                  <a:gd name="T18" fmla="*/ 0 w 33"/>
                  <a:gd name="T19" fmla="*/ 0 h 87"/>
                  <a:gd name="T20" fmla="*/ 0 w 33"/>
                  <a:gd name="T21" fmla="*/ 0 h 87"/>
                  <a:gd name="T22" fmla="*/ 0 w 33"/>
                  <a:gd name="T23" fmla="*/ 0 h 87"/>
                  <a:gd name="T24" fmla="*/ 0 w 33"/>
                  <a:gd name="T25" fmla="*/ 0 h 87"/>
                  <a:gd name="T26" fmla="*/ 0 w 33"/>
                  <a:gd name="T27" fmla="*/ 0 h 87"/>
                  <a:gd name="T28" fmla="*/ 0 w 33"/>
                  <a:gd name="T29" fmla="*/ 0 h 87"/>
                  <a:gd name="T30" fmla="*/ 0 w 33"/>
                  <a:gd name="T31" fmla="*/ 0 h 87"/>
                  <a:gd name="T32" fmla="*/ 0 w 33"/>
                  <a:gd name="T33" fmla="*/ 0 h 87"/>
                  <a:gd name="T34" fmla="*/ 0 w 33"/>
                  <a:gd name="T35" fmla="*/ 0 h 87"/>
                  <a:gd name="T36" fmla="*/ 0 w 33"/>
                  <a:gd name="T37" fmla="*/ 0 h 87"/>
                  <a:gd name="T38" fmla="*/ 0 w 33"/>
                  <a:gd name="T39" fmla="*/ 0 h 87"/>
                  <a:gd name="T40" fmla="*/ 0 w 33"/>
                  <a:gd name="T41" fmla="*/ 0 h 87"/>
                  <a:gd name="T42" fmla="*/ 0 w 33"/>
                  <a:gd name="T43" fmla="*/ 0 h 87"/>
                  <a:gd name="T44" fmla="*/ 0 w 33"/>
                  <a:gd name="T45" fmla="*/ 0 h 87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33"/>
                  <a:gd name="T70" fmla="*/ 0 h 87"/>
                  <a:gd name="T71" fmla="*/ 33 w 33"/>
                  <a:gd name="T72" fmla="*/ 87 h 87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33" h="87">
                    <a:moveTo>
                      <a:pt x="14" y="0"/>
                    </a:moveTo>
                    <a:lnTo>
                      <a:pt x="6" y="12"/>
                    </a:lnTo>
                    <a:lnTo>
                      <a:pt x="2" y="22"/>
                    </a:lnTo>
                    <a:lnTo>
                      <a:pt x="0" y="27"/>
                    </a:lnTo>
                    <a:lnTo>
                      <a:pt x="0" y="31"/>
                    </a:lnTo>
                    <a:lnTo>
                      <a:pt x="0" y="37"/>
                    </a:lnTo>
                    <a:lnTo>
                      <a:pt x="0" y="41"/>
                    </a:lnTo>
                    <a:lnTo>
                      <a:pt x="3" y="50"/>
                    </a:lnTo>
                    <a:lnTo>
                      <a:pt x="7" y="60"/>
                    </a:lnTo>
                    <a:lnTo>
                      <a:pt x="14" y="73"/>
                    </a:lnTo>
                    <a:lnTo>
                      <a:pt x="23" y="87"/>
                    </a:lnTo>
                    <a:lnTo>
                      <a:pt x="24" y="84"/>
                    </a:lnTo>
                    <a:lnTo>
                      <a:pt x="26" y="78"/>
                    </a:lnTo>
                    <a:lnTo>
                      <a:pt x="29" y="69"/>
                    </a:lnTo>
                    <a:lnTo>
                      <a:pt x="32" y="56"/>
                    </a:lnTo>
                    <a:lnTo>
                      <a:pt x="33" y="50"/>
                    </a:lnTo>
                    <a:lnTo>
                      <a:pt x="33" y="43"/>
                    </a:lnTo>
                    <a:lnTo>
                      <a:pt x="32" y="36"/>
                    </a:lnTo>
                    <a:lnTo>
                      <a:pt x="31" y="28"/>
                    </a:lnTo>
                    <a:lnTo>
                      <a:pt x="29" y="21"/>
                    </a:lnTo>
                    <a:lnTo>
                      <a:pt x="25" y="14"/>
                    </a:lnTo>
                    <a:lnTo>
                      <a:pt x="21" y="7"/>
                    </a:lnTo>
                    <a:lnTo>
                      <a:pt x="14" y="0"/>
                    </a:lnTo>
                    <a:close/>
                  </a:path>
                </a:pathLst>
              </a:custGeom>
              <a:solidFill>
                <a:srgbClr val="008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36" name="Freeform 112"/>
              <p:cNvSpPr>
                <a:spLocks/>
              </p:cNvSpPr>
              <p:nvPr/>
            </p:nvSpPr>
            <p:spPr bwMode="auto">
              <a:xfrm>
                <a:off x="3461" y="1529"/>
                <a:ext cx="6" cy="11"/>
              </a:xfrm>
              <a:custGeom>
                <a:avLst/>
                <a:gdLst>
                  <a:gd name="T0" fmla="*/ 0 w 42"/>
                  <a:gd name="T1" fmla="*/ 0 h 77"/>
                  <a:gd name="T2" fmla="*/ 0 w 42"/>
                  <a:gd name="T3" fmla="*/ 0 h 77"/>
                  <a:gd name="T4" fmla="*/ 0 w 42"/>
                  <a:gd name="T5" fmla="*/ 0 h 77"/>
                  <a:gd name="T6" fmla="*/ 0 w 42"/>
                  <a:gd name="T7" fmla="*/ 0 h 77"/>
                  <a:gd name="T8" fmla="*/ 0 w 42"/>
                  <a:gd name="T9" fmla="*/ 0 h 77"/>
                  <a:gd name="T10" fmla="*/ 0 w 42"/>
                  <a:gd name="T11" fmla="*/ 0 h 77"/>
                  <a:gd name="T12" fmla="*/ 0 w 42"/>
                  <a:gd name="T13" fmla="*/ 0 h 77"/>
                  <a:gd name="T14" fmla="*/ 0 w 42"/>
                  <a:gd name="T15" fmla="*/ 0 h 77"/>
                  <a:gd name="T16" fmla="*/ 0 w 42"/>
                  <a:gd name="T17" fmla="*/ 0 h 77"/>
                  <a:gd name="T18" fmla="*/ 0 w 42"/>
                  <a:gd name="T19" fmla="*/ 0 h 77"/>
                  <a:gd name="T20" fmla="*/ 0 w 42"/>
                  <a:gd name="T21" fmla="*/ 0 h 77"/>
                  <a:gd name="T22" fmla="*/ 0 w 42"/>
                  <a:gd name="T23" fmla="*/ 0 h 77"/>
                  <a:gd name="T24" fmla="*/ 0 w 42"/>
                  <a:gd name="T25" fmla="*/ 0 h 77"/>
                  <a:gd name="T26" fmla="*/ 0 w 42"/>
                  <a:gd name="T27" fmla="*/ 0 h 77"/>
                  <a:gd name="T28" fmla="*/ 0 w 42"/>
                  <a:gd name="T29" fmla="*/ 0 h 77"/>
                  <a:gd name="T30" fmla="*/ 0 w 42"/>
                  <a:gd name="T31" fmla="*/ 0 h 77"/>
                  <a:gd name="T32" fmla="*/ 0 w 42"/>
                  <a:gd name="T33" fmla="*/ 0 h 77"/>
                  <a:gd name="T34" fmla="*/ 0 w 42"/>
                  <a:gd name="T35" fmla="*/ 0 h 77"/>
                  <a:gd name="T36" fmla="*/ 0 w 42"/>
                  <a:gd name="T37" fmla="*/ 0 h 77"/>
                  <a:gd name="T38" fmla="*/ 0 w 42"/>
                  <a:gd name="T39" fmla="*/ 0 h 77"/>
                  <a:gd name="T40" fmla="*/ 0 w 42"/>
                  <a:gd name="T41" fmla="*/ 0 h 77"/>
                  <a:gd name="T42" fmla="*/ 0 w 42"/>
                  <a:gd name="T43" fmla="*/ 0 h 77"/>
                  <a:gd name="T44" fmla="*/ 0 w 42"/>
                  <a:gd name="T45" fmla="*/ 0 h 77"/>
                  <a:gd name="T46" fmla="*/ 0 w 42"/>
                  <a:gd name="T47" fmla="*/ 0 h 77"/>
                  <a:gd name="T48" fmla="*/ 0 w 42"/>
                  <a:gd name="T49" fmla="*/ 0 h 77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42"/>
                  <a:gd name="T76" fmla="*/ 0 h 77"/>
                  <a:gd name="T77" fmla="*/ 42 w 42"/>
                  <a:gd name="T78" fmla="*/ 77 h 77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42" h="77">
                    <a:moveTo>
                      <a:pt x="40" y="0"/>
                    </a:moveTo>
                    <a:lnTo>
                      <a:pt x="32" y="2"/>
                    </a:lnTo>
                    <a:lnTo>
                      <a:pt x="27" y="5"/>
                    </a:lnTo>
                    <a:lnTo>
                      <a:pt x="22" y="7"/>
                    </a:lnTo>
                    <a:lnTo>
                      <a:pt x="18" y="10"/>
                    </a:lnTo>
                    <a:lnTo>
                      <a:pt x="14" y="13"/>
                    </a:lnTo>
                    <a:lnTo>
                      <a:pt x="11" y="18"/>
                    </a:lnTo>
                    <a:lnTo>
                      <a:pt x="9" y="21"/>
                    </a:lnTo>
                    <a:lnTo>
                      <a:pt x="6" y="25"/>
                    </a:lnTo>
                    <a:lnTo>
                      <a:pt x="3" y="35"/>
                    </a:lnTo>
                    <a:lnTo>
                      <a:pt x="2" y="47"/>
                    </a:lnTo>
                    <a:lnTo>
                      <a:pt x="1" y="60"/>
                    </a:lnTo>
                    <a:lnTo>
                      <a:pt x="0" y="77"/>
                    </a:lnTo>
                    <a:lnTo>
                      <a:pt x="2" y="76"/>
                    </a:lnTo>
                    <a:lnTo>
                      <a:pt x="9" y="71"/>
                    </a:lnTo>
                    <a:lnTo>
                      <a:pt x="16" y="65"/>
                    </a:lnTo>
                    <a:lnTo>
                      <a:pt x="24" y="57"/>
                    </a:lnTo>
                    <a:lnTo>
                      <a:pt x="28" y="52"/>
                    </a:lnTo>
                    <a:lnTo>
                      <a:pt x="32" y="47"/>
                    </a:lnTo>
                    <a:lnTo>
                      <a:pt x="35" y="40"/>
                    </a:lnTo>
                    <a:lnTo>
                      <a:pt x="38" y="33"/>
                    </a:lnTo>
                    <a:lnTo>
                      <a:pt x="41" y="26"/>
                    </a:lnTo>
                    <a:lnTo>
                      <a:pt x="42" y="18"/>
                    </a:lnTo>
                    <a:lnTo>
                      <a:pt x="41" y="9"/>
                    </a:lnTo>
                    <a:lnTo>
                      <a:pt x="40" y="0"/>
                    </a:lnTo>
                    <a:close/>
                  </a:path>
                </a:pathLst>
              </a:custGeom>
              <a:solidFill>
                <a:srgbClr val="008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37" name="Freeform 113"/>
              <p:cNvSpPr>
                <a:spLocks/>
              </p:cNvSpPr>
              <p:nvPr/>
            </p:nvSpPr>
            <p:spPr bwMode="auto">
              <a:xfrm>
                <a:off x="3458" y="1524"/>
                <a:ext cx="5" cy="12"/>
              </a:xfrm>
              <a:custGeom>
                <a:avLst/>
                <a:gdLst>
                  <a:gd name="T0" fmla="*/ 0 w 35"/>
                  <a:gd name="T1" fmla="*/ 0 h 82"/>
                  <a:gd name="T2" fmla="*/ 0 w 35"/>
                  <a:gd name="T3" fmla="*/ 0 h 82"/>
                  <a:gd name="T4" fmla="*/ 0 w 35"/>
                  <a:gd name="T5" fmla="*/ 0 h 82"/>
                  <a:gd name="T6" fmla="*/ 0 w 35"/>
                  <a:gd name="T7" fmla="*/ 0 h 82"/>
                  <a:gd name="T8" fmla="*/ 0 w 35"/>
                  <a:gd name="T9" fmla="*/ 0 h 82"/>
                  <a:gd name="T10" fmla="*/ 0 w 35"/>
                  <a:gd name="T11" fmla="*/ 0 h 82"/>
                  <a:gd name="T12" fmla="*/ 0 w 35"/>
                  <a:gd name="T13" fmla="*/ 0 h 82"/>
                  <a:gd name="T14" fmla="*/ 0 w 35"/>
                  <a:gd name="T15" fmla="*/ 0 h 82"/>
                  <a:gd name="T16" fmla="*/ 0 w 35"/>
                  <a:gd name="T17" fmla="*/ 0 h 82"/>
                  <a:gd name="T18" fmla="*/ 0 w 35"/>
                  <a:gd name="T19" fmla="*/ 0 h 82"/>
                  <a:gd name="T20" fmla="*/ 0 w 35"/>
                  <a:gd name="T21" fmla="*/ 0 h 82"/>
                  <a:gd name="T22" fmla="*/ 0 w 35"/>
                  <a:gd name="T23" fmla="*/ 0 h 82"/>
                  <a:gd name="T24" fmla="*/ 0 w 35"/>
                  <a:gd name="T25" fmla="*/ 0 h 82"/>
                  <a:gd name="T26" fmla="*/ 0 w 35"/>
                  <a:gd name="T27" fmla="*/ 0 h 82"/>
                  <a:gd name="T28" fmla="*/ 0 w 35"/>
                  <a:gd name="T29" fmla="*/ 0 h 82"/>
                  <a:gd name="T30" fmla="*/ 0 w 35"/>
                  <a:gd name="T31" fmla="*/ 0 h 82"/>
                  <a:gd name="T32" fmla="*/ 0 w 35"/>
                  <a:gd name="T33" fmla="*/ 0 h 82"/>
                  <a:gd name="T34" fmla="*/ 0 w 35"/>
                  <a:gd name="T35" fmla="*/ 0 h 82"/>
                  <a:gd name="T36" fmla="*/ 0 w 35"/>
                  <a:gd name="T37" fmla="*/ 0 h 82"/>
                  <a:gd name="T38" fmla="*/ 0 w 35"/>
                  <a:gd name="T39" fmla="*/ 0 h 82"/>
                  <a:gd name="T40" fmla="*/ 0 w 35"/>
                  <a:gd name="T41" fmla="*/ 0 h 82"/>
                  <a:gd name="T42" fmla="*/ 0 w 35"/>
                  <a:gd name="T43" fmla="*/ 0 h 82"/>
                  <a:gd name="T44" fmla="*/ 0 w 35"/>
                  <a:gd name="T45" fmla="*/ 0 h 82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35"/>
                  <a:gd name="T70" fmla="*/ 0 h 82"/>
                  <a:gd name="T71" fmla="*/ 35 w 35"/>
                  <a:gd name="T72" fmla="*/ 82 h 82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35" h="82">
                    <a:moveTo>
                      <a:pt x="10" y="0"/>
                    </a:moveTo>
                    <a:lnTo>
                      <a:pt x="4" y="12"/>
                    </a:lnTo>
                    <a:lnTo>
                      <a:pt x="0" y="24"/>
                    </a:lnTo>
                    <a:lnTo>
                      <a:pt x="0" y="28"/>
                    </a:lnTo>
                    <a:lnTo>
                      <a:pt x="0" y="33"/>
                    </a:lnTo>
                    <a:lnTo>
                      <a:pt x="0" y="37"/>
                    </a:lnTo>
                    <a:lnTo>
                      <a:pt x="2" y="41"/>
                    </a:lnTo>
                    <a:lnTo>
                      <a:pt x="6" y="50"/>
                    </a:lnTo>
                    <a:lnTo>
                      <a:pt x="12" y="60"/>
                    </a:lnTo>
                    <a:lnTo>
                      <a:pt x="20" y="70"/>
                    </a:lnTo>
                    <a:lnTo>
                      <a:pt x="30" y="82"/>
                    </a:lnTo>
                    <a:lnTo>
                      <a:pt x="31" y="80"/>
                    </a:lnTo>
                    <a:lnTo>
                      <a:pt x="33" y="73"/>
                    </a:lnTo>
                    <a:lnTo>
                      <a:pt x="35" y="64"/>
                    </a:lnTo>
                    <a:lnTo>
                      <a:pt x="35" y="51"/>
                    </a:lnTo>
                    <a:lnTo>
                      <a:pt x="35" y="45"/>
                    </a:lnTo>
                    <a:lnTo>
                      <a:pt x="34" y="38"/>
                    </a:lnTo>
                    <a:lnTo>
                      <a:pt x="33" y="31"/>
                    </a:lnTo>
                    <a:lnTo>
                      <a:pt x="30" y="25"/>
                    </a:lnTo>
                    <a:lnTo>
                      <a:pt x="27" y="17"/>
                    </a:lnTo>
                    <a:lnTo>
                      <a:pt x="22" y="11"/>
                    </a:lnTo>
                    <a:lnTo>
                      <a:pt x="16" y="5"/>
                    </a:lnTo>
                    <a:lnTo>
                      <a:pt x="10" y="0"/>
                    </a:lnTo>
                    <a:close/>
                  </a:path>
                </a:pathLst>
              </a:custGeom>
              <a:solidFill>
                <a:srgbClr val="008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38" name="Freeform 114"/>
              <p:cNvSpPr>
                <a:spLocks/>
              </p:cNvSpPr>
              <p:nvPr/>
            </p:nvSpPr>
            <p:spPr bwMode="auto">
              <a:xfrm>
                <a:off x="3522" y="1599"/>
                <a:ext cx="5" cy="12"/>
              </a:xfrm>
              <a:custGeom>
                <a:avLst/>
                <a:gdLst>
                  <a:gd name="T0" fmla="*/ 0 w 33"/>
                  <a:gd name="T1" fmla="*/ 0 h 88"/>
                  <a:gd name="T2" fmla="*/ 0 w 33"/>
                  <a:gd name="T3" fmla="*/ 0 h 88"/>
                  <a:gd name="T4" fmla="*/ 0 w 33"/>
                  <a:gd name="T5" fmla="*/ 0 h 88"/>
                  <a:gd name="T6" fmla="*/ 0 w 33"/>
                  <a:gd name="T7" fmla="*/ 0 h 88"/>
                  <a:gd name="T8" fmla="*/ 0 w 33"/>
                  <a:gd name="T9" fmla="*/ 0 h 88"/>
                  <a:gd name="T10" fmla="*/ 0 w 33"/>
                  <a:gd name="T11" fmla="*/ 0 h 88"/>
                  <a:gd name="T12" fmla="*/ 0 w 33"/>
                  <a:gd name="T13" fmla="*/ 0 h 88"/>
                  <a:gd name="T14" fmla="*/ 0 w 33"/>
                  <a:gd name="T15" fmla="*/ 0 h 88"/>
                  <a:gd name="T16" fmla="*/ 0 w 33"/>
                  <a:gd name="T17" fmla="*/ 0 h 88"/>
                  <a:gd name="T18" fmla="*/ 0 w 33"/>
                  <a:gd name="T19" fmla="*/ 0 h 88"/>
                  <a:gd name="T20" fmla="*/ 0 w 33"/>
                  <a:gd name="T21" fmla="*/ 0 h 88"/>
                  <a:gd name="T22" fmla="*/ 0 w 33"/>
                  <a:gd name="T23" fmla="*/ 0 h 88"/>
                  <a:gd name="T24" fmla="*/ 0 w 33"/>
                  <a:gd name="T25" fmla="*/ 0 h 88"/>
                  <a:gd name="T26" fmla="*/ 0 w 33"/>
                  <a:gd name="T27" fmla="*/ 0 h 88"/>
                  <a:gd name="T28" fmla="*/ 0 w 33"/>
                  <a:gd name="T29" fmla="*/ 0 h 88"/>
                  <a:gd name="T30" fmla="*/ 0 w 33"/>
                  <a:gd name="T31" fmla="*/ 0 h 88"/>
                  <a:gd name="T32" fmla="*/ 0 w 33"/>
                  <a:gd name="T33" fmla="*/ 0 h 88"/>
                  <a:gd name="T34" fmla="*/ 0 w 33"/>
                  <a:gd name="T35" fmla="*/ 0 h 88"/>
                  <a:gd name="T36" fmla="*/ 0 w 33"/>
                  <a:gd name="T37" fmla="*/ 0 h 88"/>
                  <a:gd name="T38" fmla="*/ 0 w 33"/>
                  <a:gd name="T39" fmla="*/ 0 h 88"/>
                  <a:gd name="T40" fmla="*/ 0 w 33"/>
                  <a:gd name="T41" fmla="*/ 0 h 88"/>
                  <a:gd name="T42" fmla="*/ 0 w 33"/>
                  <a:gd name="T43" fmla="*/ 0 h 88"/>
                  <a:gd name="T44" fmla="*/ 0 w 33"/>
                  <a:gd name="T45" fmla="*/ 0 h 88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33"/>
                  <a:gd name="T70" fmla="*/ 0 h 88"/>
                  <a:gd name="T71" fmla="*/ 33 w 33"/>
                  <a:gd name="T72" fmla="*/ 88 h 88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33" h="88">
                    <a:moveTo>
                      <a:pt x="25" y="0"/>
                    </a:moveTo>
                    <a:lnTo>
                      <a:pt x="15" y="9"/>
                    </a:lnTo>
                    <a:lnTo>
                      <a:pt x="6" y="18"/>
                    </a:lnTo>
                    <a:lnTo>
                      <a:pt x="4" y="22"/>
                    </a:lnTo>
                    <a:lnTo>
                      <a:pt x="2" y="26"/>
                    </a:lnTo>
                    <a:lnTo>
                      <a:pt x="0" y="31"/>
                    </a:lnTo>
                    <a:lnTo>
                      <a:pt x="0" y="35"/>
                    </a:lnTo>
                    <a:lnTo>
                      <a:pt x="0" y="46"/>
                    </a:lnTo>
                    <a:lnTo>
                      <a:pt x="1" y="58"/>
                    </a:lnTo>
                    <a:lnTo>
                      <a:pt x="4" y="71"/>
                    </a:lnTo>
                    <a:lnTo>
                      <a:pt x="7" y="88"/>
                    </a:lnTo>
                    <a:lnTo>
                      <a:pt x="10" y="86"/>
                    </a:lnTo>
                    <a:lnTo>
                      <a:pt x="14" y="81"/>
                    </a:lnTo>
                    <a:lnTo>
                      <a:pt x="20" y="72"/>
                    </a:lnTo>
                    <a:lnTo>
                      <a:pt x="26" y="62"/>
                    </a:lnTo>
                    <a:lnTo>
                      <a:pt x="28" y="56"/>
                    </a:lnTo>
                    <a:lnTo>
                      <a:pt x="31" y="49"/>
                    </a:lnTo>
                    <a:lnTo>
                      <a:pt x="32" y="41"/>
                    </a:lnTo>
                    <a:lnTo>
                      <a:pt x="33" y="34"/>
                    </a:lnTo>
                    <a:lnTo>
                      <a:pt x="33" y="26"/>
                    </a:lnTo>
                    <a:lnTo>
                      <a:pt x="32" y="18"/>
                    </a:lnTo>
                    <a:lnTo>
                      <a:pt x="29" y="9"/>
                    </a:lnTo>
                    <a:lnTo>
                      <a:pt x="25" y="0"/>
                    </a:lnTo>
                    <a:close/>
                  </a:path>
                </a:pathLst>
              </a:custGeom>
              <a:solidFill>
                <a:srgbClr val="008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39" name="Freeform 115"/>
              <p:cNvSpPr>
                <a:spLocks/>
              </p:cNvSpPr>
              <p:nvPr/>
            </p:nvSpPr>
            <p:spPr bwMode="auto">
              <a:xfrm>
                <a:off x="3526" y="1583"/>
                <a:ext cx="5" cy="12"/>
              </a:xfrm>
              <a:custGeom>
                <a:avLst/>
                <a:gdLst>
                  <a:gd name="T0" fmla="*/ 0 w 33"/>
                  <a:gd name="T1" fmla="*/ 0 h 89"/>
                  <a:gd name="T2" fmla="*/ 0 w 33"/>
                  <a:gd name="T3" fmla="*/ 0 h 89"/>
                  <a:gd name="T4" fmla="*/ 0 w 33"/>
                  <a:gd name="T5" fmla="*/ 0 h 89"/>
                  <a:gd name="T6" fmla="*/ 0 w 33"/>
                  <a:gd name="T7" fmla="*/ 0 h 89"/>
                  <a:gd name="T8" fmla="*/ 0 w 33"/>
                  <a:gd name="T9" fmla="*/ 0 h 89"/>
                  <a:gd name="T10" fmla="*/ 0 w 33"/>
                  <a:gd name="T11" fmla="*/ 0 h 89"/>
                  <a:gd name="T12" fmla="*/ 0 w 33"/>
                  <a:gd name="T13" fmla="*/ 0 h 89"/>
                  <a:gd name="T14" fmla="*/ 0 w 33"/>
                  <a:gd name="T15" fmla="*/ 0 h 89"/>
                  <a:gd name="T16" fmla="*/ 0 w 33"/>
                  <a:gd name="T17" fmla="*/ 0 h 89"/>
                  <a:gd name="T18" fmla="*/ 0 w 33"/>
                  <a:gd name="T19" fmla="*/ 0 h 89"/>
                  <a:gd name="T20" fmla="*/ 0 w 33"/>
                  <a:gd name="T21" fmla="*/ 0 h 89"/>
                  <a:gd name="T22" fmla="*/ 0 w 33"/>
                  <a:gd name="T23" fmla="*/ 0 h 89"/>
                  <a:gd name="T24" fmla="*/ 0 w 33"/>
                  <a:gd name="T25" fmla="*/ 0 h 89"/>
                  <a:gd name="T26" fmla="*/ 0 w 33"/>
                  <a:gd name="T27" fmla="*/ 0 h 89"/>
                  <a:gd name="T28" fmla="*/ 0 w 33"/>
                  <a:gd name="T29" fmla="*/ 0 h 89"/>
                  <a:gd name="T30" fmla="*/ 0 w 33"/>
                  <a:gd name="T31" fmla="*/ 0 h 89"/>
                  <a:gd name="T32" fmla="*/ 0 w 33"/>
                  <a:gd name="T33" fmla="*/ 0 h 89"/>
                  <a:gd name="T34" fmla="*/ 0 w 33"/>
                  <a:gd name="T35" fmla="*/ 0 h 89"/>
                  <a:gd name="T36" fmla="*/ 0 w 33"/>
                  <a:gd name="T37" fmla="*/ 0 h 89"/>
                  <a:gd name="T38" fmla="*/ 0 w 33"/>
                  <a:gd name="T39" fmla="*/ 0 h 89"/>
                  <a:gd name="T40" fmla="*/ 0 w 33"/>
                  <a:gd name="T41" fmla="*/ 0 h 89"/>
                  <a:gd name="T42" fmla="*/ 0 w 33"/>
                  <a:gd name="T43" fmla="*/ 0 h 89"/>
                  <a:gd name="T44" fmla="*/ 0 w 33"/>
                  <a:gd name="T45" fmla="*/ 0 h 89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33"/>
                  <a:gd name="T70" fmla="*/ 0 h 89"/>
                  <a:gd name="T71" fmla="*/ 33 w 33"/>
                  <a:gd name="T72" fmla="*/ 89 h 89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33" h="89">
                    <a:moveTo>
                      <a:pt x="21" y="0"/>
                    </a:moveTo>
                    <a:lnTo>
                      <a:pt x="10" y="11"/>
                    </a:lnTo>
                    <a:lnTo>
                      <a:pt x="4" y="20"/>
                    </a:lnTo>
                    <a:lnTo>
                      <a:pt x="2" y="25"/>
                    </a:lnTo>
                    <a:lnTo>
                      <a:pt x="1" y="29"/>
                    </a:lnTo>
                    <a:lnTo>
                      <a:pt x="0" y="34"/>
                    </a:lnTo>
                    <a:lnTo>
                      <a:pt x="0" y="39"/>
                    </a:lnTo>
                    <a:lnTo>
                      <a:pt x="2" y="49"/>
                    </a:lnTo>
                    <a:lnTo>
                      <a:pt x="5" y="60"/>
                    </a:lnTo>
                    <a:lnTo>
                      <a:pt x="10" y="74"/>
                    </a:lnTo>
                    <a:lnTo>
                      <a:pt x="16" y="89"/>
                    </a:lnTo>
                    <a:lnTo>
                      <a:pt x="18" y="87"/>
                    </a:lnTo>
                    <a:lnTo>
                      <a:pt x="21" y="81"/>
                    </a:lnTo>
                    <a:lnTo>
                      <a:pt x="26" y="72"/>
                    </a:lnTo>
                    <a:lnTo>
                      <a:pt x="30" y="60"/>
                    </a:lnTo>
                    <a:lnTo>
                      <a:pt x="32" y="53"/>
                    </a:lnTo>
                    <a:lnTo>
                      <a:pt x="33" y="47"/>
                    </a:lnTo>
                    <a:lnTo>
                      <a:pt x="33" y="40"/>
                    </a:lnTo>
                    <a:lnTo>
                      <a:pt x="33" y="31"/>
                    </a:lnTo>
                    <a:lnTo>
                      <a:pt x="32" y="24"/>
                    </a:lnTo>
                    <a:lnTo>
                      <a:pt x="29" y="16"/>
                    </a:lnTo>
                    <a:lnTo>
                      <a:pt x="26" y="9"/>
                    </a:lnTo>
                    <a:lnTo>
                      <a:pt x="21" y="0"/>
                    </a:lnTo>
                    <a:close/>
                  </a:path>
                </a:pathLst>
              </a:custGeom>
              <a:solidFill>
                <a:srgbClr val="008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40" name="Freeform 116"/>
              <p:cNvSpPr>
                <a:spLocks/>
              </p:cNvSpPr>
              <p:nvPr/>
            </p:nvSpPr>
            <p:spPr bwMode="auto">
              <a:xfrm>
                <a:off x="3460" y="1507"/>
                <a:ext cx="5" cy="12"/>
              </a:xfrm>
              <a:custGeom>
                <a:avLst/>
                <a:gdLst>
                  <a:gd name="T0" fmla="*/ 0 w 35"/>
                  <a:gd name="T1" fmla="*/ 0 h 83"/>
                  <a:gd name="T2" fmla="*/ 0 w 35"/>
                  <a:gd name="T3" fmla="*/ 0 h 83"/>
                  <a:gd name="T4" fmla="*/ 0 w 35"/>
                  <a:gd name="T5" fmla="*/ 0 h 83"/>
                  <a:gd name="T6" fmla="*/ 0 w 35"/>
                  <a:gd name="T7" fmla="*/ 0 h 83"/>
                  <a:gd name="T8" fmla="*/ 0 w 35"/>
                  <a:gd name="T9" fmla="*/ 0 h 83"/>
                  <a:gd name="T10" fmla="*/ 0 w 35"/>
                  <a:gd name="T11" fmla="*/ 0 h 83"/>
                  <a:gd name="T12" fmla="*/ 0 w 35"/>
                  <a:gd name="T13" fmla="*/ 0 h 83"/>
                  <a:gd name="T14" fmla="*/ 0 w 35"/>
                  <a:gd name="T15" fmla="*/ 0 h 83"/>
                  <a:gd name="T16" fmla="*/ 0 w 35"/>
                  <a:gd name="T17" fmla="*/ 0 h 83"/>
                  <a:gd name="T18" fmla="*/ 0 w 35"/>
                  <a:gd name="T19" fmla="*/ 0 h 83"/>
                  <a:gd name="T20" fmla="*/ 0 w 35"/>
                  <a:gd name="T21" fmla="*/ 0 h 83"/>
                  <a:gd name="T22" fmla="*/ 0 w 35"/>
                  <a:gd name="T23" fmla="*/ 0 h 83"/>
                  <a:gd name="T24" fmla="*/ 0 w 35"/>
                  <a:gd name="T25" fmla="*/ 0 h 83"/>
                  <a:gd name="T26" fmla="*/ 0 w 35"/>
                  <a:gd name="T27" fmla="*/ 0 h 83"/>
                  <a:gd name="T28" fmla="*/ 0 w 35"/>
                  <a:gd name="T29" fmla="*/ 0 h 83"/>
                  <a:gd name="T30" fmla="*/ 0 w 35"/>
                  <a:gd name="T31" fmla="*/ 0 h 83"/>
                  <a:gd name="T32" fmla="*/ 0 w 35"/>
                  <a:gd name="T33" fmla="*/ 0 h 83"/>
                  <a:gd name="T34" fmla="*/ 0 w 35"/>
                  <a:gd name="T35" fmla="*/ 0 h 83"/>
                  <a:gd name="T36" fmla="*/ 0 w 35"/>
                  <a:gd name="T37" fmla="*/ 0 h 83"/>
                  <a:gd name="T38" fmla="*/ 0 w 35"/>
                  <a:gd name="T39" fmla="*/ 0 h 83"/>
                  <a:gd name="T40" fmla="*/ 0 w 35"/>
                  <a:gd name="T41" fmla="*/ 0 h 83"/>
                  <a:gd name="T42" fmla="*/ 0 w 35"/>
                  <a:gd name="T43" fmla="*/ 0 h 83"/>
                  <a:gd name="T44" fmla="*/ 0 w 35"/>
                  <a:gd name="T45" fmla="*/ 0 h 83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w 35"/>
                  <a:gd name="T70" fmla="*/ 0 h 83"/>
                  <a:gd name="T71" fmla="*/ 35 w 35"/>
                  <a:gd name="T72" fmla="*/ 83 h 83"/>
                </a:gdLst>
                <a:ahLst/>
                <a:cxnLst>
                  <a:cxn ang="T46">
                    <a:pos x="T0" y="T1"/>
                  </a:cxn>
                  <a:cxn ang="T47">
                    <a:pos x="T2" y="T3"/>
                  </a:cxn>
                  <a:cxn ang="T48">
                    <a:pos x="T4" y="T5"/>
                  </a:cxn>
                  <a:cxn ang="T49">
                    <a:pos x="T6" y="T7"/>
                  </a:cxn>
                  <a:cxn ang="T50">
                    <a:pos x="T8" y="T9"/>
                  </a:cxn>
                  <a:cxn ang="T51">
                    <a:pos x="T10" y="T11"/>
                  </a:cxn>
                  <a:cxn ang="T52">
                    <a:pos x="T12" y="T13"/>
                  </a:cxn>
                  <a:cxn ang="T53">
                    <a:pos x="T14" y="T15"/>
                  </a:cxn>
                  <a:cxn ang="T54">
                    <a:pos x="T16" y="T17"/>
                  </a:cxn>
                  <a:cxn ang="T55">
                    <a:pos x="T18" y="T19"/>
                  </a:cxn>
                  <a:cxn ang="T56">
                    <a:pos x="T20" y="T21"/>
                  </a:cxn>
                  <a:cxn ang="T57">
                    <a:pos x="T22" y="T23"/>
                  </a:cxn>
                  <a:cxn ang="T58">
                    <a:pos x="T24" y="T25"/>
                  </a:cxn>
                  <a:cxn ang="T59">
                    <a:pos x="T26" y="T27"/>
                  </a:cxn>
                  <a:cxn ang="T60">
                    <a:pos x="T28" y="T29"/>
                  </a:cxn>
                  <a:cxn ang="T61">
                    <a:pos x="T30" y="T31"/>
                  </a:cxn>
                  <a:cxn ang="T62">
                    <a:pos x="T32" y="T33"/>
                  </a:cxn>
                  <a:cxn ang="T63">
                    <a:pos x="T34" y="T35"/>
                  </a:cxn>
                  <a:cxn ang="T64">
                    <a:pos x="T36" y="T37"/>
                  </a:cxn>
                  <a:cxn ang="T65">
                    <a:pos x="T38" y="T39"/>
                  </a:cxn>
                  <a:cxn ang="T66">
                    <a:pos x="T40" y="T41"/>
                  </a:cxn>
                  <a:cxn ang="T67">
                    <a:pos x="T42" y="T43"/>
                  </a:cxn>
                  <a:cxn ang="T68">
                    <a:pos x="T44" y="T45"/>
                  </a:cxn>
                </a:cxnLst>
                <a:rect l="T69" t="T70" r="T71" b="T72"/>
                <a:pathLst>
                  <a:path w="35" h="83">
                    <a:moveTo>
                      <a:pt x="11" y="0"/>
                    </a:moveTo>
                    <a:lnTo>
                      <a:pt x="4" y="12"/>
                    </a:lnTo>
                    <a:lnTo>
                      <a:pt x="1" y="23"/>
                    </a:lnTo>
                    <a:lnTo>
                      <a:pt x="0" y="28"/>
                    </a:lnTo>
                    <a:lnTo>
                      <a:pt x="0" y="32"/>
                    </a:lnTo>
                    <a:lnTo>
                      <a:pt x="1" y="37"/>
                    </a:lnTo>
                    <a:lnTo>
                      <a:pt x="2" y="41"/>
                    </a:lnTo>
                    <a:lnTo>
                      <a:pt x="6" y="50"/>
                    </a:lnTo>
                    <a:lnTo>
                      <a:pt x="13" y="59"/>
                    </a:lnTo>
                    <a:lnTo>
                      <a:pt x="20" y="70"/>
                    </a:lnTo>
                    <a:lnTo>
                      <a:pt x="30" y="83"/>
                    </a:lnTo>
                    <a:lnTo>
                      <a:pt x="31" y="80"/>
                    </a:lnTo>
                    <a:lnTo>
                      <a:pt x="32" y="73"/>
                    </a:lnTo>
                    <a:lnTo>
                      <a:pt x="34" y="64"/>
                    </a:lnTo>
                    <a:lnTo>
                      <a:pt x="35" y="52"/>
                    </a:lnTo>
                    <a:lnTo>
                      <a:pt x="35" y="44"/>
                    </a:lnTo>
                    <a:lnTo>
                      <a:pt x="34" y="38"/>
                    </a:lnTo>
                    <a:lnTo>
                      <a:pt x="33" y="31"/>
                    </a:lnTo>
                    <a:lnTo>
                      <a:pt x="31" y="24"/>
                    </a:lnTo>
                    <a:lnTo>
                      <a:pt x="27" y="18"/>
                    </a:lnTo>
                    <a:lnTo>
                      <a:pt x="23" y="11"/>
                    </a:lnTo>
                    <a:lnTo>
                      <a:pt x="18" y="5"/>
                    </a:lnTo>
                    <a:lnTo>
                      <a:pt x="11" y="0"/>
                    </a:lnTo>
                    <a:close/>
                  </a:path>
                </a:pathLst>
              </a:custGeom>
              <a:solidFill>
                <a:srgbClr val="008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41" name="Freeform 117"/>
              <p:cNvSpPr>
                <a:spLocks/>
              </p:cNvSpPr>
              <p:nvPr/>
            </p:nvSpPr>
            <p:spPr bwMode="auto">
              <a:xfrm>
                <a:off x="3492" y="1621"/>
                <a:ext cx="11" cy="7"/>
              </a:xfrm>
              <a:custGeom>
                <a:avLst/>
                <a:gdLst>
                  <a:gd name="T0" fmla="*/ 0 w 79"/>
                  <a:gd name="T1" fmla="*/ 0 h 53"/>
                  <a:gd name="T2" fmla="*/ 0 w 79"/>
                  <a:gd name="T3" fmla="*/ 0 h 53"/>
                  <a:gd name="T4" fmla="*/ 0 w 79"/>
                  <a:gd name="T5" fmla="*/ 0 h 53"/>
                  <a:gd name="T6" fmla="*/ 0 w 79"/>
                  <a:gd name="T7" fmla="*/ 0 h 53"/>
                  <a:gd name="T8" fmla="*/ 0 w 79"/>
                  <a:gd name="T9" fmla="*/ 0 h 53"/>
                  <a:gd name="T10" fmla="*/ 0 w 79"/>
                  <a:gd name="T11" fmla="*/ 0 h 53"/>
                  <a:gd name="T12" fmla="*/ 0 w 79"/>
                  <a:gd name="T13" fmla="*/ 0 h 53"/>
                  <a:gd name="T14" fmla="*/ 0 w 79"/>
                  <a:gd name="T15" fmla="*/ 0 h 53"/>
                  <a:gd name="T16" fmla="*/ 0 w 79"/>
                  <a:gd name="T17" fmla="*/ 0 h 53"/>
                  <a:gd name="T18" fmla="*/ 0 w 79"/>
                  <a:gd name="T19" fmla="*/ 0 h 53"/>
                  <a:gd name="T20" fmla="*/ 0 w 79"/>
                  <a:gd name="T21" fmla="*/ 0 h 53"/>
                  <a:gd name="T22" fmla="*/ 0 w 79"/>
                  <a:gd name="T23" fmla="*/ 0 h 53"/>
                  <a:gd name="T24" fmla="*/ 0 w 79"/>
                  <a:gd name="T25" fmla="*/ 0 h 53"/>
                  <a:gd name="T26" fmla="*/ 0 w 79"/>
                  <a:gd name="T27" fmla="*/ 0 h 53"/>
                  <a:gd name="T28" fmla="*/ 0 w 79"/>
                  <a:gd name="T29" fmla="*/ 0 h 53"/>
                  <a:gd name="T30" fmla="*/ 0 w 79"/>
                  <a:gd name="T31" fmla="*/ 0 h 53"/>
                  <a:gd name="T32" fmla="*/ 0 w 79"/>
                  <a:gd name="T33" fmla="*/ 0 h 53"/>
                  <a:gd name="T34" fmla="*/ 0 w 79"/>
                  <a:gd name="T35" fmla="*/ 0 h 53"/>
                  <a:gd name="T36" fmla="*/ 0 w 79"/>
                  <a:gd name="T37" fmla="*/ 0 h 53"/>
                  <a:gd name="T38" fmla="*/ 0 w 79"/>
                  <a:gd name="T39" fmla="*/ 0 h 53"/>
                  <a:gd name="T40" fmla="*/ 0 w 79"/>
                  <a:gd name="T41" fmla="*/ 0 h 53"/>
                  <a:gd name="T42" fmla="*/ 0 w 79"/>
                  <a:gd name="T43" fmla="*/ 0 h 53"/>
                  <a:gd name="T44" fmla="*/ 0 w 79"/>
                  <a:gd name="T45" fmla="*/ 0 h 53"/>
                  <a:gd name="T46" fmla="*/ 0 w 79"/>
                  <a:gd name="T47" fmla="*/ 0 h 53"/>
                  <a:gd name="T48" fmla="*/ 0 w 79"/>
                  <a:gd name="T49" fmla="*/ 0 h 53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79"/>
                  <a:gd name="T76" fmla="*/ 0 h 53"/>
                  <a:gd name="T77" fmla="*/ 79 w 79"/>
                  <a:gd name="T78" fmla="*/ 53 h 53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79" h="53">
                    <a:moveTo>
                      <a:pt x="79" y="51"/>
                    </a:moveTo>
                    <a:lnTo>
                      <a:pt x="77" y="42"/>
                    </a:lnTo>
                    <a:lnTo>
                      <a:pt x="75" y="35"/>
                    </a:lnTo>
                    <a:lnTo>
                      <a:pt x="72" y="29"/>
                    </a:lnTo>
                    <a:lnTo>
                      <a:pt x="70" y="24"/>
                    </a:lnTo>
                    <a:lnTo>
                      <a:pt x="67" y="20"/>
                    </a:lnTo>
                    <a:lnTo>
                      <a:pt x="62" y="16"/>
                    </a:lnTo>
                    <a:lnTo>
                      <a:pt x="58" y="12"/>
                    </a:lnTo>
                    <a:lnTo>
                      <a:pt x="54" y="10"/>
                    </a:lnTo>
                    <a:lnTo>
                      <a:pt x="45" y="6"/>
                    </a:lnTo>
                    <a:lnTo>
                      <a:pt x="32" y="4"/>
                    </a:lnTo>
                    <a:lnTo>
                      <a:pt x="18" y="2"/>
                    </a:lnTo>
                    <a:lnTo>
                      <a:pt x="0" y="0"/>
                    </a:lnTo>
                    <a:lnTo>
                      <a:pt x="1" y="3"/>
                    </a:lnTo>
                    <a:lnTo>
                      <a:pt x="6" y="10"/>
                    </a:lnTo>
                    <a:lnTo>
                      <a:pt x="11" y="20"/>
                    </a:lnTo>
                    <a:lnTo>
                      <a:pt x="19" y="30"/>
                    </a:lnTo>
                    <a:lnTo>
                      <a:pt x="24" y="35"/>
                    </a:lnTo>
                    <a:lnTo>
                      <a:pt x="30" y="40"/>
                    </a:lnTo>
                    <a:lnTo>
                      <a:pt x="37" y="45"/>
                    </a:lnTo>
                    <a:lnTo>
                      <a:pt x="44" y="49"/>
                    </a:lnTo>
                    <a:lnTo>
                      <a:pt x="51" y="51"/>
                    </a:lnTo>
                    <a:lnTo>
                      <a:pt x="60" y="53"/>
                    </a:lnTo>
                    <a:lnTo>
                      <a:pt x="69" y="53"/>
                    </a:lnTo>
                    <a:lnTo>
                      <a:pt x="79" y="51"/>
                    </a:lnTo>
                    <a:close/>
                  </a:path>
                </a:pathLst>
              </a:custGeom>
              <a:solidFill>
                <a:srgbClr val="008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42" name="Freeform 118"/>
              <p:cNvSpPr>
                <a:spLocks/>
              </p:cNvSpPr>
              <p:nvPr/>
            </p:nvSpPr>
            <p:spPr bwMode="auto">
              <a:xfrm>
                <a:off x="3482" y="1621"/>
                <a:ext cx="10" cy="6"/>
              </a:xfrm>
              <a:custGeom>
                <a:avLst/>
                <a:gdLst>
                  <a:gd name="T0" fmla="*/ 0 w 74"/>
                  <a:gd name="T1" fmla="*/ 0 h 39"/>
                  <a:gd name="T2" fmla="*/ 0 w 74"/>
                  <a:gd name="T3" fmla="*/ 0 h 39"/>
                  <a:gd name="T4" fmla="*/ 0 w 74"/>
                  <a:gd name="T5" fmla="*/ 0 h 39"/>
                  <a:gd name="T6" fmla="*/ 0 w 74"/>
                  <a:gd name="T7" fmla="*/ 0 h 39"/>
                  <a:gd name="T8" fmla="*/ 0 w 74"/>
                  <a:gd name="T9" fmla="*/ 0 h 39"/>
                  <a:gd name="T10" fmla="*/ 0 w 74"/>
                  <a:gd name="T11" fmla="*/ 0 h 39"/>
                  <a:gd name="T12" fmla="*/ 0 w 74"/>
                  <a:gd name="T13" fmla="*/ 0 h 39"/>
                  <a:gd name="T14" fmla="*/ 0 w 74"/>
                  <a:gd name="T15" fmla="*/ 0 h 39"/>
                  <a:gd name="T16" fmla="*/ 0 w 74"/>
                  <a:gd name="T17" fmla="*/ 0 h 39"/>
                  <a:gd name="T18" fmla="*/ 0 w 74"/>
                  <a:gd name="T19" fmla="*/ 0 h 39"/>
                  <a:gd name="T20" fmla="*/ 0 w 74"/>
                  <a:gd name="T21" fmla="*/ 0 h 39"/>
                  <a:gd name="T22" fmla="*/ 0 w 74"/>
                  <a:gd name="T23" fmla="*/ 0 h 39"/>
                  <a:gd name="T24" fmla="*/ 0 w 74"/>
                  <a:gd name="T25" fmla="*/ 0 h 39"/>
                  <a:gd name="T26" fmla="*/ 0 w 74"/>
                  <a:gd name="T27" fmla="*/ 0 h 39"/>
                  <a:gd name="T28" fmla="*/ 0 w 74"/>
                  <a:gd name="T29" fmla="*/ 0 h 39"/>
                  <a:gd name="T30" fmla="*/ 0 w 74"/>
                  <a:gd name="T31" fmla="*/ 0 h 39"/>
                  <a:gd name="T32" fmla="*/ 0 w 74"/>
                  <a:gd name="T33" fmla="*/ 0 h 39"/>
                  <a:gd name="T34" fmla="*/ 0 w 74"/>
                  <a:gd name="T35" fmla="*/ 0 h 39"/>
                  <a:gd name="T36" fmla="*/ 0 w 74"/>
                  <a:gd name="T37" fmla="*/ 0 h 39"/>
                  <a:gd name="T38" fmla="*/ 0 w 74"/>
                  <a:gd name="T39" fmla="*/ 0 h 39"/>
                  <a:gd name="T40" fmla="*/ 0 w 74"/>
                  <a:gd name="T41" fmla="*/ 0 h 39"/>
                  <a:gd name="T42" fmla="*/ 0 w 74"/>
                  <a:gd name="T43" fmla="*/ 0 h 39"/>
                  <a:gd name="T44" fmla="*/ 0 w 74"/>
                  <a:gd name="T45" fmla="*/ 0 h 39"/>
                  <a:gd name="T46" fmla="*/ 0 w 74"/>
                  <a:gd name="T47" fmla="*/ 0 h 39"/>
                  <a:gd name="T48" fmla="*/ 0 w 74"/>
                  <a:gd name="T49" fmla="*/ 0 h 39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w 74"/>
                  <a:gd name="T76" fmla="*/ 0 h 39"/>
                  <a:gd name="T77" fmla="*/ 74 w 74"/>
                  <a:gd name="T78" fmla="*/ 39 h 39"/>
                </a:gdLst>
                <a:ahLst/>
                <a:cxnLst>
                  <a:cxn ang="T50">
                    <a:pos x="T0" y="T1"/>
                  </a:cxn>
                  <a:cxn ang="T51">
                    <a:pos x="T2" y="T3"/>
                  </a:cxn>
                  <a:cxn ang="T52">
                    <a:pos x="T4" y="T5"/>
                  </a:cxn>
                  <a:cxn ang="T53">
                    <a:pos x="T6" y="T7"/>
                  </a:cxn>
                  <a:cxn ang="T54">
                    <a:pos x="T8" y="T9"/>
                  </a:cxn>
                  <a:cxn ang="T55">
                    <a:pos x="T10" y="T11"/>
                  </a:cxn>
                  <a:cxn ang="T56">
                    <a:pos x="T12" y="T13"/>
                  </a:cxn>
                  <a:cxn ang="T57">
                    <a:pos x="T14" y="T15"/>
                  </a:cxn>
                  <a:cxn ang="T58">
                    <a:pos x="T16" y="T17"/>
                  </a:cxn>
                  <a:cxn ang="T59">
                    <a:pos x="T18" y="T19"/>
                  </a:cxn>
                  <a:cxn ang="T60">
                    <a:pos x="T20" y="T21"/>
                  </a:cxn>
                  <a:cxn ang="T61">
                    <a:pos x="T22" y="T23"/>
                  </a:cxn>
                  <a:cxn ang="T62">
                    <a:pos x="T24" y="T25"/>
                  </a:cxn>
                  <a:cxn ang="T63">
                    <a:pos x="T26" y="T27"/>
                  </a:cxn>
                  <a:cxn ang="T64">
                    <a:pos x="T28" y="T29"/>
                  </a:cxn>
                  <a:cxn ang="T65">
                    <a:pos x="T30" y="T31"/>
                  </a:cxn>
                  <a:cxn ang="T66">
                    <a:pos x="T32" y="T33"/>
                  </a:cxn>
                  <a:cxn ang="T67">
                    <a:pos x="T34" y="T35"/>
                  </a:cxn>
                  <a:cxn ang="T68">
                    <a:pos x="T36" y="T37"/>
                  </a:cxn>
                  <a:cxn ang="T69">
                    <a:pos x="T38" y="T39"/>
                  </a:cxn>
                  <a:cxn ang="T70">
                    <a:pos x="T40" y="T41"/>
                  </a:cxn>
                  <a:cxn ang="T71">
                    <a:pos x="T42" y="T43"/>
                  </a:cxn>
                  <a:cxn ang="T72">
                    <a:pos x="T44" y="T45"/>
                  </a:cxn>
                  <a:cxn ang="T73">
                    <a:pos x="T46" y="T47"/>
                  </a:cxn>
                  <a:cxn ang="T74">
                    <a:pos x="T48" y="T49"/>
                  </a:cxn>
                </a:cxnLst>
                <a:rect l="T75" t="T76" r="T77" b="T78"/>
                <a:pathLst>
                  <a:path w="74" h="39">
                    <a:moveTo>
                      <a:pt x="0" y="30"/>
                    </a:moveTo>
                    <a:lnTo>
                      <a:pt x="6" y="33"/>
                    </a:lnTo>
                    <a:lnTo>
                      <a:pt x="11" y="35"/>
                    </a:lnTo>
                    <a:lnTo>
                      <a:pt x="17" y="37"/>
                    </a:lnTo>
                    <a:lnTo>
                      <a:pt x="22" y="39"/>
                    </a:lnTo>
                    <a:lnTo>
                      <a:pt x="26" y="39"/>
                    </a:lnTo>
                    <a:lnTo>
                      <a:pt x="30" y="39"/>
                    </a:lnTo>
                    <a:lnTo>
                      <a:pt x="34" y="37"/>
                    </a:lnTo>
                    <a:lnTo>
                      <a:pt x="38" y="36"/>
                    </a:lnTo>
                    <a:lnTo>
                      <a:pt x="46" y="31"/>
                    </a:lnTo>
                    <a:lnTo>
                      <a:pt x="55" y="24"/>
                    </a:lnTo>
                    <a:lnTo>
                      <a:pt x="64" y="15"/>
                    </a:lnTo>
                    <a:lnTo>
                      <a:pt x="74" y="4"/>
                    </a:lnTo>
                    <a:lnTo>
                      <a:pt x="72" y="3"/>
                    </a:lnTo>
                    <a:lnTo>
                      <a:pt x="66" y="2"/>
                    </a:lnTo>
                    <a:lnTo>
                      <a:pt x="57" y="1"/>
                    </a:lnTo>
                    <a:lnTo>
                      <a:pt x="47" y="0"/>
                    </a:lnTo>
                    <a:lnTo>
                      <a:pt x="40" y="1"/>
                    </a:lnTo>
                    <a:lnTo>
                      <a:pt x="34" y="2"/>
                    </a:lnTo>
                    <a:lnTo>
                      <a:pt x="28" y="4"/>
                    </a:lnTo>
                    <a:lnTo>
                      <a:pt x="22" y="7"/>
                    </a:lnTo>
                    <a:lnTo>
                      <a:pt x="16" y="12"/>
                    </a:lnTo>
                    <a:lnTo>
                      <a:pt x="10" y="16"/>
                    </a:lnTo>
                    <a:lnTo>
                      <a:pt x="4" y="22"/>
                    </a:lnTo>
                    <a:lnTo>
                      <a:pt x="0" y="30"/>
                    </a:lnTo>
                    <a:close/>
                  </a:path>
                </a:pathLst>
              </a:custGeom>
              <a:solidFill>
                <a:srgbClr val="00863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43" name="Freeform 119"/>
              <p:cNvSpPr>
                <a:spLocks/>
              </p:cNvSpPr>
              <p:nvPr/>
            </p:nvSpPr>
            <p:spPr bwMode="auto">
              <a:xfrm>
                <a:off x="3457" y="1584"/>
                <a:ext cx="28" cy="31"/>
              </a:xfrm>
              <a:custGeom>
                <a:avLst/>
                <a:gdLst>
                  <a:gd name="T0" fmla="*/ 0 w 194"/>
                  <a:gd name="T1" fmla="*/ 0 h 216"/>
                  <a:gd name="T2" fmla="*/ 0 w 194"/>
                  <a:gd name="T3" fmla="*/ 0 h 216"/>
                  <a:gd name="T4" fmla="*/ 0 w 194"/>
                  <a:gd name="T5" fmla="*/ 0 h 216"/>
                  <a:gd name="T6" fmla="*/ 0 w 194"/>
                  <a:gd name="T7" fmla="*/ 0 h 216"/>
                  <a:gd name="T8" fmla="*/ 0 w 194"/>
                  <a:gd name="T9" fmla="*/ 0 h 216"/>
                  <a:gd name="T10" fmla="*/ 0 w 194"/>
                  <a:gd name="T11" fmla="*/ 0 h 216"/>
                  <a:gd name="T12" fmla="*/ 0 w 194"/>
                  <a:gd name="T13" fmla="*/ 0 h 216"/>
                  <a:gd name="T14" fmla="*/ 0 w 194"/>
                  <a:gd name="T15" fmla="*/ 0 h 216"/>
                  <a:gd name="T16" fmla="*/ 0 w 194"/>
                  <a:gd name="T17" fmla="*/ 0 h 216"/>
                  <a:gd name="T18" fmla="*/ 0 w 194"/>
                  <a:gd name="T19" fmla="*/ 0 h 216"/>
                  <a:gd name="T20" fmla="*/ 0 w 194"/>
                  <a:gd name="T21" fmla="*/ 0 h 216"/>
                  <a:gd name="T22" fmla="*/ 0 w 194"/>
                  <a:gd name="T23" fmla="*/ 0 h 216"/>
                  <a:gd name="T24" fmla="*/ 0 w 194"/>
                  <a:gd name="T25" fmla="*/ 0 h 216"/>
                  <a:gd name="T26" fmla="*/ 0 w 194"/>
                  <a:gd name="T27" fmla="*/ 0 h 216"/>
                  <a:gd name="T28" fmla="*/ 0 w 194"/>
                  <a:gd name="T29" fmla="*/ 0 h 216"/>
                  <a:gd name="T30" fmla="*/ 0 w 194"/>
                  <a:gd name="T31" fmla="*/ 0 h 216"/>
                  <a:gd name="T32" fmla="*/ 0 w 194"/>
                  <a:gd name="T33" fmla="*/ 0 h 216"/>
                  <a:gd name="T34" fmla="*/ 0 w 194"/>
                  <a:gd name="T35" fmla="*/ 0 h 216"/>
                  <a:gd name="T36" fmla="*/ 0 w 194"/>
                  <a:gd name="T37" fmla="*/ 0 h 216"/>
                  <a:gd name="T38" fmla="*/ 0 w 194"/>
                  <a:gd name="T39" fmla="*/ 0 h 216"/>
                  <a:gd name="T40" fmla="*/ 0 w 194"/>
                  <a:gd name="T41" fmla="*/ 0 h 216"/>
                  <a:gd name="T42" fmla="*/ 0 w 194"/>
                  <a:gd name="T43" fmla="*/ 0 h 216"/>
                  <a:gd name="T44" fmla="*/ 0 w 194"/>
                  <a:gd name="T45" fmla="*/ 0 h 216"/>
                  <a:gd name="T46" fmla="*/ 0 w 194"/>
                  <a:gd name="T47" fmla="*/ 0 h 216"/>
                  <a:gd name="T48" fmla="*/ 0 w 194"/>
                  <a:gd name="T49" fmla="*/ 0 h 216"/>
                  <a:gd name="T50" fmla="*/ 0 w 194"/>
                  <a:gd name="T51" fmla="*/ 0 h 216"/>
                  <a:gd name="T52" fmla="*/ 0 w 194"/>
                  <a:gd name="T53" fmla="*/ 0 h 216"/>
                  <a:gd name="T54" fmla="*/ 0 w 194"/>
                  <a:gd name="T55" fmla="*/ 0 h 216"/>
                  <a:gd name="T56" fmla="*/ 0 w 194"/>
                  <a:gd name="T57" fmla="*/ 0 h 216"/>
                  <a:gd name="T58" fmla="*/ 0 w 194"/>
                  <a:gd name="T59" fmla="*/ 0 h 216"/>
                  <a:gd name="T60" fmla="*/ 0 w 194"/>
                  <a:gd name="T61" fmla="*/ 0 h 216"/>
                  <a:gd name="T62" fmla="*/ 0 w 194"/>
                  <a:gd name="T63" fmla="*/ 0 h 216"/>
                  <a:gd name="T64" fmla="*/ 0 w 194"/>
                  <a:gd name="T65" fmla="*/ 0 h 216"/>
                  <a:gd name="T66" fmla="*/ 0 w 194"/>
                  <a:gd name="T67" fmla="*/ 0 h 216"/>
                  <a:gd name="T68" fmla="*/ 0 w 194"/>
                  <a:gd name="T69" fmla="*/ 0 h 216"/>
                  <a:gd name="T70" fmla="*/ 0 w 194"/>
                  <a:gd name="T71" fmla="*/ 0 h 216"/>
                  <a:gd name="T72" fmla="*/ 0 w 194"/>
                  <a:gd name="T73" fmla="*/ 0 h 216"/>
                  <a:gd name="T74" fmla="*/ 0 w 194"/>
                  <a:gd name="T75" fmla="*/ 0 h 216"/>
                  <a:gd name="T76" fmla="*/ 0 w 194"/>
                  <a:gd name="T77" fmla="*/ 0 h 216"/>
                  <a:gd name="T78" fmla="*/ 0 w 194"/>
                  <a:gd name="T79" fmla="*/ 0 h 216"/>
                  <a:gd name="T80" fmla="*/ 0 w 194"/>
                  <a:gd name="T81" fmla="*/ 0 h 216"/>
                  <a:gd name="T82" fmla="*/ 0 w 194"/>
                  <a:gd name="T83" fmla="*/ 0 h 216"/>
                  <a:gd name="T84" fmla="*/ 0 w 194"/>
                  <a:gd name="T85" fmla="*/ 0 h 216"/>
                  <a:gd name="T86" fmla="*/ 0 w 194"/>
                  <a:gd name="T87" fmla="*/ 0 h 216"/>
                  <a:gd name="T88" fmla="*/ 0 w 194"/>
                  <a:gd name="T89" fmla="*/ 0 h 216"/>
                  <a:gd name="T90" fmla="*/ 0 w 194"/>
                  <a:gd name="T91" fmla="*/ 0 h 216"/>
                  <a:gd name="T92" fmla="*/ 0 w 194"/>
                  <a:gd name="T93" fmla="*/ 0 h 216"/>
                  <a:gd name="T94" fmla="*/ 0 w 194"/>
                  <a:gd name="T95" fmla="*/ 0 h 21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194"/>
                  <a:gd name="T145" fmla="*/ 0 h 216"/>
                  <a:gd name="T146" fmla="*/ 194 w 194"/>
                  <a:gd name="T147" fmla="*/ 216 h 21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194" h="216">
                    <a:moveTo>
                      <a:pt x="83" y="77"/>
                    </a:moveTo>
                    <a:lnTo>
                      <a:pt x="94" y="68"/>
                    </a:lnTo>
                    <a:lnTo>
                      <a:pt x="103" y="58"/>
                    </a:lnTo>
                    <a:lnTo>
                      <a:pt x="110" y="50"/>
                    </a:lnTo>
                    <a:lnTo>
                      <a:pt x="114" y="42"/>
                    </a:lnTo>
                    <a:lnTo>
                      <a:pt x="116" y="35"/>
                    </a:lnTo>
                    <a:lnTo>
                      <a:pt x="117" y="28"/>
                    </a:lnTo>
                    <a:lnTo>
                      <a:pt x="116" y="22"/>
                    </a:lnTo>
                    <a:lnTo>
                      <a:pt x="114" y="17"/>
                    </a:lnTo>
                    <a:lnTo>
                      <a:pt x="110" y="13"/>
                    </a:lnTo>
                    <a:lnTo>
                      <a:pt x="106" y="9"/>
                    </a:lnTo>
                    <a:lnTo>
                      <a:pt x="100" y="6"/>
                    </a:lnTo>
                    <a:lnTo>
                      <a:pt x="93" y="3"/>
                    </a:lnTo>
                    <a:lnTo>
                      <a:pt x="86" y="2"/>
                    </a:lnTo>
                    <a:lnTo>
                      <a:pt x="79" y="0"/>
                    </a:lnTo>
                    <a:lnTo>
                      <a:pt x="71" y="0"/>
                    </a:lnTo>
                    <a:lnTo>
                      <a:pt x="62" y="0"/>
                    </a:lnTo>
                    <a:lnTo>
                      <a:pt x="54" y="1"/>
                    </a:lnTo>
                    <a:lnTo>
                      <a:pt x="47" y="2"/>
                    </a:lnTo>
                    <a:lnTo>
                      <a:pt x="40" y="5"/>
                    </a:lnTo>
                    <a:lnTo>
                      <a:pt x="32" y="7"/>
                    </a:lnTo>
                    <a:lnTo>
                      <a:pt x="26" y="11"/>
                    </a:lnTo>
                    <a:lnTo>
                      <a:pt x="21" y="15"/>
                    </a:lnTo>
                    <a:lnTo>
                      <a:pt x="17" y="20"/>
                    </a:lnTo>
                    <a:lnTo>
                      <a:pt x="14" y="26"/>
                    </a:lnTo>
                    <a:lnTo>
                      <a:pt x="12" y="33"/>
                    </a:lnTo>
                    <a:lnTo>
                      <a:pt x="12" y="41"/>
                    </a:lnTo>
                    <a:lnTo>
                      <a:pt x="13" y="48"/>
                    </a:lnTo>
                    <a:lnTo>
                      <a:pt x="16" y="57"/>
                    </a:lnTo>
                    <a:lnTo>
                      <a:pt x="21" y="67"/>
                    </a:lnTo>
                    <a:lnTo>
                      <a:pt x="28" y="78"/>
                    </a:lnTo>
                    <a:lnTo>
                      <a:pt x="39" y="88"/>
                    </a:lnTo>
                    <a:lnTo>
                      <a:pt x="51" y="101"/>
                    </a:lnTo>
                    <a:lnTo>
                      <a:pt x="40" y="107"/>
                    </a:lnTo>
                    <a:lnTo>
                      <a:pt x="30" y="113"/>
                    </a:lnTo>
                    <a:lnTo>
                      <a:pt x="23" y="121"/>
                    </a:lnTo>
                    <a:lnTo>
                      <a:pt x="17" y="127"/>
                    </a:lnTo>
                    <a:lnTo>
                      <a:pt x="11" y="134"/>
                    </a:lnTo>
                    <a:lnTo>
                      <a:pt x="7" y="140"/>
                    </a:lnTo>
                    <a:lnTo>
                      <a:pt x="4" y="147"/>
                    </a:lnTo>
                    <a:lnTo>
                      <a:pt x="1" y="155"/>
                    </a:lnTo>
                    <a:lnTo>
                      <a:pt x="0" y="161"/>
                    </a:lnTo>
                    <a:lnTo>
                      <a:pt x="0" y="168"/>
                    </a:lnTo>
                    <a:lnTo>
                      <a:pt x="1" y="174"/>
                    </a:lnTo>
                    <a:lnTo>
                      <a:pt x="2" y="180"/>
                    </a:lnTo>
                    <a:lnTo>
                      <a:pt x="5" y="187"/>
                    </a:lnTo>
                    <a:lnTo>
                      <a:pt x="8" y="192"/>
                    </a:lnTo>
                    <a:lnTo>
                      <a:pt x="12" y="197"/>
                    </a:lnTo>
                    <a:lnTo>
                      <a:pt x="15" y="201"/>
                    </a:lnTo>
                    <a:lnTo>
                      <a:pt x="20" y="205"/>
                    </a:lnTo>
                    <a:lnTo>
                      <a:pt x="24" y="209"/>
                    </a:lnTo>
                    <a:lnTo>
                      <a:pt x="29" y="212"/>
                    </a:lnTo>
                    <a:lnTo>
                      <a:pt x="35" y="214"/>
                    </a:lnTo>
                    <a:lnTo>
                      <a:pt x="41" y="216"/>
                    </a:lnTo>
                    <a:lnTo>
                      <a:pt x="46" y="216"/>
                    </a:lnTo>
                    <a:lnTo>
                      <a:pt x="52" y="216"/>
                    </a:lnTo>
                    <a:lnTo>
                      <a:pt x="57" y="215"/>
                    </a:lnTo>
                    <a:lnTo>
                      <a:pt x="63" y="213"/>
                    </a:lnTo>
                    <a:lnTo>
                      <a:pt x="69" y="209"/>
                    </a:lnTo>
                    <a:lnTo>
                      <a:pt x="74" y="204"/>
                    </a:lnTo>
                    <a:lnTo>
                      <a:pt x="79" y="199"/>
                    </a:lnTo>
                    <a:lnTo>
                      <a:pt x="83" y="193"/>
                    </a:lnTo>
                    <a:lnTo>
                      <a:pt x="87" y="185"/>
                    </a:lnTo>
                    <a:lnTo>
                      <a:pt x="91" y="175"/>
                    </a:lnTo>
                    <a:lnTo>
                      <a:pt x="94" y="165"/>
                    </a:lnTo>
                    <a:lnTo>
                      <a:pt x="105" y="173"/>
                    </a:lnTo>
                    <a:lnTo>
                      <a:pt x="114" y="179"/>
                    </a:lnTo>
                    <a:lnTo>
                      <a:pt x="123" y="185"/>
                    </a:lnTo>
                    <a:lnTo>
                      <a:pt x="132" y="188"/>
                    </a:lnTo>
                    <a:lnTo>
                      <a:pt x="140" y="189"/>
                    </a:lnTo>
                    <a:lnTo>
                      <a:pt x="147" y="189"/>
                    </a:lnTo>
                    <a:lnTo>
                      <a:pt x="154" y="188"/>
                    </a:lnTo>
                    <a:lnTo>
                      <a:pt x="162" y="186"/>
                    </a:lnTo>
                    <a:lnTo>
                      <a:pt x="168" y="183"/>
                    </a:lnTo>
                    <a:lnTo>
                      <a:pt x="173" y="178"/>
                    </a:lnTo>
                    <a:lnTo>
                      <a:pt x="178" y="173"/>
                    </a:lnTo>
                    <a:lnTo>
                      <a:pt x="182" y="168"/>
                    </a:lnTo>
                    <a:lnTo>
                      <a:pt x="186" y="161"/>
                    </a:lnTo>
                    <a:lnTo>
                      <a:pt x="190" y="155"/>
                    </a:lnTo>
                    <a:lnTo>
                      <a:pt x="192" y="147"/>
                    </a:lnTo>
                    <a:lnTo>
                      <a:pt x="193" y="140"/>
                    </a:lnTo>
                    <a:lnTo>
                      <a:pt x="194" y="132"/>
                    </a:lnTo>
                    <a:lnTo>
                      <a:pt x="193" y="125"/>
                    </a:lnTo>
                    <a:lnTo>
                      <a:pt x="192" y="117"/>
                    </a:lnTo>
                    <a:lnTo>
                      <a:pt x="190" y="110"/>
                    </a:lnTo>
                    <a:lnTo>
                      <a:pt x="186" y="103"/>
                    </a:lnTo>
                    <a:lnTo>
                      <a:pt x="182" y="96"/>
                    </a:lnTo>
                    <a:lnTo>
                      <a:pt x="177" y="91"/>
                    </a:lnTo>
                    <a:lnTo>
                      <a:pt x="172" y="84"/>
                    </a:lnTo>
                    <a:lnTo>
                      <a:pt x="165" y="80"/>
                    </a:lnTo>
                    <a:lnTo>
                      <a:pt x="156" y="76"/>
                    </a:lnTo>
                    <a:lnTo>
                      <a:pt x="147" y="73"/>
                    </a:lnTo>
                    <a:lnTo>
                      <a:pt x="137" y="71"/>
                    </a:lnTo>
                    <a:lnTo>
                      <a:pt x="125" y="71"/>
                    </a:lnTo>
                    <a:lnTo>
                      <a:pt x="112" y="71"/>
                    </a:lnTo>
                    <a:lnTo>
                      <a:pt x="99" y="73"/>
                    </a:lnTo>
                    <a:lnTo>
                      <a:pt x="83" y="77"/>
                    </a:lnTo>
                    <a:close/>
                  </a:path>
                </a:pathLst>
              </a:custGeom>
              <a:solidFill>
                <a:srgbClr val="BF3B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44" name="Freeform 120"/>
              <p:cNvSpPr>
                <a:spLocks/>
              </p:cNvSpPr>
              <p:nvPr/>
            </p:nvSpPr>
            <p:spPr bwMode="auto">
              <a:xfrm>
                <a:off x="3461" y="1493"/>
                <a:ext cx="7" cy="7"/>
              </a:xfrm>
              <a:custGeom>
                <a:avLst/>
                <a:gdLst>
                  <a:gd name="T0" fmla="*/ 0 w 46"/>
                  <a:gd name="T1" fmla="*/ 0 h 50"/>
                  <a:gd name="T2" fmla="*/ 0 w 46"/>
                  <a:gd name="T3" fmla="*/ 0 h 50"/>
                  <a:gd name="T4" fmla="*/ 0 w 46"/>
                  <a:gd name="T5" fmla="*/ 0 h 50"/>
                  <a:gd name="T6" fmla="*/ 0 w 46"/>
                  <a:gd name="T7" fmla="*/ 0 h 50"/>
                  <a:gd name="T8" fmla="*/ 0 w 46"/>
                  <a:gd name="T9" fmla="*/ 0 h 50"/>
                  <a:gd name="T10" fmla="*/ 0 w 46"/>
                  <a:gd name="T11" fmla="*/ 0 h 50"/>
                  <a:gd name="T12" fmla="*/ 0 w 46"/>
                  <a:gd name="T13" fmla="*/ 0 h 50"/>
                  <a:gd name="T14" fmla="*/ 0 w 46"/>
                  <a:gd name="T15" fmla="*/ 0 h 50"/>
                  <a:gd name="T16" fmla="*/ 0 w 46"/>
                  <a:gd name="T17" fmla="*/ 0 h 50"/>
                  <a:gd name="T18" fmla="*/ 0 w 46"/>
                  <a:gd name="T19" fmla="*/ 0 h 50"/>
                  <a:gd name="T20" fmla="*/ 0 w 46"/>
                  <a:gd name="T21" fmla="*/ 0 h 50"/>
                  <a:gd name="T22" fmla="*/ 0 w 46"/>
                  <a:gd name="T23" fmla="*/ 0 h 50"/>
                  <a:gd name="T24" fmla="*/ 0 w 46"/>
                  <a:gd name="T25" fmla="*/ 0 h 50"/>
                  <a:gd name="T26" fmla="*/ 0 w 46"/>
                  <a:gd name="T27" fmla="*/ 0 h 50"/>
                  <a:gd name="T28" fmla="*/ 0 w 46"/>
                  <a:gd name="T29" fmla="*/ 0 h 50"/>
                  <a:gd name="T30" fmla="*/ 0 w 46"/>
                  <a:gd name="T31" fmla="*/ 0 h 50"/>
                  <a:gd name="T32" fmla="*/ 0 w 46"/>
                  <a:gd name="T33" fmla="*/ 0 h 50"/>
                  <a:gd name="T34" fmla="*/ 0 w 46"/>
                  <a:gd name="T35" fmla="*/ 0 h 50"/>
                  <a:gd name="T36" fmla="*/ 0 w 46"/>
                  <a:gd name="T37" fmla="*/ 0 h 50"/>
                  <a:gd name="T38" fmla="*/ 0 w 46"/>
                  <a:gd name="T39" fmla="*/ 0 h 50"/>
                  <a:gd name="T40" fmla="*/ 0 w 46"/>
                  <a:gd name="T41" fmla="*/ 0 h 50"/>
                  <a:gd name="T42" fmla="*/ 0 w 46"/>
                  <a:gd name="T43" fmla="*/ 0 h 50"/>
                  <a:gd name="T44" fmla="*/ 0 w 46"/>
                  <a:gd name="T45" fmla="*/ 0 h 50"/>
                  <a:gd name="T46" fmla="*/ 0 w 46"/>
                  <a:gd name="T47" fmla="*/ 0 h 50"/>
                  <a:gd name="T48" fmla="*/ 0 w 46"/>
                  <a:gd name="T49" fmla="*/ 0 h 50"/>
                  <a:gd name="T50" fmla="*/ 0 w 46"/>
                  <a:gd name="T51" fmla="*/ 0 h 50"/>
                  <a:gd name="T52" fmla="*/ 0 w 46"/>
                  <a:gd name="T53" fmla="*/ 0 h 50"/>
                  <a:gd name="T54" fmla="*/ 0 w 46"/>
                  <a:gd name="T55" fmla="*/ 0 h 50"/>
                  <a:gd name="T56" fmla="*/ 0 w 46"/>
                  <a:gd name="T57" fmla="*/ 0 h 50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46"/>
                  <a:gd name="T88" fmla="*/ 0 h 50"/>
                  <a:gd name="T89" fmla="*/ 46 w 46"/>
                  <a:gd name="T90" fmla="*/ 50 h 50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46" h="50">
                    <a:moveTo>
                      <a:pt x="0" y="34"/>
                    </a:moveTo>
                    <a:lnTo>
                      <a:pt x="1" y="36"/>
                    </a:lnTo>
                    <a:lnTo>
                      <a:pt x="6" y="40"/>
                    </a:lnTo>
                    <a:lnTo>
                      <a:pt x="12" y="45"/>
                    </a:lnTo>
                    <a:lnTo>
                      <a:pt x="20" y="49"/>
                    </a:lnTo>
                    <a:lnTo>
                      <a:pt x="23" y="50"/>
                    </a:lnTo>
                    <a:lnTo>
                      <a:pt x="27" y="50"/>
                    </a:lnTo>
                    <a:lnTo>
                      <a:pt x="31" y="50"/>
                    </a:lnTo>
                    <a:lnTo>
                      <a:pt x="35" y="48"/>
                    </a:lnTo>
                    <a:lnTo>
                      <a:pt x="38" y="45"/>
                    </a:lnTo>
                    <a:lnTo>
                      <a:pt x="41" y="40"/>
                    </a:lnTo>
                    <a:lnTo>
                      <a:pt x="44" y="34"/>
                    </a:lnTo>
                    <a:lnTo>
                      <a:pt x="45" y="24"/>
                    </a:lnTo>
                    <a:lnTo>
                      <a:pt x="46" y="17"/>
                    </a:lnTo>
                    <a:lnTo>
                      <a:pt x="45" y="11"/>
                    </a:lnTo>
                    <a:lnTo>
                      <a:pt x="44" y="7"/>
                    </a:lnTo>
                    <a:lnTo>
                      <a:pt x="41" y="4"/>
                    </a:lnTo>
                    <a:lnTo>
                      <a:pt x="38" y="1"/>
                    </a:lnTo>
                    <a:lnTo>
                      <a:pt x="33" y="0"/>
                    </a:lnTo>
                    <a:lnTo>
                      <a:pt x="29" y="0"/>
                    </a:lnTo>
                    <a:lnTo>
                      <a:pt x="25" y="1"/>
                    </a:lnTo>
                    <a:lnTo>
                      <a:pt x="20" y="3"/>
                    </a:lnTo>
                    <a:lnTo>
                      <a:pt x="16" y="5"/>
                    </a:lnTo>
                    <a:lnTo>
                      <a:pt x="12" y="8"/>
                    </a:lnTo>
                    <a:lnTo>
                      <a:pt x="8" y="12"/>
                    </a:lnTo>
                    <a:lnTo>
                      <a:pt x="5" y="17"/>
                    </a:lnTo>
                    <a:lnTo>
                      <a:pt x="2" y="22"/>
                    </a:lnTo>
                    <a:lnTo>
                      <a:pt x="0" y="28"/>
                    </a:lnTo>
                    <a:lnTo>
                      <a:pt x="0" y="34"/>
                    </a:lnTo>
                    <a:close/>
                  </a:path>
                </a:pathLst>
              </a:custGeom>
              <a:solidFill>
                <a:srgbClr val="BF3B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45" name="Freeform 121"/>
              <p:cNvSpPr>
                <a:spLocks/>
              </p:cNvSpPr>
              <p:nvPr/>
            </p:nvSpPr>
            <p:spPr bwMode="auto">
              <a:xfrm>
                <a:off x="3466" y="1597"/>
                <a:ext cx="7" cy="9"/>
              </a:xfrm>
              <a:custGeom>
                <a:avLst/>
                <a:gdLst>
                  <a:gd name="T0" fmla="*/ 0 w 47"/>
                  <a:gd name="T1" fmla="*/ 0 h 58"/>
                  <a:gd name="T2" fmla="*/ 0 w 47"/>
                  <a:gd name="T3" fmla="*/ 0 h 58"/>
                  <a:gd name="T4" fmla="*/ 0 w 47"/>
                  <a:gd name="T5" fmla="*/ 0 h 58"/>
                  <a:gd name="T6" fmla="*/ 0 w 47"/>
                  <a:gd name="T7" fmla="*/ 0 h 58"/>
                  <a:gd name="T8" fmla="*/ 0 w 47"/>
                  <a:gd name="T9" fmla="*/ 0 h 58"/>
                  <a:gd name="T10" fmla="*/ 0 w 47"/>
                  <a:gd name="T11" fmla="*/ 0 h 58"/>
                  <a:gd name="T12" fmla="*/ 0 w 47"/>
                  <a:gd name="T13" fmla="*/ 0 h 58"/>
                  <a:gd name="T14" fmla="*/ 0 w 47"/>
                  <a:gd name="T15" fmla="*/ 0 h 58"/>
                  <a:gd name="T16" fmla="*/ 0 w 47"/>
                  <a:gd name="T17" fmla="*/ 0 h 58"/>
                  <a:gd name="T18" fmla="*/ 0 w 47"/>
                  <a:gd name="T19" fmla="*/ 0 h 58"/>
                  <a:gd name="T20" fmla="*/ 0 w 47"/>
                  <a:gd name="T21" fmla="*/ 0 h 58"/>
                  <a:gd name="T22" fmla="*/ 0 w 47"/>
                  <a:gd name="T23" fmla="*/ 0 h 58"/>
                  <a:gd name="T24" fmla="*/ 0 w 47"/>
                  <a:gd name="T25" fmla="*/ 0 h 58"/>
                  <a:gd name="T26" fmla="*/ 0 w 47"/>
                  <a:gd name="T27" fmla="*/ 0 h 58"/>
                  <a:gd name="T28" fmla="*/ 0 w 47"/>
                  <a:gd name="T29" fmla="*/ 0 h 58"/>
                  <a:gd name="T30" fmla="*/ 0 w 47"/>
                  <a:gd name="T31" fmla="*/ 0 h 58"/>
                  <a:gd name="T32" fmla="*/ 0 w 47"/>
                  <a:gd name="T33" fmla="*/ 0 h 58"/>
                  <a:gd name="T34" fmla="*/ 0 w 47"/>
                  <a:gd name="T35" fmla="*/ 0 h 58"/>
                  <a:gd name="T36" fmla="*/ 0 w 47"/>
                  <a:gd name="T37" fmla="*/ 0 h 58"/>
                  <a:gd name="T38" fmla="*/ 0 w 47"/>
                  <a:gd name="T39" fmla="*/ 0 h 58"/>
                  <a:gd name="T40" fmla="*/ 0 w 47"/>
                  <a:gd name="T41" fmla="*/ 0 h 58"/>
                  <a:gd name="T42" fmla="*/ 0 w 47"/>
                  <a:gd name="T43" fmla="*/ 0 h 58"/>
                  <a:gd name="T44" fmla="*/ 0 w 47"/>
                  <a:gd name="T45" fmla="*/ 0 h 58"/>
                  <a:gd name="T46" fmla="*/ 0 w 47"/>
                  <a:gd name="T47" fmla="*/ 0 h 58"/>
                  <a:gd name="T48" fmla="*/ 0 w 47"/>
                  <a:gd name="T49" fmla="*/ 0 h 58"/>
                  <a:gd name="T50" fmla="*/ 0 w 47"/>
                  <a:gd name="T51" fmla="*/ 0 h 58"/>
                  <a:gd name="T52" fmla="*/ 0 w 47"/>
                  <a:gd name="T53" fmla="*/ 0 h 58"/>
                  <a:gd name="T54" fmla="*/ 0 w 47"/>
                  <a:gd name="T55" fmla="*/ 0 h 58"/>
                  <a:gd name="T56" fmla="*/ 0 w 47"/>
                  <a:gd name="T57" fmla="*/ 0 h 58"/>
                  <a:gd name="T58" fmla="*/ 0 w 47"/>
                  <a:gd name="T59" fmla="*/ 0 h 58"/>
                  <a:gd name="T60" fmla="*/ 0 w 47"/>
                  <a:gd name="T61" fmla="*/ 0 h 58"/>
                  <a:gd name="T62" fmla="*/ 0 w 47"/>
                  <a:gd name="T63" fmla="*/ 0 h 58"/>
                  <a:gd name="T64" fmla="*/ 0 w 47"/>
                  <a:gd name="T65" fmla="*/ 0 h 58"/>
                  <a:gd name="T66" fmla="*/ 0 w 47"/>
                  <a:gd name="T67" fmla="*/ 0 h 58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47"/>
                  <a:gd name="T103" fmla="*/ 0 h 58"/>
                  <a:gd name="T104" fmla="*/ 47 w 47"/>
                  <a:gd name="T105" fmla="*/ 58 h 58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47" h="58">
                    <a:moveTo>
                      <a:pt x="1" y="36"/>
                    </a:moveTo>
                    <a:lnTo>
                      <a:pt x="1" y="22"/>
                    </a:lnTo>
                    <a:lnTo>
                      <a:pt x="0" y="31"/>
                    </a:lnTo>
                    <a:lnTo>
                      <a:pt x="0" y="37"/>
                    </a:lnTo>
                    <a:lnTo>
                      <a:pt x="3" y="43"/>
                    </a:lnTo>
                    <a:lnTo>
                      <a:pt x="5" y="48"/>
                    </a:lnTo>
                    <a:lnTo>
                      <a:pt x="8" y="51"/>
                    </a:lnTo>
                    <a:lnTo>
                      <a:pt x="12" y="55"/>
                    </a:lnTo>
                    <a:lnTo>
                      <a:pt x="16" y="57"/>
                    </a:lnTo>
                    <a:lnTo>
                      <a:pt x="21" y="58"/>
                    </a:lnTo>
                    <a:lnTo>
                      <a:pt x="25" y="57"/>
                    </a:lnTo>
                    <a:lnTo>
                      <a:pt x="30" y="56"/>
                    </a:lnTo>
                    <a:lnTo>
                      <a:pt x="35" y="53"/>
                    </a:lnTo>
                    <a:lnTo>
                      <a:pt x="39" y="50"/>
                    </a:lnTo>
                    <a:lnTo>
                      <a:pt x="42" y="46"/>
                    </a:lnTo>
                    <a:lnTo>
                      <a:pt x="45" y="40"/>
                    </a:lnTo>
                    <a:lnTo>
                      <a:pt x="47" y="34"/>
                    </a:lnTo>
                    <a:lnTo>
                      <a:pt x="47" y="27"/>
                    </a:lnTo>
                    <a:lnTo>
                      <a:pt x="47" y="18"/>
                    </a:lnTo>
                    <a:lnTo>
                      <a:pt x="46" y="12"/>
                    </a:lnTo>
                    <a:lnTo>
                      <a:pt x="44" y="7"/>
                    </a:lnTo>
                    <a:lnTo>
                      <a:pt x="41" y="4"/>
                    </a:lnTo>
                    <a:lnTo>
                      <a:pt x="38" y="2"/>
                    </a:lnTo>
                    <a:lnTo>
                      <a:pt x="34" y="1"/>
                    </a:lnTo>
                    <a:lnTo>
                      <a:pt x="29" y="0"/>
                    </a:lnTo>
                    <a:lnTo>
                      <a:pt x="25" y="1"/>
                    </a:lnTo>
                    <a:lnTo>
                      <a:pt x="20" y="3"/>
                    </a:lnTo>
                    <a:lnTo>
                      <a:pt x="16" y="6"/>
                    </a:lnTo>
                    <a:lnTo>
                      <a:pt x="12" y="9"/>
                    </a:lnTo>
                    <a:lnTo>
                      <a:pt x="9" y="13"/>
                    </a:lnTo>
                    <a:lnTo>
                      <a:pt x="6" y="18"/>
                    </a:lnTo>
                    <a:lnTo>
                      <a:pt x="4" y="23"/>
                    </a:lnTo>
                    <a:lnTo>
                      <a:pt x="1" y="30"/>
                    </a:lnTo>
                    <a:lnTo>
                      <a:pt x="1" y="36"/>
                    </a:lnTo>
                    <a:close/>
                  </a:path>
                </a:pathLst>
              </a:custGeom>
              <a:solidFill>
                <a:srgbClr val="F4E253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46" name="Freeform 122"/>
              <p:cNvSpPr>
                <a:spLocks/>
              </p:cNvSpPr>
              <p:nvPr/>
            </p:nvSpPr>
            <p:spPr bwMode="auto">
              <a:xfrm>
                <a:off x="3172" y="1838"/>
                <a:ext cx="780" cy="115"/>
              </a:xfrm>
              <a:custGeom>
                <a:avLst/>
                <a:gdLst>
                  <a:gd name="T0" fmla="*/ 0 w 5462"/>
                  <a:gd name="T1" fmla="*/ 0 h 807"/>
                  <a:gd name="T2" fmla="*/ 0 w 5462"/>
                  <a:gd name="T3" fmla="*/ 0 h 807"/>
                  <a:gd name="T4" fmla="*/ 0 w 5462"/>
                  <a:gd name="T5" fmla="*/ 0 h 807"/>
                  <a:gd name="T6" fmla="*/ 0 w 5462"/>
                  <a:gd name="T7" fmla="*/ 0 h 807"/>
                  <a:gd name="T8" fmla="*/ 0 w 5462"/>
                  <a:gd name="T9" fmla="*/ 0 h 807"/>
                  <a:gd name="T10" fmla="*/ 0 w 5462"/>
                  <a:gd name="T11" fmla="*/ 0 h 807"/>
                  <a:gd name="T12" fmla="*/ 0 w 5462"/>
                  <a:gd name="T13" fmla="*/ 0 h 807"/>
                  <a:gd name="T14" fmla="*/ 0 w 5462"/>
                  <a:gd name="T15" fmla="*/ 0 h 807"/>
                  <a:gd name="T16" fmla="*/ 0 w 5462"/>
                  <a:gd name="T17" fmla="*/ 0 h 807"/>
                  <a:gd name="T18" fmla="*/ 0 w 5462"/>
                  <a:gd name="T19" fmla="*/ 0 h 807"/>
                  <a:gd name="T20" fmla="*/ 0 w 5462"/>
                  <a:gd name="T21" fmla="*/ 0 h 807"/>
                  <a:gd name="T22" fmla="*/ 0 w 5462"/>
                  <a:gd name="T23" fmla="*/ 0 h 807"/>
                  <a:gd name="T24" fmla="*/ 0 w 5462"/>
                  <a:gd name="T25" fmla="*/ 0 h 807"/>
                  <a:gd name="T26" fmla="*/ 0 w 5462"/>
                  <a:gd name="T27" fmla="*/ 0 h 807"/>
                  <a:gd name="T28" fmla="*/ 0 w 5462"/>
                  <a:gd name="T29" fmla="*/ 0 h 807"/>
                  <a:gd name="T30" fmla="*/ 0 w 5462"/>
                  <a:gd name="T31" fmla="*/ 0 h 807"/>
                  <a:gd name="T32" fmla="*/ 0 w 5462"/>
                  <a:gd name="T33" fmla="*/ 0 h 807"/>
                  <a:gd name="T34" fmla="*/ 0 w 5462"/>
                  <a:gd name="T35" fmla="*/ 0 h 807"/>
                  <a:gd name="T36" fmla="*/ 0 w 5462"/>
                  <a:gd name="T37" fmla="*/ 0 h 807"/>
                  <a:gd name="T38" fmla="*/ 0 w 5462"/>
                  <a:gd name="T39" fmla="*/ 0 h 807"/>
                  <a:gd name="T40" fmla="*/ 0 w 5462"/>
                  <a:gd name="T41" fmla="*/ 0 h 807"/>
                  <a:gd name="T42" fmla="*/ 0 w 5462"/>
                  <a:gd name="T43" fmla="*/ 0 h 807"/>
                  <a:gd name="T44" fmla="*/ 0 w 5462"/>
                  <a:gd name="T45" fmla="*/ 0 h 807"/>
                  <a:gd name="T46" fmla="*/ 0 w 5462"/>
                  <a:gd name="T47" fmla="*/ 0 h 807"/>
                  <a:gd name="T48" fmla="*/ 0 w 5462"/>
                  <a:gd name="T49" fmla="*/ 0 h 807"/>
                  <a:gd name="T50" fmla="*/ 0 w 5462"/>
                  <a:gd name="T51" fmla="*/ 0 h 807"/>
                  <a:gd name="T52" fmla="*/ 0 w 5462"/>
                  <a:gd name="T53" fmla="*/ 0 h 807"/>
                  <a:gd name="T54" fmla="*/ 0 w 5462"/>
                  <a:gd name="T55" fmla="*/ 0 h 807"/>
                  <a:gd name="T56" fmla="*/ 0 w 5462"/>
                  <a:gd name="T57" fmla="*/ 0 h 807"/>
                  <a:gd name="T58" fmla="*/ 0 w 5462"/>
                  <a:gd name="T59" fmla="*/ 0 h 807"/>
                  <a:gd name="T60" fmla="*/ 0 w 5462"/>
                  <a:gd name="T61" fmla="*/ 0 h 807"/>
                  <a:gd name="T62" fmla="*/ 0 w 5462"/>
                  <a:gd name="T63" fmla="*/ 0 h 807"/>
                  <a:gd name="T64" fmla="*/ 0 w 5462"/>
                  <a:gd name="T65" fmla="*/ 0 h 807"/>
                  <a:gd name="T66" fmla="*/ 0 w 5462"/>
                  <a:gd name="T67" fmla="*/ 0 h 807"/>
                  <a:gd name="T68" fmla="*/ 0 w 5462"/>
                  <a:gd name="T69" fmla="*/ 0 h 807"/>
                  <a:gd name="T70" fmla="*/ 0 w 5462"/>
                  <a:gd name="T71" fmla="*/ 0 h 807"/>
                  <a:gd name="T72" fmla="*/ 0 w 5462"/>
                  <a:gd name="T73" fmla="*/ 0 h 807"/>
                  <a:gd name="T74" fmla="*/ 0 w 5462"/>
                  <a:gd name="T75" fmla="*/ 0 h 807"/>
                  <a:gd name="T76" fmla="*/ 0 w 5462"/>
                  <a:gd name="T77" fmla="*/ 0 h 807"/>
                  <a:gd name="T78" fmla="*/ 0 w 5462"/>
                  <a:gd name="T79" fmla="*/ 0 h 807"/>
                  <a:gd name="T80" fmla="*/ 0 w 5462"/>
                  <a:gd name="T81" fmla="*/ 0 h 807"/>
                  <a:gd name="T82" fmla="*/ 0 w 5462"/>
                  <a:gd name="T83" fmla="*/ 0 h 807"/>
                  <a:gd name="T84" fmla="*/ 0 w 5462"/>
                  <a:gd name="T85" fmla="*/ 0 h 807"/>
                  <a:gd name="T86" fmla="*/ 0 w 5462"/>
                  <a:gd name="T87" fmla="*/ 0 h 807"/>
                  <a:gd name="T88" fmla="*/ 0 w 5462"/>
                  <a:gd name="T89" fmla="*/ 0 h 807"/>
                  <a:gd name="T90" fmla="*/ 0 w 5462"/>
                  <a:gd name="T91" fmla="*/ 0 h 807"/>
                  <a:gd name="T92" fmla="*/ 0 w 5462"/>
                  <a:gd name="T93" fmla="*/ 0 h 807"/>
                  <a:gd name="T94" fmla="*/ 0 w 5462"/>
                  <a:gd name="T95" fmla="*/ 0 h 807"/>
                  <a:gd name="T96" fmla="*/ 0 w 5462"/>
                  <a:gd name="T97" fmla="*/ 0 h 807"/>
                  <a:gd name="T98" fmla="*/ 0 w 5462"/>
                  <a:gd name="T99" fmla="*/ 0 h 807"/>
                  <a:gd name="T100" fmla="*/ 0 w 5462"/>
                  <a:gd name="T101" fmla="*/ 0 h 807"/>
                  <a:gd name="T102" fmla="*/ 0 w 5462"/>
                  <a:gd name="T103" fmla="*/ 0 h 807"/>
                  <a:gd name="T104" fmla="*/ 0 w 5462"/>
                  <a:gd name="T105" fmla="*/ 0 h 807"/>
                  <a:gd name="T106" fmla="*/ 0 w 5462"/>
                  <a:gd name="T107" fmla="*/ 0 h 807"/>
                  <a:gd name="T108" fmla="*/ 0 w 5462"/>
                  <a:gd name="T109" fmla="*/ 0 h 807"/>
                  <a:gd name="T110" fmla="*/ 0 w 5462"/>
                  <a:gd name="T111" fmla="*/ 0 h 807"/>
                  <a:gd name="T112" fmla="*/ 0 w 5462"/>
                  <a:gd name="T113" fmla="*/ 0 h 807"/>
                  <a:gd name="T114" fmla="*/ 0 w 5462"/>
                  <a:gd name="T115" fmla="*/ 0 h 807"/>
                  <a:gd name="T116" fmla="*/ 0 w 5462"/>
                  <a:gd name="T117" fmla="*/ 0 h 807"/>
                  <a:gd name="T118" fmla="*/ 0 w 5462"/>
                  <a:gd name="T119" fmla="*/ 0 h 807"/>
                  <a:gd name="T120" fmla="*/ 0 w 5462"/>
                  <a:gd name="T121" fmla="*/ 0 h 807"/>
                  <a:gd name="T122" fmla="*/ 0 w 5462"/>
                  <a:gd name="T123" fmla="*/ 0 h 807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w 5462"/>
                  <a:gd name="T187" fmla="*/ 0 h 807"/>
                  <a:gd name="T188" fmla="*/ 5462 w 5462"/>
                  <a:gd name="T189" fmla="*/ 807 h 807"/>
                </a:gdLst>
                <a:ahLst/>
                <a:cxnLst>
                  <a:cxn ang="T124">
                    <a:pos x="T0" y="T1"/>
                  </a:cxn>
                  <a:cxn ang="T125">
                    <a:pos x="T2" y="T3"/>
                  </a:cxn>
                  <a:cxn ang="T126">
                    <a:pos x="T4" y="T5"/>
                  </a:cxn>
                  <a:cxn ang="T127">
                    <a:pos x="T6" y="T7"/>
                  </a:cxn>
                  <a:cxn ang="T128">
                    <a:pos x="T8" y="T9"/>
                  </a:cxn>
                  <a:cxn ang="T129">
                    <a:pos x="T10" y="T11"/>
                  </a:cxn>
                  <a:cxn ang="T130">
                    <a:pos x="T12" y="T13"/>
                  </a:cxn>
                  <a:cxn ang="T131">
                    <a:pos x="T14" y="T15"/>
                  </a:cxn>
                  <a:cxn ang="T132">
                    <a:pos x="T16" y="T17"/>
                  </a:cxn>
                  <a:cxn ang="T133">
                    <a:pos x="T18" y="T19"/>
                  </a:cxn>
                  <a:cxn ang="T134">
                    <a:pos x="T20" y="T21"/>
                  </a:cxn>
                  <a:cxn ang="T135">
                    <a:pos x="T22" y="T23"/>
                  </a:cxn>
                  <a:cxn ang="T136">
                    <a:pos x="T24" y="T25"/>
                  </a:cxn>
                  <a:cxn ang="T137">
                    <a:pos x="T26" y="T27"/>
                  </a:cxn>
                  <a:cxn ang="T138">
                    <a:pos x="T28" y="T29"/>
                  </a:cxn>
                  <a:cxn ang="T139">
                    <a:pos x="T30" y="T31"/>
                  </a:cxn>
                  <a:cxn ang="T140">
                    <a:pos x="T32" y="T33"/>
                  </a:cxn>
                  <a:cxn ang="T141">
                    <a:pos x="T34" y="T35"/>
                  </a:cxn>
                  <a:cxn ang="T142">
                    <a:pos x="T36" y="T37"/>
                  </a:cxn>
                  <a:cxn ang="T143">
                    <a:pos x="T38" y="T39"/>
                  </a:cxn>
                  <a:cxn ang="T144">
                    <a:pos x="T40" y="T41"/>
                  </a:cxn>
                  <a:cxn ang="T145">
                    <a:pos x="T42" y="T43"/>
                  </a:cxn>
                  <a:cxn ang="T146">
                    <a:pos x="T44" y="T45"/>
                  </a:cxn>
                  <a:cxn ang="T147">
                    <a:pos x="T46" y="T47"/>
                  </a:cxn>
                  <a:cxn ang="T148">
                    <a:pos x="T48" y="T49"/>
                  </a:cxn>
                  <a:cxn ang="T149">
                    <a:pos x="T50" y="T51"/>
                  </a:cxn>
                  <a:cxn ang="T150">
                    <a:pos x="T52" y="T53"/>
                  </a:cxn>
                  <a:cxn ang="T151">
                    <a:pos x="T54" y="T55"/>
                  </a:cxn>
                  <a:cxn ang="T152">
                    <a:pos x="T56" y="T57"/>
                  </a:cxn>
                  <a:cxn ang="T153">
                    <a:pos x="T58" y="T59"/>
                  </a:cxn>
                  <a:cxn ang="T154">
                    <a:pos x="T60" y="T61"/>
                  </a:cxn>
                  <a:cxn ang="T155">
                    <a:pos x="T62" y="T63"/>
                  </a:cxn>
                  <a:cxn ang="T156">
                    <a:pos x="T64" y="T65"/>
                  </a:cxn>
                  <a:cxn ang="T157">
                    <a:pos x="T66" y="T67"/>
                  </a:cxn>
                  <a:cxn ang="T158">
                    <a:pos x="T68" y="T69"/>
                  </a:cxn>
                  <a:cxn ang="T159">
                    <a:pos x="T70" y="T71"/>
                  </a:cxn>
                  <a:cxn ang="T160">
                    <a:pos x="T72" y="T73"/>
                  </a:cxn>
                  <a:cxn ang="T161">
                    <a:pos x="T74" y="T75"/>
                  </a:cxn>
                  <a:cxn ang="T162">
                    <a:pos x="T76" y="T77"/>
                  </a:cxn>
                  <a:cxn ang="T163">
                    <a:pos x="T78" y="T79"/>
                  </a:cxn>
                  <a:cxn ang="T164">
                    <a:pos x="T80" y="T81"/>
                  </a:cxn>
                  <a:cxn ang="T165">
                    <a:pos x="T82" y="T83"/>
                  </a:cxn>
                  <a:cxn ang="T166">
                    <a:pos x="T84" y="T85"/>
                  </a:cxn>
                  <a:cxn ang="T167">
                    <a:pos x="T86" y="T87"/>
                  </a:cxn>
                  <a:cxn ang="T168">
                    <a:pos x="T88" y="T89"/>
                  </a:cxn>
                  <a:cxn ang="T169">
                    <a:pos x="T90" y="T91"/>
                  </a:cxn>
                  <a:cxn ang="T170">
                    <a:pos x="T92" y="T93"/>
                  </a:cxn>
                  <a:cxn ang="T171">
                    <a:pos x="T94" y="T95"/>
                  </a:cxn>
                  <a:cxn ang="T172">
                    <a:pos x="T96" y="T97"/>
                  </a:cxn>
                  <a:cxn ang="T173">
                    <a:pos x="T98" y="T99"/>
                  </a:cxn>
                  <a:cxn ang="T174">
                    <a:pos x="T100" y="T101"/>
                  </a:cxn>
                  <a:cxn ang="T175">
                    <a:pos x="T102" y="T103"/>
                  </a:cxn>
                  <a:cxn ang="T176">
                    <a:pos x="T104" y="T105"/>
                  </a:cxn>
                  <a:cxn ang="T177">
                    <a:pos x="T106" y="T107"/>
                  </a:cxn>
                  <a:cxn ang="T178">
                    <a:pos x="T108" y="T109"/>
                  </a:cxn>
                  <a:cxn ang="T179">
                    <a:pos x="T110" y="T111"/>
                  </a:cxn>
                  <a:cxn ang="T180">
                    <a:pos x="T112" y="T113"/>
                  </a:cxn>
                  <a:cxn ang="T181">
                    <a:pos x="T114" y="T115"/>
                  </a:cxn>
                  <a:cxn ang="T182">
                    <a:pos x="T116" y="T117"/>
                  </a:cxn>
                  <a:cxn ang="T183">
                    <a:pos x="T118" y="T119"/>
                  </a:cxn>
                  <a:cxn ang="T184">
                    <a:pos x="T120" y="T121"/>
                  </a:cxn>
                  <a:cxn ang="T185">
                    <a:pos x="T122" y="T123"/>
                  </a:cxn>
                </a:cxnLst>
                <a:rect l="T186" t="T187" r="T188" b="T189"/>
                <a:pathLst>
                  <a:path w="5462" h="807">
                    <a:moveTo>
                      <a:pt x="4513" y="431"/>
                    </a:moveTo>
                    <a:lnTo>
                      <a:pt x="4426" y="450"/>
                    </a:lnTo>
                    <a:lnTo>
                      <a:pt x="4342" y="468"/>
                    </a:lnTo>
                    <a:lnTo>
                      <a:pt x="4262" y="486"/>
                    </a:lnTo>
                    <a:lnTo>
                      <a:pt x="4185" y="504"/>
                    </a:lnTo>
                    <a:lnTo>
                      <a:pt x="4111" y="520"/>
                    </a:lnTo>
                    <a:lnTo>
                      <a:pt x="4041" y="537"/>
                    </a:lnTo>
                    <a:lnTo>
                      <a:pt x="3974" y="552"/>
                    </a:lnTo>
                    <a:lnTo>
                      <a:pt x="3911" y="567"/>
                    </a:lnTo>
                    <a:lnTo>
                      <a:pt x="3851" y="580"/>
                    </a:lnTo>
                    <a:lnTo>
                      <a:pt x="3795" y="593"/>
                    </a:lnTo>
                    <a:lnTo>
                      <a:pt x="3742" y="603"/>
                    </a:lnTo>
                    <a:lnTo>
                      <a:pt x="3692" y="612"/>
                    </a:lnTo>
                    <a:lnTo>
                      <a:pt x="3646" y="621"/>
                    </a:lnTo>
                    <a:lnTo>
                      <a:pt x="3603" y="626"/>
                    </a:lnTo>
                    <a:lnTo>
                      <a:pt x="3565" y="630"/>
                    </a:lnTo>
                    <a:lnTo>
                      <a:pt x="3529" y="632"/>
                    </a:lnTo>
                    <a:lnTo>
                      <a:pt x="3477" y="634"/>
                    </a:lnTo>
                    <a:lnTo>
                      <a:pt x="3424" y="637"/>
                    </a:lnTo>
                    <a:lnTo>
                      <a:pt x="3371" y="642"/>
                    </a:lnTo>
                    <a:lnTo>
                      <a:pt x="3318" y="647"/>
                    </a:lnTo>
                    <a:lnTo>
                      <a:pt x="3264" y="654"/>
                    </a:lnTo>
                    <a:lnTo>
                      <a:pt x="3212" y="660"/>
                    </a:lnTo>
                    <a:lnTo>
                      <a:pt x="3158" y="667"/>
                    </a:lnTo>
                    <a:lnTo>
                      <a:pt x="3106" y="673"/>
                    </a:lnTo>
                    <a:lnTo>
                      <a:pt x="3039" y="683"/>
                    </a:lnTo>
                    <a:lnTo>
                      <a:pt x="2971" y="691"/>
                    </a:lnTo>
                    <a:lnTo>
                      <a:pt x="2904" y="699"/>
                    </a:lnTo>
                    <a:lnTo>
                      <a:pt x="2836" y="705"/>
                    </a:lnTo>
                    <a:lnTo>
                      <a:pt x="2767" y="712"/>
                    </a:lnTo>
                    <a:lnTo>
                      <a:pt x="2699" y="715"/>
                    </a:lnTo>
                    <a:lnTo>
                      <a:pt x="2665" y="717"/>
                    </a:lnTo>
                    <a:lnTo>
                      <a:pt x="2631" y="717"/>
                    </a:lnTo>
                    <a:lnTo>
                      <a:pt x="2597" y="717"/>
                    </a:lnTo>
                    <a:lnTo>
                      <a:pt x="2564" y="716"/>
                    </a:lnTo>
                    <a:lnTo>
                      <a:pt x="2520" y="714"/>
                    </a:lnTo>
                    <a:lnTo>
                      <a:pt x="2476" y="711"/>
                    </a:lnTo>
                    <a:lnTo>
                      <a:pt x="2431" y="706"/>
                    </a:lnTo>
                    <a:lnTo>
                      <a:pt x="2386" y="700"/>
                    </a:lnTo>
                    <a:lnTo>
                      <a:pt x="2340" y="694"/>
                    </a:lnTo>
                    <a:lnTo>
                      <a:pt x="2292" y="687"/>
                    </a:lnTo>
                    <a:lnTo>
                      <a:pt x="2244" y="678"/>
                    </a:lnTo>
                    <a:lnTo>
                      <a:pt x="2197" y="670"/>
                    </a:lnTo>
                    <a:lnTo>
                      <a:pt x="2148" y="662"/>
                    </a:lnTo>
                    <a:lnTo>
                      <a:pt x="2101" y="654"/>
                    </a:lnTo>
                    <a:lnTo>
                      <a:pt x="2052" y="645"/>
                    </a:lnTo>
                    <a:lnTo>
                      <a:pt x="2005" y="637"/>
                    </a:lnTo>
                    <a:lnTo>
                      <a:pt x="1956" y="630"/>
                    </a:lnTo>
                    <a:lnTo>
                      <a:pt x="1910" y="623"/>
                    </a:lnTo>
                    <a:lnTo>
                      <a:pt x="1862" y="616"/>
                    </a:lnTo>
                    <a:lnTo>
                      <a:pt x="1817" y="611"/>
                    </a:lnTo>
                    <a:lnTo>
                      <a:pt x="1574" y="587"/>
                    </a:lnTo>
                    <a:lnTo>
                      <a:pt x="1532" y="583"/>
                    </a:lnTo>
                    <a:lnTo>
                      <a:pt x="1491" y="577"/>
                    </a:lnTo>
                    <a:lnTo>
                      <a:pt x="1450" y="571"/>
                    </a:lnTo>
                    <a:lnTo>
                      <a:pt x="1407" y="564"/>
                    </a:lnTo>
                    <a:lnTo>
                      <a:pt x="1366" y="555"/>
                    </a:lnTo>
                    <a:lnTo>
                      <a:pt x="1325" y="547"/>
                    </a:lnTo>
                    <a:lnTo>
                      <a:pt x="1283" y="537"/>
                    </a:lnTo>
                    <a:lnTo>
                      <a:pt x="1243" y="527"/>
                    </a:lnTo>
                    <a:lnTo>
                      <a:pt x="1161" y="506"/>
                    </a:lnTo>
                    <a:lnTo>
                      <a:pt x="1081" y="482"/>
                    </a:lnTo>
                    <a:lnTo>
                      <a:pt x="1003" y="459"/>
                    </a:lnTo>
                    <a:lnTo>
                      <a:pt x="927" y="435"/>
                    </a:lnTo>
                    <a:lnTo>
                      <a:pt x="888" y="423"/>
                    </a:lnTo>
                    <a:lnTo>
                      <a:pt x="849" y="412"/>
                    </a:lnTo>
                    <a:lnTo>
                      <a:pt x="812" y="400"/>
                    </a:lnTo>
                    <a:lnTo>
                      <a:pt x="775" y="390"/>
                    </a:lnTo>
                    <a:lnTo>
                      <a:pt x="739" y="380"/>
                    </a:lnTo>
                    <a:lnTo>
                      <a:pt x="704" y="370"/>
                    </a:lnTo>
                    <a:lnTo>
                      <a:pt x="670" y="361"/>
                    </a:lnTo>
                    <a:lnTo>
                      <a:pt x="638" y="354"/>
                    </a:lnTo>
                    <a:lnTo>
                      <a:pt x="637" y="353"/>
                    </a:lnTo>
                    <a:lnTo>
                      <a:pt x="638" y="354"/>
                    </a:lnTo>
                    <a:lnTo>
                      <a:pt x="532" y="333"/>
                    </a:lnTo>
                    <a:lnTo>
                      <a:pt x="465" y="321"/>
                    </a:lnTo>
                    <a:lnTo>
                      <a:pt x="397" y="306"/>
                    </a:lnTo>
                    <a:lnTo>
                      <a:pt x="362" y="297"/>
                    </a:lnTo>
                    <a:lnTo>
                      <a:pt x="326" y="288"/>
                    </a:lnTo>
                    <a:lnTo>
                      <a:pt x="291" y="276"/>
                    </a:lnTo>
                    <a:lnTo>
                      <a:pt x="256" y="264"/>
                    </a:lnTo>
                    <a:lnTo>
                      <a:pt x="239" y="257"/>
                    </a:lnTo>
                    <a:lnTo>
                      <a:pt x="221" y="249"/>
                    </a:lnTo>
                    <a:lnTo>
                      <a:pt x="205" y="241"/>
                    </a:lnTo>
                    <a:lnTo>
                      <a:pt x="187" y="232"/>
                    </a:lnTo>
                    <a:lnTo>
                      <a:pt x="170" y="223"/>
                    </a:lnTo>
                    <a:lnTo>
                      <a:pt x="154" y="213"/>
                    </a:lnTo>
                    <a:lnTo>
                      <a:pt x="137" y="203"/>
                    </a:lnTo>
                    <a:lnTo>
                      <a:pt x="121" y="192"/>
                    </a:lnTo>
                    <a:lnTo>
                      <a:pt x="104" y="181"/>
                    </a:lnTo>
                    <a:lnTo>
                      <a:pt x="89" y="169"/>
                    </a:lnTo>
                    <a:lnTo>
                      <a:pt x="73" y="156"/>
                    </a:lnTo>
                    <a:lnTo>
                      <a:pt x="58" y="142"/>
                    </a:lnTo>
                    <a:lnTo>
                      <a:pt x="43" y="128"/>
                    </a:lnTo>
                    <a:lnTo>
                      <a:pt x="28" y="113"/>
                    </a:lnTo>
                    <a:lnTo>
                      <a:pt x="14" y="97"/>
                    </a:lnTo>
                    <a:lnTo>
                      <a:pt x="0" y="81"/>
                    </a:lnTo>
                    <a:lnTo>
                      <a:pt x="0" y="99"/>
                    </a:lnTo>
                    <a:lnTo>
                      <a:pt x="0" y="116"/>
                    </a:lnTo>
                    <a:lnTo>
                      <a:pt x="0" y="131"/>
                    </a:lnTo>
                    <a:lnTo>
                      <a:pt x="1" y="146"/>
                    </a:lnTo>
                    <a:lnTo>
                      <a:pt x="2" y="157"/>
                    </a:lnTo>
                    <a:lnTo>
                      <a:pt x="4" y="168"/>
                    </a:lnTo>
                    <a:lnTo>
                      <a:pt x="6" y="177"/>
                    </a:lnTo>
                    <a:lnTo>
                      <a:pt x="9" y="183"/>
                    </a:lnTo>
                    <a:lnTo>
                      <a:pt x="20" y="202"/>
                    </a:lnTo>
                    <a:lnTo>
                      <a:pt x="30" y="220"/>
                    </a:lnTo>
                    <a:lnTo>
                      <a:pt x="41" y="238"/>
                    </a:lnTo>
                    <a:lnTo>
                      <a:pt x="52" y="256"/>
                    </a:lnTo>
                    <a:lnTo>
                      <a:pt x="81" y="275"/>
                    </a:lnTo>
                    <a:lnTo>
                      <a:pt x="109" y="293"/>
                    </a:lnTo>
                    <a:lnTo>
                      <a:pt x="138" y="309"/>
                    </a:lnTo>
                    <a:lnTo>
                      <a:pt x="168" y="324"/>
                    </a:lnTo>
                    <a:lnTo>
                      <a:pt x="198" y="337"/>
                    </a:lnTo>
                    <a:lnTo>
                      <a:pt x="228" y="350"/>
                    </a:lnTo>
                    <a:lnTo>
                      <a:pt x="258" y="360"/>
                    </a:lnTo>
                    <a:lnTo>
                      <a:pt x="288" y="370"/>
                    </a:lnTo>
                    <a:lnTo>
                      <a:pt x="317" y="379"/>
                    </a:lnTo>
                    <a:lnTo>
                      <a:pt x="347" y="387"/>
                    </a:lnTo>
                    <a:lnTo>
                      <a:pt x="376" y="394"/>
                    </a:lnTo>
                    <a:lnTo>
                      <a:pt x="405" y="400"/>
                    </a:lnTo>
                    <a:lnTo>
                      <a:pt x="462" y="412"/>
                    </a:lnTo>
                    <a:lnTo>
                      <a:pt x="515" y="421"/>
                    </a:lnTo>
                    <a:lnTo>
                      <a:pt x="616" y="441"/>
                    </a:lnTo>
                    <a:lnTo>
                      <a:pt x="648" y="448"/>
                    </a:lnTo>
                    <a:lnTo>
                      <a:pt x="681" y="457"/>
                    </a:lnTo>
                    <a:lnTo>
                      <a:pt x="715" y="466"/>
                    </a:lnTo>
                    <a:lnTo>
                      <a:pt x="750" y="476"/>
                    </a:lnTo>
                    <a:lnTo>
                      <a:pt x="786" y="487"/>
                    </a:lnTo>
                    <a:lnTo>
                      <a:pt x="823" y="498"/>
                    </a:lnTo>
                    <a:lnTo>
                      <a:pt x="861" y="509"/>
                    </a:lnTo>
                    <a:lnTo>
                      <a:pt x="899" y="521"/>
                    </a:lnTo>
                    <a:lnTo>
                      <a:pt x="976" y="545"/>
                    </a:lnTo>
                    <a:lnTo>
                      <a:pt x="1057" y="569"/>
                    </a:lnTo>
                    <a:lnTo>
                      <a:pt x="1139" y="593"/>
                    </a:lnTo>
                    <a:lnTo>
                      <a:pt x="1222" y="614"/>
                    </a:lnTo>
                    <a:lnTo>
                      <a:pt x="1265" y="625"/>
                    </a:lnTo>
                    <a:lnTo>
                      <a:pt x="1307" y="635"/>
                    </a:lnTo>
                    <a:lnTo>
                      <a:pt x="1350" y="644"/>
                    </a:lnTo>
                    <a:lnTo>
                      <a:pt x="1393" y="653"/>
                    </a:lnTo>
                    <a:lnTo>
                      <a:pt x="1435" y="660"/>
                    </a:lnTo>
                    <a:lnTo>
                      <a:pt x="1479" y="666"/>
                    </a:lnTo>
                    <a:lnTo>
                      <a:pt x="1522" y="672"/>
                    </a:lnTo>
                    <a:lnTo>
                      <a:pt x="1566" y="676"/>
                    </a:lnTo>
                    <a:lnTo>
                      <a:pt x="1807" y="700"/>
                    </a:lnTo>
                    <a:lnTo>
                      <a:pt x="1853" y="705"/>
                    </a:lnTo>
                    <a:lnTo>
                      <a:pt x="1900" y="712"/>
                    </a:lnTo>
                    <a:lnTo>
                      <a:pt x="1948" y="719"/>
                    </a:lnTo>
                    <a:lnTo>
                      <a:pt x="1996" y="726"/>
                    </a:lnTo>
                    <a:lnTo>
                      <a:pt x="2044" y="734"/>
                    </a:lnTo>
                    <a:lnTo>
                      <a:pt x="2093" y="743"/>
                    </a:lnTo>
                    <a:lnTo>
                      <a:pt x="2141" y="752"/>
                    </a:lnTo>
                    <a:lnTo>
                      <a:pt x="2190" y="760"/>
                    </a:lnTo>
                    <a:lnTo>
                      <a:pt x="2238" y="768"/>
                    </a:lnTo>
                    <a:lnTo>
                      <a:pt x="2286" y="776"/>
                    </a:lnTo>
                    <a:lnTo>
                      <a:pt x="2333" y="783"/>
                    </a:lnTo>
                    <a:lnTo>
                      <a:pt x="2381" y="790"/>
                    </a:lnTo>
                    <a:lnTo>
                      <a:pt x="2426" y="795"/>
                    </a:lnTo>
                    <a:lnTo>
                      <a:pt x="2472" y="800"/>
                    </a:lnTo>
                    <a:lnTo>
                      <a:pt x="2517" y="804"/>
                    </a:lnTo>
                    <a:lnTo>
                      <a:pt x="2561" y="806"/>
                    </a:lnTo>
                    <a:lnTo>
                      <a:pt x="2596" y="807"/>
                    </a:lnTo>
                    <a:lnTo>
                      <a:pt x="2631" y="807"/>
                    </a:lnTo>
                    <a:lnTo>
                      <a:pt x="2666" y="806"/>
                    </a:lnTo>
                    <a:lnTo>
                      <a:pt x="2701" y="805"/>
                    </a:lnTo>
                    <a:lnTo>
                      <a:pt x="2771" y="802"/>
                    </a:lnTo>
                    <a:lnTo>
                      <a:pt x="2842" y="795"/>
                    </a:lnTo>
                    <a:lnTo>
                      <a:pt x="2911" y="788"/>
                    </a:lnTo>
                    <a:lnTo>
                      <a:pt x="2981" y="780"/>
                    </a:lnTo>
                    <a:lnTo>
                      <a:pt x="3049" y="772"/>
                    </a:lnTo>
                    <a:lnTo>
                      <a:pt x="3119" y="762"/>
                    </a:lnTo>
                    <a:lnTo>
                      <a:pt x="3171" y="756"/>
                    </a:lnTo>
                    <a:lnTo>
                      <a:pt x="3225" y="749"/>
                    </a:lnTo>
                    <a:lnTo>
                      <a:pt x="3277" y="743"/>
                    </a:lnTo>
                    <a:lnTo>
                      <a:pt x="3328" y="736"/>
                    </a:lnTo>
                    <a:lnTo>
                      <a:pt x="3380" y="731"/>
                    </a:lnTo>
                    <a:lnTo>
                      <a:pt x="3431" y="727"/>
                    </a:lnTo>
                    <a:lnTo>
                      <a:pt x="3481" y="724"/>
                    </a:lnTo>
                    <a:lnTo>
                      <a:pt x="3532" y="722"/>
                    </a:lnTo>
                    <a:lnTo>
                      <a:pt x="3568" y="720"/>
                    </a:lnTo>
                    <a:lnTo>
                      <a:pt x="3608" y="716"/>
                    </a:lnTo>
                    <a:lnTo>
                      <a:pt x="3652" y="709"/>
                    </a:lnTo>
                    <a:lnTo>
                      <a:pt x="3699" y="702"/>
                    </a:lnTo>
                    <a:lnTo>
                      <a:pt x="3749" y="693"/>
                    </a:lnTo>
                    <a:lnTo>
                      <a:pt x="3803" y="682"/>
                    </a:lnTo>
                    <a:lnTo>
                      <a:pt x="3860" y="670"/>
                    </a:lnTo>
                    <a:lnTo>
                      <a:pt x="3921" y="657"/>
                    </a:lnTo>
                    <a:lnTo>
                      <a:pt x="3985" y="642"/>
                    </a:lnTo>
                    <a:lnTo>
                      <a:pt x="4052" y="626"/>
                    </a:lnTo>
                    <a:lnTo>
                      <a:pt x="4123" y="610"/>
                    </a:lnTo>
                    <a:lnTo>
                      <a:pt x="4198" y="593"/>
                    </a:lnTo>
                    <a:lnTo>
                      <a:pt x="4276" y="575"/>
                    </a:lnTo>
                    <a:lnTo>
                      <a:pt x="4358" y="556"/>
                    </a:lnTo>
                    <a:lnTo>
                      <a:pt x="4442" y="538"/>
                    </a:lnTo>
                    <a:lnTo>
                      <a:pt x="4532" y="519"/>
                    </a:lnTo>
                    <a:lnTo>
                      <a:pt x="4552" y="515"/>
                    </a:lnTo>
                    <a:lnTo>
                      <a:pt x="4583" y="508"/>
                    </a:lnTo>
                    <a:lnTo>
                      <a:pt x="4624" y="498"/>
                    </a:lnTo>
                    <a:lnTo>
                      <a:pt x="4673" y="485"/>
                    </a:lnTo>
                    <a:lnTo>
                      <a:pt x="4729" y="471"/>
                    </a:lnTo>
                    <a:lnTo>
                      <a:pt x="4792" y="452"/>
                    </a:lnTo>
                    <a:lnTo>
                      <a:pt x="4858" y="432"/>
                    </a:lnTo>
                    <a:lnTo>
                      <a:pt x="4928" y="409"/>
                    </a:lnTo>
                    <a:lnTo>
                      <a:pt x="4964" y="396"/>
                    </a:lnTo>
                    <a:lnTo>
                      <a:pt x="5000" y="383"/>
                    </a:lnTo>
                    <a:lnTo>
                      <a:pt x="5038" y="368"/>
                    </a:lnTo>
                    <a:lnTo>
                      <a:pt x="5074" y="354"/>
                    </a:lnTo>
                    <a:lnTo>
                      <a:pt x="5111" y="338"/>
                    </a:lnTo>
                    <a:lnTo>
                      <a:pt x="5147" y="323"/>
                    </a:lnTo>
                    <a:lnTo>
                      <a:pt x="5183" y="305"/>
                    </a:lnTo>
                    <a:lnTo>
                      <a:pt x="5218" y="289"/>
                    </a:lnTo>
                    <a:lnTo>
                      <a:pt x="5253" y="270"/>
                    </a:lnTo>
                    <a:lnTo>
                      <a:pt x="5287" y="251"/>
                    </a:lnTo>
                    <a:lnTo>
                      <a:pt x="5320" y="232"/>
                    </a:lnTo>
                    <a:lnTo>
                      <a:pt x="5351" y="211"/>
                    </a:lnTo>
                    <a:lnTo>
                      <a:pt x="5382" y="190"/>
                    </a:lnTo>
                    <a:lnTo>
                      <a:pt x="5410" y="169"/>
                    </a:lnTo>
                    <a:lnTo>
                      <a:pt x="5438" y="147"/>
                    </a:lnTo>
                    <a:lnTo>
                      <a:pt x="5462" y="123"/>
                    </a:lnTo>
                    <a:lnTo>
                      <a:pt x="5459" y="95"/>
                    </a:lnTo>
                    <a:lnTo>
                      <a:pt x="5455" y="65"/>
                    </a:lnTo>
                    <a:lnTo>
                      <a:pt x="5451" y="34"/>
                    </a:lnTo>
                    <a:lnTo>
                      <a:pt x="5446" y="0"/>
                    </a:lnTo>
                    <a:lnTo>
                      <a:pt x="5432" y="19"/>
                    </a:lnTo>
                    <a:lnTo>
                      <a:pt x="5418" y="35"/>
                    </a:lnTo>
                    <a:lnTo>
                      <a:pt x="5401" y="53"/>
                    </a:lnTo>
                    <a:lnTo>
                      <a:pt x="5383" y="70"/>
                    </a:lnTo>
                    <a:lnTo>
                      <a:pt x="5363" y="87"/>
                    </a:lnTo>
                    <a:lnTo>
                      <a:pt x="5342" y="104"/>
                    </a:lnTo>
                    <a:lnTo>
                      <a:pt x="5320" y="120"/>
                    </a:lnTo>
                    <a:lnTo>
                      <a:pt x="5296" y="137"/>
                    </a:lnTo>
                    <a:lnTo>
                      <a:pt x="5271" y="153"/>
                    </a:lnTo>
                    <a:lnTo>
                      <a:pt x="5244" y="169"/>
                    </a:lnTo>
                    <a:lnTo>
                      <a:pt x="5217" y="184"/>
                    </a:lnTo>
                    <a:lnTo>
                      <a:pt x="5190" y="200"/>
                    </a:lnTo>
                    <a:lnTo>
                      <a:pt x="5160" y="215"/>
                    </a:lnTo>
                    <a:lnTo>
                      <a:pt x="5130" y="230"/>
                    </a:lnTo>
                    <a:lnTo>
                      <a:pt x="5099" y="244"/>
                    </a:lnTo>
                    <a:lnTo>
                      <a:pt x="5068" y="258"/>
                    </a:lnTo>
                    <a:lnTo>
                      <a:pt x="5035" y="272"/>
                    </a:lnTo>
                    <a:lnTo>
                      <a:pt x="5001" y="286"/>
                    </a:lnTo>
                    <a:lnTo>
                      <a:pt x="4968" y="299"/>
                    </a:lnTo>
                    <a:lnTo>
                      <a:pt x="4934" y="311"/>
                    </a:lnTo>
                    <a:lnTo>
                      <a:pt x="4865" y="335"/>
                    </a:lnTo>
                    <a:lnTo>
                      <a:pt x="4795" y="358"/>
                    </a:lnTo>
                    <a:lnTo>
                      <a:pt x="4724" y="380"/>
                    </a:lnTo>
                    <a:lnTo>
                      <a:pt x="4652" y="398"/>
                    </a:lnTo>
                    <a:lnTo>
                      <a:pt x="4582" y="416"/>
                    </a:lnTo>
                    <a:lnTo>
                      <a:pt x="4513" y="431"/>
                    </a:lnTo>
                    <a:close/>
                  </a:path>
                </a:pathLst>
              </a:custGeom>
              <a:solidFill>
                <a:srgbClr val="F1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47" name="Freeform 123"/>
              <p:cNvSpPr>
                <a:spLocks/>
              </p:cNvSpPr>
              <p:nvPr/>
            </p:nvSpPr>
            <p:spPr bwMode="auto">
              <a:xfrm>
                <a:off x="3183" y="1766"/>
                <a:ext cx="754" cy="97"/>
              </a:xfrm>
              <a:custGeom>
                <a:avLst/>
                <a:gdLst>
                  <a:gd name="T0" fmla="*/ 0 w 5279"/>
                  <a:gd name="T1" fmla="*/ 0 h 679"/>
                  <a:gd name="T2" fmla="*/ 0 w 5279"/>
                  <a:gd name="T3" fmla="*/ 0 h 679"/>
                  <a:gd name="T4" fmla="*/ 0 w 5279"/>
                  <a:gd name="T5" fmla="*/ 0 h 679"/>
                  <a:gd name="T6" fmla="*/ 0 w 5279"/>
                  <a:gd name="T7" fmla="*/ 0 h 679"/>
                  <a:gd name="T8" fmla="*/ 0 w 5279"/>
                  <a:gd name="T9" fmla="*/ 0 h 679"/>
                  <a:gd name="T10" fmla="*/ 0 w 5279"/>
                  <a:gd name="T11" fmla="*/ 0 h 679"/>
                  <a:gd name="T12" fmla="*/ 0 w 5279"/>
                  <a:gd name="T13" fmla="*/ 0 h 679"/>
                  <a:gd name="T14" fmla="*/ 0 w 5279"/>
                  <a:gd name="T15" fmla="*/ 0 h 679"/>
                  <a:gd name="T16" fmla="*/ 0 w 5279"/>
                  <a:gd name="T17" fmla="*/ 0 h 679"/>
                  <a:gd name="T18" fmla="*/ 0 w 5279"/>
                  <a:gd name="T19" fmla="*/ 0 h 679"/>
                  <a:gd name="T20" fmla="*/ 0 w 5279"/>
                  <a:gd name="T21" fmla="*/ 0 h 679"/>
                  <a:gd name="T22" fmla="*/ 0 w 5279"/>
                  <a:gd name="T23" fmla="*/ 0 h 679"/>
                  <a:gd name="T24" fmla="*/ 0 w 5279"/>
                  <a:gd name="T25" fmla="*/ 0 h 679"/>
                  <a:gd name="T26" fmla="*/ 0 w 5279"/>
                  <a:gd name="T27" fmla="*/ 0 h 679"/>
                  <a:gd name="T28" fmla="*/ 0 w 5279"/>
                  <a:gd name="T29" fmla="*/ 0 h 679"/>
                  <a:gd name="T30" fmla="*/ 0 w 5279"/>
                  <a:gd name="T31" fmla="*/ 0 h 679"/>
                  <a:gd name="T32" fmla="*/ 0 w 5279"/>
                  <a:gd name="T33" fmla="*/ 0 h 679"/>
                  <a:gd name="T34" fmla="*/ 0 w 5279"/>
                  <a:gd name="T35" fmla="*/ 0 h 679"/>
                  <a:gd name="T36" fmla="*/ 0 w 5279"/>
                  <a:gd name="T37" fmla="*/ 0 h 679"/>
                  <a:gd name="T38" fmla="*/ 0 w 5279"/>
                  <a:gd name="T39" fmla="*/ 0 h 679"/>
                  <a:gd name="T40" fmla="*/ 0 w 5279"/>
                  <a:gd name="T41" fmla="*/ 0 h 679"/>
                  <a:gd name="T42" fmla="*/ 0 w 5279"/>
                  <a:gd name="T43" fmla="*/ 0 h 679"/>
                  <a:gd name="T44" fmla="*/ 0 w 5279"/>
                  <a:gd name="T45" fmla="*/ 0 h 679"/>
                  <a:gd name="T46" fmla="*/ 0 w 5279"/>
                  <a:gd name="T47" fmla="*/ 0 h 679"/>
                  <a:gd name="T48" fmla="*/ 0 w 5279"/>
                  <a:gd name="T49" fmla="*/ 0 h 679"/>
                  <a:gd name="T50" fmla="*/ 0 w 5279"/>
                  <a:gd name="T51" fmla="*/ 0 h 679"/>
                  <a:gd name="T52" fmla="*/ 0 w 5279"/>
                  <a:gd name="T53" fmla="*/ 0 h 679"/>
                  <a:gd name="T54" fmla="*/ 0 w 5279"/>
                  <a:gd name="T55" fmla="*/ 0 h 679"/>
                  <a:gd name="T56" fmla="*/ 0 w 5279"/>
                  <a:gd name="T57" fmla="*/ 0 h 679"/>
                  <a:gd name="T58" fmla="*/ 0 w 5279"/>
                  <a:gd name="T59" fmla="*/ 0 h 679"/>
                  <a:gd name="T60" fmla="*/ 0 w 5279"/>
                  <a:gd name="T61" fmla="*/ 0 h 679"/>
                  <a:gd name="T62" fmla="*/ 0 w 5279"/>
                  <a:gd name="T63" fmla="*/ 0 h 679"/>
                  <a:gd name="T64" fmla="*/ 0 w 5279"/>
                  <a:gd name="T65" fmla="*/ 0 h 679"/>
                  <a:gd name="T66" fmla="*/ 0 w 5279"/>
                  <a:gd name="T67" fmla="*/ 0 h 679"/>
                  <a:gd name="T68" fmla="*/ 0 w 5279"/>
                  <a:gd name="T69" fmla="*/ 0 h 679"/>
                  <a:gd name="T70" fmla="*/ 0 w 5279"/>
                  <a:gd name="T71" fmla="*/ 0 h 679"/>
                  <a:gd name="T72" fmla="*/ 0 w 5279"/>
                  <a:gd name="T73" fmla="*/ 0 h 679"/>
                  <a:gd name="T74" fmla="*/ 0 w 5279"/>
                  <a:gd name="T75" fmla="*/ 0 h 679"/>
                  <a:gd name="T76" fmla="*/ 0 w 5279"/>
                  <a:gd name="T77" fmla="*/ 0 h 679"/>
                  <a:gd name="T78" fmla="*/ 0 w 5279"/>
                  <a:gd name="T79" fmla="*/ 0 h 679"/>
                  <a:gd name="T80" fmla="*/ 0 w 5279"/>
                  <a:gd name="T81" fmla="*/ 0 h 679"/>
                  <a:gd name="T82" fmla="*/ 0 w 5279"/>
                  <a:gd name="T83" fmla="*/ 0 h 679"/>
                  <a:gd name="T84" fmla="*/ 0 w 5279"/>
                  <a:gd name="T85" fmla="*/ 0 h 679"/>
                  <a:gd name="T86" fmla="*/ 0 w 5279"/>
                  <a:gd name="T87" fmla="*/ 0 h 679"/>
                  <a:gd name="T88" fmla="*/ 0 w 5279"/>
                  <a:gd name="T89" fmla="*/ 0 h 679"/>
                  <a:gd name="T90" fmla="*/ 0 w 5279"/>
                  <a:gd name="T91" fmla="*/ 0 h 679"/>
                  <a:gd name="T92" fmla="*/ 0 w 5279"/>
                  <a:gd name="T93" fmla="*/ 0 h 679"/>
                  <a:gd name="T94" fmla="*/ 0 w 5279"/>
                  <a:gd name="T95" fmla="*/ 0 h 679"/>
                  <a:gd name="T96" fmla="*/ 0 w 5279"/>
                  <a:gd name="T97" fmla="*/ 0 h 679"/>
                  <a:gd name="T98" fmla="*/ 0 w 5279"/>
                  <a:gd name="T99" fmla="*/ 0 h 679"/>
                  <a:gd name="T100" fmla="*/ 0 w 5279"/>
                  <a:gd name="T101" fmla="*/ 0 h 679"/>
                  <a:gd name="T102" fmla="*/ 0 w 5279"/>
                  <a:gd name="T103" fmla="*/ 0 h 679"/>
                  <a:gd name="T104" fmla="*/ 0 w 5279"/>
                  <a:gd name="T105" fmla="*/ 0 h 679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w 5279"/>
                  <a:gd name="T160" fmla="*/ 0 h 679"/>
                  <a:gd name="T161" fmla="*/ 5279 w 5279"/>
                  <a:gd name="T162" fmla="*/ 679 h 679"/>
                </a:gdLst>
                <a:ahLst/>
                <a:cxnLst>
                  <a:cxn ang="T106">
                    <a:pos x="T0" y="T1"/>
                  </a:cxn>
                  <a:cxn ang="T107">
                    <a:pos x="T2" y="T3"/>
                  </a:cxn>
                  <a:cxn ang="T108">
                    <a:pos x="T4" y="T5"/>
                  </a:cxn>
                  <a:cxn ang="T109">
                    <a:pos x="T6" y="T7"/>
                  </a:cxn>
                  <a:cxn ang="T110">
                    <a:pos x="T8" y="T9"/>
                  </a:cxn>
                  <a:cxn ang="T111">
                    <a:pos x="T10" y="T11"/>
                  </a:cxn>
                  <a:cxn ang="T112">
                    <a:pos x="T12" y="T13"/>
                  </a:cxn>
                  <a:cxn ang="T113">
                    <a:pos x="T14" y="T15"/>
                  </a:cxn>
                  <a:cxn ang="T114">
                    <a:pos x="T16" y="T17"/>
                  </a:cxn>
                  <a:cxn ang="T115">
                    <a:pos x="T18" y="T19"/>
                  </a:cxn>
                  <a:cxn ang="T116">
                    <a:pos x="T20" y="T21"/>
                  </a:cxn>
                  <a:cxn ang="T117">
                    <a:pos x="T22" y="T23"/>
                  </a:cxn>
                  <a:cxn ang="T118">
                    <a:pos x="T24" y="T25"/>
                  </a:cxn>
                  <a:cxn ang="T119">
                    <a:pos x="T26" y="T27"/>
                  </a:cxn>
                  <a:cxn ang="T120">
                    <a:pos x="T28" y="T29"/>
                  </a:cxn>
                  <a:cxn ang="T121">
                    <a:pos x="T30" y="T31"/>
                  </a:cxn>
                  <a:cxn ang="T122">
                    <a:pos x="T32" y="T33"/>
                  </a:cxn>
                  <a:cxn ang="T123">
                    <a:pos x="T34" y="T35"/>
                  </a:cxn>
                  <a:cxn ang="T124">
                    <a:pos x="T36" y="T37"/>
                  </a:cxn>
                  <a:cxn ang="T125">
                    <a:pos x="T38" y="T39"/>
                  </a:cxn>
                  <a:cxn ang="T126">
                    <a:pos x="T40" y="T41"/>
                  </a:cxn>
                  <a:cxn ang="T127">
                    <a:pos x="T42" y="T43"/>
                  </a:cxn>
                  <a:cxn ang="T128">
                    <a:pos x="T44" y="T45"/>
                  </a:cxn>
                  <a:cxn ang="T129">
                    <a:pos x="T46" y="T47"/>
                  </a:cxn>
                  <a:cxn ang="T130">
                    <a:pos x="T48" y="T49"/>
                  </a:cxn>
                  <a:cxn ang="T131">
                    <a:pos x="T50" y="T51"/>
                  </a:cxn>
                  <a:cxn ang="T132">
                    <a:pos x="T52" y="T53"/>
                  </a:cxn>
                  <a:cxn ang="T133">
                    <a:pos x="T54" y="T55"/>
                  </a:cxn>
                  <a:cxn ang="T134">
                    <a:pos x="T56" y="T57"/>
                  </a:cxn>
                  <a:cxn ang="T135">
                    <a:pos x="T58" y="T59"/>
                  </a:cxn>
                  <a:cxn ang="T136">
                    <a:pos x="T60" y="T61"/>
                  </a:cxn>
                  <a:cxn ang="T137">
                    <a:pos x="T62" y="T63"/>
                  </a:cxn>
                  <a:cxn ang="T138">
                    <a:pos x="T64" y="T65"/>
                  </a:cxn>
                  <a:cxn ang="T139">
                    <a:pos x="T66" y="T67"/>
                  </a:cxn>
                  <a:cxn ang="T140">
                    <a:pos x="T68" y="T69"/>
                  </a:cxn>
                  <a:cxn ang="T141">
                    <a:pos x="T70" y="T71"/>
                  </a:cxn>
                  <a:cxn ang="T142">
                    <a:pos x="T72" y="T73"/>
                  </a:cxn>
                  <a:cxn ang="T143">
                    <a:pos x="T74" y="T75"/>
                  </a:cxn>
                  <a:cxn ang="T144">
                    <a:pos x="T76" y="T77"/>
                  </a:cxn>
                  <a:cxn ang="T145">
                    <a:pos x="T78" y="T79"/>
                  </a:cxn>
                  <a:cxn ang="T146">
                    <a:pos x="T80" y="T81"/>
                  </a:cxn>
                  <a:cxn ang="T147">
                    <a:pos x="T82" y="T83"/>
                  </a:cxn>
                  <a:cxn ang="T148">
                    <a:pos x="T84" y="T85"/>
                  </a:cxn>
                  <a:cxn ang="T149">
                    <a:pos x="T86" y="T87"/>
                  </a:cxn>
                  <a:cxn ang="T150">
                    <a:pos x="T88" y="T89"/>
                  </a:cxn>
                  <a:cxn ang="T151">
                    <a:pos x="T90" y="T91"/>
                  </a:cxn>
                  <a:cxn ang="T152">
                    <a:pos x="T92" y="T93"/>
                  </a:cxn>
                  <a:cxn ang="T153">
                    <a:pos x="T94" y="T95"/>
                  </a:cxn>
                  <a:cxn ang="T154">
                    <a:pos x="T96" y="T97"/>
                  </a:cxn>
                  <a:cxn ang="T155">
                    <a:pos x="T98" y="T99"/>
                  </a:cxn>
                  <a:cxn ang="T156">
                    <a:pos x="T100" y="T101"/>
                  </a:cxn>
                  <a:cxn ang="T157">
                    <a:pos x="T102" y="T103"/>
                  </a:cxn>
                  <a:cxn ang="T158">
                    <a:pos x="T104" y="T105"/>
                  </a:cxn>
                </a:cxnLst>
                <a:rect l="T159" t="T160" r="T161" b="T162"/>
                <a:pathLst>
                  <a:path w="5279" h="679">
                    <a:moveTo>
                      <a:pt x="535" y="358"/>
                    </a:moveTo>
                    <a:lnTo>
                      <a:pt x="567" y="366"/>
                    </a:lnTo>
                    <a:lnTo>
                      <a:pt x="600" y="374"/>
                    </a:lnTo>
                    <a:lnTo>
                      <a:pt x="634" y="383"/>
                    </a:lnTo>
                    <a:lnTo>
                      <a:pt x="669" y="394"/>
                    </a:lnTo>
                    <a:lnTo>
                      <a:pt x="705" y="404"/>
                    </a:lnTo>
                    <a:lnTo>
                      <a:pt x="742" y="415"/>
                    </a:lnTo>
                    <a:lnTo>
                      <a:pt x="780" y="427"/>
                    </a:lnTo>
                    <a:lnTo>
                      <a:pt x="818" y="439"/>
                    </a:lnTo>
                    <a:lnTo>
                      <a:pt x="895" y="463"/>
                    </a:lnTo>
                    <a:lnTo>
                      <a:pt x="976" y="487"/>
                    </a:lnTo>
                    <a:lnTo>
                      <a:pt x="1058" y="510"/>
                    </a:lnTo>
                    <a:lnTo>
                      <a:pt x="1141" y="532"/>
                    </a:lnTo>
                    <a:lnTo>
                      <a:pt x="1184" y="543"/>
                    </a:lnTo>
                    <a:lnTo>
                      <a:pt x="1226" y="553"/>
                    </a:lnTo>
                    <a:lnTo>
                      <a:pt x="1269" y="561"/>
                    </a:lnTo>
                    <a:lnTo>
                      <a:pt x="1312" y="569"/>
                    </a:lnTo>
                    <a:lnTo>
                      <a:pt x="1354" y="578"/>
                    </a:lnTo>
                    <a:lnTo>
                      <a:pt x="1398" y="584"/>
                    </a:lnTo>
                    <a:lnTo>
                      <a:pt x="1441" y="590"/>
                    </a:lnTo>
                    <a:lnTo>
                      <a:pt x="1485" y="594"/>
                    </a:lnTo>
                    <a:lnTo>
                      <a:pt x="1726" y="618"/>
                    </a:lnTo>
                    <a:lnTo>
                      <a:pt x="1772" y="623"/>
                    </a:lnTo>
                    <a:lnTo>
                      <a:pt x="1819" y="627"/>
                    </a:lnTo>
                    <a:lnTo>
                      <a:pt x="1867" y="632"/>
                    </a:lnTo>
                    <a:lnTo>
                      <a:pt x="1915" y="637"/>
                    </a:lnTo>
                    <a:lnTo>
                      <a:pt x="1963" y="642"/>
                    </a:lnTo>
                    <a:lnTo>
                      <a:pt x="2012" y="646"/>
                    </a:lnTo>
                    <a:lnTo>
                      <a:pt x="2060" y="651"/>
                    </a:lnTo>
                    <a:lnTo>
                      <a:pt x="2109" y="655"/>
                    </a:lnTo>
                    <a:lnTo>
                      <a:pt x="2157" y="659"/>
                    </a:lnTo>
                    <a:lnTo>
                      <a:pt x="2205" y="662"/>
                    </a:lnTo>
                    <a:lnTo>
                      <a:pt x="2252" y="667"/>
                    </a:lnTo>
                    <a:lnTo>
                      <a:pt x="2300" y="670"/>
                    </a:lnTo>
                    <a:lnTo>
                      <a:pt x="2345" y="673"/>
                    </a:lnTo>
                    <a:lnTo>
                      <a:pt x="2391" y="675"/>
                    </a:lnTo>
                    <a:lnTo>
                      <a:pt x="2436" y="677"/>
                    </a:lnTo>
                    <a:lnTo>
                      <a:pt x="2480" y="678"/>
                    </a:lnTo>
                    <a:lnTo>
                      <a:pt x="2515" y="679"/>
                    </a:lnTo>
                    <a:lnTo>
                      <a:pt x="2550" y="679"/>
                    </a:lnTo>
                    <a:lnTo>
                      <a:pt x="2585" y="679"/>
                    </a:lnTo>
                    <a:lnTo>
                      <a:pt x="2620" y="678"/>
                    </a:lnTo>
                    <a:lnTo>
                      <a:pt x="2690" y="674"/>
                    </a:lnTo>
                    <a:lnTo>
                      <a:pt x="2761" y="669"/>
                    </a:lnTo>
                    <a:lnTo>
                      <a:pt x="2830" y="661"/>
                    </a:lnTo>
                    <a:lnTo>
                      <a:pt x="2900" y="653"/>
                    </a:lnTo>
                    <a:lnTo>
                      <a:pt x="2968" y="645"/>
                    </a:lnTo>
                    <a:lnTo>
                      <a:pt x="3038" y="636"/>
                    </a:lnTo>
                    <a:lnTo>
                      <a:pt x="3090" y="628"/>
                    </a:lnTo>
                    <a:lnTo>
                      <a:pt x="3144" y="621"/>
                    </a:lnTo>
                    <a:lnTo>
                      <a:pt x="3196" y="615"/>
                    </a:lnTo>
                    <a:lnTo>
                      <a:pt x="3247" y="609"/>
                    </a:lnTo>
                    <a:lnTo>
                      <a:pt x="3299" y="605"/>
                    </a:lnTo>
                    <a:lnTo>
                      <a:pt x="3350" y="599"/>
                    </a:lnTo>
                    <a:lnTo>
                      <a:pt x="3400" y="596"/>
                    </a:lnTo>
                    <a:lnTo>
                      <a:pt x="3451" y="594"/>
                    </a:lnTo>
                    <a:lnTo>
                      <a:pt x="3487" y="593"/>
                    </a:lnTo>
                    <a:lnTo>
                      <a:pt x="3527" y="590"/>
                    </a:lnTo>
                    <a:lnTo>
                      <a:pt x="3571" y="587"/>
                    </a:lnTo>
                    <a:lnTo>
                      <a:pt x="3618" y="582"/>
                    </a:lnTo>
                    <a:lnTo>
                      <a:pt x="3668" y="576"/>
                    </a:lnTo>
                    <a:lnTo>
                      <a:pt x="3722" y="569"/>
                    </a:lnTo>
                    <a:lnTo>
                      <a:pt x="3779" y="561"/>
                    </a:lnTo>
                    <a:lnTo>
                      <a:pt x="3840" y="552"/>
                    </a:lnTo>
                    <a:lnTo>
                      <a:pt x="3904" y="541"/>
                    </a:lnTo>
                    <a:lnTo>
                      <a:pt x="3971" y="529"/>
                    </a:lnTo>
                    <a:lnTo>
                      <a:pt x="4042" y="517"/>
                    </a:lnTo>
                    <a:lnTo>
                      <a:pt x="4117" y="503"/>
                    </a:lnTo>
                    <a:lnTo>
                      <a:pt x="4195" y="488"/>
                    </a:lnTo>
                    <a:lnTo>
                      <a:pt x="4277" y="472"/>
                    </a:lnTo>
                    <a:lnTo>
                      <a:pt x="4361" y="455"/>
                    </a:lnTo>
                    <a:lnTo>
                      <a:pt x="4451" y="436"/>
                    </a:lnTo>
                    <a:lnTo>
                      <a:pt x="4494" y="427"/>
                    </a:lnTo>
                    <a:lnTo>
                      <a:pt x="4539" y="415"/>
                    </a:lnTo>
                    <a:lnTo>
                      <a:pt x="4588" y="401"/>
                    </a:lnTo>
                    <a:lnTo>
                      <a:pt x="4639" y="385"/>
                    </a:lnTo>
                    <a:lnTo>
                      <a:pt x="4692" y="368"/>
                    </a:lnTo>
                    <a:lnTo>
                      <a:pt x="4746" y="349"/>
                    </a:lnTo>
                    <a:lnTo>
                      <a:pt x="4802" y="328"/>
                    </a:lnTo>
                    <a:lnTo>
                      <a:pt x="4857" y="307"/>
                    </a:lnTo>
                    <a:lnTo>
                      <a:pt x="4913" y="284"/>
                    </a:lnTo>
                    <a:lnTo>
                      <a:pt x="4969" y="260"/>
                    </a:lnTo>
                    <a:lnTo>
                      <a:pt x="5025" y="234"/>
                    </a:lnTo>
                    <a:lnTo>
                      <a:pt x="5080" y="210"/>
                    </a:lnTo>
                    <a:lnTo>
                      <a:pt x="5132" y="183"/>
                    </a:lnTo>
                    <a:lnTo>
                      <a:pt x="5184" y="156"/>
                    </a:lnTo>
                    <a:lnTo>
                      <a:pt x="5233" y="129"/>
                    </a:lnTo>
                    <a:lnTo>
                      <a:pt x="5279" y="101"/>
                    </a:lnTo>
                    <a:lnTo>
                      <a:pt x="5274" y="79"/>
                    </a:lnTo>
                    <a:lnTo>
                      <a:pt x="5268" y="57"/>
                    </a:lnTo>
                    <a:lnTo>
                      <a:pt x="5261" y="34"/>
                    </a:lnTo>
                    <a:lnTo>
                      <a:pt x="5255" y="11"/>
                    </a:lnTo>
                    <a:lnTo>
                      <a:pt x="5211" y="38"/>
                    </a:lnTo>
                    <a:lnTo>
                      <a:pt x="5164" y="65"/>
                    </a:lnTo>
                    <a:lnTo>
                      <a:pt x="5115" y="92"/>
                    </a:lnTo>
                    <a:lnTo>
                      <a:pt x="5062" y="118"/>
                    </a:lnTo>
                    <a:lnTo>
                      <a:pt x="5008" y="143"/>
                    </a:lnTo>
                    <a:lnTo>
                      <a:pt x="4954" y="169"/>
                    </a:lnTo>
                    <a:lnTo>
                      <a:pt x="4898" y="193"/>
                    </a:lnTo>
                    <a:lnTo>
                      <a:pt x="4841" y="217"/>
                    </a:lnTo>
                    <a:lnTo>
                      <a:pt x="4784" y="238"/>
                    </a:lnTo>
                    <a:lnTo>
                      <a:pt x="4728" y="259"/>
                    </a:lnTo>
                    <a:lnTo>
                      <a:pt x="4674" y="279"/>
                    </a:lnTo>
                    <a:lnTo>
                      <a:pt x="4621" y="296"/>
                    </a:lnTo>
                    <a:lnTo>
                      <a:pt x="4569" y="313"/>
                    </a:lnTo>
                    <a:lnTo>
                      <a:pt x="4521" y="327"/>
                    </a:lnTo>
                    <a:lnTo>
                      <a:pt x="4474" y="339"/>
                    </a:lnTo>
                    <a:lnTo>
                      <a:pt x="4432" y="348"/>
                    </a:lnTo>
                    <a:lnTo>
                      <a:pt x="4345" y="367"/>
                    </a:lnTo>
                    <a:lnTo>
                      <a:pt x="4261" y="383"/>
                    </a:lnTo>
                    <a:lnTo>
                      <a:pt x="4181" y="399"/>
                    </a:lnTo>
                    <a:lnTo>
                      <a:pt x="4104" y="414"/>
                    </a:lnTo>
                    <a:lnTo>
                      <a:pt x="4030" y="428"/>
                    </a:lnTo>
                    <a:lnTo>
                      <a:pt x="3960" y="440"/>
                    </a:lnTo>
                    <a:lnTo>
                      <a:pt x="3893" y="452"/>
                    </a:lnTo>
                    <a:lnTo>
                      <a:pt x="3830" y="462"/>
                    </a:lnTo>
                    <a:lnTo>
                      <a:pt x="3770" y="471"/>
                    </a:lnTo>
                    <a:lnTo>
                      <a:pt x="3714" y="479"/>
                    </a:lnTo>
                    <a:lnTo>
                      <a:pt x="3661" y="487"/>
                    </a:lnTo>
                    <a:lnTo>
                      <a:pt x="3611" y="492"/>
                    </a:lnTo>
                    <a:lnTo>
                      <a:pt x="3565" y="497"/>
                    </a:lnTo>
                    <a:lnTo>
                      <a:pt x="3522" y="500"/>
                    </a:lnTo>
                    <a:lnTo>
                      <a:pt x="3484" y="503"/>
                    </a:lnTo>
                    <a:lnTo>
                      <a:pt x="3448" y="504"/>
                    </a:lnTo>
                    <a:lnTo>
                      <a:pt x="3396" y="507"/>
                    </a:lnTo>
                    <a:lnTo>
                      <a:pt x="3343" y="510"/>
                    </a:lnTo>
                    <a:lnTo>
                      <a:pt x="3290" y="515"/>
                    </a:lnTo>
                    <a:lnTo>
                      <a:pt x="3237" y="520"/>
                    </a:lnTo>
                    <a:lnTo>
                      <a:pt x="3183" y="526"/>
                    </a:lnTo>
                    <a:lnTo>
                      <a:pt x="3131" y="532"/>
                    </a:lnTo>
                    <a:lnTo>
                      <a:pt x="3077" y="539"/>
                    </a:lnTo>
                    <a:lnTo>
                      <a:pt x="3025" y="547"/>
                    </a:lnTo>
                    <a:lnTo>
                      <a:pt x="2958" y="555"/>
                    </a:lnTo>
                    <a:lnTo>
                      <a:pt x="2890" y="564"/>
                    </a:lnTo>
                    <a:lnTo>
                      <a:pt x="2823" y="571"/>
                    </a:lnTo>
                    <a:lnTo>
                      <a:pt x="2755" y="579"/>
                    </a:lnTo>
                    <a:lnTo>
                      <a:pt x="2686" y="584"/>
                    </a:lnTo>
                    <a:lnTo>
                      <a:pt x="2618" y="588"/>
                    </a:lnTo>
                    <a:lnTo>
                      <a:pt x="2584" y="589"/>
                    </a:lnTo>
                    <a:lnTo>
                      <a:pt x="2550" y="590"/>
                    </a:lnTo>
                    <a:lnTo>
                      <a:pt x="2516" y="590"/>
                    </a:lnTo>
                    <a:lnTo>
                      <a:pt x="2483" y="589"/>
                    </a:lnTo>
                    <a:lnTo>
                      <a:pt x="2439" y="587"/>
                    </a:lnTo>
                    <a:lnTo>
                      <a:pt x="2395" y="585"/>
                    </a:lnTo>
                    <a:lnTo>
                      <a:pt x="2350" y="583"/>
                    </a:lnTo>
                    <a:lnTo>
                      <a:pt x="2305" y="580"/>
                    </a:lnTo>
                    <a:lnTo>
                      <a:pt x="2259" y="577"/>
                    </a:lnTo>
                    <a:lnTo>
                      <a:pt x="2211" y="574"/>
                    </a:lnTo>
                    <a:lnTo>
                      <a:pt x="2163" y="569"/>
                    </a:lnTo>
                    <a:lnTo>
                      <a:pt x="2116" y="565"/>
                    </a:lnTo>
                    <a:lnTo>
                      <a:pt x="2067" y="561"/>
                    </a:lnTo>
                    <a:lnTo>
                      <a:pt x="2020" y="557"/>
                    </a:lnTo>
                    <a:lnTo>
                      <a:pt x="1971" y="552"/>
                    </a:lnTo>
                    <a:lnTo>
                      <a:pt x="1924" y="548"/>
                    </a:lnTo>
                    <a:lnTo>
                      <a:pt x="1875" y="543"/>
                    </a:lnTo>
                    <a:lnTo>
                      <a:pt x="1829" y="538"/>
                    </a:lnTo>
                    <a:lnTo>
                      <a:pt x="1781" y="533"/>
                    </a:lnTo>
                    <a:lnTo>
                      <a:pt x="1736" y="529"/>
                    </a:lnTo>
                    <a:lnTo>
                      <a:pt x="1493" y="505"/>
                    </a:lnTo>
                    <a:lnTo>
                      <a:pt x="1451" y="500"/>
                    </a:lnTo>
                    <a:lnTo>
                      <a:pt x="1410" y="495"/>
                    </a:lnTo>
                    <a:lnTo>
                      <a:pt x="1369" y="489"/>
                    </a:lnTo>
                    <a:lnTo>
                      <a:pt x="1326" y="481"/>
                    </a:lnTo>
                    <a:lnTo>
                      <a:pt x="1285" y="473"/>
                    </a:lnTo>
                    <a:lnTo>
                      <a:pt x="1244" y="464"/>
                    </a:lnTo>
                    <a:lnTo>
                      <a:pt x="1202" y="455"/>
                    </a:lnTo>
                    <a:lnTo>
                      <a:pt x="1162" y="444"/>
                    </a:lnTo>
                    <a:lnTo>
                      <a:pt x="1080" y="423"/>
                    </a:lnTo>
                    <a:lnTo>
                      <a:pt x="1000" y="400"/>
                    </a:lnTo>
                    <a:lnTo>
                      <a:pt x="922" y="377"/>
                    </a:lnTo>
                    <a:lnTo>
                      <a:pt x="846" y="353"/>
                    </a:lnTo>
                    <a:lnTo>
                      <a:pt x="807" y="341"/>
                    </a:lnTo>
                    <a:lnTo>
                      <a:pt x="768" y="329"/>
                    </a:lnTo>
                    <a:lnTo>
                      <a:pt x="731" y="318"/>
                    </a:lnTo>
                    <a:lnTo>
                      <a:pt x="694" y="307"/>
                    </a:lnTo>
                    <a:lnTo>
                      <a:pt x="658" y="297"/>
                    </a:lnTo>
                    <a:lnTo>
                      <a:pt x="623" y="287"/>
                    </a:lnTo>
                    <a:lnTo>
                      <a:pt x="589" y="279"/>
                    </a:lnTo>
                    <a:lnTo>
                      <a:pt x="556" y="271"/>
                    </a:lnTo>
                    <a:lnTo>
                      <a:pt x="528" y="263"/>
                    </a:lnTo>
                    <a:lnTo>
                      <a:pt x="497" y="255"/>
                    </a:lnTo>
                    <a:lnTo>
                      <a:pt x="466" y="245"/>
                    </a:lnTo>
                    <a:lnTo>
                      <a:pt x="433" y="233"/>
                    </a:lnTo>
                    <a:lnTo>
                      <a:pt x="398" y="220"/>
                    </a:lnTo>
                    <a:lnTo>
                      <a:pt x="363" y="205"/>
                    </a:lnTo>
                    <a:lnTo>
                      <a:pt x="328" y="190"/>
                    </a:lnTo>
                    <a:lnTo>
                      <a:pt x="293" y="172"/>
                    </a:lnTo>
                    <a:lnTo>
                      <a:pt x="257" y="155"/>
                    </a:lnTo>
                    <a:lnTo>
                      <a:pt x="222" y="135"/>
                    </a:lnTo>
                    <a:lnTo>
                      <a:pt x="187" y="115"/>
                    </a:lnTo>
                    <a:lnTo>
                      <a:pt x="152" y="94"/>
                    </a:lnTo>
                    <a:lnTo>
                      <a:pt x="118" y="72"/>
                    </a:lnTo>
                    <a:lnTo>
                      <a:pt x="85" y="48"/>
                    </a:lnTo>
                    <a:lnTo>
                      <a:pt x="54" y="24"/>
                    </a:lnTo>
                    <a:lnTo>
                      <a:pt x="24" y="0"/>
                    </a:lnTo>
                    <a:lnTo>
                      <a:pt x="18" y="24"/>
                    </a:lnTo>
                    <a:lnTo>
                      <a:pt x="11" y="49"/>
                    </a:lnTo>
                    <a:lnTo>
                      <a:pt x="5" y="73"/>
                    </a:lnTo>
                    <a:lnTo>
                      <a:pt x="0" y="97"/>
                    </a:lnTo>
                    <a:lnTo>
                      <a:pt x="34" y="123"/>
                    </a:lnTo>
                    <a:lnTo>
                      <a:pt x="69" y="148"/>
                    </a:lnTo>
                    <a:lnTo>
                      <a:pt x="105" y="171"/>
                    </a:lnTo>
                    <a:lnTo>
                      <a:pt x="142" y="194"/>
                    </a:lnTo>
                    <a:lnTo>
                      <a:pt x="179" y="215"/>
                    </a:lnTo>
                    <a:lnTo>
                      <a:pt x="216" y="234"/>
                    </a:lnTo>
                    <a:lnTo>
                      <a:pt x="253" y="253"/>
                    </a:lnTo>
                    <a:lnTo>
                      <a:pt x="289" y="271"/>
                    </a:lnTo>
                    <a:lnTo>
                      <a:pt x="324" y="286"/>
                    </a:lnTo>
                    <a:lnTo>
                      <a:pt x="359" y="301"/>
                    </a:lnTo>
                    <a:lnTo>
                      <a:pt x="392" y="314"/>
                    </a:lnTo>
                    <a:lnTo>
                      <a:pt x="424" y="325"/>
                    </a:lnTo>
                    <a:lnTo>
                      <a:pt x="455" y="336"/>
                    </a:lnTo>
                    <a:lnTo>
                      <a:pt x="484" y="345"/>
                    </a:lnTo>
                    <a:lnTo>
                      <a:pt x="511" y="352"/>
                    </a:lnTo>
                    <a:lnTo>
                      <a:pt x="535" y="358"/>
                    </a:lnTo>
                    <a:close/>
                  </a:path>
                </a:pathLst>
              </a:custGeom>
              <a:solidFill>
                <a:srgbClr val="F1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48" name="Freeform 124"/>
              <p:cNvSpPr>
                <a:spLocks/>
              </p:cNvSpPr>
              <p:nvPr/>
            </p:nvSpPr>
            <p:spPr bwMode="auto">
              <a:xfrm>
                <a:off x="3225" y="1804"/>
                <a:ext cx="22" cy="59"/>
              </a:xfrm>
              <a:custGeom>
                <a:avLst/>
                <a:gdLst>
                  <a:gd name="T0" fmla="*/ 0 w 160"/>
                  <a:gd name="T1" fmla="*/ 0 h 415"/>
                  <a:gd name="T2" fmla="*/ 0 w 160"/>
                  <a:gd name="T3" fmla="*/ 0 h 415"/>
                  <a:gd name="T4" fmla="*/ 0 w 160"/>
                  <a:gd name="T5" fmla="*/ 0 h 415"/>
                  <a:gd name="T6" fmla="*/ 0 w 160"/>
                  <a:gd name="T7" fmla="*/ 0 h 415"/>
                  <a:gd name="T8" fmla="*/ 0 w 160"/>
                  <a:gd name="T9" fmla="*/ 0 h 415"/>
                  <a:gd name="T10" fmla="*/ 0 w 160"/>
                  <a:gd name="T11" fmla="*/ 0 h 415"/>
                  <a:gd name="T12" fmla="*/ 0 w 160"/>
                  <a:gd name="T13" fmla="*/ 0 h 415"/>
                  <a:gd name="T14" fmla="*/ 0 w 160"/>
                  <a:gd name="T15" fmla="*/ 0 h 415"/>
                  <a:gd name="T16" fmla="*/ 0 w 160"/>
                  <a:gd name="T17" fmla="*/ 0 h 415"/>
                  <a:gd name="T18" fmla="*/ 0 w 160"/>
                  <a:gd name="T19" fmla="*/ 0 h 415"/>
                  <a:gd name="T20" fmla="*/ 0 w 160"/>
                  <a:gd name="T21" fmla="*/ 0 h 415"/>
                  <a:gd name="T22" fmla="*/ 0 w 160"/>
                  <a:gd name="T23" fmla="*/ 0 h 415"/>
                  <a:gd name="T24" fmla="*/ 0 w 160"/>
                  <a:gd name="T25" fmla="*/ 0 h 415"/>
                  <a:gd name="T26" fmla="*/ 0 w 160"/>
                  <a:gd name="T27" fmla="*/ 0 h 415"/>
                  <a:gd name="T28" fmla="*/ 0 w 160"/>
                  <a:gd name="T29" fmla="*/ 0 h 415"/>
                  <a:gd name="T30" fmla="*/ 0 w 160"/>
                  <a:gd name="T31" fmla="*/ 0 h 415"/>
                  <a:gd name="T32" fmla="*/ 0 w 160"/>
                  <a:gd name="T33" fmla="*/ 0 h 415"/>
                  <a:gd name="T34" fmla="*/ 0 w 160"/>
                  <a:gd name="T35" fmla="*/ 0 h 415"/>
                  <a:gd name="T36" fmla="*/ 0 w 160"/>
                  <a:gd name="T37" fmla="*/ 0 h 415"/>
                  <a:gd name="T38" fmla="*/ 0 w 160"/>
                  <a:gd name="T39" fmla="*/ 0 h 415"/>
                  <a:gd name="T40" fmla="*/ 0 w 160"/>
                  <a:gd name="T41" fmla="*/ 0 h 415"/>
                  <a:gd name="T42" fmla="*/ 0 w 160"/>
                  <a:gd name="T43" fmla="*/ 0 h 415"/>
                  <a:gd name="T44" fmla="*/ 0 w 160"/>
                  <a:gd name="T45" fmla="*/ 0 h 415"/>
                  <a:gd name="T46" fmla="*/ 0 w 160"/>
                  <a:gd name="T47" fmla="*/ 0 h 415"/>
                  <a:gd name="T48" fmla="*/ 0 w 160"/>
                  <a:gd name="T49" fmla="*/ 0 h 415"/>
                  <a:gd name="T50" fmla="*/ 0 w 160"/>
                  <a:gd name="T51" fmla="*/ 0 h 415"/>
                  <a:gd name="T52" fmla="*/ 0 w 160"/>
                  <a:gd name="T53" fmla="*/ 0 h 415"/>
                  <a:gd name="T54" fmla="*/ 0 w 160"/>
                  <a:gd name="T55" fmla="*/ 0 h 415"/>
                  <a:gd name="T56" fmla="*/ 0 w 160"/>
                  <a:gd name="T57" fmla="*/ 0 h 415"/>
                  <a:gd name="T58" fmla="*/ 0 w 160"/>
                  <a:gd name="T59" fmla="*/ 0 h 415"/>
                  <a:gd name="T60" fmla="*/ 0 w 160"/>
                  <a:gd name="T61" fmla="*/ 0 h 415"/>
                  <a:gd name="T62" fmla="*/ 0 w 160"/>
                  <a:gd name="T63" fmla="*/ 0 h 415"/>
                  <a:gd name="T64" fmla="*/ 0 w 160"/>
                  <a:gd name="T65" fmla="*/ 0 h 415"/>
                  <a:gd name="T66" fmla="*/ 0 w 160"/>
                  <a:gd name="T67" fmla="*/ 0 h 415"/>
                  <a:gd name="T68" fmla="*/ 0 w 160"/>
                  <a:gd name="T69" fmla="*/ 0 h 415"/>
                  <a:gd name="T70" fmla="*/ 0 w 160"/>
                  <a:gd name="T71" fmla="*/ 0 h 415"/>
                  <a:gd name="T72" fmla="*/ 0 w 160"/>
                  <a:gd name="T73" fmla="*/ 0 h 415"/>
                  <a:gd name="T74" fmla="*/ 0 w 160"/>
                  <a:gd name="T75" fmla="*/ 0 h 415"/>
                  <a:gd name="T76" fmla="*/ 0 w 160"/>
                  <a:gd name="T77" fmla="*/ 0 h 415"/>
                  <a:gd name="T78" fmla="*/ 0 w 160"/>
                  <a:gd name="T79" fmla="*/ 0 h 415"/>
                  <a:gd name="T80" fmla="*/ 0 w 160"/>
                  <a:gd name="T81" fmla="*/ 0 h 415"/>
                  <a:gd name="T82" fmla="*/ 0 w 160"/>
                  <a:gd name="T83" fmla="*/ 0 h 415"/>
                  <a:gd name="T84" fmla="*/ 0 w 160"/>
                  <a:gd name="T85" fmla="*/ 0 h 415"/>
                  <a:gd name="T86" fmla="*/ 0 w 160"/>
                  <a:gd name="T87" fmla="*/ 0 h 415"/>
                  <a:gd name="T88" fmla="*/ 0 w 160"/>
                  <a:gd name="T89" fmla="*/ 0 h 415"/>
                  <a:gd name="T90" fmla="*/ 0 w 160"/>
                  <a:gd name="T91" fmla="*/ 0 h 415"/>
                  <a:gd name="T92" fmla="*/ 0 w 160"/>
                  <a:gd name="T93" fmla="*/ 0 h 415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60"/>
                  <a:gd name="T142" fmla="*/ 0 h 415"/>
                  <a:gd name="T143" fmla="*/ 160 w 160"/>
                  <a:gd name="T144" fmla="*/ 415 h 415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60" h="415">
                    <a:moveTo>
                      <a:pt x="158" y="1"/>
                    </a:moveTo>
                    <a:lnTo>
                      <a:pt x="143" y="0"/>
                    </a:lnTo>
                    <a:lnTo>
                      <a:pt x="127" y="1"/>
                    </a:lnTo>
                    <a:lnTo>
                      <a:pt x="113" y="6"/>
                    </a:lnTo>
                    <a:lnTo>
                      <a:pt x="100" y="10"/>
                    </a:lnTo>
                    <a:lnTo>
                      <a:pt x="88" y="17"/>
                    </a:lnTo>
                    <a:lnTo>
                      <a:pt x="76" y="24"/>
                    </a:lnTo>
                    <a:lnTo>
                      <a:pt x="67" y="33"/>
                    </a:lnTo>
                    <a:lnTo>
                      <a:pt x="58" y="45"/>
                    </a:lnTo>
                    <a:lnTo>
                      <a:pt x="49" y="56"/>
                    </a:lnTo>
                    <a:lnTo>
                      <a:pt x="42" y="70"/>
                    </a:lnTo>
                    <a:lnTo>
                      <a:pt x="35" y="83"/>
                    </a:lnTo>
                    <a:lnTo>
                      <a:pt x="30" y="98"/>
                    </a:lnTo>
                    <a:lnTo>
                      <a:pt x="24" y="113"/>
                    </a:lnTo>
                    <a:lnTo>
                      <a:pt x="20" y="130"/>
                    </a:lnTo>
                    <a:lnTo>
                      <a:pt x="15" y="146"/>
                    </a:lnTo>
                    <a:lnTo>
                      <a:pt x="12" y="164"/>
                    </a:lnTo>
                    <a:lnTo>
                      <a:pt x="7" y="199"/>
                    </a:lnTo>
                    <a:lnTo>
                      <a:pt x="3" y="234"/>
                    </a:lnTo>
                    <a:lnTo>
                      <a:pt x="1" y="270"/>
                    </a:lnTo>
                    <a:lnTo>
                      <a:pt x="0" y="304"/>
                    </a:lnTo>
                    <a:lnTo>
                      <a:pt x="0" y="367"/>
                    </a:lnTo>
                    <a:lnTo>
                      <a:pt x="0" y="415"/>
                    </a:lnTo>
                    <a:lnTo>
                      <a:pt x="11" y="409"/>
                    </a:lnTo>
                    <a:lnTo>
                      <a:pt x="22" y="402"/>
                    </a:lnTo>
                    <a:lnTo>
                      <a:pt x="32" y="391"/>
                    </a:lnTo>
                    <a:lnTo>
                      <a:pt x="41" y="381"/>
                    </a:lnTo>
                    <a:lnTo>
                      <a:pt x="49" y="368"/>
                    </a:lnTo>
                    <a:lnTo>
                      <a:pt x="58" y="356"/>
                    </a:lnTo>
                    <a:lnTo>
                      <a:pt x="66" y="343"/>
                    </a:lnTo>
                    <a:lnTo>
                      <a:pt x="72" y="328"/>
                    </a:lnTo>
                    <a:lnTo>
                      <a:pt x="86" y="299"/>
                    </a:lnTo>
                    <a:lnTo>
                      <a:pt x="97" y="271"/>
                    </a:lnTo>
                    <a:lnTo>
                      <a:pt x="108" y="244"/>
                    </a:lnTo>
                    <a:lnTo>
                      <a:pt x="119" y="223"/>
                    </a:lnTo>
                    <a:lnTo>
                      <a:pt x="126" y="209"/>
                    </a:lnTo>
                    <a:lnTo>
                      <a:pt x="132" y="195"/>
                    </a:lnTo>
                    <a:lnTo>
                      <a:pt x="137" y="181"/>
                    </a:lnTo>
                    <a:lnTo>
                      <a:pt x="143" y="169"/>
                    </a:lnTo>
                    <a:lnTo>
                      <a:pt x="147" y="155"/>
                    </a:lnTo>
                    <a:lnTo>
                      <a:pt x="150" y="142"/>
                    </a:lnTo>
                    <a:lnTo>
                      <a:pt x="153" y="129"/>
                    </a:lnTo>
                    <a:lnTo>
                      <a:pt x="155" y="115"/>
                    </a:lnTo>
                    <a:lnTo>
                      <a:pt x="158" y="88"/>
                    </a:lnTo>
                    <a:lnTo>
                      <a:pt x="160" y="60"/>
                    </a:lnTo>
                    <a:lnTo>
                      <a:pt x="160" y="31"/>
                    </a:lnTo>
                    <a:lnTo>
                      <a:pt x="158" y="1"/>
                    </a:lnTo>
                    <a:close/>
                  </a:path>
                </a:pathLst>
              </a:custGeom>
              <a:solidFill>
                <a:srgbClr val="F1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49" name="Freeform 125"/>
              <p:cNvSpPr>
                <a:spLocks/>
              </p:cNvSpPr>
              <p:nvPr/>
            </p:nvSpPr>
            <p:spPr bwMode="auto">
              <a:xfrm>
                <a:off x="3189" y="1795"/>
                <a:ext cx="104" cy="79"/>
              </a:xfrm>
              <a:custGeom>
                <a:avLst/>
                <a:gdLst>
                  <a:gd name="T0" fmla="*/ 0 w 726"/>
                  <a:gd name="T1" fmla="*/ 0 h 559"/>
                  <a:gd name="T2" fmla="*/ 0 w 726"/>
                  <a:gd name="T3" fmla="*/ 0 h 559"/>
                  <a:gd name="T4" fmla="*/ 0 w 726"/>
                  <a:gd name="T5" fmla="*/ 0 h 559"/>
                  <a:gd name="T6" fmla="*/ 0 w 726"/>
                  <a:gd name="T7" fmla="*/ 0 h 559"/>
                  <a:gd name="T8" fmla="*/ 0 w 726"/>
                  <a:gd name="T9" fmla="*/ 0 h 559"/>
                  <a:gd name="T10" fmla="*/ 0 w 726"/>
                  <a:gd name="T11" fmla="*/ 0 h 559"/>
                  <a:gd name="T12" fmla="*/ 0 w 726"/>
                  <a:gd name="T13" fmla="*/ 0 h 559"/>
                  <a:gd name="T14" fmla="*/ 0 w 726"/>
                  <a:gd name="T15" fmla="*/ 0 h 559"/>
                  <a:gd name="T16" fmla="*/ 0 w 726"/>
                  <a:gd name="T17" fmla="*/ 0 h 559"/>
                  <a:gd name="T18" fmla="*/ 0 w 726"/>
                  <a:gd name="T19" fmla="*/ 0 h 559"/>
                  <a:gd name="T20" fmla="*/ 0 w 726"/>
                  <a:gd name="T21" fmla="*/ 0 h 559"/>
                  <a:gd name="T22" fmla="*/ 0 w 726"/>
                  <a:gd name="T23" fmla="*/ 0 h 559"/>
                  <a:gd name="T24" fmla="*/ 0 w 726"/>
                  <a:gd name="T25" fmla="*/ 0 h 559"/>
                  <a:gd name="T26" fmla="*/ 0 w 726"/>
                  <a:gd name="T27" fmla="*/ 0 h 559"/>
                  <a:gd name="T28" fmla="*/ 0 w 726"/>
                  <a:gd name="T29" fmla="*/ 0 h 559"/>
                  <a:gd name="T30" fmla="*/ 0 w 726"/>
                  <a:gd name="T31" fmla="*/ 0 h 559"/>
                  <a:gd name="T32" fmla="*/ 0 w 726"/>
                  <a:gd name="T33" fmla="*/ 0 h 559"/>
                  <a:gd name="T34" fmla="*/ 0 w 726"/>
                  <a:gd name="T35" fmla="*/ 0 h 559"/>
                  <a:gd name="T36" fmla="*/ 0 w 726"/>
                  <a:gd name="T37" fmla="*/ 0 h 559"/>
                  <a:gd name="T38" fmla="*/ 0 w 726"/>
                  <a:gd name="T39" fmla="*/ 0 h 559"/>
                  <a:gd name="T40" fmla="*/ 0 w 726"/>
                  <a:gd name="T41" fmla="*/ 0 h 559"/>
                  <a:gd name="T42" fmla="*/ 0 w 726"/>
                  <a:gd name="T43" fmla="*/ 0 h 559"/>
                  <a:gd name="T44" fmla="*/ 0 w 726"/>
                  <a:gd name="T45" fmla="*/ 0 h 559"/>
                  <a:gd name="T46" fmla="*/ 0 w 726"/>
                  <a:gd name="T47" fmla="*/ 0 h 559"/>
                  <a:gd name="T48" fmla="*/ 0 w 726"/>
                  <a:gd name="T49" fmla="*/ 0 h 559"/>
                  <a:gd name="T50" fmla="*/ 0 w 726"/>
                  <a:gd name="T51" fmla="*/ 0 h 559"/>
                  <a:gd name="T52" fmla="*/ 0 w 726"/>
                  <a:gd name="T53" fmla="*/ 0 h 559"/>
                  <a:gd name="T54" fmla="*/ 0 w 726"/>
                  <a:gd name="T55" fmla="*/ 0 h 559"/>
                  <a:gd name="T56" fmla="*/ 0 w 726"/>
                  <a:gd name="T57" fmla="*/ 0 h 559"/>
                  <a:gd name="T58" fmla="*/ 0 w 726"/>
                  <a:gd name="T59" fmla="*/ 0 h 559"/>
                  <a:gd name="T60" fmla="*/ 0 w 726"/>
                  <a:gd name="T61" fmla="*/ 0 h 559"/>
                  <a:gd name="T62" fmla="*/ 0 w 726"/>
                  <a:gd name="T63" fmla="*/ 0 h 559"/>
                  <a:gd name="T64" fmla="*/ 0 w 726"/>
                  <a:gd name="T65" fmla="*/ 0 h 559"/>
                  <a:gd name="T66" fmla="*/ 0 w 726"/>
                  <a:gd name="T67" fmla="*/ 0 h 559"/>
                  <a:gd name="T68" fmla="*/ 0 w 726"/>
                  <a:gd name="T69" fmla="*/ 0 h 559"/>
                  <a:gd name="T70" fmla="*/ 0 w 726"/>
                  <a:gd name="T71" fmla="*/ 0 h 559"/>
                  <a:gd name="T72" fmla="*/ 0 w 726"/>
                  <a:gd name="T73" fmla="*/ 0 h 559"/>
                  <a:gd name="T74" fmla="*/ 0 w 726"/>
                  <a:gd name="T75" fmla="*/ 0 h 559"/>
                  <a:gd name="T76" fmla="*/ 0 w 726"/>
                  <a:gd name="T77" fmla="*/ 0 h 559"/>
                  <a:gd name="T78" fmla="*/ 0 w 726"/>
                  <a:gd name="T79" fmla="*/ 0 h 559"/>
                  <a:gd name="T80" fmla="*/ 0 w 726"/>
                  <a:gd name="T81" fmla="*/ 0 h 559"/>
                  <a:gd name="T82" fmla="*/ 0 w 726"/>
                  <a:gd name="T83" fmla="*/ 0 h 559"/>
                  <a:gd name="T84" fmla="*/ 0 w 726"/>
                  <a:gd name="T85" fmla="*/ 0 h 559"/>
                  <a:gd name="T86" fmla="*/ 0 w 726"/>
                  <a:gd name="T87" fmla="*/ 0 h 559"/>
                  <a:gd name="T88" fmla="*/ 0 w 726"/>
                  <a:gd name="T89" fmla="*/ 0 h 559"/>
                  <a:gd name="T90" fmla="*/ 0 w 726"/>
                  <a:gd name="T91" fmla="*/ 0 h 559"/>
                  <a:gd name="T92" fmla="*/ 0 w 726"/>
                  <a:gd name="T93" fmla="*/ 0 h 559"/>
                  <a:gd name="T94" fmla="*/ 0 w 726"/>
                  <a:gd name="T95" fmla="*/ 0 h 559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26"/>
                  <a:gd name="T145" fmla="*/ 0 h 559"/>
                  <a:gd name="T146" fmla="*/ 726 w 726"/>
                  <a:gd name="T147" fmla="*/ 559 h 559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26" h="559">
                    <a:moveTo>
                      <a:pt x="623" y="178"/>
                    </a:moveTo>
                    <a:lnTo>
                      <a:pt x="611" y="176"/>
                    </a:lnTo>
                    <a:lnTo>
                      <a:pt x="599" y="174"/>
                    </a:lnTo>
                    <a:lnTo>
                      <a:pt x="587" y="174"/>
                    </a:lnTo>
                    <a:lnTo>
                      <a:pt x="575" y="174"/>
                    </a:lnTo>
                    <a:lnTo>
                      <a:pt x="563" y="176"/>
                    </a:lnTo>
                    <a:lnTo>
                      <a:pt x="552" y="177"/>
                    </a:lnTo>
                    <a:lnTo>
                      <a:pt x="540" y="180"/>
                    </a:lnTo>
                    <a:lnTo>
                      <a:pt x="530" y="183"/>
                    </a:lnTo>
                    <a:lnTo>
                      <a:pt x="519" y="186"/>
                    </a:lnTo>
                    <a:lnTo>
                      <a:pt x="508" y="190"/>
                    </a:lnTo>
                    <a:lnTo>
                      <a:pt x="499" y="196"/>
                    </a:lnTo>
                    <a:lnTo>
                      <a:pt x="489" y="201"/>
                    </a:lnTo>
                    <a:lnTo>
                      <a:pt x="471" y="211"/>
                    </a:lnTo>
                    <a:lnTo>
                      <a:pt x="455" y="223"/>
                    </a:lnTo>
                    <a:lnTo>
                      <a:pt x="447" y="231"/>
                    </a:lnTo>
                    <a:lnTo>
                      <a:pt x="439" y="240"/>
                    </a:lnTo>
                    <a:lnTo>
                      <a:pt x="430" y="252"/>
                    </a:lnTo>
                    <a:lnTo>
                      <a:pt x="422" y="267"/>
                    </a:lnTo>
                    <a:lnTo>
                      <a:pt x="402" y="299"/>
                    </a:lnTo>
                    <a:lnTo>
                      <a:pt x="383" y="334"/>
                    </a:lnTo>
                    <a:lnTo>
                      <a:pt x="366" y="370"/>
                    </a:lnTo>
                    <a:lnTo>
                      <a:pt x="350" y="403"/>
                    </a:lnTo>
                    <a:lnTo>
                      <a:pt x="338" y="431"/>
                    </a:lnTo>
                    <a:lnTo>
                      <a:pt x="330" y="451"/>
                    </a:lnTo>
                    <a:lnTo>
                      <a:pt x="324" y="464"/>
                    </a:lnTo>
                    <a:lnTo>
                      <a:pt x="320" y="475"/>
                    </a:lnTo>
                    <a:lnTo>
                      <a:pt x="315" y="485"/>
                    </a:lnTo>
                    <a:lnTo>
                      <a:pt x="310" y="493"/>
                    </a:lnTo>
                    <a:lnTo>
                      <a:pt x="304" y="502"/>
                    </a:lnTo>
                    <a:lnTo>
                      <a:pt x="295" y="510"/>
                    </a:lnTo>
                    <a:lnTo>
                      <a:pt x="284" y="517"/>
                    </a:lnTo>
                    <a:lnTo>
                      <a:pt x="271" y="524"/>
                    </a:lnTo>
                    <a:lnTo>
                      <a:pt x="264" y="526"/>
                    </a:lnTo>
                    <a:lnTo>
                      <a:pt x="257" y="527"/>
                    </a:lnTo>
                    <a:lnTo>
                      <a:pt x="251" y="529"/>
                    </a:lnTo>
                    <a:lnTo>
                      <a:pt x="244" y="526"/>
                    </a:lnTo>
                    <a:lnTo>
                      <a:pt x="238" y="525"/>
                    </a:lnTo>
                    <a:lnTo>
                      <a:pt x="231" y="522"/>
                    </a:lnTo>
                    <a:lnTo>
                      <a:pt x="225" y="518"/>
                    </a:lnTo>
                    <a:lnTo>
                      <a:pt x="219" y="514"/>
                    </a:lnTo>
                    <a:lnTo>
                      <a:pt x="213" y="509"/>
                    </a:lnTo>
                    <a:lnTo>
                      <a:pt x="209" y="504"/>
                    </a:lnTo>
                    <a:lnTo>
                      <a:pt x="203" y="498"/>
                    </a:lnTo>
                    <a:lnTo>
                      <a:pt x="199" y="491"/>
                    </a:lnTo>
                    <a:lnTo>
                      <a:pt x="196" y="485"/>
                    </a:lnTo>
                    <a:lnTo>
                      <a:pt x="193" y="478"/>
                    </a:lnTo>
                    <a:lnTo>
                      <a:pt x="191" y="472"/>
                    </a:lnTo>
                    <a:lnTo>
                      <a:pt x="190" y="464"/>
                    </a:lnTo>
                    <a:lnTo>
                      <a:pt x="190" y="450"/>
                    </a:lnTo>
                    <a:lnTo>
                      <a:pt x="192" y="435"/>
                    </a:lnTo>
                    <a:lnTo>
                      <a:pt x="195" y="420"/>
                    </a:lnTo>
                    <a:lnTo>
                      <a:pt x="200" y="405"/>
                    </a:lnTo>
                    <a:lnTo>
                      <a:pt x="211" y="378"/>
                    </a:lnTo>
                    <a:lnTo>
                      <a:pt x="220" y="350"/>
                    </a:lnTo>
                    <a:lnTo>
                      <a:pt x="225" y="332"/>
                    </a:lnTo>
                    <a:lnTo>
                      <a:pt x="230" y="316"/>
                    </a:lnTo>
                    <a:lnTo>
                      <a:pt x="234" y="298"/>
                    </a:lnTo>
                    <a:lnTo>
                      <a:pt x="238" y="281"/>
                    </a:lnTo>
                    <a:lnTo>
                      <a:pt x="240" y="265"/>
                    </a:lnTo>
                    <a:lnTo>
                      <a:pt x="241" y="247"/>
                    </a:lnTo>
                    <a:lnTo>
                      <a:pt x="242" y="230"/>
                    </a:lnTo>
                    <a:lnTo>
                      <a:pt x="241" y="211"/>
                    </a:lnTo>
                    <a:lnTo>
                      <a:pt x="238" y="185"/>
                    </a:lnTo>
                    <a:lnTo>
                      <a:pt x="232" y="159"/>
                    </a:lnTo>
                    <a:lnTo>
                      <a:pt x="229" y="148"/>
                    </a:lnTo>
                    <a:lnTo>
                      <a:pt x="225" y="136"/>
                    </a:lnTo>
                    <a:lnTo>
                      <a:pt x="220" y="123"/>
                    </a:lnTo>
                    <a:lnTo>
                      <a:pt x="215" y="112"/>
                    </a:lnTo>
                    <a:lnTo>
                      <a:pt x="210" y="100"/>
                    </a:lnTo>
                    <a:lnTo>
                      <a:pt x="202" y="89"/>
                    </a:lnTo>
                    <a:lnTo>
                      <a:pt x="195" y="78"/>
                    </a:lnTo>
                    <a:lnTo>
                      <a:pt x="187" y="66"/>
                    </a:lnTo>
                    <a:lnTo>
                      <a:pt x="178" y="56"/>
                    </a:lnTo>
                    <a:lnTo>
                      <a:pt x="167" y="46"/>
                    </a:lnTo>
                    <a:lnTo>
                      <a:pt x="156" y="36"/>
                    </a:lnTo>
                    <a:lnTo>
                      <a:pt x="144" y="26"/>
                    </a:lnTo>
                    <a:lnTo>
                      <a:pt x="134" y="19"/>
                    </a:lnTo>
                    <a:lnTo>
                      <a:pt x="124" y="14"/>
                    </a:lnTo>
                    <a:lnTo>
                      <a:pt x="113" y="8"/>
                    </a:lnTo>
                    <a:lnTo>
                      <a:pt x="102" y="4"/>
                    </a:lnTo>
                    <a:lnTo>
                      <a:pt x="92" y="2"/>
                    </a:lnTo>
                    <a:lnTo>
                      <a:pt x="82" y="0"/>
                    </a:lnTo>
                    <a:lnTo>
                      <a:pt x="70" y="0"/>
                    </a:lnTo>
                    <a:lnTo>
                      <a:pt x="61" y="1"/>
                    </a:lnTo>
                    <a:lnTo>
                      <a:pt x="51" y="2"/>
                    </a:lnTo>
                    <a:lnTo>
                      <a:pt x="41" y="5"/>
                    </a:lnTo>
                    <a:lnTo>
                      <a:pt x="33" y="9"/>
                    </a:lnTo>
                    <a:lnTo>
                      <a:pt x="25" y="15"/>
                    </a:lnTo>
                    <a:lnTo>
                      <a:pt x="17" y="20"/>
                    </a:lnTo>
                    <a:lnTo>
                      <a:pt x="10" y="27"/>
                    </a:lnTo>
                    <a:lnTo>
                      <a:pt x="5" y="35"/>
                    </a:lnTo>
                    <a:lnTo>
                      <a:pt x="0" y="45"/>
                    </a:lnTo>
                    <a:lnTo>
                      <a:pt x="3" y="44"/>
                    </a:lnTo>
                    <a:lnTo>
                      <a:pt x="10" y="41"/>
                    </a:lnTo>
                    <a:lnTo>
                      <a:pt x="23" y="38"/>
                    </a:lnTo>
                    <a:lnTo>
                      <a:pt x="38" y="36"/>
                    </a:lnTo>
                    <a:lnTo>
                      <a:pt x="46" y="36"/>
                    </a:lnTo>
                    <a:lnTo>
                      <a:pt x="56" y="36"/>
                    </a:lnTo>
                    <a:lnTo>
                      <a:pt x="65" y="37"/>
                    </a:lnTo>
                    <a:lnTo>
                      <a:pt x="74" y="39"/>
                    </a:lnTo>
                    <a:lnTo>
                      <a:pt x="85" y="43"/>
                    </a:lnTo>
                    <a:lnTo>
                      <a:pt x="95" y="47"/>
                    </a:lnTo>
                    <a:lnTo>
                      <a:pt x="105" y="52"/>
                    </a:lnTo>
                    <a:lnTo>
                      <a:pt x="115" y="58"/>
                    </a:lnTo>
                    <a:lnTo>
                      <a:pt x="125" y="66"/>
                    </a:lnTo>
                    <a:lnTo>
                      <a:pt x="134" y="77"/>
                    </a:lnTo>
                    <a:lnTo>
                      <a:pt x="142" y="89"/>
                    </a:lnTo>
                    <a:lnTo>
                      <a:pt x="151" y="103"/>
                    </a:lnTo>
                    <a:lnTo>
                      <a:pt x="159" y="119"/>
                    </a:lnTo>
                    <a:lnTo>
                      <a:pt x="166" y="137"/>
                    </a:lnTo>
                    <a:lnTo>
                      <a:pt x="172" y="157"/>
                    </a:lnTo>
                    <a:lnTo>
                      <a:pt x="178" y="180"/>
                    </a:lnTo>
                    <a:lnTo>
                      <a:pt x="181" y="206"/>
                    </a:lnTo>
                    <a:lnTo>
                      <a:pt x="184" y="235"/>
                    </a:lnTo>
                    <a:lnTo>
                      <a:pt x="186" y="267"/>
                    </a:lnTo>
                    <a:lnTo>
                      <a:pt x="186" y="301"/>
                    </a:lnTo>
                    <a:lnTo>
                      <a:pt x="184" y="339"/>
                    </a:lnTo>
                    <a:lnTo>
                      <a:pt x="181" y="380"/>
                    </a:lnTo>
                    <a:lnTo>
                      <a:pt x="177" y="425"/>
                    </a:lnTo>
                    <a:lnTo>
                      <a:pt x="170" y="473"/>
                    </a:lnTo>
                    <a:lnTo>
                      <a:pt x="169" y="481"/>
                    </a:lnTo>
                    <a:lnTo>
                      <a:pt x="169" y="487"/>
                    </a:lnTo>
                    <a:lnTo>
                      <a:pt x="170" y="494"/>
                    </a:lnTo>
                    <a:lnTo>
                      <a:pt x="171" y="501"/>
                    </a:lnTo>
                    <a:lnTo>
                      <a:pt x="173" y="507"/>
                    </a:lnTo>
                    <a:lnTo>
                      <a:pt x="177" y="513"/>
                    </a:lnTo>
                    <a:lnTo>
                      <a:pt x="180" y="518"/>
                    </a:lnTo>
                    <a:lnTo>
                      <a:pt x="184" y="523"/>
                    </a:lnTo>
                    <a:lnTo>
                      <a:pt x="188" y="529"/>
                    </a:lnTo>
                    <a:lnTo>
                      <a:pt x="193" y="533"/>
                    </a:lnTo>
                    <a:lnTo>
                      <a:pt x="198" y="537"/>
                    </a:lnTo>
                    <a:lnTo>
                      <a:pt x="203" y="541"/>
                    </a:lnTo>
                    <a:lnTo>
                      <a:pt x="216" y="547"/>
                    </a:lnTo>
                    <a:lnTo>
                      <a:pt x="228" y="552"/>
                    </a:lnTo>
                    <a:lnTo>
                      <a:pt x="242" y="555"/>
                    </a:lnTo>
                    <a:lnTo>
                      <a:pt x="254" y="557"/>
                    </a:lnTo>
                    <a:lnTo>
                      <a:pt x="268" y="559"/>
                    </a:lnTo>
                    <a:lnTo>
                      <a:pt x="279" y="557"/>
                    </a:lnTo>
                    <a:lnTo>
                      <a:pt x="289" y="555"/>
                    </a:lnTo>
                    <a:lnTo>
                      <a:pt x="299" y="551"/>
                    </a:lnTo>
                    <a:lnTo>
                      <a:pt x="303" y="548"/>
                    </a:lnTo>
                    <a:lnTo>
                      <a:pt x="307" y="546"/>
                    </a:lnTo>
                    <a:lnTo>
                      <a:pt x="309" y="542"/>
                    </a:lnTo>
                    <a:lnTo>
                      <a:pt x="312" y="538"/>
                    </a:lnTo>
                    <a:lnTo>
                      <a:pt x="331" y="502"/>
                    </a:lnTo>
                    <a:lnTo>
                      <a:pt x="349" y="468"/>
                    </a:lnTo>
                    <a:lnTo>
                      <a:pt x="367" y="436"/>
                    </a:lnTo>
                    <a:lnTo>
                      <a:pt x="385" y="409"/>
                    </a:lnTo>
                    <a:lnTo>
                      <a:pt x="404" y="383"/>
                    </a:lnTo>
                    <a:lnTo>
                      <a:pt x="422" y="359"/>
                    </a:lnTo>
                    <a:lnTo>
                      <a:pt x="439" y="338"/>
                    </a:lnTo>
                    <a:lnTo>
                      <a:pt x="457" y="319"/>
                    </a:lnTo>
                    <a:lnTo>
                      <a:pt x="474" y="302"/>
                    </a:lnTo>
                    <a:lnTo>
                      <a:pt x="491" y="288"/>
                    </a:lnTo>
                    <a:lnTo>
                      <a:pt x="507" y="275"/>
                    </a:lnTo>
                    <a:lnTo>
                      <a:pt x="524" y="265"/>
                    </a:lnTo>
                    <a:lnTo>
                      <a:pt x="539" y="256"/>
                    </a:lnTo>
                    <a:lnTo>
                      <a:pt x="555" y="248"/>
                    </a:lnTo>
                    <a:lnTo>
                      <a:pt x="569" y="242"/>
                    </a:lnTo>
                    <a:lnTo>
                      <a:pt x="584" y="238"/>
                    </a:lnTo>
                    <a:lnTo>
                      <a:pt x="597" y="235"/>
                    </a:lnTo>
                    <a:lnTo>
                      <a:pt x="611" y="233"/>
                    </a:lnTo>
                    <a:lnTo>
                      <a:pt x="623" y="232"/>
                    </a:lnTo>
                    <a:lnTo>
                      <a:pt x="635" y="232"/>
                    </a:lnTo>
                    <a:lnTo>
                      <a:pt x="646" y="234"/>
                    </a:lnTo>
                    <a:lnTo>
                      <a:pt x="657" y="235"/>
                    </a:lnTo>
                    <a:lnTo>
                      <a:pt x="666" y="238"/>
                    </a:lnTo>
                    <a:lnTo>
                      <a:pt x="676" y="241"/>
                    </a:lnTo>
                    <a:lnTo>
                      <a:pt x="684" y="245"/>
                    </a:lnTo>
                    <a:lnTo>
                      <a:pt x="691" y="249"/>
                    </a:lnTo>
                    <a:lnTo>
                      <a:pt x="697" y="253"/>
                    </a:lnTo>
                    <a:lnTo>
                      <a:pt x="704" y="259"/>
                    </a:lnTo>
                    <a:lnTo>
                      <a:pt x="708" y="263"/>
                    </a:lnTo>
                    <a:lnTo>
                      <a:pt x="712" y="268"/>
                    </a:lnTo>
                    <a:lnTo>
                      <a:pt x="714" y="272"/>
                    </a:lnTo>
                    <a:lnTo>
                      <a:pt x="716" y="277"/>
                    </a:lnTo>
                    <a:lnTo>
                      <a:pt x="721" y="268"/>
                    </a:lnTo>
                    <a:lnTo>
                      <a:pt x="725" y="260"/>
                    </a:lnTo>
                    <a:lnTo>
                      <a:pt x="726" y="251"/>
                    </a:lnTo>
                    <a:lnTo>
                      <a:pt x="725" y="243"/>
                    </a:lnTo>
                    <a:lnTo>
                      <a:pt x="723" y="235"/>
                    </a:lnTo>
                    <a:lnTo>
                      <a:pt x="719" y="228"/>
                    </a:lnTo>
                    <a:lnTo>
                      <a:pt x="713" y="220"/>
                    </a:lnTo>
                    <a:lnTo>
                      <a:pt x="706" y="214"/>
                    </a:lnTo>
                    <a:lnTo>
                      <a:pt x="697" y="208"/>
                    </a:lnTo>
                    <a:lnTo>
                      <a:pt x="689" y="202"/>
                    </a:lnTo>
                    <a:lnTo>
                      <a:pt x="679" y="197"/>
                    </a:lnTo>
                    <a:lnTo>
                      <a:pt x="668" y="191"/>
                    </a:lnTo>
                    <a:lnTo>
                      <a:pt x="657" y="187"/>
                    </a:lnTo>
                    <a:lnTo>
                      <a:pt x="646" y="183"/>
                    </a:lnTo>
                    <a:lnTo>
                      <a:pt x="634" y="180"/>
                    </a:lnTo>
                    <a:lnTo>
                      <a:pt x="623" y="178"/>
                    </a:lnTo>
                    <a:close/>
                  </a:path>
                </a:pathLst>
              </a:custGeom>
              <a:solidFill>
                <a:srgbClr val="F1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50" name="Freeform 126"/>
              <p:cNvSpPr>
                <a:spLocks/>
              </p:cNvSpPr>
              <p:nvPr/>
            </p:nvSpPr>
            <p:spPr bwMode="auto">
              <a:xfrm>
                <a:off x="3177" y="1827"/>
                <a:ext cx="104" cy="60"/>
              </a:xfrm>
              <a:custGeom>
                <a:avLst/>
                <a:gdLst>
                  <a:gd name="T0" fmla="*/ 0 w 730"/>
                  <a:gd name="T1" fmla="*/ 0 h 417"/>
                  <a:gd name="T2" fmla="*/ 0 w 730"/>
                  <a:gd name="T3" fmla="*/ 0 h 417"/>
                  <a:gd name="T4" fmla="*/ 0 w 730"/>
                  <a:gd name="T5" fmla="*/ 0 h 417"/>
                  <a:gd name="T6" fmla="*/ 0 w 730"/>
                  <a:gd name="T7" fmla="*/ 0 h 417"/>
                  <a:gd name="T8" fmla="*/ 0 w 730"/>
                  <a:gd name="T9" fmla="*/ 0 h 417"/>
                  <a:gd name="T10" fmla="*/ 0 w 730"/>
                  <a:gd name="T11" fmla="*/ 0 h 417"/>
                  <a:gd name="T12" fmla="*/ 0 w 730"/>
                  <a:gd name="T13" fmla="*/ 0 h 417"/>
                  <a:gd name="T14" fmla="*/ 0 w 730"/>
                  <a:gd name="T15" fmla="*/ 0 h 417"/>
                  <a:gd name="T16" fmla="*/ 0 w 730"/>
                  <a:gd name="T17" fmla="*/ 0 h 417"/>
                  <a:gd name="T18" fmla="*/ 0 w 730"/>
                  <a:gd name="T19" fmla="*/ 0 h 417"/>
                  <a:gd name="T20" fmla="*/ 0 w 730"/>
                  <a:gd name="T21" fmla="*/ 0 h 417"/>
                  <a:gd name="T22" fmla="*/ 0 w 730"/>
                  <a:gd name="T23" fmla="*/ 0 h 417"/>
                  <a:gd name="T24" fmla="*/ 0 w 730"/>
                  <a:gd name="T25" fmla="*/ 0 h 417"/>
                  <a:gd name="T26" fmla="*/ 0 w 730"/>
                  <a:gd name="T27" fmla="*/ 0 h 417"/>
                  <a:gd name="T28" fmla="*/ 0 w 730"/>
                  <a:gd name="T29" fmla="*/ 0 h 417"/>
                  <a:gd name="T30" fmla="*/ 0 w 730"/>
                  <a:gd name="T31" fmla="*/ 0 h 417"/>
                  <a:gd name="T32" fmla="*/ 0 w 730"/>
                  <a:gd name="T33" fmla="*/ 0 h 417"/>
                  <a:gd name="T34" fmla="*/ 0 w 730"/>
                  <a:gd name="T35" fmla="*/ 0 h 417"/>
                  <a:gd name="T36" fmla="*/ 0 w 730"/>
                  <a:gd name="T37" fmla="*/ 0 h 417"/>
                  <a:gd name="T38" fmla="*/ 0 w 730"/>
                  <a:gd name="T39" fmla="*/ 0 h 417"/>
                  <a:gd name="T40" fmla="*/ 0 w 730"/>
                  <a:gd name="T41" fmla="*/ 0 h 417"/>
                  <a:gd name="T42" fmla="*/ 0 w 730"/>
                  <a:gd name="T43" fmla="*/ 0 h 417"/>
                  <a:gd name="T44" fmla="*/ 0 w 730"/>
                  <a:gd name="T45" fmla="*/ 0 h 417"/>
                  <a:gd name="T46" fmla="*/ 0 w 730"/>
                  <a:gd name="T47" fmla="*/ 0 h 417"/>
                  <a:gd name="T48" fmla="*/ 0 w 730"/>
                  <a:gd name="T49" fmla="*/ 0 h 417"/>
                  <a:gd name="T50" fmla="*/ 0 w 730"/>
                  <a:gd name="T51" fmla="*/ 0 h 417"/>
                  <a:gd name="T52" fmla="*/ 0 w 730"/>
                  <a:gd name="T53" fmla="*/ 0 h 417"/>
                  <a:gd name="T54" fmla="*/ 0 w 730"/>
                  <a:gd name="T55" fmla="*/ 0 h 417"/>
                  <a:gd name="T56" fmla="*/ 0 w 730"/>
                  <a:gd name="T57" fmla="*/ 0 h 417"/>
                  <a:gd name="T58" fmla="*/ 0 w 730"/>
                  <a:gd name="T59" fmla="*/ 0 h 417"/>
                  <a:gd name="T60" fmla="*/ 0 w 730"/>
                  <a:gd name="T61" fmla="*/ 0 h 417"/>
                  <a:gd name="T62" fmla="*/ 0 w 730"/>
                  <a:gd name="T63" fmla="*/ 0 h 417"/>
                  <a:gd name="T64" fmla="*/ 0 w 730"/>
                  <a:gd name="T65" fmla="*/ 0 h 417"/>
                  <a:gd name="T66" fmla="*/ 0 w 730"/>
                  <a:gd name="T67" fmla="*/ 0 h 417"/>
                  <a:gd name="T68" fmla="*/ 0 w 730"/>
                  <a:gd name="T69" fmla="*/ 0 h 417"/>
                  <a:gd name="T70" fmla="*/ 0 w 730"/>
                  <a:gd name="T71" fmla="*/ 0 h 417"/>
                  <a:gd name="T72" fmla="*/ 0 w 730"/>
                  <a:gd name="T73" fmla="*/ 0 h 417"/>
                  <a:gd name="T74" fmla="*/ 0 w 730"/>
                  <a:gd name="T75" fmla="*/ 0 h 417"/>
                  <a:gd name="T76" fmla="*/ 0 w 730"/>
                  <a:gd name="T77" fmla="*/ 0 h 417"/>
                  <a:gd name="T78" fmla="*/ 0 w 730"/>
                  <a:gd name="T79" fmla="*/ 0 h 417"/>
                  <a:gd name="T80" fmla="*/ 0 w 730"/>
                  <a:gd name="T81" fmla="*/ 0 h 417"/>
                  <a:gd name="T82" fmla="*/ 0 w 730"/>
                  <a:gd name="T83" fmla="*/ 0 h 417"/>
                  <a:gd name="T84" fmla="*/ 0 w 730"/>
                  <a:gd name="T85" fmla="*/ 0 h 417"/>
                  <a:gd name="T86" fmla="*/ 0 w 730"/>
                  <a:gd name="T87" fmla="*/ 0 h 417"/>
                  <a:gd name="T88" fmla="*/ 0 w 730"/>
                  <a:gd name="T89" fmla="*/ 0 h 417"/>
                  <a:gd name="T90" fmla="*/ 0 w 730"/>
                  <a:gd name="T91" fmla="*/ 0 h 417"/>
                  <a:gd name="T92" fmla="*/ 0 w 730"/>
                  <a:gd name="T93" fmla="*/ 0 h 417"/>
                  <a:gd name="T94" fmla="*/ 0 w 730"/>
                  <a:gd name="T95" fmla="*/ 0 h 417"/>
                  <a:gd name="T96" fmla="*/ 0 w 730"/>
                  <a:gd name="T97" fmla="*/ 0 h 417"/>
                  <a:gd name="T98" fmla="*/ 0 w 730"/>
                  <a:gd name="T99" fmla="*/ 0 h 417"/>
                  <a:gd name="T100" fmla="*/ 0 w 730"/>
                  <a:gd name="T101" fmla="*/ 0 h 417"/>
                  <a:gd name="T102" fmla="*/ 0 w 730"/>
                  <a:gd name="T103" fmla="*/ 0 h 417"/>
                  <a:gd name="T104" fmla="*/ 0 w 730"/>
                  <a:gd name="T105" fmla="*/ 0 h 417"/>
                  <a:gd name="T106" fmla="*/ 0 w 730"/>
                  <a:gd name="T107" fmla="*/ 0 h 417"/>
                  <a:gd name="T108" fmla="*/ 0 w 730"/>
                  <a:gd name="T109" fmla="*/ 0 h 417"/>
                  <a:gd name="T110" fmla="*/ 0 w 730"/>
                  <a:gd name="T111" fmla="*/ 0 h 417"/>
                  <a:gd name="T112" fmla="*/ 0 w 730"/>
                  <a:gd name="T113" fmla="*/ 0 h 417"/>
                  <a:gd name="T114" fmla="*/ 0 w 730"/>
                  <a:gd name="T115" fmla="*/ 0 h 417"/>
                  <a:gd name="T116" fmla="*/ 0 w 730"/>
                  <a:gd name="T117" fmla="*/ 0 h 417"/>
                  <a:gd name="T118" fmla="*/ 0 w 730"/>
                  <a:gd name="T119" fmla="*/ 0 h 417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30"/>
                  <a:gd name="T181" fmla="*/ 0 h 417"/>
                  <a:gd name="T182" fmla="*/ 730 w 730"/>
                  <a:gd name="T183" fmla="*/ 417 h 417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30" h="417">
                    <a:moveTo>
                      <a:pt x="564" y="163"/>
                    </a:moveTo>
                    <a:lnTo>
                      <a:pt x="557" y="164"/>
                    </a:lnTo>
                    <a:lnTo>
                      <a:pt x="548" y="166"/>
                    </a:lnTo>
                    <a:lnTo>
                      <a:pt x="539" y="169"/>
                    </a:lnTo>
                    <a:lnTo>
                      <a:pt x="530" y="173"/>
                    </a:lnTo>
                    <a:lnTo>
                      <a:pt x="522" y="179"/>
                    </a:lnTo>
                    <a:lnTo>
                      <a:pt x="515" y="185"/>
                    </a:lnTo>
                    <a:lnTo>
                      <a:pt x="508" y="191"/>
                    </a:lnTo>
                    <a:lnTo>
                      <a:pt x="502" y="198"/>
                    </a:lnTo>
                    <a:lnTo>
                      <a:pt x="498" y="205"/>
                    </a:lnTo>
                    <a:lnTo>
                      <a:pt x="495" y="213"/>
                    </a:lnTo>
                    <a:lnTo>
                      <a:pt x="493" y="219"/>
                    </a:lnTo>
                    <a:lnTo>
                      <a:pt x="492" y="225"/>
                    </a:lnTo>
                    <a:lnTo>
                      <a:pt x="492" y="231"/>
                    </a:lnTo>
                    <a:lnTo>
                      <a:pt x="493" y="238"/>
                    </a:lnTo>
                    <a:lnTo>
                      <a:pt x="495" y="245"/>
                    </a:lnTo>
                    <a:lnTo>
                      <a:pt x="497" y="251"/>
                    </a:lnTo>
                    <a:lnTo>
                      <a:pt x="501" y="257"/>
                    </a:lnTo>
                    <a:lnTo>
                      <a:pt x="507" y="264"/>
                    </a:lnTo>
                    <a:lnTo>
                      <a:pt x="514" y="271"/>
                    </a:lnTo>
                    <a:lnTo>
                      <a:pt x="522" y="277"/>
                    </a:lnTo>
                    <a:lnTo>
                      <a:pt x="531" y="282"/>
                    </a:lnTo>
                    <a:lnTo>
                      <a:pt x="542" y="286"/>
                    </a:lnTo>
                    <a:lnTo>
                      <a:pt x="552" y="289"/>
                    </a:lnTo>
                    <a:lnTo>
                      <a:pt x="562" y="291"/>
                    </a:lnTo>
                    <a:lnTo>
                      <a:pt x="573" y="292"/>
                    </a:lnTo>
                    <a:lnTo>
                      <a:pt x="582" y="292"/>
                    </a:lnTo>
                    <a:lnTo>
                      <a:pt x="589" y="291"/>
                    </a:lnTo>
                    <a:lnTo>
                      <a:pt x="596" y="289"/>
                    </a:lnTo>
                    <a:lnTo>
                      <a:pt x="603" y="287"/>
                    </a:lnTo>
                    <a:lnTo>
                      <a:pt x="608" y="283"/>
                    </a:lnTo>
                    <a:lnTo>
                      <a:pt x="613" y="279"/>
                    </a:lnTo>
                    <a:lnTo>
                      <a:pt x="617" y="274"/>
                    </a:lnTo>
                    <a:lnTo>
                      <a:pt x="620" y="268"/>
                    </a:lnTo>
                    <a:lnTo>
                      <a:pt x="621" y="263"/>
                    </a:lnTo>
                    <a:lnTo>
                      <a:pt x="622" y="257"/>
                    </a:lnTo>
                    <a:lnTo>
                      <a:pt x="622" y="252"/>
                    </a:lnTo>
                    <a:lnTo>
                      <a:pt x="620" y="247"/>
                    </a:lnTo>
                    <a:lnTo>
                      <a:pt x="618" y="242"/>
                    </a:lnTo>
                    <a:lnTo>
                      <a:pt x="615" y="236"/>
                    </a:lnTo>
                    <a:lnTo>
                      <a:pt x="611" y="231"/>
                    </a:lnTo>
                    <a:lnTo>
                      <a:pt x="607" y="226"/>
                    </a:lnTo>
                    <a:lnTo>
                      <a:pt x="602" y="223"/>
                    </a:lnTo>
                    <a:lnTo>
                      <a:pt x="596" y="219"/>
                    </a:lnTo>
                    <a:lnTo>
                      <a:pt x="590" y="217"/>
                    </a:lnTo>
                    <a:lnTo>
                      <a:pt x="585" y="214"/>
                    </a:lnTo>
                    <a:lnTo>
                      <a:pt x="579" y="213"/>
                    </a:lnTo>
                    <a:lnTo>
                      <a:pt x="574" y="212"/>
                    </a:lnTo>
                    <a:lnTo>
                      <a:pt x="568" y="212"/>
                    </a:lnTo>
                    <a:lnTo>
                      <a:pt x="562" y="212"/>
                    </a:lnTo>
                    <a:lnTo>
                      <a:pt x="558" y="213"/>
                    </a:lnTo>
                    <a:lnTo>
                      <a:pt x="555" y="215"/>
                    </a:lnTo>
                    <a:lnTo>
                      <a:pt x="552" y="217"/>
                    </a:lnTo>
                    <a:lnTo>
                      <a:pt x="549" y="219"/>
                    </a:lnTo>
                    <a:lnTo>
                      <a:pt x="547" y="222"/>
                    </a:lnTo>
                    <a:lnTo>
                      <a:pt x="545" y="225"/>
                    </a:lnTo>
                    <a:lnTo>
                      <a:pt x="544" y="228"/>
                    </a:lnTo>
                    <a:lnTo>
                      <a:pt x="543" y="232"/>
                    </a:lnTo>
                    <a:lnTo>
                      <a:pt x="563" y="236"/>
                    </a:lnTo>
                    <a:lnTo>
                      <a:pt x="564" y="233"/>
                    </a:lnTo>
                    <a:lnTo>
                      <a:pt x="565" y="230"/>
                    </a:lnTo>
                    <a:lnTo>
                      <a:pt x="568" y="229"/>
                    </a:lnTo>
                    <a:lnTo>
                      <a:pt x="571" y="228"/>
                    </a:lnTo>
                    <a:lnTo>
                      <a:pt x="576" y="228"/>
                    </a:lnTo>
                    <a:lnTo>
                      <a:pt x="581" y="229"/>
                    </a:lnTo>
                    <a:lnTo>
                      <a:pt x="587" y="232"/>
                    </a:lnTo>
                    <a:lnTo>
                      <a:pt x="592" y="236"/>
                    </a:lnTo>
                    <a:lnTo>
                      <a:pt x="596" y="241"/>
                    </a:lnTo>
                    <a:lnTo>
                      <a:pt x="600" y="246"/>
                    </a:lnTo>
                    <a:lnTo>
                      <a:pt x="601" y="250"/>
                    </a:lnTo>
                    <a:lnTo>
                      <a:pt x="602" y="253"/>
                    </a:lnTo>
                    <a:lnTo>
                      <a:pt x="602" y="257"/>
                    </a:lnTo>
                    <a:lnTo>
                      <a:pt x="601" y="261"/>
                    </a:lnTo>
                    <a:lnTo>
                      <a:pt x="597" y="265"/>
                    </a:lnTo>
                    <a:lnTo>
                      <a:pt x="594" y="268"/>
                    </a:lnTo>
                    <a:lnTo>
                      <a:pt x="591" y="272"/>
                    </a:lnTo>
                    <a:lnTo>
                      <a:pt x="587" y="274"/>
                    </a:lnTo>
                    <a:lnTo>
                      <a:pt x="579" y="276"/>
                    </a:lnTo>
                    <a:lnTo>
                      <a:pt x="571" y="276"/>
                    </a:lnTo>
                    <a:lnTo>
                      <a:pt x="563" y="276"/>
                    </a:lnTo>
                    <a:lnTo>
                      <a:pt x="555" y="274"/>
                    </a:lnTo>
                    <a:lnTo>
                      <a:pt x="548" y="272"/>
                    </a:lnTo>
                    <a:lnTo>
                      <a:pt x="541" y="268"/>
                    </a:lnTo>
                    <a:lnTo>
                      <a:pt x="534" y="264"/>
                    </a:lnTo>
                    <a:lnTo>
                      <a:pt x="528" y="260"/>
                    </a:lnTo>
                    <a:lnTo>
                      <a:pt x="523" y="256"/>
                    </a:lnTo>
                    <a:lnTo>
                      <a:pt x="519" y="251"/>
                    </a:lnTo>
                    <a:lnTo>
                      <a:pt x="516" y="246"/>
                    </a:lnTo>
                    <a:lnTo>
                      <a:pt x="514" y="241"/>
                    </a:lnTo>
                    <a:lnTo>
                      <a:pt x="513" y="235"/>
                    </a:lnTo>
                    <a:lnTo>
                      <a:pt x="513" y="230"/>
                    </a:lnTo>
                    <a:lnTo>
                      <a:pt x="514" y="222"/>
                    </a:lnTo>
                    <a:lnTo>
                      <a:pt x="517" y="214"/>
                    </a:lnTo>
                    <a:lnTo>
                      <a:pt x="521" y="207"/>
                    </a:lnTo>
                    <a:lnTo>
                      <a:pt x="525" y="202"/>
                    </a:lnTo>
                    <a:lnTo>
                      <a:pt x="530" y="197"/>
                    </a:lnTo>
                    <a:lnTo>
                      <a:pt x="537" y="192"/>
                    </a:lnTo>
                    <a:lnTo>
                      <a:pt x="543" y="188"/>
                    </a:lnTo>
                    <a:lnTo>
                      <a:pt x="550" y="185"/>
                    </a:lnTo>
                    <a:lnTo>
                      <a:pt x="556" y="182"/>
                    </a:lnTo>
                    <a:lnTo>
                      <a:pt x="563" y="181"/>
                    </a:lnTo>
                    <a:lnTo>
                      <a:pt x="572" y="180"/>
                    </a:lnTo>
                    <a:lnTo>
                      <a:pt x="584" y="177"/>
                    </a:lnTo>
                    <a:lnTo>
                      <a:pt x="596" y="176"/>
                    </a:lnTo>
                    <a:lnTo>
                      <a:pt x="609" y="175"/>
                    </a:lnTo>
                    <a:lnTo>
                      <a:pt x="619" y="175"/>
                    </a:lnTo>
                    <a:lnTo>
                      <a:pt x="631" y="176"/>
                    </a:lnTo>
                    <a:lnTo>
                      <a:pt x="641" y="179"/>
                    </a:lnTo>
                    <a:lnTo>
                      <a:pt x="652" y="183"/>
                    </a:lnTo>
                    <a:lnTo>
                      <a:pt x="665" y="188"/>
                    </a:lnTo>
                    <a:lnTo>
                      <a:pt x="673" y="193"/>
                    </a:lnTo>
                    <a:lnTo>
                      <a:pt x="680" y="199"/>
                    </a:lnTo>
                    <a:lnTo>
                      <a:pt x="687" y="205"/>
                    </a:lnTo>
                    <a:lnTo>
                      <a:pt x="694" y="212"/>
                    </a:lnTo>
                    <a:lnTo>
                      <a:pt x="698" y="219"/>
                    </a:lnTo>
                    <a:lnTo>
                      <a:pt x="702" y="227"/>
                    </a:lnTo>
                    <a:lnTo>
                      <a:pt x="705" y="234"/>
                    </a:lnTo>
                    <a:lnTo>
                      <a:pt x="708" y="243"/>
                    </a:lnTo>
                    <a:lnTo>
                      <a:pt x="708" y="250"/>
                    </a:lnTo>
                    <a:lnTo>
                      <a:pt x="709" y="257"/>
                    </a:lnTo>
                    <a:lnTo>
                      <a:pt x="709" y="264"/>
                    </a:lnTo>
                    <a:lnTo>
                      <a:pt x="708" y="272"/>
                    </a:lnTo>
                    <a:lnTo>
                      <a:pt x="706" y="280"/>
                    </a:lnTo>
                    <a:lnTo>
                      <a:pt x="705" y="287"/>
                    </a:lnTo>
                    <a:lnTo>
                      <a:pt x="702" y="294"/>
                    </a:lnTo>
                    <a:lnTo>
                      <a:pt x="699" y="302"/>
                    </a:lnTo>
                    <a:lnTo>
                      <a:pt x="692" y="315"/>
                    </a:lnTo>
                    <a:lnTo>
                      <a:pt x="681" y="328"/>
                    </a:lnTo>
                    <a:lnTo>
                      <a:pt x="676" y="335"/>
                    </a:lnTo>
                    <a:lnTo>
                      <a:pt x="670" y="341"/>
                    </a:lnTo>
                    <a:lnTo>
                      <a:pt x="664" y="346"/>
                    </a:lnTo>
                    <a:lnTo>
                      <a:pt x="657" y="351"/>
                    </a:lnTo>
                    <a:lnTo>
                      <a:pt x="647" y="358"/>
                    </a:lnTo>
                    <a:lnTo>
                      <a:pt x="636" y="365"/>
                    </a:lnTo>
                    <a:lnTo>
                      <a:pt x="624" y="371"/>
                    </a:lnTo>
                    <a:lnTo>
                      <a:pt x="613" y="376"/>
                    </a:lnTo>
                    <a:lnTo>
                      <a:pt x="601" y="381"/>
                    </a:lnTo>
                    <a:lnTo>
                      <a:pt x="587" y="385"/>
                    </a:lnTo>
                    <a:lnTo>
                      <a:pt x="574" y="389"/>
                    </a:lnTo>
                    <a:lnTo>
                      <a:pt x="560" y="393"/>
                    </a:lnTo>
                    <a:lnTo>
                      <a:pt x="547" y="396"/>
                    </a:lnTo>
                    <a:lnTo>
                      <a:pt x="532" y="398"/>
                    </a:lnTo>
                    <a:lnTo>
                      <a:pt x="519" y="400"/>
                    </a:lnTo>
                    <a:lnTo>
                      <a:pt x="504" y="401"/>
                    </a:lnTo>
                    <a:lnTo>
                      <a:pt x="491" y="401"/>
                    </a:lnTo>
                    <a:lnTo>
                      <a:pt x="477" y="401"/>
                    </a:lnTo>
                    <a:lnTo>
                      <a:pt x="463" y="400"/>
                    </a:lnTo>
                    <a:lnTo>
                      <a:pt x="451" y="399"/>
                    </a:lnTo>
                    <a:lnTo>
                      <a:pt x="425" y="395"/>
                    </a:lnTo>
                    <a:lnTo>
                      <a:pt x="402" y="390"/>
                    </a:lnTo>
                    <a:lnTo>
                      <a:pt x="379" y="387"/>
                    </a:lnTo>
                    <a:lnTo>
                      <a:pt x="359" y="382"/>
                    </a:lnTo>
                    <a:lnTo>
                      <a:pt x="339" y="378"/>
                    </a:lnTo>
                    <a:lnTo>
                      <a:pt x="321" y="373"/>
                    </a:lnTo>
                    <a:lnTo>
                      <a:pt x="302" y="367"/>
                    </a:lnTo>
                    <a:lnTo>
                      <a:pt x="284" y="360"/>
                    </a:lnTo>
                    <a:lnTo>
                      <a:pt x="268" y="354"/>
                    </a:lnTo>
                    <a:lnTo>
                      <a:pt x="250" y="347"/>
                    </a:lnTo>
                    <a:lnTo>
                      <a:pt x="233" y="339"/>
                    </a:lnTo>
                    <a:lnTo>
                      <a:pt x="215" y="331"/>
                    </a:lnTo>
                    <a:lnTo>
                      <a:pt x="179" y="310"/>
                    </a:lnTo>
                    <a:lnTo>
                      <a:pt x="139" y="287"/>
                    </a:lnTo>
                    <a:lnTo>
                      <a:pt x="129" y="281"/>
                    </a:lnTo>
                    <a:lnTo>
                      <a:pt x="119" y="274"/>
                    </a:lnTo>
                    <a:lnTo>
                      <a:pt x="110" y="265"/>
                    </a:lnTo>
                    <a:lnTo>
                      <a:pt x="100" y="257"/>
                    </a:lnTo>
                    <a:lnTo>
                      <a:pt x="90" y="247"/>
                    </a:lnTo>
                    <a:lnTo>
                      <a:pt x="81" y="237"/>
                    </a:lnTo>
                    <a:lnTo>
                      <a:pt x="71" y="226"/>
                    </a:lnTo>
                    <a:lnTo>
                      <a:pt x="63" y="216"/>
                    </a:lnTo>
                    <a:lnTo>
                      <a:pt x="55" y="204"/>
                    </a:lnTo>
                    <a:lnTo>
                      <a:pt x="48" y="193"/>
                    </a:lnTo>
                    <a:lnTo>
                      <a:pt x="40" y="182"/>
                    </a:lnTo>
                    <a:lnTo>
                      <a:pt x="34" y="169"/>
                    </a:lnTo>
                    <a:lnTo>
                      <a:pt x="29" y="158"/>
                    </a:lnTo>
                    <a:lnTo>
                      <a:pt x="25" y="146"/>
                    </a:lnTo>
                    <a:lnTo>
                      <a:pt x="23" y="136"/>
                    </a:lnTo>
                    <a:lnTo>
                      <a:pt x="21" y="126"/>
                    </a:lnTo>
                    <a:lnTo>
                      <a:pt x="20" y="109"/>
                    </a:lnTo>
                    <a:lnTo>
                      <a:pt x="22" y="93"/>
                    </a:lnTo>
                    <a:lnTo>
                      <a:pt x="23" y="84"/>
                    </a:lnTo>
                    <a:lnTo>
                      <a:pt x="25" y="76"/>
                    </a:lnTo>
                    <a:lnTo>
                      <a:pt x="27" y="68"/>
                    </a:lnTo>
                    <a:lnTo>
                      <a:pt x="30" y="61"/>
                    </a:lnTo>
                    <a:lnTo>
                      <a:pt x="33" y="52"/>
                    </a:lnTo>
                    <a:lnTo>
                      <a:pt x="37" y="46"/>
                    </a:lnTo>
                    <a:lnTo>
                      <a:pt x="43" y="40"/>
                    </a:lnTo>
                    <a:lnTo>
                      <a:pt x="49" y="34"/>
                    </a:lnTo>
                    <a:lnTo>
                      <a:pt x="55" y="29"/>
                    </a:lnTo>
                    <a:lnTo>
                      <a:pt x="62" y="24"/>
                    </a:lnTo>
                    <a:lnTo>
                      <a:pt x="70" y="20"/>
                    </a:lnTo>
                    <a:lnTo>
                      <a:pt x="79" y="18"/>
                    </a:lnTo>
                    <a:lnTo>
                      <a:pt x="90" y="16"/>
                    </a:lnTo>
                    <a:lnTo>
                      <a:pt x="102" y="16"/>
                    </a:lnTo>
                    <a:lnTo>
                      <a:pt x="116" y="17"/>
                    </a:lnTo>
                    <a:lnTo>
                      <a:pt x="129" y="19"/>
                    </a:lnTo>
                    <a:lnTo>
                      <a:pt x="143" y="22"/>
                    </a:lnTo>
                    <a:lnTo>
                      <a:pt x="156" y="28"/>
                    </a:lnTo>
                    <a:lnTo>
                      <a:pt x="169" y="33"/>
                    </a:lnTo>
                    <a:lnTo>
                      <a:pt x="180" y="40"/>
                    </a:lnTo>
                    <a:lnTo>
                      <a:pt x="185" y="43"/>
                    </a:lnTo>
                    <a:lnTo>
                      <a:pt x="190" y="47"/>
                    </a:lnTo>
                    <a:lnTo>
                      <a:pt x="194" y="52"/>
                    </a:lnTo>
                    <a:lnTo>
                      <a:pt x="200" y="58"/>
                    </a:lnTo>
                    <a:lnTo>
                      <a:pt x="203" y="64"/>
                    </a:lnTo>
                    <a:lnTo>
                      <a:pt x="206" y="71"/>
                    </a:lnTo>
                    <a:lnTo>
                      <a:pt x="207" y="78"/>
                    </a:lnTo>
                    <a:lnTo>
                      <a:pt x="207" y="85"/>
                    </a:lnTo>
                    <a:lnTo>
                      <a:pt x="206" y="93"/>
                    </a:lnTo>
                    <a:lnTo>
                      <a:pt x="204" y="100"/>
                    </a:lnTo>
                    <a:lnTo>
                      <a:pt x="201" y="105"/>
                    </a:lnTo>
                    <a:lnTo>
                      <a:pt x="197" y="110"/>
                    </a:lnTo>
                    <a:lnTo>
                      <a:pt x="192" y="115"/>
                    </a:lnTo>
                    <a:lnTo>
                      <a:pt x="186" y="119"/>
                    </a:lnTo>
                    <a:lnTo>
                      <a:pt x="179" y="122"/>
                    </a:lnTo>
                    <a:lnTo>
                      <a:pt x="172" y="124"/>
                    </a:lnTo>
                    <a:lnTo>
                      <a:pt x="166" y="125"/>
                    </a:lnTo>
                    <a:lnTo>
                      <a:pt x="158" y="125"/>
                    </a:lnTo>
                    <a:lnTo>
                      <a:pt x="152" y="125"/>
                    </a:lnTo>
                    <a:lnTo>
                      <a:pt x="146" y="124"/>
                    </a:lnTo>
                    <a:lnTo>
                      <a:pt x="140" y="123"/>
                    </a:lnTo>
                    <a:lnTo>
                      <a:pt x="133" y="121"/>
                    </a:lnTo>
                    <a:lnTo>
                      <a:pt x="128" y="118"/>
                    </a:lnTo>
                    <a:lnTo>
                      <a:pt x="124" y="114"/>
                    </a:lnTo>
                    <a:lnTo>
                      <a:pt x="121" y="111"/>
                    </a:lnTo>
                    <a:lnTo>
                      <a:pt x="119" y="108"/>
                    </a:lnTo>
                    <a:lnTo>
                      <a:pt x="117" y="104"/>
                    </a:lnTo>
                    <a:lnTo>
                      <a:pt x="117" y="101"/>
                    </a:lnTo>
                    <a:lnTo>
                      <a:pt x="117" y="95"/>
                    </a:lnTo>
                    <a:lnTo>
                      <a:pt x="118" y="89"/>
                    </a:lnTo>
                    <a:lnTo>
                      <a:pt x="98" y="82"/>
                    </a:lnTo>
                    <a:lnTo>
                      <a:pt x="96" y="88"/>
                    </a:lnTo>
                    <a:lnTo>
                      <a:pt x="96" y="94"/>
                    </a:lnTo>
                    <a:lnTo>
                      <a:pt x="96" y="100"/>
                    </a:lnTo>
                    <a:lnTo>
                      <a:pt x="97" y="105"/>
                    </a:lnTo>
                    <a:lnTo>
                      <a:pt x="99" y="110"/>
                    </a:lnTo>
                    <a:lnTo>
                      <a:pt x="101" y="115"/>
                    </a:lnTo>
                    <a:lnTo>
                      <a:pt x="106" y="121"/>
                    </a:lnTo>
                    <a:lnTo>
                      <a:pt x="111" y="125"/>
                    </a:lnTo>
                    <a:lnTo>
                      <a:pt x="117" y="130"/>
                    </a:lnTo>
                    <a:lnTo>
                      <a:pt x="125" y="134"/>
                    </a:lnTo>
                    <a:lnTo>
                      <a:pt x="133" y="137"/>
                    </a:lnTo>
                    <a:lnTo>
                      <a:pt x="142" y="139"/>
                    </a:lnTo>
                    <a:lnTo>
                      <a:pt x="151" y="141"/>
                    </a:lnTo>
                    <a:lnTo>
                      <a:pt x="160" y="141"/>
                    </a:lnTo>
                    <a:lnTo>
                      <a:pt x="171" y="141"/>
                    </a:lnTo>
                    <a:lnTo>
                      <a:pt x="180" y="140"/>
                    </a:lnTo>
                    <a:lnTo>
                      <a:pt x="190" y="137"/>
                    </a:lnTo>
                    <a:lnTo>
                      <a:pt x="199" y="133"/>
                    </a:lnTo>
                    <a:lnTo>
                      <a:pt x="207" y="128"/>
                    </a:lnTo>
                    <a:lnTo>
                      <a:pt x="214" y="123"/>
                    </a:lnTo>
                    <a:lnTo>
                      <a:pt x="219" y="115"/>
                    </a:lnTo>
                    <a:lnTo>
                      <a:pt x="223" y="107"/>
                    </a:lnTo>
                    <a:lnTo>
                      <a:pt x="226" y="99"/>
                    </a:lnTo>
                    <a:lnTo>
                      <a:pt x="228" y="90"/>
                    </a:lnTo>
                    <a:lnTo>
                      <a:pt x="228" y="80"/>
                    </a:lnTo>
                    <a:lnTo>
                      <a:pt x="226" y="72"/>
                    </a:lnTo>
                    <a:lnTo>
                      <a:pt x="223" y="64"/>
                    </a:lnTo>
                    <a:lnTo>
                      <a:pt x="219" y="56"/>
                    </a:lnTo>
                    <a:lnTo>
                      <a:pt x="214" y="48"/>
                    </a:lnTo>
                    <a:lnTo>
                      <a:pt x="208" y="41"/>
                    </a:lnTo>
                    <a:lnTo>
                      <a:pt x="201" y="34"/>
                    </a:lnTo>
                    <a:lnTo>
                      <a:pt x="191" y="28"/>
                    </a:lnTo>
                    <a:lnTo>
                      <a:pt x="178" y="19"/>
                    </a:lnTo>
                    <a:lnTo>
                      <a:pt x="163" y="13"/>
                    </a:lnTo>
                    <a:lnTo>
                      <a:pt x="148" y="8"/>
                    </a:lnTo>
                    <a:lnTo>
                      <a:pt x="131" y="3"/>
                    </a:lnTo>
                    <a:lnTo>
                      <a:pt x="115" y="1"/>
                    </a:lnTo>
                    <a:lnTo>
                      <a:pt x="99" y="0"/>
                    </a:lnTo>
                    <a:lnTo>
                      <a:pt x="84" y="0"/>
                    </a:lnTo>
                    <a:lnTo>
                      <a:pt x="70" y="2"/>
                    </a:lnTo>
                    <a:lnTo>
                      <a:pt x="60" y="5"/>
                    </a:lnTo>
                    <a:lnTo>
                      <a:pt x="50" y="9"/>
                    </a:lnTo>
                    <a:lnTo>
                      <a:pt x="42" y="14"/>
                    </a:lnTo>
                    <a:lnTo>
                      <a:pt x="34" y="20"/>
                    </a:lnTo>
                    <a:lnTo>
                      <a:pt x="27" y="27"/>
                    </a:lnTo>
                    <a:lnTo>
                      <a:pt x="21" y="34"/>
                    </a:lnTo>
                    <a:lnTo>
                      <a:pt x="16" y="42"/>
                    </a:lnTo>
                    <a:lnTo>
                      <a:pt x="12" y="50"/>
                    </a:lnTo>
                    <a:lnTo>
                      <a:pt x="7" y="60"/>
                    </a:lnTo>
                    <a:lnTo>
                      <a:pt x="5" y="68"/>
                    </a:lnTo>
                    <a:lnTo>
                      <a:pt x="2" y="77"/>
                    </a:lnTo>
                    <a:lnTo>
                      <a:pt x="1" y="86"/>
                    </a:lnTo>
                    <a:lnTo>
                      <a:pt x="0" y="97"/>
                    </a:lnTo>
                    <a:lnTo>
                      <a:pt x="0" y="106"/>
                    </a:lnTo>
                    <a:lnTo>
                      <a:pt x="0" y="115"/>
                    </a:lnTo>
                    <a:lnTo>
                      <a:pt x="0" y="125"/>
                    </a:lnTo>
                    <a:lnTo>
                      <a:pt x="2" y="136"/>
                    </a:lnTo>
                    <a:lnTo>
                      <a:pt x="5" y="147"/>
                    </a:lnTo>
                    <a:lnTo>
                      <a:pt x="9" y="160"/>
                    </a:lnTo>
                    <a:lnTo>
                      <a:pt x="15" y="172"/>
                    </a:lnTo>
                    <a:lnTo>
                      <a:pt x="22" y="185"/>
                    </a:lnTo>
                    <a:lnTo>
                      <a:pt x="29" y="197"/>
                    </a:lnTo>
                    <a:lnTo>
                      <a:pt x="37" y="210"/>
                    </a:lnTo>
                    <a:lnTo>
                      <a:pt x="46" y="222"/>
                    </a:lnTo>
                    <a:lnTo>
                      <a:pt x="55" y="234"/>
                    </a:lnTo>
                    <a:lnTo>
                      <a:pt x="65" y="246"/>
                    </a:lnTo>
                    <a:lnTo>
                      <a:pt x="76" y="256"/>
                    </a:lnTo>
                    <a:lnTo>
                      <a:pt x="86" y="266"/>
                    </a:lnTo>
                    <a:lnTo>
                      <a:pt x="96" y="277"/>
                    </a:lnTo>
                    <a:lnTo>
                      <a:pt x="107" y="285"/>
                    </a:lnTo>
                    <a:lnTo>
                      <a:pt x="118" y="293"/>
                    </a:lnTo>
                    <a:lnTo>
                      <a:pt x="128" y="299"/>
                    </a:lnTo>
                    <a:lnTo>
                      <a:pt x="170" y="324"/>
                    </a:lnTo>
                    <a:lnTo>
                      <a:pt x="207" y="344"/>
                    </a:lnTo>
                    <a:lnTo>
                      <a:pt x="225" y="353"/>
                    </a:lnTo>
                    <a:lnTo>
                      <a:pt x="243" y="362"/>
                    </a:lnTo>
                    <a:lnTo>
                      <a:pt x="261" y="369"/>
                    </a:lnTo>
                    <a:lnTo>
                      <a:pt x="279" y="376"/>
                    </a:lnTo>
                    <a:lnTo>
                      <a:pt x="297" y="382"/>
                    </a:lnTo>
                    <a:lnTo>
                      <a:pt x="316" y="388"/>
                    </a:lnTo>
                    <a:lnTo>
                      <a:pt x="335" y="394"/>
                    </a:lnTo>
                    <a:lnTo>
                      <a:pt x="356" y="399"/>
                    </a:lnTo>
                    <a:lnTo>
                      <a:pt x="377" y="403"/>
                    </a:lnTo>
                    <a:lnTo>
                      <a:pt x="400" y="407"/>
                    </a:lnTo>
                    <a:lnTo>
                      <a:pt x="424" y="411"/>
                    </a:lnTo>
                    <a:lnTo>
                      <a:pt x="450" y="414"/>
                    </a:lnTo>
                    <a:lnTo>
                      <a:pt x="464" y="416"/>
                    </a:lnTo>
                    <a:lnTo>
                      <a:pt x="479" y="417"/>
                    </a:lnTo>
                    <a:lnTo>
                      <a:pt x="494" y="417"/>
                    </a:lnTo>
                    <a:lnTo>
                      <a:pt x="509" y="417"/>
                    </a:lnTo>
                    <a:lnTo>
                      <a:pt x="524" y="415"/>
                    </a:lnTo>
                    <a:lnTo>
                      <a:pt x="539" y="414"/>
                    </a:lnTo>
                    <a:lnTo>
                      <a:pt x="554" y="411"/>
                    </a:lnTo>
                    <a:lnTo>
                      <a:pt x="569" y="408"/>
                    </a:lnTo>
                    <a:lnTo>
                      <a:pt x="583" y="405"/>
                    </a:lnTo>
                    <a:lnTo>
                      <a:pt x="597" y="401"/>
                    </a:lnTo>
                    <a:lnTo>
                      <a:pt x="611" y="396"/>
                    </a:lnTo>
                    <a:lnTo>
                      <a:pt x="624" y="390"/>
                    </a:lnTo>
                    <a:lnTo>
                      <a:pt x="638" y="385"/>
                    </a:lnTo>
                    <a:lnTo>
                      <a:pt x="649" y="379"/>
                    </a:lnTo>
                    <a:lnTo>
                      <a:pt x="662" y="372"/>
                    </a:lnTo>
                    <a:lnTo>
                      <a:pt x="672" y="365"/>
                    </a:lnTo>
                    <a:lnTo>
                      <a:pt x="679" y="359"/>
                    </a:lnTo>
                    <a:lnTo>
                      <a:pt x="686" y="352"/>
                    </a:lnTo>
                    <a:lnTo>
                      <a:pt x="693" y="346"/>
                    </a:lnTo>
                    <a:lnTo>
                      <a:pt x="699" y="339"/>
                    </a:lnTo>
                    <a:lnTo>
                      <a:pt x="705" y="332"/>
                    </a:lnTo>
                    <a:lnTo>
                      <a:pt x="710" y="324"/>
                    </a:lnTo>
                    <a:lnTo>
                      <a:pt x="714" y="316"/>
                    </a:lnTo>
                    <a:lnTo>
                      <a:pt x="718" y="309"/>
                    </a:lnTo>
                    <a:lnTo>
                      <a:pt x="721" y="301"/>
                    </a:lnTo>
                    <a:lnTo>
                      <a:pt x="725" y="292"/>
                    </a:lnTo>
                    <a:lnTo>
                      <a:pt x="727" y="284"/>
                    </a:lnTo>
                    <a:lnTo>
                      <a:pt x="729" y="276"/>
                    </a:lnTo>
                    <a:lnTo>
                      <a:pt x="730" y="267"/>
                    </a:lnTo>
                    <a:lnTo>
                      <a:pt x="730" y="259"/>
                    </a:lnTo>
                    <a:lnTo>
                      <a:pt x="729" y="251"/>
                    </a:lnTo>
                    <a:lnTo>
                      <a:pt x="728" y="243"/>
                    </a:lnTo>
                    <a:lnTo>
                      <a:pt x="726" y="232"/>
                    </a:lnTo>
                    <a:lnTo>
                      <a:pt x="721" y="223"/>
                    </a:lnTo>
                    <a:lnTo>
                      <a:pt x="716" y="214"/>
                    </a:lnTo>
                    <a:lnTo>
                      <a:pt x="710" y="204"/>
                    </a:lnTo>
                    <a:lnTo>
                      <a:pt x="703" y="196"/>
                    </a:lnTo>
                    <a:lnTo>
                      <a:pt x="694" y="189"/>
                    </a:lnTo>
                    <a:lnTo>
                      <a:pt x="684" y="182"/>
                    </a:lnTo>
                    <a:lnTo>
                      <a:pt x="674" y="175"/>
                    </a:lnTo>
                    <a:lnTo>
                      <a:pt x="659" y="168"/>
                    </a:lnTo>
                    <a:lnTo>
                      <a:pt x="645" y="163"/>
                    </a:lnTo>
                    <a:lnTo>
                      <a:pt x="632" y="160"/>
                    </a:lnTo>
                    <a:lnTo>
                      <a:pt x="618" y="159"/>
                    </a:lnTo>
                    <a:lnTo>
                      <a:pt x="605" y="159"/>
                    </a:lnTo>
                    <a:lnTo>
                      <a:pt x="591" y="160"/>
                    </a:lnTo>
                    <a:lnTo>
                      <a:pt x="578" y="161"/>
                    </a:lnTo>
                    <a:lnTo>
                      <a:pt x="564" y="163"/>
                    </a:lnTo>
                    <a:close/>
                  </a:path>
                </a:pathLst>
              </a:custGeom>
              <a:solidFill>
                <a:srgbClr val="F1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51" name="Freeform 127"/>
              <p:cNvSpPr>
                <a:spLocks/>
              </p:cNvSpPr>
              <p:nvPr/>
            </p:nvSpPr>
            <p:spPr bwMode="auto">
              <a:xfrm>
                <a:off x="3331" y="1833"/>
                <a:ext cx="21" cy="63"/>
              </a:xfrm>
              <a:custGeom>
                <a:avLst/>
                <a:gdLst>
                  <a:gd name="T0" fmla="*/ 0 w 148"/>
                  <a:gd name="T1" fmla="*/ 0 h 444"/>
                  <a:gd name="T2" fmla="*/ 0 w 148"/>
                  <a:gd name="T3" fmla="*/ 0 h 444"/>
                  <a:gd name="T4" fmla="*/ 0 w 148"/>
                  <a:gd name="T5" fmla="*/ 0 h 444"/>
                  <a:gd name="T6" fmla="*/ 0 w 148"/>
                  <a:gd name="T7" fmla="*/ 0 h 444"/>
                  <a:gd name="T8" fmla="*/ 0 w 148"/>
                  <a:gd name="T9" fmla="*/ 0 h 444"/>
                  <a:gd name="T10" fmla="*/ 0 w 148"/>
                  <a:gd name="T11" fmla="*/ 0 h 444"/>
                  <a:gd name="T12" fmla="*/ 0 w 148"/>
                  <a:gd name="T13" fmla="*/ 0 h 444"/>
                  <a:gd name="T14" fmla="*/ 0 w 148"/>
                  <a:gd name="T15" fmla="*/ 0 h 444"/>
                  <a:gd name="T16" fmla="*/ 0 w 148"/>
                  <a:gd name="T17" fmla="*/ 0 h 444"/>
                  <a:gd name="T18" fmla="*/ 0 w 148"/>
                  <a:gd name="T19" fmla="*/ 0 h 444"/>
                  <a:gd name="T20" fmla="*/ 0 w 148"/>
                  <a:gd name="T21" fmla="*/ 0 h 444"/>
                  <a:gd name="T22" fmla="*/ 0 w 148"/>
                  <a:gd name="T23" fmla="*/ 0 h 444"/>
                  <a:gd name="T24" fmla="*/ 0 w 148"/>
                  <a:gd name="T25" fmla="*/ 0 h 444"/>
                  <a:gd name="T26" fmla="*/ 0 w 148"/>
                  <a:gd name="T27" fmla="*/ 0 h 444"/>
                  <a:gd name="T28" fmla="*/ 0 w 148"/>
                  <a:gd name="T29" fmla="*/ 0 h 444"/>
                  <a:gd name="T30" fmla="*/ 0 w 148"/>
                  <a:gd name="T31" fmla="*/ 0 h 444"/>
                  <a:gd name="T32" fmla="*/ 0 w 148"/>
                  <a:gd name="T33" fmla="*/ 0 h 444"/>
                  <a:gd name="T34" fmla="*/ 0 w 148"/>
                  <a:gd name="T35" fmla="*/ 0 h 444"/>
                  <a:gd name="T36" fmla="*/ 0 w 148"/>
                  <a:gd name="T37" fmla="*/ 0 h 444"/>
                  <a:gd name="T38" fmla="*/ 0 w 148"/>
                  <a:gd name="T39" fmla="*/ 0 h 444"/>
                  <a:gd name="T40" fmla="*/ 0 w 148"/>
                  <a:gd name="T41" fmla="*/ 0 h 444"/>
                  <a:gd name="T42" fmla="*/ 0 w 148"/>
                  <a:gd name="T43" fmla="*/ 0 h 444"/>
                  <a:gd name="T44" fmla="*/ 0 w 148"/>
                  <a:gd name="T45" fmla="*/ 0 h 444"/>
                  <a:gd name="T46" fmla="*/ 0 w 148"/>
                  <a:gd name="T47" fmla="*/ 0 h 444"/>
                  <a:gd name="T48" fmla="*/ 0 w 148"/>
                  <a:gd name="T49" fmla="*/ 0 h 444"/>
                  <a:gd name="T50" fmla="*/ 0 w 148"/>
                  <a:gd name="T51" fmla="*/ 0 h 444"/>
                  <a:gd name="T52" fmla="*/ 0 w 148"/>
                  <a:gd name="T53" fmla="*/ 0 h 444"/>
                  <a:gd name="T54" fmla="*/ 0 w 148"/>
                  <a:gd name="T55" fmla="*/ 0 h 444"/>
                  <a:gd name="T56" fmla="*/ 0 w 148"/>
                  <a:gd name="T57" fmla="*/ 0 h 444"/>
                  <a:gd name="T58" fmla="*/ 0 w 148"/>
                  <a:gd name="T59" fmla="*/ 0 h 444"/>
                  <a:gd name="T60" fmla="*/ 0 w 148"/>
                  <a:gd name="T61" fmla="*/ 0 h 444"/>
                  <a:gd name="T62" fmla="*/ 0 w 148"/>
                  <a:gd name="T63" fmla="*/ 0 h 444"/>
                  <a:gd name="T64" fmla="*/ 0 w 148"/>
                  <a:gd name="T65" fmla="*/ 0 h 444"/>
                  <a:gd name="T66" fmla="*/ 0 w 148"/>
                  <a:gd name="T67" fmla="*/ 0 h 444"/>
                  <a:gd name="T68" fmla="*/ 0 w 148"/>
                  <a:gd name="T69" fmla="*/ 0 h 444"/>
                  <a:gd name="T70" fmla="*/ 0 w 148"/>
                  <a:gd name="T71" fmla="*/ 0 h 444"/>
                  <a:gd name="T72" fmla="*/ 0 w 148"/>
                  <a:gd name="T73" fmla="*/ 0 h 444"/>
                  <a:gd name="T74" fmla="*/ 0 w 148"/>
                  <a:gd name="T75" fmla="*/ 0 h 444"/>
                  <a:gd name="T76" fmla="*/ 0 w 148"/>
                  <a:gd name="T77" fmla="*/ 0 h 444"/>
                  <a:gd name="T78" fmla="*/ 0 w 148"/>
                  <a:gd name="T79" fmla="*/ 0 h 444"/>
                  <a:gd name="T80" fmla="*/ 0 w 148"/>
                  <a:gd name="T81" fmla="*/ 0 h 444"/>
                  <a:gd name="T82" fmla="*/ 0 w 148"/>
                  <a:gd name="T83" fmla="*/ 0 h 444"/>
                  <a:gd name="T84" fmla="*/ 0 w 148"/>
                  <a:gd name="T85" fmla="*/ 0 h 444"/>
                  <a:gd name="T86" fmla="*/ 0 w 148"/>
                  <a:gd name="T87" fmla="*/ 0 h 444"/>
                  <a:gd name="T88" fmla="*/ 0 w 148"/>
                  <a:gd name="T89" fmla="*/ 0 h 444"/>
                  <a:gd name="T90" fmla="*/ 0 w 148"/>
                  <a:gd name="T91" fmla="*/ 0 h 444"/>
                  <a:gd name="T92" fmla="*/ 0 w 148"/>
                  <a:gd name="T93" fmla="*/ 0 h 444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48"/>
                  <a:gd name="T142" fmla="*/ 0 h 444"/>
                  <a:gd name="T143" fmla="*/ 148 w 148"/>
                  <a:gd name="T144" fmla="*/ 444 h 444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48" h="444">
                    <a:moveTo>
                      <a:pt x="143" y="0"/>
                    </a:moveTo>
                    <a:lnTo>
                      <a:pt x="126" y="1"/>
                    </a:lnTo>
                    <a:lnTo>
                      <a:pt x="112" y="4"/>
                    </a:lnTo>
                    <a:lnTo>
                      <a:pt x="97" y="8"/>
                    </a:lnTo>
                    <a:lnTo>
                      <a:pt x="85" y="14"/>
                    </a:lnTo>
                    <a:lnTo>
                      <a:pt x="73" y="22"/>
                    </a:lnTo>
                    <a:lnTo>
                      <a:pt x="62" y="31"/>
                    </a:lnTo>
                    <a:lnTo>
                      <a:pt x="53" y="41"/>
                    </a:lnTo>
                    <a:lnTo>
                      <a:pt x="44" y="54"/>
                    </a:lnTo>
                    <a:lnTo>
                      <a:pt x="37" y="66"/>
                    </a:lnTo>
                    <a:lnTo>
                      <a:pt x="30" y="81"/>
                    </a:lnTo>
                    <a:lnTo>
                      <a:pt x="24" y="95"/>
                    </a:lnTo>
                    <a:lnTo>
                      <a:pt x="19" y="111"/>
                    </a:lnTo>
                    <a:lnTo>
                      <a:pt x="14" y="127"/>
                    </a:lnTo>
                    <a:lnTo>
                      <a:pt x="10" y="145"/>
                    </a:lnTo>
                    <a:lnTo>
                      <a:pt x="7" y="162"/>
                    </a:lnTo>
                    <a:lnTo>
                      <a:pt x="5" y="180"/>
                    </a:lnTo>
                    <a:lnTo>
                      <a:pt x="2" y="217"/>
                    </a:lnTo>
                    <a:lnTo>
                      <a:pt x="0" y="255"/>
                    </a:lnTo>
                    <a:lnTo>
                      <a:pt x="0" y="293"/>
                    </a:lnTo>
                    <a:lnTo>
                      <a:pt x="1" y="328"/>
                    </a:lnTo>
                    <a:lnTo>
                      <a:pt x="3" y="393"/>
                    </a:lnTo>
                    <a:lnTo>
                      <a:pt x="6" y="444"/>
                    </a:lnTo>
                    <a:lnTo>
                      <a:pt x="17" y="436"/>
                    </a:lnTo>
                    <a:lnTo>
                      <a:pt x="28" y="427"/>
                    </a:lnTo>
                    <a:lnTo>
                      <a:pt x="37" y="417"/>
                    </a:lnTo>
                    <a:lnTo>
                      <a:pt x="45" y="404"/>
                    </a:lnTo>
                    <a:lnTo>
                      <a:pt x="54" y="391"/>
                    </a:lnTo>
                    <a:lnTo>
                      <a:pt x="61" y="377"/>
                    </a:lnTo>
                    <a:lnTo>
                      <a:pt x="68" y="362"/>
                    </a:lnTo>
                    <a:lnTo>
                      <a:pt x="74" y="347"/>
                    </a:lnTo>
                    <a:lnTo>
                      <a:pt x="86" y="316"/>
                    </a:lnTo>
                    <a:lnTo>
                      <a:pt x="96" y="285"/>
                    </a:lnTo>
                    <a:lnTo>
                      <a:pt x="105" y="257"/>
                    </a:lnTo>
                    <a:lnTo>
                      <a:pt x="115" y="234"/>
                    </a:lnTo>
                    <a:lnTo>
                      <a:pt x="121" y="219"/>
                    </a:lnTo>
                    <a:lnTo>
                      <a:pt x="127" y="205"/>
                    </a:lnTo>
                    <a:lnTo>
                      <a:pt x="131" y="190"/>
                    </a:lnTo>
                    <a:lnTo>
                      <a:pt x="135" y="176"/>
                    </a:lnTo>
                    <a:lnTo>
                      <a:pt x="139" y="161"/>
                    </a:lnTo>
                    <a:lnTo>
                      <a:pt x="141" y="148"/>
                    </a:lnTo>
                    <a:lnTo>
                      <a:pt x="145" y="133"/>
                    </a:lnTo>
                    <a:lnTo>
                      <a:pt x="146" y="119"/>
                    </a:lnTo>
                    <a:lnTo>
                      <a:pt x="148" y="91"/>
                    </a:lnTo>
                    <a:lnTo>
                      <a:pt x="148" y="62"/>
                    </a:lnTo>
                    <a:lnTo>
                      <a:pt x="146" y="32"/>
                    </a:lnTo>
                    <a:lnTo>
                      <a:pt x="143" y="0"/>
                    </a:lnTo>
                    <a:close/>
                  </a:path>
                </a:pathLst>
              </a:custGeom>
              <a:solidFill>
                <a:srgbClr val="F1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52" name="Freeform 128"/>
              <p:cNvSpPr>
                <a:spLocks/>
              </p:cNvSpPr>
              <p:nvPr/>
            </p:nvSpPr>
            <p:spPr bwMode="auto">
              <a:xfrm>
                <a:off x="3293" y="1826"/>
                <a:ext cx="105" cy="81"/>
              </a:xfrm>
              <a:custGeom>
                <a:avLst/>
                <a:gdLst>
                  <a:gd name="T0" fmla="*/ 0 w 739"/>
                  <a:gd name="T1" fmla="*/ 0 h 566"/>
                  <a:gd name="T2" fmla="*/ 0 w 739"/>
                  <a:gd name="T3" fmla="*/ 0 h 566"/>
                  <a:gd name="T4" fmla="*/ 0 w 739"/>
                  <a:gd name="T5" fmla="*/ 0 h 566"/>
                  <a:gd name="T6" fmla="*/ 0 w 739"/>
                  <a:gd name="T7" fmla="*/ 0 h 566"/>
                  <a:gd name="T8" fmla="*/ 0 w 739"/>
                  <a:gd name="T9" fmla="*/ 0 h 566"/>
                  <a:gd name="T10" fmla="*/ 0 w 739"/>
                  <a:gd name="T11" fmla="*/ 0 h 566"/>
                  <a:gd name="T12" fmla="*/ 0 w 739"/>
                  <a:gd name="T13" fmla="*/ 0 h 566"/>
                  <a:gd name="T14" fmla="*/ 0 w 739"/>
                  <a:gd name="T15" fmla="*/ 0 h 566"/>
                  <a:gd name="T16" fmla="*/ 0 w 739"/>
                  <a:gd name="T17" fmla="*/ 0 h 566"/>
                  <a:gd name="T18" fmla="*/ 0 w 739"/>
                  <a:gd name="T19" fmla="*/ 0 h 566"/>
                  <a:gd name="T20" fmla="*/ 0 w 739"/>
                  <a:gd name="T21" fmla="*/ 0 h 566"/>
                  <a:gd name="T22" fmla="*/ 0 w 739"/>
                  <a:gd name="T23" fmla="*/ 0 h 566"/>
                  <a:gd name="T24" fmla="*/ 0 w 739"/>
                  <a:gd name="T25" fmla="*/ 0 h 566"/>
                  <a:gd name="T26" fmla="*/ 0 w 739"/>
                  <a:gd name="T27" fmla="*/ 0 h 566"/>
                  <a:gd name="T28" fmla="*/ 0 w 739"/>
                  <a:gd name="T29" fmla="*/ 0 h 566"/>
                  <a:gd name="T30" fmla="*/ 0 w 739"/>
                  <a:gd name="T31" fmla="*/ 0 h 566"/>
                  <a:gd name="T32" fmla="*/ 0 w 739"/>
                  <a:gd name="T33" fmla="*/ 0 h 566"/>
                  <a:gd name="T34" fmla="*/ 0 w 739"/>
                  <a:gd name="T35" fmla="*/ 0 h 566"/>
                  <a:gd name="T36" fmla="*/ 0 w 739"/>
                  <a:gd name="T37" fmla="*/ 0 h 566"/>
                  <a:gd name="T38" fmla="*/ 0 w 739"/>
                  <a:gd name="T39" fmla="*/ 0 h 566"/>
                  <a:gd name="T40" fmla="*/ 0 w 739"/>
                  <a:gd name="T41" fmla="*/ 0 h 566"/>
                  <a:gd name="T42" fmla="*/ 0 w 739"/>
                  <a:gd name="T43" fmla="*/ 0 h 566"/>
                  <a:gd name="T44" fmla="*/ 0 w 739"/>
                  <a:gd name="T45" fmla="*/ 0 h 566"/>
                  <a:gd name="T46" fmla="*/ 0 w 739"/>
                  <a:gd name="T47" fmla="*/ 0 h 566"/>
                  <a:gd name="T48" fmla="*/ 0 w 739"/>
                  <a:gd name="T49" fmla="*/ 0 h 566"/>
                  <a:gd name="T50" fmla="*/ 0 w 739"/>
                  <a:gd name="T51" fmla="*/ 0 h 566"/>
                  <a:gd name="T52" fmla="*/ 0 w 739"/>
                  <a:gd name="T53" fmla="*/ 0 h 566"/>
                  <a:gd name="T54" fmla="*/ 0 w 739"/>
                  <a:gd name="T55" fmla="*/ 0 h 566"/>
                  <a:gd name="T56" fmla="*/ 0 w 739"/>
                  <a:gd name="T57" fmla="*/ 0 h 566"/>
                  <a:gd name="T58" fmla="*/ 0 w 739"/>
                  <a:gd name="T59" fmla="*/ 0 h 566"/>
                  <a:gd name="T60" fmla="*/ 0 w 739"/>
                  <a:gd name="T61" fmla="*/ 0 h 566"/>
                  <a:gd name="T62" fmla="*/ 0 w 739"/>
                  <a:gd name="T63" fmla="*/ 0 h 566"/>
                  <a:gd name="T64" fmla="*/ 0 w 739"/>
                  <a:gd name="T65" fmla="*/ 0 h 566"/>
                  <a:gd name="T66" fmla="*/ 0 w 739"/>
                  <a:gd name="T67" fmla="*/ 0 h 566"/>
                  <a:gd name="T68" fmla="*/ 0 w 739"/>
                  <a:gd name="T69" fmla="*/ 0 h 566"/>
                  <a:gd name="T70" fmla="*/ 0 w 739"/>
                  <a:gd name="T71" fmla="*/ 0 h 566"/>
                  <a:gd name="T72" fmla="*/ 0 w 739"/>
                  <a:gd name="T73" fmla="*/ 0 h 566"/>
                  <a:gd name="T74" fmla="*/ 0 w 739"/>
                  <a:gd name="T75" fmla="*/ 0 h 566"/>
                  <a:gd name="T76" fmla="*/ 0 w 739"/>
                  <a:gd name="T77" fmla="*/ 0 h 566"/>
                  <a:gd name="T78" fmla="*/ 0 w 739"/>
                  <a:gd name="T79" fmla="*/ 0 h 566"/>
                  <a:gd name="T80" fmla="*/ 0 w 739"/>
                  <a:gd name="T81" fmla="*/ 0 h 566"/>
                  <a:gd name="T82" fmla="*/ 0 w 739"/>
                  <a:gd name="T83" fmla="*/ 0 h 566"/>
                  <a:gd name="T84" fmla="*/ 0 w 739"/>
                  <a:gd name="T85" fmla="*/ 0 h 566"/>
                  <a:gd name="T86" fmla="*/ 0 w 739"/>
                  <a:gd name="T87" fmla="*/ 0 h 566"/>
                  <a:gd name="T88" fmla="*/ 0 w 739"/>
                  <a:gd name="T89" fmla="*/ 0 h 566"/>
                  <a:gd name="T90" fmla="*/ 0 w 739"/>
                  <a:gd name="T91" fmla="*/ 0 h 566"/>
                  <a:gd name="T92" fmla="*/ 0 w 739"/>
                  <a:gd name="T93" fmla="*/ 0 h 566"/>
                  <a:gd name="T94" fmla="*/ 0 w 739"/>
                  <a:gd name="T95" fmla="*/ 0 h 56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39"/>
                  <a:gd name="T145" fmla="*/ 0 h 566"/>
                  <a:gd name="T146" fmla="*/ 739 w 739"/>
                  <a:gd name="T147" fmla="*/ 566 h 56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39" h="566">
                    <a:moveTo>
                      <a:pt x="632" y="142"/>
                    </a:moveTo>
                    <a:lnTo>
                      <a:pt x="619" y="141"/>
                    </a:lnTo>
                    <a:lnTo>
                      <a:pt x="607" y="141"/>
                    </a:lnTo>
                    <a:lnTo>
                      <a:pt x="596" y="141"/>
                    </a:lnTo>
                    <a:lnTo>
                      <a:pt x="583" y="143"/>
                    </a:lnTo>
                    <a:lnTo>
                      <a:pt x="572" y="145"/>
                    </a:lnTo>
                    <a:lnTo>
                      <a:pt x="560" y="147"/>
                    </a:lnTo>
                    <a:lnTo>
                      <a:pt x="549" y="151"/>
                    </a:lnTo>
                    <a:lnTo>
                      <a:pt x="539" y="156"/>
                    </a:lnTo>
                    <a:lnTo>
                      <a:pt x="528" y="160"/>
                    </a:lnTo>
                    <a:lnTo>
                      <a:pt x="518" y="165"/>
                    </a:lnTo>
                    <a:lnTo>
                      <a:pt x="508" y="171"/>
                    </a:lnTo>
                    <a:lnTo>
                      <a:pt x="498" y="176"/>
                    </a:lnTo>
                    <a:lnTo>
                      <a:pt x="481" y="190"/>
                    </a:lnTo>
                    <a:lnTo>
                      <a:pt x="465" y="203"/>
                    </a:lnTo>
                    <a:lnTo>
                      <a:pt x="458" y="211"/>
                    </a:lnTo>
                    <a:lnTo>
                      <a:pt x="451" y="222"/>
                    </a:lnTo>
                    <a:lnTo>
                      <a:pt x="443" y="235"/>
                    </a:lnTo>
                    <a:lnTo>
                      <a:pt x="434" y="251"/>
                    </a:lnTo>
                    <a:lnTo>
                      <a:pt x="417" y="286"/>
                    </a:lnTo>
                    <a:lnTo>
                      <a:pt x="400" y="324"/>
                    </a:lnTo>
                    <a:lnTo>
                      <a:pt x="384" y="362"/>
                    </a:lnTo>
                    <a:lnTo>
                      <a:pt x="370" y="399"/>
                    </a:lnTo>
                    <a:lnTo>
                      <a:pt x="359" y="429"/>
                    </a:lnTo>
                    <a:lnTo>
                      <a:pt x="352" y="450"/>
                    </a:lnTo>
                    <a:lnTo>
                      <a:pt x="348" y="464"/>
                    </a:lnTo>
                    <a:lnTo>
                      <a:pt x="343" y="475"/>
                    </a:lnTo>
                    <a:lnTo>
                      <a:pt x="339" y="485"/>
                    </a:lnTo>
                    <a:lnTo>
                      <a:pt x="335" y="496"/>
                    </a:lnTo>
                    <a:lnTo>
                      <a:pt x="329" y="504"/>
                    </a:lnTo>
                    <a:lnTo>
                      <a:pt x="321" y="513"/>
                    </a:lnTo>
                    <a:lnTo>
                      <a:pt x="310" y="522"/>
                    </a:lnTo>
                    <a:lnTo>
                      <a:pt x="297" y="530"/>
                    </a:lnTo>
                    <a:lnTo>
                      <a:pt x="291" y="533"/>
                    </a:lnTo>
                    <a:lnTo>
                      <a:pt x="283" y="535"/>
                    </a:lnTo>
                    <a:lnTo>
                      <a:pt x="277" y="536"/>
                    </a:lnTo>
                    <a:lnTo>
                      <a:pt x="271" y="535"/>
                    </a:lnTo>
                    <a:lnTo>
                      <a:pt x="264" y="534"/>
                    </a:lnTo>
                    <a:lnTo>
                      <a:pt x="258" y="531"/>
                    </a:lnTo>
                    <a:lnTo>
                      <a:pt x="250" y="528"/>
                    </a:lnTo>
                    <a:lnTo>
                      <a:pt x="244" y="524"/>
                    </a:lnTo>
                    <a:lnTo>
                      <a:pt x="239" y="519"/>
                    </a:lnTo>
                    <a:lnTo>
                      <a:pt x="234" y="513"/>
                    </a:lnTo>
                    <a:lnTo>
                      <a:pt x="229" y="507"/>
                    </a:lnTo>
                    <a:lnTo>
                      <a:pt x="224" y="501"/>
                    </a:lnTo>
                    <a:lnTo>
                      <a:pt x="220" y="495"/>
                    </a:lnTo>
                    <a:lnTo>
                      <a:pt x="217" y="488"/>
                    </a:lnTo>
                    <a:lnTo>
                      <a:pt x="215" y="481"/>
                    </a:lnTo>
                    <a:lnTo>
                      <a:pt x="214" y="474"/>
                    </a:lnTo>
                    <a:lnTo>
                      <a:pt x="213" y="459"/>
                    </a:lnTo>
                    <a:lnTo>
                      <a:pt x="214" y="443"/>
                    </a:lnTo>
                    <a:lnTo>
                      <a:pt x="216" y="428"/>
                    </a:lnTo>
                    <a:lnTo>
                      <a:pt x="220" y="412"/>
                    </a:lnTo>
                    <a:lnTo>
                      <a:pt x="229" y="382"/>
                    </a:lnTo>
                    <a:lnTo>
                      <a:pt x="238" y="352"/>
                    </a:lnTo>
                    <a:lnTo>
                      <a:pt x="242" y="333"/>
                    </a:lnTo>
                    <a:lnTo>
                      <a:pt x="246" y="316"/>
                    </a:lnTo>
                    <a:lnTo>
                      <a:pt x="249" y="298"/>
                    </a:lnTo>
                    <a:lnTo>
                      <a:pt x="251" y="281"/>
                    </a:lnTo>
                    <a:lnTo>
                      <a:pt x="252" y="263"/>
                    </a:lnTo>
                    <a:lnTo>
                      <a:pt x="252" y="245"/>
                    </a:lnTo>
                    <a:lnTo>
                      <a:pt x="252" y="226"/>
                    </a:lnTo>
                    <a:lnTo>
                      <a:pt x="250" y="206"/>
                    </a:lnTo>
                    <a:lnTo>
                      <a:pt x="245" y="180"/>
                    </a:lnTo>
                    <a:lnTo>
                      <a:pt x="239" y="155"/>
                    </a:lnTo>
                    <a:lnTo>
                      <a:pt x="235" y="142"/>
                    </a:lnTo>
                    <a:lnTo>
                      <a:pt x="231" y="130"/>
                    </a:lnTo>
                    <a:lnTo>
                      <a:pt x="226" y="117"/>
                    </a:lnTo>
                    <a:lnTo>
                      <a:pt x="219" y="105"/>
                    </a:lnTo>
                    <a:lnTo>
                      <a:pt x="213" y="94"/>
                    </a:lnTo>
                    <a:lnTo>
                      <a:pt x="206" y="82"/>
                    </a:lnTo>
                    <a:lnTo>
                      <a:pt x="198" y="72"/>
                    </a:lnTo>
                    <a:lnTo>
                      <a:pt x="188" y="61"/>
                    </a:lnTo>
                    <a:lnTo>
                      <a:pt x="179" y="51"/>
                    </a:lnTo>
                    <a:lnTo>
                      <a:pt x="168" y="41"/>
                    </a:lnTo>
                    <a:lnTo>
                      <a:pt x="156" y="32"/>
                    </a:lnTo>
                    <a:lnTo>
                      <a:pt x="144" y="22"/>
                    </a:lnTo>
                    <a:lnTo>
                      <a:pt x="134" y="15"/>
                    </a:lnTo>
                    <a:lnTo>
                      <a:pt x="122" y="10"/>
                    </a:lnTo>
                    <a:lnTo>
                      <a:pt x="112" y="6"/>
                    </a:lnTo>
                    <a:lnTo>
                      <a:pt x="101" y="3"/>
                    </a:lnTo>
                    <a:lnTo>
                      <a:pt x="90" y="2"/>
                    </a:lnTo>
                    <a:lnTo>
                      <a:pt x="80" y="0"/>
                    </a:lnTo>
                    <a:lnTo>
                      <a:pt x="70" y="0"/>
                    </a:lnTo>
                    <a:lnTo>
                      <a:pt x="59" y="3"/>
                    </a:lnTo>
                    <a:lnTo>
                      <a:pt x="49" y="5"/>
                    </a:lnTo>
                    <a:lnTo>
                      <a:pt x="41" y="9"/>
                    </a:lnTo>
                    <a:lnTo>
                      <a:pt x="31" y="13"/>
                    </a:lnTo>
                    <a:lnTo>
                      <a:pt x="24" y="19"/>
                    </a:lnTo>
                    <a:lnTo>
                      <a:pt x="17" y="25"/>
                    </a:lnTo>
                    <a:lnTo>
                      <a:pt x="11" y="34"/>
                    </a:lnTo>
                    <a:lnTo>
                      <a:pt x="4" y="42"/>
                    </a:lnTo>
                    <a:lnTo>
                      <a:pt x="0" y="52"/>
                    </a:lnTo>
                    <a:lnTo>
                      <a:pt x="3" y="51"/>
                    </a:lnTo>
                    <a:lnTo>
                      <a:pt x="11" y="48"/>
                    </a:lnTo>
                    <a:lnTo>
                      <a:pt x="23" y="44"/>
                    </a:lnTo>
                    <a:lnTo>
                      <a:pt x="38" y="41"/>
                    </a:lnTo>
                    <a:lnTo>
                      <a:pt x="47" y="40"/>
                    </a:lnTo>
                    <a:lnTo>
                      <a:pt x="56" y="40"/>
                    </a:lnTo>
                    <a:lnTo>
                      <a:pt x="65" y="40"/>
                    </a:lnTo>
                    <a:lnTo>
                      <a:pt x="76" y="41"/>
                    </a:lnTo>
                    <a:lnTo>
                      <a:pt x="85" y="43"/>
                    </a:lnTo>
                    <a:lnTo>
                      <a:pt x="95" y="47"/>
                    </a:lnTo>
                    <a:lnTo>
                      <a:pt x="106" y="51"/>
                    </a:lnTo>
                    <a:lnTo>
                      <a:pt x="116" y="57"/>
                    </a:lnTo>
                    <a:lnTo>
                      <a:pt x="126" y="66"/>
                    </a:lnTo>
                    <a:lnTo>
                      <a:pt x="137" y="75"/>
                    </a:lnTo>
                    <a:lnTo>
                      <a:pt x="146" y="87"/>
                    </a:lnTo>
                    <a:lnTo>
                      <a:pt x="155" y="101"/>
                    </a:lnTo>
                    <a:lnTo>
                      <a:pt x="164" y="117"/>
                    </a:lnTo>
                    <a:lnTo>
                      <a:pt x="172" y="135"/>
                    </a:lnTo>
                    <a:lnTo>
                      <a:pt x="179" y="157"/>
                    </a:lnTo>
                    <a:lnTo>
                      <a:pt x="185" y="180"/>
                    </a:lnTo>
                    <a:lnTo>
                      <a:pt x="190" y="206"/>
                    </a:lnTo>
                    <a:lnTo>
                      <a:pt x="195" y="236"/>
                    </a:lnTo>
                    <a:lnTo>
                      <a:pt x="198" y="269"/>
                    </a:lnTo>
                    <a:lnTo>
                      <a:pt x="200" y="304"/>
                    </a:lnTo>
                    <a:lnTo>
                      <a:pt x="201" y="344"/>
                    </a:lnTo>
                    <a:lnTo>
                      <a:pt x="200" y="387"/>
                    </a:lnTo>
                    <a:lnTo>
                      <a:pt x="198" y="434"/>
                    </a:lnTo>
                    <a:lnTo>
                      <a:pt x="194" y="484"/>
                    </a:lnTo>
                    <a:lnTo>
                      <a:pt x="194" y="493"/>
                    </a:lnTo>
                    <a:lnTo>
                      <a:pt x="194" y="500"/>
                    </a:lnTo>
                    <a:lnTo>
                      <a:pt x="195" y="507"/>
                    </a:lnTo>
                    <a:lnTo>
                      <a:pt x="197" y="513"/>
                    </a:lnTo>
                    <a:lnTo>
                      <a:pt x="200" y="520"/>
                    </a:lnTo>
                    <a:lnTo>
                      <a:pt x="203" y="526"/>
                    </a:lnTo>
                    <a:lnTo>
                      <a:pt x="206" y="531"/>
                    </a:lnTo>
                    <a:lnTo>
                      <a:pt x="210" y="536"/>
                    </a:lnTo>
                    <a:lnTo>
                      <a:pt x="215" y="541"/>
                    </a:lnTo>
                    <a:lnTo>
                      <a:pt x="220" y="545"/>
                    </a:lnTo>
                    <a:lnTo>
                      <a:pt x="226" y="549"/>
                    </a:lnTo>
                    <a:lnTo>
                      <a:pt x="231" y="553"/>
                    </a:lnTo>
                    <a:lnTo>
                      <a:pt x="243" y="558"/>
                    </a:lnTo>
                    <a:lnTo>
                      <a:pt x="257" y="563"/>
                    </a:lnTo>
                    <a:lnTo>
                      <a:pt x="269" y="565"/>
                    </a:lnTo>
                    <a:lnTo>
                      <a:pt x="282" y="566"/>
                    </a:lnTo>
                    <a:lnTo>
                      <a:pt x="295" y="566"/>
                    </a:lnTo>
                    <a:lnTo>
                      <a:pt x="307" y="564"/>
                    </a:lnTo>
                    <a:lnTo>
                      <a:pt x="312" y="563"/>
                    </a:lnTo>
                    <a:lnTo>
                      <a:pt x="318" y="561"/>
                    </a:lnTo>
                    <a:lnTo>
                      <a:pt x="323" y="559"/>
                    </a:lnTo>
                    <a:lnTo>
                      <a:pt x="327" y="556"/>
                    </a:lnTo>
                    <a:lnTo>
                      <a:pt x="331" y="553"/>
                    </a:lnTo>
                    <a:lnTo>
                      <a:pt x="334" y="550"/>
                    </a:lnTo>
                    <a:lnTo>
                      <a:pt x="337" y="545"/>
                    </a:lnTo>
                    <a:lnTo>
                      <a:pt x="339" y="541"/>
                    </a:lnTo>
                    <a:lnTo>
                      <a:pt x="356" y="502"/>
                    </a:lnTo>
                    <a:lnTo>
                      <a:pt x="372" y="466"/>
                    </a:lnTo>
                    <a:lnTo>
                      <a:pt x="389" y="432"/>
                    </a:lnTo>
                    <a:lnTo>
                      <a:pt x="406" y="401"/>
                    </a:lnTo>
                    <a:lnTo>
                      <a:pt x="423" y="373"/>
                    </a:lnTo>
                    <a:lnTo>
                      <a:pt x="440" y="347"/>
                    </a:lnTo>
                    <a:lnTo>
                      <a:pt x="456" y="323"/>
                    </a:lnTo>
                    <a:lnTo>
                      <a:pt x="473" y="302"/>
                    </a:lnTo>
                    <a:lnTo>
                      <a:pt x="489" y="284"/>
                    </a:lnTo>
                    <a:lnTo>
                      <a:pt x="506" y="267"/>
                    </a:lnTo>
                    <a:lnTo>
                      <a:pt x="521" y="253"/>
                    </a:lnTo>
                    <a:lnTo>
                      <a:pt x="537" y="240"/>
                    </a:lnTo>
                    <a:lnTo>
                      <a:pt x="552" y="230"/>
                    </a:lnTo>
                    <a:lnTo>
                      <a:pt x="567" y="221"/>
                    </a:lnTo>
                    <a:lnTo>
                      <a:pt x="581" y="213"/>
                    </a:lnTo>
                    <a:lnTo>
                      <a:pt x="596" y="208"/>
                    </a:lnTo>
                    <a:lnTo>
                      <a:pt x="609" y="204"/>
                    </a:lnTo>
                    <a:lnTo>
                      <a:pt x="622" y="201"/>
                    </a:lnTo>
                    <a:lnTo>
                      <a:pt x="635" y="199"/>
                    </a:lnTo>
                    <a:lnTo>
                      <a:pt x="646" y="198"/>
                    </a:lnTo>
                    <a:lnTo>
                      <a:pt x="658" y="199"/>
                    </a:lnTo>
                    <a:lnTo>
                      <a:pt x="669" y="200"/>
                    </a:lnTo>
                    <a:lnTo>
                      <a:pt x="678" y="202"/>
                    </a:lnTo>
                    <a:lnTo>
                      <a:pt x="688" y="204"/>
                    </a:lnTo>
                    <a:lnTo>
                      <a:pt x="696" y="208"/>
                    </a:lnTo>
                    <a:lnTo>
                      <a:pt x="704" y="211"/>
                    </a:lnTo>
                    <a:lnTo>
                      <a:pt x="710" y="216"/>
                    </a:lnTo>
                    <a:lnTo>
                      <a:pt x="716" y="221"/>
                    </a:lnTo>
                    <a:lnTo>
                      <a:pt x="721" y="225"/>
                    </a:lnTo>
                    <a:lnTo>
                      <a:pt x="725" y="230"/>
                    </a:lnTo>
                    <a:lnTo>
                      <a:pt x="728" y="234"/>
                    </a:lnTo>
                    <a:lnTo>
                      <a:pt x="730" y="238"/>
                    </a:lnTo>
                    <a:lnTo>
                      <a:pt x="735" y="229"/>
                    </a:lnTo>
                    <a:lnTo>
                      <a:pt x="738" y="220"/>
                    </a:lnTo>
                    <a:lnTo>
                      <a:pt x="739" y="210"/>
                    </a:lnTo>
                    <a:lnTo>
                      <a:pt x="738" y="202"/>
                    </a:lnTo>
                    <a:lnTo>
                      <a:pt x="735" y="195"/>
                    </a:lnTo>
                    <a:lnTo>
                      <a:pt x="730" y="188"/>
                    </a:lnTo>
                    <a:lnTo>
                      <a:pt x="724" y="180"/>
                    </a:lnTo>
                    <a:lnTo>
                      <a:pt x="716" y="174"/>
                    </a:lnTo>
                    <a:lnTo>
                      <a:pt x="708" y="168"/>
                    </a:lnTo>
                    <a:lnTo>
                      <a:pt x="699" y="163"/>
                    </a:lnTo>
                    <a:lnTo>
                      <a:pt x="689" y="158"/>
                    </a:lnTo>
                    <a:lnTo>
                      <a:pt x="677" y="154"/>
                    </a:lnTo>
                    <a:lnTo>
                      <a:pt x="666" y="150"/>
                    </a:lnTo>
                    <a:lnTo>
                      <a:pt x="654" y="147"/>
                    </a:lnTo>
                    <a:lnTo>
                      <a:pt x="643" y="144"/>
                    </a:lnTo>
                    <a:lnTo>
                      <a:pt x="632" y="142"/>
                    </a:lnTo>
                    <a:close/>
                  </a:path>
                </a:pathLst>
              </a:custGeom>
              <a:solidFill>
                <a:srgbClr val="F1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53" name="Freeform 129"/>
              <p:cNvSpPr>
                <a:spLocks/>
              </p:cNvSpPr>
              <p:nvPr/>
            </p:nvSpPr>
            <p:spPr bwMode="auto">
              <a:xfrm>
                <a:off x="3283" y="1861"/>
                <a:ext cx="106" cy="58"/>
              </a:xfrm>
              <a:custGeom>
                <a:avLst/>
                <a:gdLst>
                  <a:gd name="T0" fmla="*/ 0 w 740"/>
                  <a:gd name="T1" fmla="*/ 0 h 406"/>
                  <a:gd name="T2" fmla="*/ 0 w 740"/>
                  <a:gd name="T3" fmla="*/ 0 h 406"/>
                  <a:gd name="T4" fmla="*/ 0 w 740"/>
                  <a:gd name="T5" fmla="*/ 0 h 406"/>
                  <a:gd name="T6" fmla="*/ 0 w 740"/>
                  <a:gd name="T7" fmla="*/ 0 h 406"/>
                  <a:gd name="T8" fmla="*/ 0 w 740"/>
                  <a:gd name="T9" fmla="*/ 0 h 406"/>
                  <a:gd name="T10" fmla="*/ 0 w 740"/>
                  <a:gd name="T11" fmla="*/ 0 h 406"/>
                  <a:gd name="T12" fmla="*/ 0 w 740"/>
                  <a:gd name="T13" fmla="*/ 0 h 406"/>
                  <a:gd name="T14" fmla="*/ 0 w 740"/>
                  <a:gd name="T15" fmla="*/ 0 h 406"/>
                  <a:gd name="T16" fmla="*/ 0 w 740"/>
                  <a:gd name="T17" fmla="*/ 0 h 406"/>
                  <a:gd name="T18" fmla="*/ 0 w 740"/>
                  <a:gd name="T19" fmla="*/ 0 h 406"/>
                  <a:gd name="T20" fmla="*/ 0 w 740"/>
                  <a:gd name="T21" fmla="*/ 0 h 406"/>
                  <a:gd name="T22" fmla="*/ 0 w 740"/>
                  <a:gd name="T23" fmla="*/ 0 h 406"/>
                  <a:gd name="T24" fmla="*/ 0 w 740"/>
                  <a:gd name="T25" fmla="*/ 0 h 406"/>
                  <a:gd name="T26" fmla="*/ 0 w 740"/>
                  <a:gd name="T27" fmla="*/ 0 h 406"/>
                  <a:gd name="T28" fmla="*/ 0 w 740"/>
                  <a:gd name="T29" fmla="*/ 0 h 406"/>
                  <a:gd name="T30" fmla="*/ 0 w 740"/>
                  <a:gd name="T31" fmla="*/ 0 h 406"/>
                  <a:gd name="T32" fmla="*/ 0 w 740"/>
                  <a:gd name="T33" fmla="*/ 0 h 406"/>
                  <a:gd name="T34" fmla="*/ 0 w 740"/>
                  <a:gd name="T35" fmla="*/ 0 h 406"/>
                  <a:gd name="T36" fmla="*/ 0 w 740"/>
                  <a:gd name="T37" fmla="*/ 0 h 406"/>
                  <a:gd name="T38" fmla="*/ 0 w 740"/>
                  <a:gd name="T39" fmla="*/ 0 h 406"/>
                  <a:gd name="T40" fmla="*/ 0 w 740"/>
                  <a:gd name="T41" fmla="*/ 0 h 406"/>
                  <a:gd name="T42" fmla="*/ 0 w 740"/>
                  <a:gd name="T43" fmla="*/ 0 h 406"/>
                  <a:gd name="T44" fmla="*/ 0 w 740"/>
                  <a:gd name="T45" fmla="*/ 0 h 406"/>
                  <a:gd name="T46" fmla="*/ 0 w 740"/>
                  <a:gd name="T47" fmla="*/ 0 h 406"/>
                  <a:gd name="T48" fmla="*/ 0 w 740"/>
                  <a:gd name="T49" fmla="*/ 0 h 406"/>
                  <a:gd name="T50" fmla="*/ 0 w 740"/>
                  <a:gd name="T51" fmla="*/ 0 h 406"/>
                  <a:gd name="T52" fmla="*/ 0 w 740"/>
                  <a:gd name="T53" fmla="*/ 0 h 406"/>
                  <a:gd name="T54" fmla="*/ 0 w 740"/>
                  <a:gd name="T55" fmla="*/ 0 h 406"/>
                  <a:gd name="T56" fmla="*/ 0 w 740"/>
                  <a:gd name="T57" fmla="*/ 0 h 406"/>
                  <a:gd name="T58" fmla="*/ 0 w 740"/>
                  <a:gd name="T59" fmla="*/ 0 h 406"/>
                  <a:gd name="T60" fmla="*/ 0 w 740"/>
                  <a:gd name="T61" fmla="*/ 0 h 406"/>
                  <a:gd name="T62" fmla="*/ 0 w 740"/>
                  <a:gd name="T63" fmla="*/ 0 h 406"/>
                  <a:gd name="T64" fmla="*/ 0 w 740"/>
                  <a:gd name="T65" fmla="*/ 0 h 406"/>
                  <a:gd name="T66" fmla="*/ 0 w 740"/>
                  <a:gd name="T67" fmla="*/ 0 h 406"/>
                  <a:gd name="T68" fmla="*/ 0 w 740"/>
                  <a:gd name="T69" fmla="*/ 0 h 406"/>
                  <a:gd name="T70" fmla="*/ 0 w 740"/>
                  <a:gd name="T71" fmla="*/ 0 h 406"/>
                  <a:gd name="T72" fmla="*/ 0 w 740"/>
                  <a:gd name="T73" fmla="*/ 0 h 406"/>
                  <a:gd name="T74" fmla="*/ 0 w 740"/>
                  <a:gd name="T75" fmla="*/ 0 h 406"/>
                  <a:gd name="T76" fmla="*/ 0 w 740"/>
                  <a:gd name="T77" fmla="*/ 0 h 406"/>
                  <a:gd name="T78" fmla="*/ 0 w 740"/>
                  <a:gd name="T79" fmla="*/ 0 h 406"/>
                  <a:gd name="T80" fmla="*/ 0 w 740"/>
                  <a:gd name="T81" fmla="*/ 0 h 406"/>
                  <a:gd name="T82" fmla="*/ 0 w 740"/>
                  <a:gd name="T83" fmla="*/ 0 h 406"/>
                  <a:gd name="T84" fmla="*/ 0 w 740"/>
                  <a:gd name="T85" fmla="*/ 0 h 406"/>
                  <a:gd name="T86" fmla="*/ 0 w 740"/>
                  <a:gd name="T87" fmla="*/ 0 h 406"/>
                  <a:gd name="T88" fmla="*/ 0 w 740"/>
                  <a:gd name="T89" fmla="*/ 0 h 406"/>
                  <a:gd name="T90" fmla="*/ 0 w 740"/>
                  <a:gd name="T91" fmla="*/ 0 h 406"/>
                  <a:gd name="T92" fmla="*/ 0 w 740"/>
                  <a:gd name="T93" fmla="*/ 0 h 406"/>
                  <a:gd name="T94" fmla="*/ 0 w 740"/>
                  <a:gd name="T95" fmla="*/ 0 h 406"/>
                  <a:gd name="T96" fmla="*/ 0 w 740"/>
                  <a:gd name="T97" fmla="*/ 0 h 406"/>
                  <a:gd name="T98" fmla="*/ 0 w 740"/>
                  <a:gd name="T99" fmla="*/ 0 h 406"/>
                  <a:gd name="T100" fmla="*/ 0 w 740"/>
                  <a:gd name="T101" fmla="*/ 0 h 406"/>
                  <a:gd name="T102" fmla="*/ 0 w 740"/>
                  <a:gd name="T103" fmla="*/ 0 h 406"/>
                  <a:gd name="T104" fmla="*/ 0 w 740"/>
                  <a:gd name="T105" fmla="*/ 0 h 406"/>
                  <a:gd name="T106" fmla="*/ 0 w 740"/>
                  <a:gd name="T107" fmla="*/ 0 h 406"/>
                  <a:gd name="T108" fmla="*/ 0 w 740"/>
                  <a:gd name="T109" fmla="*/ 0 h 406"/>
                  <a:gd name="T110" fmla="*/ 0 w 740"/>
                  <a:gd name="T111" fmla="*/ 0 h 406"/>
                  <a:gd name="T112" fmla="*/ 0 w 740"/>
                  <a:gd name="T113" fmla="*/ 0 h 406"/>
                  <a:gd name="T114" fmla="*/ 0 w 740"/>
                  <a:gd name="T115" fmla="*/ 0 h 406"/>
                  <a:gd name="T116" fmla="*/ 0 w 740"/>
                  <a:gd name="T117" fmla="*/ 0 h 406"/>
                  <a:gd name="T118" fmla="*/ 0 w 740"/>
                  <a:gd name="T119" fmla="*/ 0 h 40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40"/>
                  <a:gd name="T181" fmla="*/ 0 h 406"/>
                  <a:gd name="T182" fmla="*/ 740 w 740"/>
                  <a:gd name="T183" fmla="*/ 406 h 406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40" h="406">
                    <a:moveTo>
                      <a:pt x="570" y="135"/>
                    </a:moveTo>
                    <a:lnTo>
                      <a:pt x="562" y="136"/>
                    </a:lnTo>
                    <a:lnTo>
                      <a:pt x="553" y="139"/>
                    </a:lnTo>
                    <a:lnTo>
                      <a:pt x="544" y="143"/>
                    </a:lnTo>
                    <a:lnTo>
                      <a:pt x="535" y="148"/>
                    </a:lnTo>
                    <a:lnTo>
                      <a:pt x="528" y="153"/>
                    </a:lnTo>
                    <a:lnTo>
                      <a:pt x="521" y="161"/>
                    </a:lnTo>
                    <a:lnTo>
                      <a:pt x="515" y="168"/>
                    </a:lnTo>
                    <a:lnTo>
                      <a:pt x="509" y="176"/>
                    </a:lnTo>
                    <a:lnTo>
                      <a:pt x="504" y="184"/>
                    </a:lnTo>
                    <a:lnTo>
                      <a:pt x="502" y="191"/>
                    </a:lnTo>
                    <a:lnTo>
                      <a:pt x="501" y="198"/>
                    </a:lnTo>
                    <a:lnTo>
                      <a:pt x="500" y="205"/>
                    </a:lnTo>
                    <a:lnTo>
                      <a:pt x="500" y="211"/>
                    </a:lnTo>
                    <a:lnTo>
                      <a:pt x="502" y="219"/>
                    </a:lnTo>
                    <a:lnTo>
                      <a:pt x="504" y="225"/>
                    </a:lnTo>
                    <a:lnTo>
                      <a:pt x="506" y="231"/>
                    </a:lnTo>
                    <a:lnTo>
                      <a:pt x="511" y="237"/>
                    </a:lnTo>
                    <a:lnTo>
                      <a:pt x="517" y="243"/>
                    </a:lnTo>
                    <a:lnTo>
                      <a:pt x="524" y="251"/>
                    </a:lnTo>
                    <a:lnTo>
                      <a:pt x="533" y="256"/>
                    </a:lnTo>
                    <a:lnTo>
                      <a:pt x="543" y="260"/>
                    </a:lnTo>
                    <a:lnTo>
                      <a:pt x="553" y="264"/>
                    </a:lnTo>
                    <a:lnTo>
                      <a:pt x="563" y="267"/>
                    </a:lnTo>
                    <a:lnTo>
                      <a:pt x="574" y="268"/>
                    </a:lnTo>
                    <a:lnTo>
                      <a:pt x="585" y="268"/>
                    </a:lnTo>
                    <a:lnTo>
                      <a:pt x="593" y="268"/>
                    </a:lnTo>
                    <a:lnTo>
                      <a:pt x="601" y="266"/>
                    </a:lnTo>
                    <a:lnTo>
                      <a:pt x="608" y="264"/>
                    </a:lnTo>
                    <a:lnTo>
                      <a:pt x="614" y="260"/>
                    </a:lnTo>
                    <a:lnTo>
                      <a:pt x="619" y="256"/>
                    </a:lnTo>
                    <a:lnTo>
                      <a:pt x="624" y="252"/>
                    </a:lnTo>
                    <a:lnTo>
                      <a:pt x="627" y="247"/>
                    </a:lnTo>
                    <a:lnTo>
                      <a:pt x="630" y="239"/>
                    </a:lnTo>
                    <a:lnTo>
                      <a:pt x="632" y="234"/>
                    </a:lnTo>
                    <a:lnTo>
                      <a:pt x="632" y="228"/>
                    </a:lnTo>
                    <a:lnTo>
                      <a:pt x="632" y="223"/>
                    </a:lnTo>
                    <a:lnTo>
                      <a:pt x="629" y="218"/>
                    </a:lnTo>
                    <a:lnTo>
                      <a:pt x="627" y="211"/>
                    </a:lnTo>
                    <a:lnTo>
                      <a:pt x="624" y="206"/>
                    </a:lnTo>
                    <a:lnTo>
                      <a:pt x="620" y="202"/>
                    </a:lnTo>
                    <a:lnTo>
                      <a:pt x="615" y="197"/>
                    </a:lnTo>
                    <a:lnTo>
                      <a:pt x="610" y="194"/>
                    </a:lnTo>
                    <a:lnTo>
                      <a:pt x="604" y="191"/>
                    </a:lnTo>
                    <a:lnTo>
                      <a:pt x="598" y="188"/>
                    </a:lnTo>
                    <a:lnTo>
                      <a:pt x="592" y="186"/>
                    </a:lnTo>
                    <a:lnTo>
                      <a:pt x="586" y="184"/>
                    </a:lnTo>
                    <a:lnTo>
                      <a:pt x="581" y="184"/>
                    </a:lnTo>
                    <a:lnTo>
                      <a:pt x="576" y="184"/>
                    </a:lnTo>
                    <a:lnTo>
                      <a:pt x="571" y="186"/>
                    </a:lnTo>
                    <a:lnTo>
                      <a:pt x="566" y="187"/>
                    </a:lnTo>
                    <a:lnTo>
                      <a:pt x="562" y="189"/>
                    </a:lnTo>
                    <a:lnTo>
                      <a:pt x="559" y="191"/>
                    </a:lnTo>
                    <a:lnTo>
                      <a:pt x="557" y="194"/>
                    </a:lnTo>
                    <a:lnTo>
                      <a:pt x="555" y="197"/>
                    </a:lnTo>
                    <a:lnTo>
                      <a:pt x="553" y="200"/>
                    </a:lnTo>
                    <a:lnTo>
                      <a:pt x="552" y="204"/>
                    </a:lnTo>
                    <a:lnTo>
                      <a:pt x="552" y="208"/>
                    </a:lnTo>
                    <a:lnTo>
                      <a:pt x="573" y="210"/>
                    </a:lnTo>
                    <a:lnTo>
                      <a:pt x="573" y="207"/>
                    </a:lnTo>
                    <a:lnTo>
                      <a:pt x="574" y="205"/>
                    </a:lnTo>
                    <a:lnTo>
                      <a:pt x="576" y="203"/>
                    </a:lnTo>
                    <a:lnTo>
                      <a:pt x="579" y="202"/>
                    </a:lnTo>
                    <a:lnTo>
                      <a:pt x="584" y="201"/>
                    </a:lnTo>
                    <a:lnTo>
                      <a:pt x="589" y="202"/>
                    </a:lnTo>
                    <a:lnTo>
                      <a:pt x="595" y="205"/>
                    </a:lnTo>
                    <a:lnTo>
                      <a:pt x="602" y="208"/>
                    </a:lnTo>
                    <a:lnTo>
                      <a:pt x="606" y="212"/>
                    </a:lnTo>
                    <a:lnTo>
                      <a:pt x="609" y="219"/>
                    </a:lnTo>
                    <a:lnTo>
                      <a:pt x="611" y="222"/>
                    </a:lnTo>
                    <a:lnTo>
                      <a:pt x="611" y="225"/>
                    </a:lnTo>
                    <a:lnTo>
                      <a:pt x="611" y="229"/>
                    </a:lnTo>
                    <a:lnTo>
                      <a:pt x="610" y="234"/>
                    </a:lnTo>
                    <a:lnTo>
                      <a:pt x="608" y="238"/>
                    </a:lnTo>
                    <a:lnTo>
                      <a:pt x="606" y="242"/>
                    </a:lnTo>
                    <a:lnTo>
                      <a:pt x="602" y="245"/>
                    </a:lnTo>
                    <a:lnTo>
                      <a:pt x="598" y="248"/>
                    </a:lnTo>
                    <a:lnTo>
                      <a:pt x="590" y="251"/>
                    </a:lnTo>
                    <a:lnTo>
                      <a:pt x="582" y="252"/>
                    </a:lnTo>
                    <a:lnTo>
                      <a:pt x="574" y="252"/>
                    </a:lnTo>
                    <a:lnTo>
                      <a:pt x="566" y="251"/>
                    </a:lnTo>
                    <a:lnTo>
                      <a:pt x="558" y="249"/>
                    </a:lnTo>
                    <a:lnTo>
                      <a:pt x="551" y="245"/>
                    </a:lnTo>
                    <a:lnTo>
                      <a:pt x="544" y="242"/>
                    </a:lnTo>
                    <a:lnTo>
                      <a:pt x="537" y="238"/>
                    </a:lnTo>
                    <a:lnTo>
                      <a:pt x="532" y="234"/>
                    </a:lnTo>
                    <a:lnTo>
                      <a:pt x="528" y="229"/>
                    </a:lnTo>
                    <a:lnTo>
                      <a:pt x="525" y="224"/>
                    </a:lnTo>
                    <a:lnTo>
                      <a:pt x="523" y="219"/>
                    </a:lnTo>
                    <a:lnTo>
                      <a:pt x="522" y="213"/>
                    </a:lnTo>
                    <a:lnTo>
                      <a:pt x="521" y="208"/>
                    </a:lnTo>
                    <a:lnTo>
                      <a:pt x="522" y="199"/>
                    </a:lnTo>
                    <a:lnTo>
                      <a:pt x="525" y="192"/>
                    </a:lnTo>
                    <a:lnTo>
                      <a:pt x="528" y="184"/>
                    </a:lnTo>
                    <a:lnTo>
                      <a:pt x="532" y="178"/>
                    </a:lnTo>
                    <a:lnTo>
                      <a:pt x="537" y="172"/>
                    </a:lnTo>
                    <a:lnTo>
                      <a:pt x="543" y="167"/>
                    </a:lnTo>
                    <a:lnTo>
                      <a:pt x="549" y="162"/>
                    </a:lnTo>
                    <a:lnTo>
                      <a:pt x="556" y="158"/>
                    </a:lnTo>
                    <a:lnTo>
                      <a:pt x="562" y="154"/>
                    </a:lnTo>
                    <a:lnTo>
                      <a:pt x="570" y="152"/>
                    </a:lnTo>
                    <a:lnTo>
                      <a:pt x="577" y="151"/>
                    </a:lnTo>
                    <a:lnTo>
                      <a:pt x="590" y="148"/>
                    </a:lnTo>
                    <a:lnTo>
                      <a:pt x="603" y="145"/>
                    </a:lnTo>
                    <a:lnTo>
                      <a:pt x="614" y="144"/>
                    </a:lnTo>
                    <a:lnTo>
                      <a:pt x="625" y="143"/>
                    </a:lnTo>
                    <a:lnTo>
                      <a:pt x="636" y="143"/>
                    </a:lnTo>
                    <a:lnTo>
                      <a:pt x="647" y="144"/>
                    </a:lnTo>
                    <a:lnTo>
                      <a:pt x="658" y="148"/>
                    </a:lnTo>
                    <a:lnTo>
                      <a:pt x="670" y="152"/>
                    </a:lnTo>
                    <a:lnTo>
                      <a:pt x="679" y="158"/>
                    </a:lnTo>
                    <a:lnTo>
                      <a:pt x="687" y="163"/>
                    </a:lnTo>
                    <a:lnTo>
                      <a:pt x="695" y="169"/>
                    </a:lnTo>
                    <a:lnTo>
                      <a:pt x="701" y="175"/>
                    </a:lnTo>
                    <a:lnTo>
                      <a:pt x="706" y="182"/>
                    </a:lnTo>
                    <a:lnTo>
                      <a:pt x="711" y="190"/>
                    </a:lnTo>
                    <a:lnTo>
                      <a:pt x="714" y="198"/>
                    </a:lnTo>
                    <a:lnTo>
                      <a:pt x="716" y="207"/>
                    </a:lnTo>
                    <a:lnTo>
                      <a:pt x="718" y="214"/>
                    </a:lnTo>
                    <a:lnTo>
                      <a:pt x="719" y="222"/>
                    </a:lnTo>
                    <a:lnTo>
                      <a:pt x="719" y="229"/>
                    </a:lnTo>
                    <a:lnTo>
                      <a:pt x="718" y="237"/>
                    </a:lnTo>
                    <a:lnTo>
                      <a:pt x="717" y="244"/>
                    </a:lnTo>
                    <a:lnTo>
                      <a:pt x="716" y="253"/>
                    </a:lnTo>
                    <a:lnTo>
                      <a:pt x="714" y="260"/>
                    </a:lnTo>
                    <a:lnTo>
                      <a:pt x="711" y="268"/>
                    </a:lnTo>
                    <a:lnTo>
                      <a:pt x="704" y="283"/>
                    </a:lnTo>
                    <a:lnTo>
                      <a:pt x="696" y="298"/>
                    </a:lnTo>
                    <a:lnTo>
                      <a:pt x="690" y="304"/>
                    </a:lnTo>
                    <a:lnTo>
                      <a:pt x="684" y="312"/>
                    </a:lnTo>
                    <a:lnTo>
                      <a:pt x="678" y="318"/>
                    </a:lnTo>
                    <a:lnTo>
                      <a:pt x="672" y="323"/>
                    </a:lnTo>
                    <a:lnTo>
                      <a:pt x="663" y="331"/>
                    </a:lnTo>
                    <a:lnTo>
                      <a:pt x="651" y="339"/>
                    </a:lnTo>
                    <a:lnTo>
                      <a:pt x="641" y="346"/>
                    </a:lnTo>
                    <a:lnTo>
                      <a:pt x="628" y="352"/>
                    </a:lnTo>
                    <a:lnTo>
                      <a:pt x="616" y="358"/>
                    </a:lnTo>
                    <a:lnTo>
                      <a:pt x="604" y="364"/>
                    </a:lnTo>
                    <a:lnTo>
                      <a:pt x="591" y="369"/>
                    </a:lnTo>
                    <a:lnTo>
                      <a:pt x="578" y="374"/>
                    </a:lnTo>
                    <a:lnTo>
                      <a:pt x="563" y="378"/>
                    </a:lnTo>
                    <a:lnTo>
                      <a:pt x="550" y="381"/>
                    </a:lnTo>
                    <a:lnTo>
                      <a:pt x="535" y="384"/>
                    </a:lnTo>
                    <a:lnTo>
                      <a:pt x="522" y="386"/>
                    </a:lnTo>
                    <a:lnTo>
                      <a:pt x="508" y="387"/>
                    </a:lnTo>
                    <a:lnTo>
                      <a:pt x="494" y="388"/>
                    </a:lnTo>
                    <a:lnTo>
                      <a:pt x="481" y="388"/>
                    </a:lnTo>
                    <a:lnTo>
                      <a:pt x="467" y="388"/>
                    </a:lnTo>
                    <a:lnTo>
                      <a:pt x="442" y="386"/>
                    </a:lnTo>
                    <a:lnTo>
                      <a:pt x="419" y="384"/>
                    </a:lnTo>
                    <a:lnTo>
                      <a:pt x="396" y="382"/>
                    </a:lnTo>
                    <a:lnTo>
                      <a:pt x="375" y="379"/>
                    </a:lnTo>
                    <a:lnTo>
                      <a:pt x="356" y="375"/>
                    </a:lnTo>
                    <a:lnTo>
                      <a:pt x="336" y="372"/>
                    </a:lnTo>
                    <a:lnTo>
                      <a:pt x="317" y="366"/>
                    </a:lnTo>
                    <a:lnTo>
                      <a:pt x="300" y="361"/>
                    </a:lnTo>
                    <a:lnTo>
                      <a:pt x="282" y="356"/>
                    </a:lnTo>
                    <a:lnTo>
                      <a:pt x="265" y="350"/>
                    </a:lnTo>
                    <a:lnTo>
                      <a:pt x="246" y="343"/>
                    </a:lnTo>
                    <a:lnTo>
                      <a:pt x="228" y="335"/>
                    </a:lnTo>
                    <a:lnTo>
                      <a:pt x="191" y="317"/>
                    </a:lnTo>
                    <a:lnTo>
                      <a:pt x="150" y="296"/>
                    </a:lnTo>
                    <a:lnTo>
                      <a:pt x="140" y="291"/>
                    </a:lnTo>
                    <a:lnTo>
                      <a:pt x="129" y="284"/>
                    </a:lnTo>
                    <a:lnTo>
                      <a:pt x="119" y="277"/>
                    </a:lnTo>
                    <a:lnTo>
                      <a:pt x="109" y="268"/>
                    </a:lnTo>
                    <a:lnTo>
                      <a:pt x="99" y="259"/>
                    </a:lnTo>
                    <a:lnTo>
                      <a:pt x="89" y="249"/>
                    </a:lnTo>
                    <a:lnTo>
                      <a:pt x="79" y="238"/>
                    </a:lnTo>
                    <a:lnTo>
                      <a:pt x="70" y="228"/>
                    </a:lnTo>
                    <a:lnTo>
                      <a:pt x="61" y="217"/>
                    </a:lnTo>
                    <a:lnTo>
                      <a:pt x="53" y="205"/>
                    </a:lnTo>
                    <a:lnTo>
                      <a:pt x="46" y="194"/>
                    </a:lnTo>
                    <a:lnTo>
                      <a:pt x="39" y="182"/>
                    </a:lnTo>
                    <a:lnTo>
                      <a:pt x="33" y="171"/>
                    </a:lnTo>
                    <a:lnTo>
                      <a:pt x="29" y="160"/>
                    </a:lnTo>
                    <a:lnTo>
                      <a:pt x="25" y="148"/>
                    </a:lnTo>
                    <a:lnTo>
                      <a:pt x="23" y="138"/>
                    </a:lnTo>
                    <a:lnTo>
                      <a:pt x="22" y="120"/>
                    </a:lnTo>
                    <a:lnTo>
                      <a:pt x="22" y="103"/>
                    </a:lnTo>
                    <a:lnTo>
                      <a:pt x="23" y="95"/>
                    </a:lnTo>
                    <a:lnTo>
                      <a:pt x="24" y="85"/>
                    </a:lnTo>
                    <a:lnTo>
                      <a:pt x="26" y="77"/>
                    </a:lnTo>
                    <a:lnTo>
                      <a:pt x="28" y="69"/>
                    </a:lnTo>
                    <a:lnTo>
                      <a:pt x="32" y="60"/>
                    </a:lnTo>
                    <a:lnTo>
                      <a:pt x="35" y="53"/>
                    </a:lnTo>
                    <a:lnTo>
                      <a:pt x="40" y="46"/>
                    </a:lnTo>
                    <a:lnTo>
                      <a:pt x="46" y="40"/>
                    </a:lnTo>
                    <a:lnTo>
                      <a:pt x="52" y="34"/>
                    </a:lnTo>
                    <a:lnTo>
                      <a:pt x="59" y="28"/>
                    </a:lnTo>
                    <a:lnTo>
                      <a:pt x="66" y="24"/>
                    </a:lnTo>
                    <a:lnTo>
                      <a:pt x="76" y="21"/>
                    </a:lnTo>
                    <a:lnTo>
                      <a:pt x="87" y="18"/>
                    </a:lnTo>
                    <a:lnTo>
                      <a:pt x="99" y="17"/>
                    </a:lnTo>
                    <a:lnTo>
                      <a:pt x="113" y="17"/>
                    </a:lnTo>
                    <a:lnTo>
                      <a:pt x="126" y="19"/>
                    </a:lnTo>
                    <a:lnTo>
                      <a:pt x="140" y="21"/>
                    </a:lnTo>
                    <a:lnTo>
                      <a:pt x="153" y="25"/>
                    </a:lnTo>
                    <a:lnTo>
                      <a:pt x="166" y="30"/>
                    </a:lnTo>
                    <a:lnTo>
                      <a:pt x="178" y="36"/>
                    </a:lnTo>
                    <a:lnTo>
                      <a:pt x="183" y="40"/>
                    </a:lnTo>
                    <a:lnTo>
                      <a:pt x="188" y="44"/>
                    </a:lnTo>
                    <a:lnTo>
                      <a:pt x="193" y="48"/>
                    </a:lnTo>
                    <a:lnTo>
                      <a:pt x="197" y="53"/>
                    </a:lnTo>
                    <a:lnTo>
                      <a:pt x="202" y="59"/>
                    </a:lnTo>
                    <a:lnTo>
                      <a:pt x="205" y="66"/>
                    </a:lnTo>
                    <a:lnTo>
                      <a:pt x="207" y="74"/>
                    </a:lnTo>
                    <a:lnTo>
                      <a:pt x="208" y="82"/>
                    </a:lnTo>
                    <a:lnTo>
                      <a:pt x="207" y="89"/>
                    </a:lnTo>
                    <a:lnTo>
                      <a:pt x="205" y="97"/>
                    </a:lnTo>
                    <a:lnTo>
                      <a:pt x="203" y="103"/>
                    </a:lnTo>
                    <a:lnTo>
                      <a:pt x="199" y="108"/>
                    </a:lnTo>
                    <a:lnTo>
                      <a:pt x="193" y="113"/>
                    </a:lnTo>
                    <a:lnTo>
                      <a:pt x="188" y="117"/>
                    </a:lnTo>
                    <a:lnTo>
                      <a:pt x="181" y="121"/>
                    </a:lnTo>
                    <a:lnTo>
                      <a:pt x="174" y="123"/>
                    </a:lnTo>
                    <a:lnTo>
                      <a:pt x="168" y="126"/>
                    </a:lnTo>
                    <a:lnTo>
                      <a:pt x="160" y="127"/>
                    </a:lnTo>
                    <a:lnTo>
                      <a:pt x="154" y="127"/>
                    </a:lnTo>
                    <a:lnTo>
                      <a:pt x="148" y="126"/>
                    </a:lnTo>
                    <a:lnTo>
                      <a:pt x="142" y="124"/>
                    </a:lnTo>
                    <a:lnTo>
                      <a:pt x="135" y="123"/>
                    </a:lnTo>
                    <a:lnTo>
                      <a:pt x="130" y="120"/>
                    </a:lnTo>
                    <a:lnTo>
                      <a:pt x="126" y="117"/>
                    </a:lnTo>
                    <a:lnTo>
                      <a:pt x="122" y="115"/>
                    </a:lnTo>
                    <a:lnTo>
                      <a:pt x="120" y="111"/>
                    </a:lnTo>
                    <a:lnTo>
                      <a:pt x="118" y="108"/>
                    </a:lnTo>
                    <a:lnTo>
                      <a:pt x="118" y="105"/>
                    </a:lnTo>
                    <a:lnTo>
                      <a:pt x="117" y="98"/>
                    </a:lnTo>
                    <a:lnTo>
                      <a:pt x="119" y="91"/>
                    </a:lnTo>
                    <a:lnTo>
                      <a:pt x="98" y="86"/>
                    </a:lnTo>
                    <a:lnTo>
                      <a:pt x="97" y="92"/>
                    </a:lnTo>
                    <a:lnTo>
                      <a:pt x="96" y="99"/>
                    </a:lnTo>
                    <a:lnTo>
                      <a:pt x="96" y="105"/>
                    </a:lnTo>
                    <a:lnTo>
                      <a:pt x="98" y="110"/>
                    </a:lnTo>
                    <a:lnTo>
                      <a:pt x="100" y="115"/>
                    </a:lnTo>
                    <a:lnTo>
                      <a:pt x="103" y="120"/>
                    </a:lnTo>
                    <a:lnTo>
                      <a:pt x="108" y="126"/>
                    </a:lnTo>
                    <a:lnTo>
                      <a:pt x="113" y="130"/>
                    </a:lnTo>
                    <a:lnTo>
                      <a:pt x="119" y="134"/>
                    </a:lnTo>
                    <a:lnTo>
                      <a:pt x="127" y="138"/>
                    </a:lnTo>
                    <a:lnTo>
                      <a:pt x="135" y="141"/>
                    </a:lnTo>
                    <a:lnTo>
                      <a:pt x="145" y="142"/>
                    </a:lnTo>
                    <a:lnTo>
                      <a:pt x="154" y="143"/>
                    </a:lnTo>
                    <a:lnTo>
                      <a:pt x="163" y="143"/>
                    </a:lnTo>
                    <a:lnTo>
                      <a:pt x="174" y="142"/>
                    </a:lnTo>
                    <a:lnTo>
                      <a:pt x="183" y="140"/>
                    </a:lnTo>
                    <a:lnTo>
                      <a:pt x="192" y="137"/>
                    </a:lnTo>
                    <a:lnTo>
                      <a:pt x="202" y="132"/>
                    </a:lnTo>
                    <a:lnTo>
                      <a:pt x="209" y="126"/>
                    </a:lnTo>
                    <a:lnTo>
                      <a:pt x="216" y="119"/>
                    </a:lnTo>
                    <a:lnTo>
                      <a:pt x="221" y="111"/>
                    </a:lnTo>
                    <a:lnTo>
                      <a:pt x="224" y="103"/>
                    </a:lnTo>
                    <a:lnTo>
                      <a:pt x="227" y="93"/>
                    </a:lnTo>
                    <a:lnTo>
                      <a:pt x="228" y="83"/>
                    </a:lnTo>
                    <a:lnTo>
                      <a:pt x="227" y="75"/>
                    </a:lnTo>
                    <a:lnTo>
                      <a:pt x="225" y="67"/>
                    </a:lnTo>
                    <a:lnTo>
                      <a:pt x="222" y="58"/>
                    </a:lnTo>
                    <a:lnTo>
                      <a:pt x="218" y="50"/>
                    </a:lnTo>
                    <a:lnTo>
                      <a:pt x="213" y="43"/>
                    </a:lnTo>
                    <a:lnTo>
                      <a:pt x="206" y="36"/>
                    </a:lnTo>
                    <a:lnTo>
                      <a:pt x="197" y="28"/>
                    </a:lnTo>
                    <a:lnTo>
                      <a:pt x="188" y="22"/>
                    </a:lnTo>
                    <a:lnTo>
                      <a:pt x="175" y="15"/>
                    </a:lnTo>
                    <a:lnTo>
                      <a:pt x="159" y="10"/>
                    </a:lnTo>
                    <a:lnTo>
                      <a:pt x="144" y="5"/>
                    </a:lnTo>
                    <a:lnTo>
                      <a:pt x="127" y="1"/>
                    </a:lnTo>
                    <a:lnTo>
                      <a:pt x="111" y="0"/>
                    </a:lnTo>
                    <a:lnTo>
                      <a:pt x="95" y="0"/>
                    </a:lnTo>
                    <a:lnTo>
                      <a:pt x="80" y="1"/>
                    </a:lnTo>
                    <a:lnTo>
                      <a:pt x="66" y="6"/>
                    </a:lnTo>
                    <a:lnTo>
                      <a:pt x="56" y="9"/>
                    </a:lnTo>
                    <a:lnTo>
                      <a:pt x="47" y="14"/>
                    </a:lnTo>
                    <a:lnTo>
                      <a:pt x="37" y="20"/>
                    </a:lnTo>
                    <a:lnTo>
                      <a:pt x="30" y="27"/>
                    </a:lnTo>
                    <a:lnTo>
                      <a:pt x="24" y="35"/>
                    </a:lnTo>
                    <a:lnTo>
                      <a:pt x="19" y="43"/>
                    </a:lnTo>
                    <a:lnTo>
                      <a:pt x="14" y="51"/>
                    </a:lnTo>
                    <a:lnTo>
                      <a:pt x="9" y="60"/>
                    </a:lnTo>
                    <a:lnTo>
                      <a:pt x="6" y="70"/>
                    </a:lnTo>
                    <a:lnTo>
                      <a:pt x="4" y="79"/>
                    </a:lnTo>
                    <a:lnTo>
                      <a:pt x="2" y="89"/>
                    </a:lnTo>
                    <a:lnTo>
                      <a:pt x="1" y="99"/>
                    </a:lnTo>
                    <a:lnTo>
                      <a:pt x="0" y="109"/>
                    </a:lnTo>
                    <a:lnTo>
                      <a:pt x="0" y="118"/>
                    </a:lnTo>
                    <a:lnTo>
                      <a:pt x="1" y="129"/>
                    </a:lnTo>
                    <a:lnTo>
                      <a:pt x="2" y="138"/>
                    </a:lnTo>
                    <a:lnTo>
                      <a:pt x="4" y="149"/>
                    </a:lnTo>
                    <a:lnTo>
                      <a:pt x="8" y="162"/>
                    </a:lnTo>
                    <a:lnTo>
                      <a:pt x="14" y="174"/>
                    </a:lnTo>
                    <a:lnTo>
                      <a:pt x="20" y="187"/>
                    </a:lnTo>
                    <a:lnTo>
                      <a:pt x="27" y="199"/>
                    </a:lnTo>
                    <a:lnTo>
                      <a:pt x="34" y="211"/>
                    </a:lnTo>
                    <a:lnTo>
                      <a:pt x="44" y="224"/>
                    </a:lnTo>
                    <a:lnTo>
                      <a:pt x="53" y="236"/>
                    </a:lnTo>
                    <a:lnTo>
                      <a:pt x="63" y="248"/>
                    </a:lnTo>
                    <a:lnTo>
                      <a:pt x="73" y="259"/>
                    </a:lnTo>
                    <a:lnTo>
                      <a:pt x="84" y="269"/>
                    </a:lnTo>
                    <a:lnTo>
                      <a:pt x="95" y="280"/>
                    </a:lnTo>
                    <a:lnTo>
                      <a:pt x="107" y="288"/>
                    </a:lnTo>
                    <a:lnTo>
                      <a:pt x="118" y="296"/>
                    </a:lnTo>
                    <a:lnTo>
                      <a:pt x="129" y="304"/>
                    </a:lnTo>
                    <a:lnTo>
                      <a:pt x="140" y="311"/>
                    </a:lnTo>
                    <a:lnTo>
                      <a:pt x="182" y="332"/>
                    </a:lnTo>
                    <a:lnTo>
                      <a:pt x="221" y="350"/>
                    </a:lnTo>
                    <a:lnTo>
                      <a:pt x="240" y="358"/>
                    </a:lnTo>
                    <a:lnTo>
                      <a:pt x="258" y="365"/>
                    </a:lnTo>
                    <a:lnTo>
                      <a:pt x="276" y="372"/>
                    </a:lnTo>
                    <a:lnTo>
                      <a:pt x="295" y="378"/>
                    </a:lnTo>
                    <a:lnTo>
                      <a:pt x="313" y="383"/>
                    </a:lnTo>
                    <a:lnTo>
                      <a:pt x="332" y="388"/>
                    </a:lnTo>
                    <a:lnTo>
                      <a:pt x="351" y="392"/>
                    </a:lnTo>
                    <a:lnTo>
                      <a:pt x="372" y="395"/>
                    </a:lnTo>
                    <a:lnTo>
                      <a:pt x="394" y="399"/>
                    </a:lnTo>
                    <a:lnTo>
                      <a:pt x="418" y="401"/>
                    </a:lnTo>
                    <a:lnTo>
                      <a:pt x="441" y="404"/>
                    </a:lnTo>
                    <a:lnTo>
                      <a:pt x="468" y="405"/>
                    </a:lnTo>
                    <a:lnTo>
                      <a:pt x="483" y="406"/>
                    </a:lnTo>
                    <a:lnTo>
                      <a:pt x="497" y="406"/>
                    </a:lnTo>
                    <a:lnTo>
                      <a:pt x="512" y="405"/>
                    </a:lnTo>
                    <a:lnTo>
                      <a:pt x="527" y="403"/>
                    </a:lnTo>
                    <a:lnTo>
                      <a:pt x="542" y="401"/>
                    </a:lnTo>
                    <a:lnTo>
                      <a:pt x="557" y="397"/>
                    </a:lnTo>
                    <a:lnTo>
                      <a:pt x="572" y="393"/>
                    </a:lnTo>
                    <a:lnTo>
                      <a:pt x="586" y="389"/>
                    </a:lnTo>
                    <a:lnTo>
                      <a:pt x="601" y="385"/>
                    </a:lnTo>
                    <a:lnTo>
                      <a:pt x="615" y="379"/>
                    </a:lnTo>
                    <a:lnTo>
                      <a:pt x="628" y="374"/>
                    </a:lnTo>
                    <a:lnTo>
                      <a:pt x="642" y="366"/>
                    </a:lnTo>
                    <a:lnTo>
                      <a:pt x="654" y="360"/>
                    </a:lnTo>
                    <a:lnTo>
                      <a:pt x="666" y="352"/>
                    </a:lnTo>
                    <a:lnTo>
                      <a:pt x="677" y="345"/>
                    </a:lnTo>
                    <a:lnTo>
                      <a:pt x="687" y="335"/>
                    </a:lnTo>
                    <a:lnTo>
                      <a:pt x="695" y="329"/>
                    </a:lnTo>
                    <a:lnTo>
                      <a:pt x="702" y="322"/>
                    </a:lnTo>
                    <a:lnTo>
                      <a:pt x="708" y="315"/>
                    </a:lnTo>
                    <a:lnTo>
                      <a:pt x="713" y="308"/>
                    </a:lnTo>
                    <a:lnTo>
                      <a:pt x="718" y="299"/>
                    </a:lnTo>
                    <a:lnTo>
                      <a:pt x="723" y="291"/>
                    </a:lnTo>
                    <a:lnTo>
                      <a:pt x="728" y="283"/>
                    </a:lnTo>
                    <a:lnTo>
                      <a:pt x="731" y="273"/>
                    </a:lnTo>
                    <a:lnTo>
                      <a:pt x="734" y="265"/>
                    </a:lnTo>
                    <a:lnTo>
                      <a:pt x="737" y="257"/>
                    </a:lnTo>
                    <a:lnTo>
                      <a:pt x="738" y="248"/>
                    </a:lnTo>
                    <a:lnTo>
                      <a:pt x="739" y="239"/>
                    </a:lnTo>
                    <a:lnTo>
                      <a:pt x="740" y="230"/>
                    </a:lnTo>
                    <a:lnTo>
                      <a:pt x="740" y="222"/>
                    </a:lnTo>
                    <a:lnTo>
                      <a:pt x="739" y="213"/>
                    </a:lnTo>
                    <a:lnTo>
                      <a:pt x="737" y="205"/>
                    </a:lnTo>
                    <a:lnTo>
                      <a:pt x="734" y="195"/>
                    </a:lnTo>
                    <a:lnTo>
                      <a:pt x="730" y="184"/>
                    </a:lnTo>
                    <a:lnTo>
                      <a:pt x="723" y="175"/>
                    </a:lnTo>
                    <a:lnTo>
                      <a:pt x="717" y="167"/>
                    </a:lnTo>
                    <a:lnTo>
                      <a:pt x="709" y="159"/>
                    </a:lnTo>
                    <a:lnTo>
                      <a:pt x="701" y="151"/>
                    </a:lnTo>
                    <a:lnTo>
                      <a:pt x="690" y="144"/>
                    </a:lnTo>
                    <a:lnTo>
                      <a:pt x="679" y="138"/>
                    </a:lnTo>
                    <a:lnTo>
                      <a:pt x="665" y="132"/>
                    </a:lnTo>
                    <a:lnTo>
                      <a:pt x="650" y="129"/>
                    </a:lnTo>
                    <a:lnTo>
                      <a:pt x="637" y="127"/>
                    </a:lnTo>
                    <a:lnTo>
                      <a:pt x="623" y="126"/>
                    </a:lnTo>
                    <a:lnTo>
                      <a:pt x="610" y="127"/>
                    </a:lnTo>
                    <a:lnTo>
                      <a:pt x="596" y="129"/>
                    </a:lnTo>
                    <a:lnTo>
                      <a:pt x="583" y="132"/>
                    </a:lnTo>
                    <a:lnTo>
                      <a:pt x="570" y="135"/>
                    </a:lnTo>
                    <a:close/>
                  </a:path>
                </a:pathLst>
              </a:custGeom>
              <a:solidFill>
                <a:srgbClr val="F1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54" name="Freeform 130"/>
              <p:cNvSpPr>
                <a:spLocks/>
              </p:cNvSpPr>
              <p:nvPr/>
            </p:nvSpPr>
            <p:spPr bwMode="auto">
              <a:xfrm>
                <a:off x="3441" y="1850"/>
                <a:ext cx="18" cy="66"/>
              </a:xfrm>
              <a:custGeom>
                <a:avLst/>
                <a:gdLst>
                  <a:gd name="T0" fmla="*/ 0 w 129"/>
                  <a:gd name="T1" fmla="*/ 0 h 459"/>
                  <a:gd name="T2" fmla="*/ 0 w 129"/>
                  <a:gd name="T3" fmla="*/ 0 h 459"/>
                  <a:gd name="T4" fmla="*/ 0 w 129"/>
                  <a:gd name="T5" fmla="*/ 0 h 459"/>
                  <a:gd name="T6" fmla="*/ 0 w 129"/>
                  <a:gd name="T7" fmla="*/ 0 h 459"/>
                  <a:gd name="T8" fmla="*/ 0 w 129"/>
                  <a:gd name="T9" fmla="*/ 0 h 459"/>
                  <a:gd name="T10" fmla="*/ 0 w 129"/>
                  <a:gd name="T11" fmla="*/ 0 h 459"/>
                  <a:gd name="T12" fmla="*/ 0 w 129"/>
                  <a:gd name="T13" fmla="*/ 0 h 459"/>
                  <a:gd name="T14" fmla="*/ 0 w 129"/>
                  <a:gd name="T15" fmla="*/ 0 h 459"/>
                  <a:gd name="T16" fmla="*/ 0 w 129"/>
                  <a:gd name="T17" fmla="*/ 0 h 459"/>
                  <a:gd name="T18" fmla="*/ 0 w 129"/>
                  <a:gd name="T19" fmla="*/ 0 h 459"/>
                  <a:gd name="T20" fmla="*/ 0 w 129"/>
                  <a:gd name="T21" fmla="*/ 0 h 459"/>
                  <a:gd name="T22" fmla="*/ 0 w 129"/>
                  <a:gd name="T23" fmla="*/ 0 h 459"/>
                  <a:gd name="T24" fmla="*/ 0 w 129"/>
                  <a:gd name="T25" fmla="*/ 0 h 459"/>
                  <a:gd name="T26" fmla="*/ 0 w 129"/>
                  <a:gd name="T27" fmla="*/ 0 h 459"/>
                  <a:gd name="T28" fmla="*/ 0 w 129"/>
                  <a:gd name="T29" fmla="*/ 0 h 459"/>
                  <a:gd name="T30" fmla="*/ 0 w 129"/>
                  <a:gd name="T31" fmla="*/ 0 h 459"/>
                  <a:gd name="T32" fmla="*/ 0 w 129"/>
                  <a:gd name="T33" fmla="*/ 0 h 459"/>
                  <a:gd name="T34" fmla="*/ 0 w 129"/>
                  <a:gd name="T35" fmla="*/ 0 h 459"/>
                  <a:gd name="T36" fmla="*/ 0 w 129"/>
                  <a:gd name="T37" fmla="*/ 0 h 459"/>
                  <a:gd name="T38" fmla="*/ 0 w 129"/>
                  <a:gd name="T39" fmla="*/ 0 h 459"/>
                  <a:gd name="T40" fmla="*/ 0 w 129"/>
                  <a:gd name="T41" fmla="*/ 0 h 459"/>
                  <a:gd name="T42" fmla="*/ 0 w 129"/>
                  <a:gd name="T43" fmla="*/ 0 h 459"/>
                  <a:gd name="T44" fmla="*/ 0 w 129"/>
                  <a:gd name="T45" fmla="*/ 0 h 459"/>
                  <a:gd name="T46" fmla="*/ 0 w 129"/>
                  <a:gd name="T47" fmla="*/ 0 h 459"/>
                  <a:gd name="T48" fmla="*/ 0 w 129"/>
                  <a:gd name="T49" fmla="*/ 0 h 459"/>
                  <a:gd name="T50" fmla="*/ 0 w 129"/>
                  <a:gd name="T51" fmla="*/ 0 h 459"/>
                  <a:gd name="T52" fmla="*/ 0 w 129"/>
                  <a:gd name="T53" fmla="*/ 0 h 459"/>
                  <a:gd name="T54" fmla="*/ 0 w 129"/>
                  <a:gd name="T55" fmla="*/ 0 h 459"/>
                  <a:gd name="T56" fmla="*/ 0 w 129"/>
                  <a:gd name="T57" fmla="*/ 0 h 459"/>
                  <a:gd name="T58" fmla="*/ 0 w 129"/>
                  <a:gd name="T59" fmla="*/ 0 h 459"/>
                  <a:gd name="T60" fmla="*/ 0 w 129"/>
                  <a:gd name="T61" fmla="*/ 0 h 459"/>
                  <a:gd name="T62" fmla="*/ 0 w 129"/>
                  <a:gd name="T63" fmla="*/ 0 h 459"/>
                  <a:gd name="T64" fmla="*/ 0 w 129"/>
                  <a:gd name="T65" fmla="*/ 0 h 459"/>
                  <a:gd name="T66" fmla="*/ 0 w 129"/>
                  <a:gd name="T67" fmla="*/ 0 h 459"/>
                  <a:gd name="T68" fmla="*/ 0 w 129"/>
                  <a:gd name="T69" fmla="*/ 0 h 459"/>
                  <a:gd name="T70" fmla="*/ 0 w 129"/>
                  <a:gd name="T71" fmla="*/ 0 h 459"/>
                  <a:gd name="T72" fmla="*/ 0 w 129"/>
                  <a:gd name="T73" fmla="*/ 0 h 459"/>
                  <a:gd name="T74" fmla="*/ 0 w 129"/>
                  <a:gd name="T75" fmla="*/ 0 h 459"/>
                  <a:gd name="T76" fmla="*/ 0 w 129"/>
                  <a:gd name="T77" fmla="*/ 0 h 459"/>
                  <a:gd name="T78" fmla="*/ 0 w 129"/>
                  <a:gd name="T79" fmla="*/ 0 h 459"/>
                  <a:gd name="T80" fmla="*/ 0 w 129"/>
                  <a:gd name="T81" fmla="*/ 0 h 459"/>
                  <a:gd name="T82" fmla="*/ 0 w 129"/>
                  <a:gd name="T83" fmla="*/ 0 h 459"/>
                  <a:gd name="T84" fmla="*/ 0 w 129"/>
                  <a:gd name="T85" fmla="*/ 0 h 459"/>
                  <a:gd name="T86" fmla="*/ 0 w 129"/>
                  <a:gd name="T87" fmla="*/ 0 h 459"/>
                  <a:gd name="T88" fmla="*/ 0 w 129"/>
                  <a:gd name="T89" fmla="*/ 0 h 459"/>
                  <a:gd name="T90" fmla="*/ 0 w 129"/>
                  <a:gd name="T91" fmla="*/ 0 h 459"/>
                  <a:gd name="T92" fmla="*/ 0 w 129"/>
                  <a:gd name="T93" fmla="*/ 0 h 459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29"/>
                  <a:gd name="T142" fmla="*/ 0 h 459"/>
                  <a:gd name="T143" fmla="*/ 129 w 129"/>
                  <a:gd name="T144" fmla="*/ 459 h 459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29" h="459">
                    <a:moveTo>
                      <a:pt x="100" y="0"/>
                    </a:moveTo>
                    <a:lnTo>
                      <a:pt x="84" y="4"/>
                    </a:lnTo>
                    <a:lnTo>
                      <a:pt x="70" y="10"/>
                    </a:lnTo>
                    <a:lnTo>
                      <a:pt x="57" y="16"/>
                    </a:lnTo>
                    <a:lnTo>
                      <a:pt x="45" y="26"/>
                    </a:lnTo>
                    <a:lnTo>
                      <a:pt x="36" y="35"/>
                    </a:lnTo>
                    <a:lnTo>
                      <a:pt x="28" y="46"/>
                    </a:lnTo>
                    <a:lnTo>
                      <a:pt x="20" y="59"/>
                    </a:lnTo>
                    <a:lnTo>
                      <a:pt x="14" y="71"/>
                    </a:lnTo>
                    <a:lnTo>
                      <a:pt x="9" y="86"/>
                    </a:lnTo>
                    <a:lnTo>
                      <a:pt x="6" y="101"/>
                    </a:lnTo>
                    <a:lnTo>
                      <a:pt x="3" y="117"/>
                    </a:lnTo>
                    <a:lnTo>
                      <a:pt x="1" y="133"/>
                    </a:lnTo>
                    <a:lnTo>
                      <a:pt x="0" y="150"/>
                    </a:lnTo>
                    <a:lnTo>
                      <a:pt x="0" y="167"/>
                    </a:lnTo>
                    <a:lnTo>
                      <a:pt x="1" y="185"/>
                    </a:lnTo>
                    <a:lnTo>
                      <a:pt x="2" y="204"/>
                    </a:lnTo>
                    <a:lnTo>
                      <a:pt x="6" y="240"/>
                    </a:lnTo>
                    <a:lnTo>
                      <a:pt x="12" y="277"/>
                    </a:lnTo>
                    <a:lnTo>
                      <a:pt x="19" y="313"/>
                    </a:lnTo>
                    <a:lnTo>
                      <a:pt x="28" y="348"/>
                    </a:lnTo>
                    <a:lnTo>
                      <a:pt x="43" y="411"/>
                    </a:lnTo>
                    <a:lnTo>
                      <a:pt x="56" y="459"/>
                    </a:lnTo>
                    <a:lnTo>
                      <a:pt x="66" y="450"/>
                    </a:lnTo>
                    <a:lnTo>
                      <a:pt x="74" y="439"/>
                    </a:lnTo>
                    <a:lnTo>
                      <a:pt x="80" y="427"/>
                    </a:lnTo>
                    <a:lnTo>
                      <a:pt x="87" y="414"/>
                    </a:lnTo>
                    <a:lnTo>
                      <a:pt x="92" y="399"/>
                    </a:lnTo>
                    <a:lnTo>
                      <a:pt x="97" y="384"/>
                    </a:lnTo>
                    <a:lnTo>
                      <a:pt x="100" y="368"/>
                    </a:lnTo>
                    <a:lnTo>
                      <a:pt x="103" y="352"/>
                    </a:lnTo>
                    <a:lnTo>
                      <a:pt x="108" y="319"/>
                    </a:lnTo>
                    <a:lnTo>
                      <a:pt x="112" y="287"/>
                    </a:lnTo>
                    <a:lnTo>
                      <a:pt x="115" y="258"/>
                    </a:lnTo>
                    <a:lnTo>
                      <a:pt x="120" y="234"/>
                    </a:lnTo>
                    <a:lnTo>
                      <a:pt x="123" y="217"/>
                    </a:lnTo>
                    <a:lnTo>
                      <a:pt x="126" y="203"/>
                    </a:lnTo>
                    <a:lnTo>
                      <a:pt x="128" y="187"/>
                    </a:lnTo>
                    <a:lnTo>
                      <a:pt x="129" y="173"/>
                    </a:lnTo>
                    <a:lnTo>
                      <a:pt x="129" y="158"/>
                    </a:lnTo>
                    <a:lnTo>
                      <a:pt x="129" y="144"/>
                    </a:lnTo>
                    <a:lnTo>
                      <a:pt x="128" y="129"/>
                    </a:lnTo>
                    <a:lnTo>
                      <a:pt x="127" y="116"/>
                    </a:lnTo>
                    <a:lnTo>
                      <a:pt x="123" y="88"/>
                    </a:lnTo>
                    <a:lnTo>
                      <a:pt x="117" y="59"/>
                    </a:lnTo>
                    <a:lnTo>
                      <a:pt x="109" y="30"/>
                    </a:lnTo>
                    <a:lnTo>
                      <a:pt x="100" y="0"/>
                    </a:lnTo>
                    <a:close/>
                  </a:path>
                </a:pathLst>
              </a:custGeom>
              <a:solidFill>
                <a:srgbClr val="F1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55" name="Freeform 131"/>
              <p:cNvSpPr>
                <a:spLocks/>
              </p:cNvSpPr>
              <p:nvPr/>
            </p:nvSpPr>
            <p:spPr bwMode="auto">
              <a:xfrm>
                <a:off x="3398" y="1853"/>
                <a:ext cx="108" cy="74"/>
              </a:xfrm>
              <a:custGeom>
                <a:avLst/>
                <a:gdLst>
                  <a:gd name="T0" fmla="*/ 0 w 757"/>
                  <a:gd name="T1" fmla="*/ 0 h 513"/>
                  <a:gd name="T2" fmla="*/ 0 w 757"/>
                  <a:gd name="T3" fmla="*/ 0 h 513"/>
                  <a:gd name="T4" fmla="*/ 0 w 757"/>
                  <a:gd name="T5" fmla="*/ 0 h 513"/>
                  <a:gd name="T6" fmla="*/ 0 w 757"/>
                  <a:gd name="T7" fmla="*/ 0 h 513"/>
                  <a:gd name="T8" fmla="*/ 0 w 757"/>
                  <a:gd name="T9" fmla="*/ 0 h 513"/>
                  <a:gd name="T10" fmla="*/ 0 w 757"/>
                  <a:gd name="T11" fmla="*/ 0 h 513"/>
                  <a:gd name="T12" fmla="*/ 0 w 757"/>
                  <a:gd name="T13" fmla="*/ 0 h 513"/>
                  <a:gd name="T14" fmla="*/ 0 w 757"/>
                  <a:gd name="T15" fmla="*/ 0 h 513"/>
                  <a:gd name="T16" fmla="*/ 0 w 757"/>
                  <a:gd name="T17" fmla="*/ 0 h 513"/>
                  <a:gd name="T18" fmla="*/ 0 w 757"/>
                  <a:gd name="T19" fmla="*/ 0 h 513"/>
                  <a:gd name="T20" fmla="*/ 0 w 757"/>
                  <a:gd name="T21" fmla="*/ 0 h 513"/>
                  <a:gd name="T22" fmla="*/ 0 w 757"/>
                  <a:gd name="T23" fmla="*/ 0 h 513"/>
                  <a:gd name="T24" fmla="*/ 0 w 757"/>
                  <a:gd name="T25" fmla="*/ 0 h 513"/>
                  <a:gd name="T26" fmla="*/ 0 w 757"/>
                  <a:gd name="T27" fmla="*/ 0 h 513"/>
                  <a:gd name="T28" fmla="*/ 0 w 757"/>
                  <a:gd name="T29" fmla="*/ 0 h 513"/>
                  <a:gd name="T30" fmla="*/ 0 w 757"/>
                  <a:gd name="T31" fmla="*/ 0 h 513"/>
                  <a:gd name="T32" fmla="*/ 0 w 757"/>
                  <a:gd name="T33" fmla="*/ 0 h 513"/>
                  <a:gd name="T34" fmla="*/ 0 w 757"/>
                  <a:gd name="T35" fmla="*/ 0 h 513"/>
                  <a:gd name="T36" fmla="*/ 0 w 757"/>
                  <a:gd name="T37" fmla="*/ 0 h 513"/>
                  <a:gd name="T38" fmla="*/ 0 w 757"/>
                  <a:gd name="T39" fmla="*/ 0 h 513"/>
                  <a:gd name="T40" fmla="*/ 0 w 757"/>
                  <a:gd name="T41" fmla="*/ 0 h 513"/>
                  <a:gd name="T42" fmla="*/ 0 w 757"/>
                  <a:gd name="T43" fmla="*/ 0 h 513"/>
                  <a:gd name="T44" fmla="*/ 0 w 757"/>
                  <a:gd name="T45" fmla="*/ 0 h 513"/>
                  <a:gd name="T46" fmla="*/ 0 w 757"/>
                  <a:gd name="T47" fmla="*/ 0 h 513"/>
                  <a:gd name="T48" fmla="*/ 0 w 757"/>
                  <a:gd name="T49" fmla="*/ 0 h 513"/>
                  <a:gd name="T50" fmla="*/ 0 w 757"/>
                  <a:gd name="T51" fmla="*/ 0 h 513"/>
                  <a:gd name="T52" fmla="*/ 0 w 757"/>
                  <a:gd name="T53" fmla="*/ 0 h 513"/>
                  <a:gd name="T54" fmla="*/ 0 w 757"/>
                  <a:gd name="T55" fmla="*/ 0 h 513"/>
                  <a:gd name="T56" fmla="*/ 0 w 757"/>
                  <a:gd name="T57" fmla="*/ 0 h 513"/>
                  <a:gd name="T58" fmla="*/ 0 w 757"/>
                  <a:gd name="T59" fmla="*/ 0 h 513"/>
                  <a:gd name="T60" fmla="*/ 0 w 757"/>
                  <a:gd name="T61" fmla="*/ 0 h 513"/>
                  <a:gd name="T62" fmla="*/ 0 w 757"/>
                  <a:gd name="T63" fmla="*/ 0 h 513"/>
                  <a:gd name="T64" fmla="*/ 0 w 757"/>
                  <a:gd name="T65" fmla="*/ 0 h 513"/>
                  <a:gd name="T66" fmla="*/ 0 w 757"/>
                  <a:gd name="T67" fmla="*/ 0 h 513"/>
                  <a:gd name="T68" fmla="*/ 0 w 757"/>
                  <a:gd name="T69" fmla="*/ 0 h 513"/>
                  <a:gd name="T70" fmla="*/ 0 w 757"/>
                  <a:gd name="T71" fmla="*/ 0 h 513"/>
                  <a:gd name="T72" fmla="*/ 0 w 757"/>
                  <a:gd name="T73" fmla="*/ 0 h 513"/>
                  <a:gd name="T74" fmla="*/ 0 w 757"/>
                  <a:gd name="T75" fmla="*/ 0 h 513"/>
                  <a:gd name="T76" fmla="*/ 0 w 757"/>
                  <a:gd name="T77" fmla="*/ 0 h 513"/>
                  <a:gd name="T78" fmla="*/ 0 w 757"/>
                  <a:gd name="T79" fmla="*/ 0 h 513"/>
                  <a:gd name="T80" fmla="*/ 0 w 757"/>
                  <a:gd name="T81" fmla="*/ 0 h 513"/>
                  <a:gd name="T82" fmla="*/ 0 w 757"/>
                  <a:gd name="T83" fmla="*/ 0 h 513"/>
                  <a:gd name="T84" fmla="*/ 0 w 757"/>
                  <a:gd name="T85" fmla="*/ 0 h 513"/>
                  <a:gd name="T86" fmla="*/ 0 w 757"/>
                  <a:gd name="T87" fmla="*/ 0 h 513"/>
                  <a:gd name="T88" fmla="*/ 0 w 757"/>
                  <a:gd name="T89" fmla="*/ 0 h 513"/>
                  <a:gd name="T90" fmla="*/ 0 w 757"/>
                  <a:gd name="T91" fmla="*/ 0 h 513"/>
                  <a:gd name="T92" fmla="*/ 0 w 757"/>
                  <a:gd name="T93" fmla="*/ 0 h 513"/>
                  <a:gd name="T94" fmla="*/ 0 w 757"/>
                  <a:gd name="T95" fmla="*/ 0 h 513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57"/>
                  <a:gd name="T145" fmla="*/ 0 h 513"/>
                  <a:gd name="T146" fmla="*/ 757 w 757"/>
                  <a:gd name="T147" fmla="*/ 513 h 513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57" h="513">
                    <a:moveTo>
                      <a:pt x="637" y="28"/>
                    </a:moveTo>
                    <a:lnTo>
                      <a:pt x="624" y="30"/>
                    </a:lnTo>
                    <a:lnTo>
                      <a:pt x="613" y="32"/>
                    </a:lnTo>
                    <a:lnTo>
                      <a:pt x="601" y="34"/>
                    </a:lnTo>
                    <a:lnTo>
                      <a:pt x="589" y="38"/>
                    </a:lnTo>
                    <a:lnTo>
                      <a:pt x="579" y="42"/>
                    </a:lnTo>
                    <a:lnTo>
                      <a:pt x="568" y="47"/>
                    </a:lnTo>
                    <a:lnTo>
                      <a:pt x="558" y="53"/>
                    </a:lnTo>
                    <a:lnTo>
                      <a:pt x="548" y="60"/>
                    </a:lnTo>
                    <a:lnTo>
                      <a:pt x="539" y="66"/>
                    </a:lnTo>
                    <a:lnTo>
                      <a:pt x="530" y="73"/>
                    </a:lnTo>
                    <a:lnTo>
                      <a:pt x="521" y="80"/>
                    </a:lnTo>
                    <a:lnTo>
                      <a:pt x="514" y="88"/>
                    </a:lnTo>
                    <a:lnTo>
                      <a:pt x="499" y="104"/>
                    </a:lnTo>
                    <a:lnTo>
                      <a:pt x="487" y="121"/>
                    </a:lnTo>
                    <a:lnTo>
                      <a:pt x="481" y="130"/>
                    </a:lnTo>
                    <a:lnTo>
                      <a:pt x="475" y="142"/>
                    </a:lnTo>
                    <a:lnTo>
                      <a:pt x="470" y="157"/>
                    </a:lnTo>
                    <a:lnTo>
                      <a:pt x="465" y="173"/>
                    </a:lnTo>
                    <a:lnTo>
                      <a:pt x="456" y="211"/>
                    </a:lnTo>
                    <a:lnTo>
                      <a:pt x="447" y="252"/>
                    </a:lnTo>
                    <a:lnTo>
                      <a:pt x="439" y="292"/>
                    </a:lnTo>
                    <a:lnTo>
                      <a:pt x="433" y="331"/>
                    </a:lnTo>
                    <a:lnTo>
                      <a:pt x="428" y="362"/>
                    </a:lnTo>
                    <a:lnTo>
                      <a:pt x="426" y="383"/>
                    </a:lnTo>
                    <a:lnTo>
                      <a:pt x="424" y="398"/>
                    </a:lnTo>
                    <a:lnTo>
                      <a:pt x="423" y="410"/>
                    </a:lnTo>
                    <a:lnTo>
                      <a:pt x="421" y="422"/>
                    </a:lnTo>
                    <a:lnTo>
                      <a:pt x="419" y="432"/>
                    </a:lnTo>
                    <a:lnTo>
                      <a:pt x="414" y="441"/>
                    </a:lnTo>
                    <a:lnTo>
                      <a:pt x="408" y="452"/>
                    </a:lnTo>
                    <a:lnTo>
                      <a:pt x="400" y="462"/>
                    </a:lnTo>
                    <a:lnTo>
                      <a:pt x="388" y="473"/>
                    </a:lnTo>
                    <a:lnTo>
                      <a:pt x="382" y="477"/>
                    </a:lnTo>
                    <a:lnTo>
                      <a:pt x="376" y="480"/>
                    </a:lnTo>
                    <a:lnTo>
                      <a:pt x="370" y="483"/>
                    </a:lnTo>
                    <a:lnTo>
                      <a:pt x="363" y="484"/>
                    </a:lnTo>
                    <a:lnTo>
                      <a:pt x="357" y="484"/>
                    </a:lnTo>
                    <a:lnTo>
                      <a:pt x="349" y="483"/>
                    </a:lnTo>
                    <a:lnTo>
                      <a:pt x="342" y="480"/>
                    </a:lnTo>
                    <a:lnTo>
                      <a:pt x="336" y="477"/>
                    </a:lnTo>
                    <a:lnTo>
                      <a:pt x="329" y="474"/>
                    </a:lnTo>
                    <a:lnTo>
                      <a:pt x="323" y="470"/>
                    </a:lnTo>
                    <a:lnTo>
                      <a:pt x="316" y="465"/>
                    </a:lnTo>
                    <a:lnTo>
                      <a:pt x="311" y="460"/>
                    </a:lnTo>
                    <a:lnTo>
                      <a:pt x="306" y="455"/>
                    </a:lnTo>
                    <a:lnTo>
                      <a:pt x="302" y="448"/>
                    </a:lnTo>
                    <a:lnTo>
                      <a:pt x="298" y="442"/>
                    </a:lnTo>
                    <a:lnTo>
                      <a:pt x="295" y="435"/>
                    </a:lnTo>
                    <a:lnTo>
                      <a:pt x="292" y="420"/>
                    </a:lnTo>
                    <a:lnTo>
                      <a:pt x="289" y="406"/>
                    </a:lnTo>
                    <a:lnTo>
                      <a:pt x="288" y="389"/>
                    </a:lnTo>
                    <a:lnTo>
                      <a:pt x="288" y="374"/>
                    </a:lnTo>
                    <a:lnTo>
                      <a:pt x="292" y="342"/>
                    </a:lnTo>
                    <a:lnTo>
                      <a:pt x="294" y="312"/>
                    </a:lnTo>
                    <a:lnTo>
                      <a:pt x="295" y="293"/>
                    </a:lnTo>
                    <a:lnTo>
                      <a:pt x="295" y="275"/>
                    </a:lnTo>
                    <a:lnTo>
                      <a:pt x="294" y="257"/>
                    </a:lnTo>
                    <a:lnTo>
                      <a:pt x="293" y="240"/>
                    </a:lnTo>
                    <a:lnTo>
                      <a:pt x="290" y="222"/>
                    </a:lnTo>
                    <a:lnTo>
                      <a:pt x="286" y="204"/>
                    </a:lnTo>
                    <a:lnTo>
                      <a:pt x="282" y="186"/>
                    </a:lnTo>
                    <a:lnTo>
                      <a:pt x="276" y="167"/>
                    </a:lnTo>
                    <a:lnTo>
                      <a:pt x="267" y="142"/>
                    </a:lnTo>
                    <a:lnTo>
                      <a:pt x="255" y="119"/>
                    </a:lnTo>
                    <a:lnTo>
                      <a:pt x="249" y="107"/>
                    </a:lnTo>
                    <a:lnTo>
                      <a:pt x="242" y="96"/>
                    </a:lnTo>
                    <a:lnTo>
                      <a:pt x="234" y="85"/>
                    </a:lnTo>
                    <a:lnTo>
                      <a:pt x="226" y="75"/>
                    </a:lnTo>
                    <a:lnTo>
                      <a:pt x="217" y="65"/>
                    </a:lnTo>
                    <a:lnTo>
                      <a:pt x="208" y="55"/>
                    </a:lnTo>
                    <a:lnTo>
                      <a:pt x="197" y="46"/>
                    </a:lnTo>
                    <a:lnTo>
                      <a:pt x="186" y="38"/>
                    </a:lnTo>
                    <a:lnTo>
                      <a:pt x="175" y="30"/>
                    </a:lnTo>
                    <a:lnTo>
                      <a:pt x="162" y="22"/>
                    </a:lnTo>
                    <a:lnTo>
                      <a:pt x="149" y="15"/>
                    </a:lnTo>
                    <a:lnTo>
                      <a:pt x="134" y="9"/>
                    </a:lnTo>
                    <a:lnTo>
                      <a:pt x="123" y="5"/>
                    </a:lnTo>
                    <a:lnTo>
                      <a:pt x="112" y="2"/>
                    </a:lnTo>
                    <a:lnTo>
                      <a:pt x="100" y="0"/>
                    </a:lnTo>
                    <a:lnTo>
                      <a:pt x="89" y="0"/>
                    </a:lnTo>
                    <a:lnTo>
                      <a:pt x="78" y="0"/>
                    </a:lnTo>
                    <a:lnTo>
                      <a:pt x="67" y="1"/>
                    </a:lnTo>
                    <a:lnTo>
                      <a:pt x="57" y="4"/>
                    </a:lnTo>
                    <a:lnTo>
                      <a:pt x="48" y="7"/>
                    </a:lnTo>
                    <a:lnTo>
                      <a:pt x="38" y="11"/>
                    </a:lnTo>
                    <a:lnTo>
                      <a:pt x="30" y="17"/>
                    </a:lnTo>
                    <a:lnTo>
                      <a:pt x="23" y="23"/>
                    </a:lnTo>
                    <a:lnTo>
                      <a:pt x="17" y="31"/>
                    </a:lnTo>
                    <a:lnTo>
                      <a:pt x="10" y="39"/>
                    </a:lnTo>
                    <a:lnTo>
                      <a:pt x="6" y="47"/>
                    </a:lnTo>
                    <a:lnTo>
                      <a:pt x="3" y="58"/>
                    </a:lnTo>
                    <a:lnTo>
                      <a:pt x="0" y="68"/>
                    </a:lnTo>
                    <a:lnTo>
                      <a:pt x="3" y="66"/>
                    </a:lnTo>
                    <a:lnTo>
                      <a:pt x="9" y="61"/>
                    </a:lnTo>
                    <a:lnTo>
                      <a:pt x="21" y="55"/>
                    </a:lnTo>
                    <a:lnTo>
                      <a:pt x="35" y="49"/>
                    </a:lnTo>
                    <a:lnTo>
                      <a:pt x="44" y="46"/>
                    </a:lnTo>
                    <a:lnTo>
                      <a:pt x="52" y="44"/>
                    </a:lnTo>
                    <a:lnTo>
                      <a:pt x="61" y="42"/>
                    </a:lnTo>
                    <a:lnTo>
                      <a:pt x="71" y="41"/>
                    </a:lnTo>
                    <a:lnTo>
                      <a:pt x="82" y="42"/>
                    </a:lnTo>
                    <a:lnTo>
                      <a:pt x="92" y="43"/>
                    </a:lnTo>
                    <a:lnTo>
                      <a:pt x="103" y="45"/>
                    </a:lnTo>
                    <a:lnTo>
                      <a:pt x="115" y="49"/>
                    </a:lnTo>
                    <a:lnTo>
                      <a:pt x="126" y="55"/>
                    </a:lnTo>
                    <a:lnTo>
                      <a:pt x="139" y="63"/>
                    </a:lnTo>
                    <a:lnTo>
                      <a:pt x="150" y="72"/>
                    </a:lnTo>
                    <a:lnTo>
                      <a:pt x="162" y="83"/>
                    </a:lnTo>
                    <a:lnTo>
                      <a:pt x="174" y="98"/>
                    </a:lnTo>
                    <a:lnTo>
                      <a:pt x="185" y="114"/>
                    </a:lnTo>
                    <a:lnTo>
                      <a:pt x="196" y="133"/>
                    </a:lnTo>
                    <a:lnTo>
                      <a:pt x="208" y="155"/>
                    </a:lnTo>
                    <a:lnTo>
                      <a:pt x="218" y="180"/>
                    </a:lnTo>
                    <a:lnTo>
                      <a:pt x="228" y="207"/>
                    </a:lnTo>
                    <a:lnTo>
                      <a:pt x="238" y="239"/>
                    </a:lnTo>
                    <a:lnTo>
                      <a:pt x="247" y="274"/>
                    </a:lnTo>
                    <a:lnTo>
                      <a:pt x="256" y="312"/>
                    </a:lnTo>
                    <a:lnTo>
                      <a:pt x="264" y="353"/>
                    </a:lnTo>
                    <a:lnTo>
                      <a:pt x="271" y="400"/>
                    </a:lnTo>
                    <a:lnTo>
                      <a:pt x="278" y="449"/>
                    </a:lnTo>
                    <a:lnTo>
                      <a:pt x="279" y="458"/>
                    </a:lnTo>
                    <a:lnTo>
                      <a:pt x="281" y="465"/>
                    </a:lnTo>
                    <a:lnTo>
                      <a:pt x="283" y="471"/>
                    </a:lnTo>
                    <a:lnTo>
                      <a:pt x="286" y="477"/>
                    </a:lnTo>
                    <a:lnTo>
                      <a:pt x="290" y="483"/>
                    </a:lnTo>
                    <a:lnTo>
                      <a:pt x="295" y="488"/>
                    </a:lnTo>
                    <a:lnTo>
                      <a:pt x="300" y="493"/>
                    </a:lnTo>
                    <a:lnTo>
                      <a:pt x="305" y="497"/>
                    </a:lnTo>
                    <a:lnTo>
                      <a:pt x="310" y="500"/>
                    </a:lnTo>
                    <a:lnTo>
                      <a:pt x="315" y="503"/>
                    </a:lnTo>
                    <a:lnTo>
                      <a:pt x="321" y="506"/>
                    </a:lnTo>
                    <a:lnTo>
                      <a:pt x="328" y="508"/>
                    </a:lnTo>
                    <a:lnTo>
                      <a:pt x="341" y="511"/>
                    </a:lnTo>
                    <a:lnTo>
                      <a:pt x="355" y="513"/>
                    </a:lnTo>
                    <a:lnTo>
                      <a:pt x="368" y="513"/>
                    </a:lnTo>
                    <a:lnTo>
                      <a:pt x="381" y="511"/>
                    </a:lnTo>
                    <a:lnTo>
                      <a:pt x="394" y="508"/>
                    </a:lnTo>
                    <a:lnTo>
                      <a:pt x="405" y="504"/>
                    </a:lnTo>
                    <a:lnTo>
                      <a:pt x="410" y="502"/>
                    </a:lnTo>
                    <a:lnTo>
                      <a:pt x="414" y="499"/>
                    </a:lnTo>
                    <a:lnTo>
                      <a:pt x="419" y="496"/>
                    </a:lnTo>
                    <a:lnTo>
                      <a:pt x="423" y="492"/>
                    </a:lnTo>
                    <a:lnTo>
                      <a:pt x="426" y="489"/>
                    </a:lnTo>
                    <a:lnTo>
                      <a:pt x="428" y="485"/>
                    </a:lnTo>
                    <a:lnTo>
                      <a:pt x="430" y="480"/>
                    </a:lnTo>
                    <a:lnTo>
                      <a:pt x="431" y="476"/>
                    </a:lnTo>
                    <a:lnTo>
                      <a:pt x="439" y="434"/>
                    </a:lnTo>
                    <a:lnTo>
                      <a:pt x="449" y="395"/>
                    </a:lnTo>
                    <a:lnTo>
                      <a:pt x="458" y="358"/>
                    </a:lnTo>
                    <a:lnTo>
                      <a:pt x="468" y="325"/>
                    </a:lnTo>
                    <a:lnTo>
                      <a:pt x="479" y="294"/>
                    </a:lnTo>
                    <a:lnTo>
                      <a:pt x="490" y="265"/>
                    </a:lnTo>
                    <a:lnTo>
                      <a:pt x="502" y="240"/>
                    </a:lnTo>
                    <a:lnTo>
                      <a:pt x="514" y="216"/>
                    </a:lnTo>
                    <a:lnTo>
                      <a:pt x="526" y="194"/>
                    </a:lnTo>
                    <a:lnTo>
                      <a:pt x="539" y="175"/>
                    </a:lnTo>
                    <a:lnTo>
                      <a:pt x="551" y="158"/>
                    </a:lnTo>
                    <a:lnTo>
                      <a:pt x="563" y="142"/>
                    </a:lnTo>
                    <a:lnTo>
                      <a:pt x="577" y="129"/>
                    </a:lnTo>
                    <a:lnTo>
                      <a:pt x="589" y="118"/>
                    </a:lnTo>
                    <a:lnTo>
                      <a:pt x="603" y="107"/>
                    </a:lnTo>
                    <a:lnTo>
                      <a:pt x="615" y="99"/>
                    </a:lnTo>
                    <a:lnTo>
                      <a:pt x="627" y="92"/>
                    </a:lnTo>
                    <a:lnTo>
                      <a:pt x="640" y="87"/>
                    </a:lnTo>
                    <a:lnTo>
                      <a:pt x="651" y="82"/>
                    </a:lnTo>
                    <a:lnTo>
                      <a:pt x="663" y="79"/>
                    </a:lnTo>
                    <a:lnTo>
                      <a:pt x="674" y="77"/>
                    </a:lnTo>
                    <a:lnTo>
                      <a:pt x="684" y="76"/>
                    </a:lnTo>
                    <a:lnTo>
                      <a:pt x="695" y="76"/>
                    </a:lnTo>
                    <a:lnTo>
                      <a:pt x="704" y="77"/>
                    </a:lnTo>
                    <a:lnTo>
                      <a:pt x="713" y="78"/>
                    </a:lnTo>
                    <a:lnTo>
                      <a:pt x="721" y="81"/>
                    </a:lnTo>
                    <a:lnTo>
                      <a:pt x="729" y="83"/>
                    </a:lnTo>
                    <a:lnTo>
                      <a:pt x="736" y="87"/>
                    </a:lnTo>
                    <a:lnTo>
                      <a:pt x="741" y="91"/>
                    </a:lnTo>
                    <a:lnTo>
                      <a:pt x="746" y="94"/>
                    </a:lnTo>
                    <a:lnTo>
                      <a:pt x="749" y="98"/>
                    </a:lnTo>
                    <a:lnTo>
                      <a:pt x="752" y="102"/>
                    </a:lnTo>
                    <a:lnTo>
                      <a:pt x="756" y="92"/>
                    </a:lnTo>
                    <a:lnTo>
                      <a:pt x="757" y="81"/>
                    </a:lnTo>
                    <a:lnTo>
                      <a:pt x="756" y="73"/>
                    </a:lnTo>
                    <a:lnTo>
                      <a:pt x="752" y="65"/>
                    </a:lnTo>
                    <a:lnTo>
                      <a:pt x="748" y="58"/>
                    </a:lnTo>
                    <a:lnTo>
                      <a:pt x="742" y="51"/>
                    </a:lnTo>
                    <a:lnTo>
                      <a:pt x="735" y="46"/>
                    </a:lnTo>
                    <a:lnTo>
                      <a:pt x="727" y="41"/>
                    </a:lnTo>
                    <a:lnTo>
                      <a:pt x="717" y="37"/>
                    </a:lnTo>
                    <a:lnTo>
                      <a:pt x="707" y="34"/>
                    </a:lnTo>
                    <a:lnTo>
                      <a:pt x="696" y="32"/>
                    </a:lnTo>
                    <a:lnTo>
                      <a:pt x="684" y="30"/>
                    </a:lnTo>
                    <a:lnTo>
                      <a:pt x="673" y="29"/>
                    </a:lnTo>
                    <a:lnTo>
                      <a:pt x="660" y="28"/>
                    </a:lnTo>
                    <a:lnTo>
                      <a:pt x="649" y="28"/>
                    </a:lnTo>
                    <a:lnTo>
                      <a:pt x="637" y="28"/>
                    </a:lnTo>
                    <a:close/>
                  </a:path>
                </a:pathLst>
              </a:custGeom>
              <a:solidFill>
                <a:srgbClr val="F1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56" name="Freeform 132"/>
              <p:cNvSpPr>
                <a:spLocks/>
              </p:cNvSpPr>
              <p:nvPr/>
            </p:nvSpPr>
            <p:spPr bwMode="auto">
              <a:xfrm>
                <a:off x="3397" y="1888"/>
                <a:ext cx="107" cy="48"/>
              </a:xfrm>
              <a:custGeom>
                <a:avLst/>
                <a:gdLst>
                  <a:gd name="T0" fmla="*/ 0 w 753"/>
                  <a:gd name="T1" fmla="*/ 0 h 334"/>
                  <a:gd name="T2" fmla="*/ 0 w 753"/>
                  <a:gd name="T3" fmla="*/ 0 h 334"/>
                  <a:gd name="T4" fmla="*/ 0 w 753"/>
                  <a:gd name="T5" fmla="*/ 0 h 334"/>
                  <a:gd name="T6" fmla="*/ 0 w 753"/>
                  <a:gd name="T7" fmla="*/ 0 h 334"/>
                  <a:gd name="T8" fmla="*/ 0 w 753"/>
                  <a:gd name="T9" fmla="*/ 0 h 334"/>
                  <a:gd name="T10" fmla="*/ 0 w 753"/>
                  <a:gd name="T11" fmla="*/ 0 h 334"/>
                  <a:gd name="T12" fmla="*/ 0 w 753"/>
                  <a:gd name="T13" fmla="*/ 0 h 334"/>
                  <a:gd name="T14" fmla="*/ 0 w 753"/>
                  <a:gd name="T15" fmla="*/ 0 h 334"/>
                  <a:gd name="T16" fmla="*/ 0 w 753"/>
                  <a:gd name="T17" fmla="*/ 0 h 334"/>
                  <a:gd name="T18" fmla="*/ 0 w 753"/>
                  <a:gd name="T19" fmla="*/ 0 h 334"/>
                  <a:gd name="T20" fmla="*/ 0 w 753"/>
                  <a:gd name="T21" fmla="*/ 0 h 334"/>
                  <a:gd name="T22" fmla="*/ 0 w 753"/>
                  <a:gd name="T23" fmla="*/ 0 h 334"/>
                  <a:gd name="T24" fmla="*/ 0 w 753"/>
                  <a:gd name="T25" fmla="*/ 0 h 334"/>
                  <a:gd name="T26" fmla="*/ 0 w 753"/>
                  <a:gd name="T27" fmla="*/ 0 h 334"/>
                  <a:gd name="T28" fmla="*/ 0 w 753"/>
                  <a:gd name="T29" fmla="*/ 0 h 334"/>
                  <a:gd name="T30" fmla="*/ 0 w 753"/>
                  <a:gd name="T31" fmla="*/ 0 h 334"/>
                  <a:gd name="T32" fmla="*/ 0 w 753"/>
                  <a:gd name="T33" fmla="*/ 0 h 334"/>
                  <a:gd name="T34" fmla="*/ 0 w 753"/>
                  <a:gd name="T35" fmla="*/ 0 h 334"/>
                  <a:gd name="T36" fmla="*/ 0 w 753"/>
                  <a:gd name="T37" fmla="*/ 0 h 334"/>
                  <a:gd name="T38" fmla="*/ 0 w 753"/>
                  <a:gd name="T39" fmla="*/ 0 h 334"/>
                  <a:gd name="T40" fmla="*/ 0 w 753"/>
                  <a:gd name="T41" fmla="*/ 0 h 334"/>
                  <a:gd name="T42" fmla="*/ 0 w 753"/>
                  <a:gd name="T43" fmla="*/ 0 h 334"/>
                  <a:gd name="T44" fmla="*/ 0 w 753"/>
                  <a:gd name="T45" fmla="*/ 0 h 334"/>
                  <a:gd name="T46" fmla="*/ 0 w 753"/>
                  <a:gd name="T47" fmla="*/ 0 h 334"/>
                  <a:gd name="T48" fmla="*/ 0 w 753"/>
                  <a:gd name="T49" fmla="*/ 0 h 334"/>
                  <a:gd name="T50" fmla="*/ 0 w 753"/>
                  <a:gd name="T51" fmla="*/ 0 h 334"/>
                  <a:gd name="T52" fmla="*/ 0 w 753"/>
                  <a:gd name="T53" fmla="*/ 0 h 334"/>
                  <a:gd name="T54" fmla="*/ 0 w 753"/>
                  <a:gd name="T55" fmla="*/ 0 h 334"/>
                  <a:gd name="T56" fmla="*/ 0 w 753"/>
                  <a:gd name="T57" fmla="*/ 0 h 334"/>
                  <a:gd name="T58" fmla="*/ 0 w 753"/>
                  <a:gd name="T59" fmla="*/ 0 h 334"/>
                  <a:gd name="T60" fmla="*/ 0 w 753"/>
                  <a:gd name="T61" fmla="*/ 0 h 334"/>
                  <a:gd name="T62" fmla="*/ 0 w 753"/>
                  <a:gd name="T63" fmla="*/ 0 h 334"/>
                  <a:gd name="T64" fmla="*/ 0 w 753"/>
                  <a:gd name="T65" fmla="*/ 0 h 334"/>
                  <a:gd name="T66" fmla="*/ 0 w 753"/>
                  <a:gd name="T67" fmla="*/ 0 h 334"/>
                  <a:gd name="T68" fmla="*/ 0 w 753"/>
                  <a:gd name="T69" fmla="*/ 0 h 334"/>
                  <a:gd name="T70" fmla="*/ 0 w 753"/>
                  <a:gd name="T71" fmla="*/ 0 h 334"/>
                  <a:gd name="T72" fmla="*/ 0 w 753"/>
                  <a:gd name="T73" fmla="*/ 0 h 334"/>
                  <a:gd name="T74" fmla="*/ 0 w 753"/>
                  <a:gd name="T75" fmla="*/ 0 h 334"/>
                  <a:gd name="T76" fmla="*/ 0 w 753"/>
                  <a:gd name="T77" fmla="*/ 0 h 334"/>
                  <a:gd name="T78" fmla="*/ 0 w 753"/>
                  <a:gd name="T79" fmla="*/ 0 h 334"/>
                  <a:gd name="T80" fmla="*/ 0 w 753"/>
                  <a:gd name="T81" fmla="*/ 0 h 334"/>
                  <a:gd name="T82" fmla="*/ 0 w 753"/>
                  <a:gd name="T83" fmla="*/ 0 h 334"/>
                  <a:gd name="T84" fmla="*/ 0 w 753"/>
                  <a:gd name="T85" fmla="*/ 0 h 334"/>
                  <a:gd name="T86" fmla="*/ 0 w 753"/>
                  <a:gd name="T87" fmla="*/ 0 h 334"/>
                  <a:gd name="T88" fmla="*/ 0 w 753"/>
                  <a:gd name="T89" fmla="*/ 0 h 334"/>
                  <a:gd name="T90" fmla="*/ 0 w 753"/>
                  <a:gd name="T91" fmla="*/ 0 h 334"/>
                  <a:gd name="T92" fmla="*/ 0 w 753"/>
                  <a:gd name="T93" fmla="*/ 0 h 334"/>
                  <a:gd name="T94" fmla="*/ 0 w 753"/>
                  <a:gd name="T95" fmla="*/ 0 h 334"/>
                  <a:gd name="T96" fmla="*/ 0 w 753"/>
                  <a:gd name="T97" fmla="*/ 0 h 334"/>
                  <a:gd name="T98" fmla="*/ 0 w 753"/>
                  <a:gd name="T99" fmla="*/ 0 h 334"/>
                  <a:gd name="T100" fmla="*/ 0 w 753"/>
                  <a:gd name="T101" fmla="*/ 0 h 334"/>
                  <a:gd name="T102" fmla="*/ 0 w 753"/>
                  <a:gd name="T103" fmla="*/ 0 h 334"/>
                  <a:gd name="T104" fmla="*/ 0 w 753"/>
                  <a:gd name="T105" fmla="*/ 0 h 334"/>
                  <a:gd name="T106" fmla="*/ 0 w 753"/>
                  <a:gd name="T107" fmla="*/ 0 h 334"/>
                  <a:gd name="T108" fmla="*/ 0 w 753"/>
                  <a:gd name="T109" fmla="*/ 0 h 334"/>
                  <a:gd name="T110" fmla="*/ 0 w 753"/>
                  <a:gd name="T111" fmla="*/ 0 h 334"/>
                  <a:gd name="T112" fmla="*/ 0 w 753"/>
                  <a:gd name="T113" fmla="*/ 0 h 334"/>
                  <a:gd name="T114" fmla="*/ 0 w 753"/>
                  <a:gd name="T115" fmla="*/ 0 h 334"/>
                  <a:gd name="T116" fmla="*/ 0 w 753"/>
                  <a:gd name="T117" fmla="*/ 0 h 334"/>
                  <a:gd name="T118" fmla="*/ 0 w 753"/>
                  <a:gd name="T119" fmla="*/ 0 h 334"/>
                  <a:gd name="T120" fmla="*/ 0 w 753"/>
                  <a:gd name="T121" fmla="*/ 0 h 334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w 753"/>
                  <a:gd name="T184" fmla="*/ 0 h 334"/>
                  <a:gd name="T185" fmla="*/ 753 w 753"/>
                  <a:gd name="T186" fmla="*/ 334 h 334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T183" t="T184" r="T185" b="T186"/>
                <a:pathLst>
                  <a:path w="753" h="334">
                    <a:moveTo>
                      <a:pt x="565" y="39"/>
                    </a:moveTo>
                    <a:lnTo>
                      <a:pt x="558" y="43"/>
                    </a:lnTo>
                    <a:lnTo>
                      <a:pt x="550" y="47"/>
                    </a:lnTo>
                    <a:lnTo>
                      <a:pt x="541" y="52"/>
                    </a:lnTo>
                    <a:lnTo>
                      <a:pt x="534" y="60"/>
                    </a:lnTo>
                    <a:lnTo>
                      <a:pt x="528" y="67"/>
                    </a:lnTo>
                    <a:lnTo>
                      <a:pt x="523" y="75"/>
                    </a:lnTo>
                    <a:lnTo>
                      <a:pt x="518" y="83"/>
                    </a:lnTo>
                    <a:lnTo>
                      <a:pt x="514" y="92"/>
                    </a:lnTo>
                    <a:lnTo>
                      <a:pt x="511" y="101"/>
                    </a:lnTo>
                    <a:lnTo>
                      <a:pt x="510" y="108"/>
                    </a:lnTo>
                    <a:lnTo>
                      <a:pt x="510" y="115"/>
                    </a:lnTo>
                    <a:lnTo>
                      <a:pt x="511" y="122"/>
                    </a:lnTo>
                    <a:lnTo>
                      <a:pt x="513" y="128"/>
                    </a:lnTo>
                    <a:lnTo>
                      <a:pt x="515" y="134"/>
                    </a:lnTo>
                    <a:lnTo>
                      <a:pt x="519" y="140"/>
                    </a:lnTo>
                    <a:lnTo>
                      <a:pt x="523" y="146"/>
                    </a:lnTo>
                    <a:lnTo>
                      <a:pt x="528" y="151"/>
                    </a:lnTo>
                    <a:lnTo>
                      <a:pt x="536" y="157"/>
                    </a:lnTo>
                    <a:lnTo>
                      <a:pt x="544" y="161"/>
                    </a:lnTo>
                    <a:lnTo>
                      <a:pt x="554" y="165"/>
                    </a:lnTo>
                    <a:lnTo>
                      <a:pt x="564" y="167"/>
                    </a:lnTo>
                    <a:lnTo>
                      <a:pt x="574" y="169"/>
                    </a:lnTo>
                    <a:lnTo>
                      <a:pt x="586" y="169"/>
                    </a:lnTo>
                    <a:lnTo>
                      <a:pt x="596" y="169"/>
                    </a:lnTo>
                    <a:lnTo>
                      <a:pt x="607" y="167"/>
                    </a:lnTo>
                    <a:lnTo>
                      <a:pt x="615" y="164"/>
                    </a:lnTo>
                    <a:lnTo>
                      <a:pt x="622" y="161"/>
                    </a:lnTo>
                    <a:lnTo>
                      <a:pt x="628" y="158"/>
                    </a:lnTo>
                    <a:lnTo>
                      <a:pt x="634" y="153"/>
                    </a:lnTo>
                    <a:lnTo>
                      <a:pt x="638" y="147"/>
                    </a:lnTo>
                    <a:lnTo>
                      <a:pt x="642" y="142"/>
                    </a:lnTo>
                    <a:lnTo>
                      <a:pt x="645" y="136"/>
                    </a:lnTo>
                    <a:lnTo>
                      <a:pt x="646" y="130"/>
                    </a:lnTo>
                    <a:lnTo>
                      <a:pt x="646" y="124"/>
                    </a:lnTo>
                    <a:lnTo>
                      <a:pt x="645" y="119"/>
                    </a:lnTo>
                    <a:lnTo>
                      <a:pt x="644" y="112"/>
                    </a:lnTo>
                    <a:lnTo>
                      <a:pt x="641" y="107"/>
                    </a:lnTo>
                    <a:lnTo>
                      <a:pt x="637" y="103"/>
                    </a:lnTo>
                    <a:lnTo>
                      <a:pt x="633" y="99"/>
                    </a:lnTo>
                    <a:lnTo>
                      <a:pt x="628" y="95"/>
                    </a:lnTo>
                    <a:lnTo>
                      <a:pt x="622" y="92"/>
                    </a:lnTo>
                    <a:lnTo>
                      <a:pt x="616" y="89"/>
                    </a:lnTo>
                    <a:lnTo>
                      <a:pt x="610" y="86"/>
                    </a:lnTo>
                    <a:lnTo>
                      <a:pt x="604" y="85"/>
                    </a:lnTo>
                    <a:lnTo>
                      <a:pt x="598" y="84"/>
                    </a:lnTo>
                    <a:lnTo>
                      <a:pt x="592" y="84"/>
                    </a:lnTo>
                    <a:lnTo>
                      <a:pt x="586" y="85"/>
                    </a:lnTo>
                    <a:lnTo>
                      <a:pt x="581" y="86"/>
                    </a:lnTo>
                    <a:lnTo>
                      <a:pt x="575" y="89"/>
                    </a:lnTo>
                    <a:lnTo>
                      <a:pt x="572" y="91"/>
                    </a:lnTo>
                    <a:lnTo>
                      <a:pt x="569" y="94"/>
                    </a:lnTo>
                    <a:lnTo>
                      <a:pt x="566" y="97"/>
                    </a:lnTo>
                    <a:lnTo>
                      <a:pt x="564" y="100"/>
                    </a:lnTo>
                    <a:lnTo>
                      <a:pt x="563" y="103"/>
                    </a:lnTo>
                    <a:lnTo>
                      <a:pt x="562" y="107"/>
                    </a:lnTo>
                    <a:lnTo>
                      <a:pt x="562" y="110"/>
                    </a:lnTo>
                    <a:lnTo>
                      <a:pt x="562" y="114"/>
                    </a:lnTo>
                    <a:lnTo>
                      <a:pt x="583" y="113"/>
                    </a:lnTo>
                    <a:lnTo>
                      <a:pt x="583" y="110"/>
                    </a:lnTo>
                    <a:lnTo>
                      <a:pt x="584" y="107"/>
                    </a:lnTo>
                    <a:lnTo>
                      <a:pt x="585" y="105"/>
                    </a:lnTo>
                    <a:lnTo>
                      <a:pt x="587" y="103"/>
                    </a:lnTo>
                    <a:lnTo>
                      <a:pt x="592" y="102"/>
                    </a:lnTo>
                    <a:lnTo>
                      <a:pt x="598" y="102"/>
                    </a:lnTo>
                    <a:lnTo>
                      <a:pt x="604" y="103"/>
                    </a:lnTo>
                    <a:lnTo>
                      <a:pt x="611" y="105"/>
                    </a:lnTo>
                    <a:lnTo>
                      <a:pt x="616" y="108"/>
                    </a:lnTo>
                    <a:lnTo>
                      <a:pt x="621" y="113"/>
                    </a:lnTo>
                    <a:lnTo>
                      <a:pt x="623" y="115"/>
                    </a:lnTo>
                    <a:lnTo>
                      <a:pt x="624" y="120"/>
                    </a:lnTo>
                    <a:lnTo>
                      <a:pt x="625" y="124"/>
                    </a:lnTo>
                    <a:lnTo>
                      <a:pt x="625" y="128"/>
                    </a:lnTo>
                    <a:lnTo>
                      <a:pt x="624" y="133"/>
                    </a:lnTo>
                    <a:lnTo>
                      <a:pt x="622" y="137"/>
                    </a:lnTo>
                    <a:lnTo>
                      <a:pt x="619" y="141"/>
                    </a:lnTo>
                    <a:lnTo>
                      <a:pt x="616" y="143"/>
                    </a:lnTo>
                    <a:lnTo>
                      <a:pt x="608" y="149"/>
                    </a:lnTo>
                    <a:lnTo>
                      <a:pt x="600" y="151"/>
                    </a:lnTo>
                    <a:lnTo>
                      <a:pt x="593" y="153"/>
                    </a:lnTo>
                    <a:lnTo>
                      <a:pt x="585" y="153"/>
                    </a:lnTo>
                    <a:lnTo>
                      <a:pt x="577" y="153"/>
                    </a:lnTo>
                    <a:lnTo>
                      <a:pt x="569" y="152"/>
                    </a:lnTo>
                    <a:lnTo>
                      <a:pt x="562" y="150"/>
                    </a:lnTo>
                    <a:lnTo>
                      <a:pt x="555" y="147"/>
                    </a:lnTo>
                    <a:lnTo>
                      <a:pt x="549" y="143"/>
                    </a:lnTo>
                    <a:lnTo>
                      <a:pt x="543" y="140"/>
                    </a:lnTo>
                    <a:lnTo>
                      <a:pt x="539" y="135"/>
                    </a:lnTo>
                    <a:lnTo>
                      <a:pt x="536" y="131"/>
                    </a:lnTo>
                    <a:lnTo>
                      <a:pt x="534" y="126"/>
                    </a:lnTo>
                    <a:lnTo>
                      <a:pt x="533" y="122"/>
                    </a:lnTo>
                    <a:lnTo>
                      <a:pt x="532" y="112"/>
                    </a:lnTo>
                    <a:lnTo>
                      <a:pt x="532" y="104"/>
                    </a:lnTo>
                    <a:lnTo>
                      <a:pt x="534" y="97"/>
                    </a:lnTo>
                    <a:lnTo>
                      <a:pt x="537" y="90"/>
                    </a:lnTo>
                    <a:lnTo>
                      <a:pt x="540" y="82"/>
                    </a:lnTo>
                    <a:lnTo>
                      <a:pt x="545" y="76"/>
                    </a:lnTo>
                    <a:lnTo>
                      <a:pt x="551" y="70"/>
                    </a:lnTo>
                    <a:lnTo>
                      <a:pt x="556" y="65"/>
                    </a:lnTo>
                    <a:lnTo>
                      <a:pt x="562" y="61"/>
                    </a:lnTo>
                    <a:lnTo>
                      <a:pt x="568" y="58"/>
                    </a:lnTo>
                    <a:lnTo>
                      <a:pt x="575" y="54"/>
                    </a:lnTo>
                    <a:lnTo>
                      <a:pt x="588" y="48"/>
                    </a:lnTo>
                    <a:lnTo>
                      <a:pt x="599" y="43"/>
                    </a:lnTo>
                    <a:lnTo>
                      <a:pt x="610" y="39"/>
                    </a:lnTo>
                    <a:lnTo>
                      <a:pt x="621" y="36"/>
                    </a:lnTo>
                    <a:lnTo>
                      <a:pt x="631" y="35"/>
                    </a:lnTo>
                    <a:lnTo>
                      <a:pt x="643" y="34"/>
                    </a:lnTo>
                    <a:lnTo>
                      <a:pt x="655" y="35"/>
                    </a:lnTo>
                    <a:lnTo>
                      <a:pt x="667" y="37"/>
                    </a:lnTo>
                    <a:lnTo>
                      <a:pt x="677" y="40"/>
                    </a:lnTo>
                    <a:lnTo>
                      <a:pt x="686" y="43"/>
                    </a:lnTo>
                    <a:lnTo>
                      <a:pt x="694" y="48"/>
                    </a:lnTo>
                    <a:lnTo>
                      <a:pt x="701" y="52"/>
                    </a:lnTo>
                    <a:lnTo>
                      <a:pt x="709" y="59"/>
                    </a:lnTo>
                    <a:lnTo>
                      <a:pt x="714" y="65"/>
                    </a:lnTo>
                    <a:lnTo>
                      <a:pt x="719" y="72"/>
                    </a:lnTo>
                    <a:lnTo>
                      <a:pt x="723" y="80"/>
                    </a:lnTo>
                    <a:lnTo>
                      <a:pt x="726" y="86"/>
                    </a:lnTo>
                    <a:lnTo>
                      <a:pt x="728" y="94"/>
                    </a:lnTo>
                    <a:lnTo>
                      <a:pt x="730" y="101"/>
                    </a:lnTo>
                    <a:lnTo>
                      <a:pt x="731" y="109"/>
                    </a:lnTo>
                    <a:lnTo>
                      <a:pt x="732" y="116"/>
                    </a:lnTo>
                    <a:lnTo>
                      <a:pt x="732" y="125"/>
                    </a:lnTo>
                    <a:lnTo>
                      <a:pt x="731" y="133"/>
                    </a:lnTo>
                    <a:lnTo>
                      <a:pt x="730" y="140"/>
                    </a:lnTo>
                    <a:lnTo>
                      <a:pt x="729" y="149"/>
                    </a:lnTo>
                    <a:lnTo>
                      <a:pt x="727" y="157"/>
                    </a:lnTo>
                    <a:lnTo>
                      <a:pt x="724" y="165"/>
                    </a:lnTo>
                    <a:lnTo>
                      <a:pt x="721" y="173"/>
                    </a:lnTo>
                    <a:lnTo>
                      <a:pt x="717" y="181"/>
                    </a:lnTo>
                    <a:lnTo>
                      <a:pt x="713" y="188"/>
                    </a:lnTo>
                    <a:lnTo>
                      <a:pt x="709" y="196"/>
                    </a:lnTo>
                    <a:lnTo>
                      <a:pt x="704" y="202"/>
                    </a:lnTo>
                    <a:lnTo>
                      <a:pt x="695" y="213"/>
                    </a:lnTo>
                    <a:lnTo>
                      <a:pt x="687" y="222"/>
                    </a:lnTo>
                    <a:lnTo>
                      <a:pt x="678" y="230"/>
                    </a:lnTo>
                    <a:lnTo>
                      <a:pt x="667" y="240"/>
                    </a:lnTo>
                    <a:lnTo>
                      <a:pt x="656" y="248"/>
                    </a:lnTo>
                    <a:lnTo>
                      <a:pt x="645" y="256"/>
                    </a:lnTo>
                    <a:lnTo>
                      <a:pt x="633" y="263"/>
                    </a:lnTo>
                    <a:lnTo>
                      <a:pt x="621" y="271"/>
                    </a:lnTo>
                    <a:lnTo>
                      <a:pt x="608" y="278"/>
                    </a:lnTo>
                    <a:lnTo>
                      <a:pt x="596" y="283"/>
                    </a:lnTo>
                    <a:lnTo>
                      <a:pt x="583" y="289"/>
                    </a:lnTo>
                    <a:lnTo>
                      <a:pt x="569" y="294"/>
                    </a:lnTo>
                    <a:lnTo>
                      <a:pt x="556" y="298"/>
                    </a:lnTo>
                    <a:lnTo>
                      <a:pt x="542" y="302"/>
                    </a:lnTo>
                    <a:lnTo>
                      <a:pt x="530" y="305"/>
                    </a:lnTo>
                    <a:lnTo>
                      <a:pt x="517" y="307"/>
                    </a:lnTo>
                    <a:lnTo>
                      <a:pt x="491" y="311"/>
                    </a:lnTo>
                    <a:lnTo>
                      <a:pt x="468" y="313"/>
                    </a:lnTo>
                    <a:lnTo>
                      <a:pt x="445" y="315"/>
                    </a:lnTo>
                    <a:lnTo>
                      <a:pt x="425" y="316"/>
                    </a:lnTo>
                    <a:lnTo>
                      <a:pt x="404" y="317"/>
                    </a:lnTo>
                    <a:lnTo>
                      <a:pt x="384" y="317"/>
                    </a:lnTo>
                    <a:lnTo>
                      <a:pt x="366" y="317"/>
                    </a:lnTo>
                    <a:lnTo>
                      <a:pt x="347" y="315"/>
                    </a:lnTo>
                    <a:lnTo>
                      <a:pt x="328" y="313"/>
                    </a:lnTo>
                    <a:lnTo>
                      <a:pt x="310" y="311"/>
                    </a:lnTo>
                    <a:lnTo>
                      <a:pt x="291" y="308"/>
                    </a:lnTo>
                    <a:lnTo>
                      <a:pt x="272" y="304"/>
                    </a:lnTo>
                    <a:lnTo>
                      <a:pt x="231" y="294"/>
                    </a:lnTo>
                    <a:lnTo>
                      <a:pt x="187" y="282"/>
                    </a:lnTo>
                    <a:lnTo>
                      <a:pt x="175" y="279"/>
                    </a:lnTo>
                    <a:lnTo>
                      <a:pt x="164" y="274"/>
                    </a:lnTo>
                    <a:lnTo>
                      <a:pt x="153" y="268"/>
                    </a:lnTo>
                    <a:lnTo>
                      <a:pt x="141" y="262"/>
                    </a:lnTo>
                    <a:lnTo>
                      <a:pt x="129" y="255"/>
                    </a:lnTo>
                    <a:lnTo>
                      <a:pt x="118" y="248"/>
                    </a:lnTo>
                    <a:lnTo>
                      <a:pt x="106" y="240"/>
                    </a:lnTo>
                    <a:lnTo>
                      <a:pt x="95" y="231"/>
                    </a:lnTo>
                    <a:lnTo>
                      <a:pt x="84" y="222"/>
                    </a:lnTo>
                    <a:lnTo>
                      <a:pt x="73" y="213"/>
                    </a:lnTo>
                    <a:lnTo>
                      <a:pt x="64" y="203"/>
                    </a:lnTo>
                    <a:lnTo>
                      <a:pt x="55" y="193"/>
                    </a:lnTo>
                    <a:lnTo>
                      <a:pt x="47" y="183"/>
                    </a:lnTo>
                    <a:lnTo>
                      <a:pt x="40" y="173"/>
                    </a:lnTo>
                    <a:lnTo>
                      <a:pt x="35" y="163"/>
                    </a:lnTo>
                    <a:lnTo>
                      <a:pt x="31" y="153"/>
                    </a:lnTo>
                    <a:lnTo>
                      <a:pt x="26" y="137"/>
                    </a:lnTo>
                    <a:lnTo>
                      <a:pt x="23" y="120"/>
                    </a:lnTo>
                    <a:lnTo>
                      <a:pt x="22" y="111"/>
                    </a:lnTo>
                    <a:lnTo>
                      <a:pt x="20" y="102"/>
                    </a:lnTo>
                    <a:lnTo>
                      <a:pt x="20" y="94"/>
                    </a:lnTo>
                    <a:lnTo>
                      <a:pt x="22" y="84"/>
                    </a:lnTo>
                    <a:lnTo>
                      <a:pt x="24" y="76"/>
                    </a:lnTo>
                    <a:lnTo>
                      <a:pt x="26" y="68"/>
                    </a:lnTo>
                    <a:lnTo>
                      <a:pt x="29" y="61"/>
                    </a:lnTo>
                    <a:lnTo>
                      <a:pt x="33" y="53"/>
                    </a:lnTo>
                    <a:lnTo>
                      <a:pt x="37" y="46"/>
                    </a:lnTo>
                    <a:lnTo>
                      <a:pt x="43" y="40"/>
                    </a:lnTo>
                    <a:lnTo>
                      <a:pt x="50" y="34"/>
                    </a:lnTo>
                    <a:lnTo>
                      <a:pt x="58" y="29"/>
                    </a:lnTo>
                    <a:lnTo>
                      <a:pt x="68" y="24"/>
                    </a:lnTo>
                    <a:lnTo>
                      <a:pt x="80" y="20"/>
                    </a:lnTo>
                    <a:lnTo>
                      <a:pt x="94" y="17"/>
                    </a:lnTo>
                    <a:lnTo>
                      <a:pt x="107" y="16"/>
                    </a:lnTo>
                    <a:lnTo>
                      <a:pt x="121" y="16"/>
                    </a:lnTo>
                    <a:lnTo>
                      <a:pt x="135" y="17"/>
                    </a:lnTo>
                    <a:lnTo>
                      <a:pt x="149" y="19"/>
                    </a:lnTo>
                    <a:lnTo>
                      <a:pt x="161" y="22"/>
                    </a:lnTo>
                    <a:lnTo>
                      <a:pt x="167" y="24"/>
                    </a:lnTo>
                    <a:lnTo>
                      <a:pt x="173" y="28"/>
                    </a:lnTo>
                    <a:lnTo>
                      <a:pt x="179" y="32"/>
                    </a:lnTo>
                    <a:lnTo>
                      <a:pt x="185" y="36"/>
                    </a:lnTo>
                    <a:lnTo>
                      <a:pt x="190" y="41"/>
                    </a:lnTo>
                    <a:lnTo>
                      <a:pt x="194" y="46"/>
                    </a:lnTo>
                    <a:lnTo>
                      <a:pt x="197" y="53"/>
                    </a:lnTo>
                    <a:lnTo>
                      <a:pt x="199" y="61"/>
                    </a:lnTo>
                    <a:lnTo>
                      <a:pt x="200" y="69"/>
                    </a:lnTo>
                    <a:lnTo>
                      <a:pt x="200" y="76"/>
                    </a:lnTo>
                    <a:lnTo>
                      <a:pt x="198" y="82"/>
                    </a:lnTo>
                    <a:lnTo>
                      <a:pt x="196" y="89"/>
                    </a:lnTo>
                    <a:lnTo>
                      <a:pt x="192" y="95"/>
                    </a:lnTo>
                    <a:lnTo>
                      <a:pt x="188" y="100"/>
                    </a:lnTo>
                    <a:lnTo>
                      <a:pt x="182" y="105"/>
                    </a:lnTo>
                    <a:lnTo>
                      <a:pt x="175" y="109"/>
                    </a:lnTo>
                    <a:lnTo>
                      <a:pt x="169" y="112"/>
                    </a:lnTo>
                    <a:lnTo>
                      <a:pt x="163" y="114"/>
                    </a:lnTo>
                    <a:lnTo>
                      <a:pt x="157" y="115"/>
                    </a:lnTo>
                    <a:lnTo>
                      <a:pt x="150" y="116"/>
                    </a:lnTo>
                    <a:lnTo>
                      <a:pt x="143" y="116"/>
                    </a:lnTo>
                    <a:lnTo>
                      <a:pt x="137" y="116"/>
                    </a:lnTo>
                    <a:lnTo>
                      <a:pt x="132" y="114"/>
                    </a:lnTo>
                    <a:lnTo>
                      <a:pt x="127" y="112"/>
                    </a:lnTo>
                    <a:lnTo>
                      <a:pt x="123" y="110"/>
                    </a:lnTo>
                    <a:lnTo>
                      <a:pt x="120" y="108"/>
                    </a:lnTo>
                    <a:lnTo>
                      <a:pt x="118" y="105"/>
                    </a:lnTo>
                    <a:lnTo>
                      <a:pt x="117" y="102"/>
                    </a:lnTo>
                    <a:lnTo>
                      <a:pt x="115" y="96"/>
                    </a:lnTo>
                    <a:lnTo>
                      <a:pt x="115" y="90"/>
                    </a:lnTo>
                    <a:lnTo>
                      <a:pt x="94" y="88"/>
                    </a:lnTo>
                    <a:lnTo>
                      <a:pt x="94" y="94"/>
                    </a:lnTo>
                    <a:lnTo>
                      <a:pt x="94" y="100"/>
                    </a:lnTo>
                    <a:lnTo>
                      <a:pt x="96" y="106"/>
                    </a:lnTo>
                    <a:lnTo>
                      <a:pt x="98" y="111"/>
                    </a:lnTo>
                    <a:lnTo>
                      <a:pt x="101" y="115"/>
                    </a:lnTo>
                    <a:lnTo>
                      <a:pt x="105" y="121"/>
                    </a:lnTo>
                    <a:lnTo>
                      <a:pt x="110" y="124"/>
                    </a:lnTo>
                    <a:lnTo>
                      <a:pt x="117" y="127"/>
                    </a:lnTo>
                    <a:lnTo>
                      <a:pt x="124" y="130"/>
                    </a:lnTo>
                    <a:lnTo>
                      <a:pt x="132" y="132"/>
                    </a:lnTo>
                    <a:lnTo>
                      <a:pt x="141" y="133"/>
                    </a:lnTo>
                    <a:lnTo>
                      <a:pt x="151" y="133"/>
                    </a:lnTo>
                    <a:lnTo>
                      <a:pt x="160" y="132"/>
                    </a:lnTo>
                    <a:lnTo>
                      <a:pt x="169" y="130"/>
                    </a:lnTo>
                    <a:lnTo>
                      <a:pt x="179" y="127"/>
                    </a:lnTo>
                    <a:lnTo>
                      <a:pt x="187" y="123"/>
                    </a:lnTo>
                    <a:lnTo>
                      <a:pt x="196" y="117"/>
                    </a:lnTo>
                    <a:lnTo>
                      <a:pt x="204" y="111"/>
                    </a:lnTo>
                    <a:lnTo>
                      <a:pt x="211" y="104"/>
                    </a:lnTo>
                    <a:lnTo>
                      <a:pt x="216" y="96"/>
                    </a:lnTo>
                    <a:lnTo>
                      <a:pt x="219" y="88"/>
                    </a:lnTo>
                    <a:lnTo>
                      <a:pt x="221" y="78"/>
                    </a:lnTo>
                    <a:lnTo>
                      <a:pt x="221" y="69"/>
                    </a:lnTo>
                    <a:lnTo>
                      <a:pt x="220" y="59"/>
                    </a:lnTo>
                    <a:lnTo>
                      <a:pt x="218" y="50"/>
                    </a:lnTo>
                    <a:lnTo>
                      <a:pt x="215" y="42"/>
                    </a:lnTo>
                    <a:lnTo>
                      <a:pt x="210" y="35"/>
                    </a:lnTo>
                    <a:lnTo>
                      <a:pt x="203" y="28"/>
                    </a:lnTo>
                    <a:lnTo>
                      <a:pt x="197" y="22"/>
                    </a:lnTo>
                    <a:lnTo>
                      <a:pt x="189" y="16"/>
                    </a:lnTo>
                    <a:lnTo>
                      <a:pt x="180" y="11"/>
                    </a:lnTo>
                    <a:lnTo>
                      <a:pt x="169" y="7"/>
                    </a:lnTo>
                    <a:lnTo>
                      <a:pt x="154" y="3"/>
                    </a:lnTo>
                    <a:lnTo>
                      <a:pt x="138" y="1"/>
                    </a:lnTo>
                    <a:lnTo>
                      <a:pt x="122" y="0"/>
                    </a:lnTo>
                    <a:lnTo>
                      <a:pt x="105" y="0"/>
                    </a:lnTo>
                    <a:lnTo>
                      <a:pt x="89" y="2"/>
                    </a:lnTo>
                    <a:lnTo>
                      <a:pt x="73" y="5"/>
                    </a:lnTo>
                    <a:lnTo>
                      <a:pt x="59" y="9"/>
                    </a:lnTo>
                    <a:lnTo>
                      <a:pt x="45" y="15"/>
                    </a:lnTo>
                    <a:lnTo>
                      <a:pt x="36" y="21"/>
                    </a:lnTo>
                    <a:lnTo>
                      <a:pt x="28" y="28"/>
                    </a:lnTo>
                    <a:lnTo>
                      <a:pt x="20" y="36"/>
                    </a:lnTo>
                    <a:lnTo>
                      <a:pt x="15" y="43"/>
                    </a:lnTo>
                    <a:lnTo>
                      <a:pt x="10" y="52"/>
                    </a:lnTo>
                    <a:lnTo>
                      <a:pt x="6" y="61"/>
                    </a:lnTo>
                    <a:lnTo>
                      <a:pt x="4" y="71"/>
                    </a:lnTo>
                    <a:lnTo>
                      <a:pt x="2" y="80"/>
                    </a:lnTo>
                    <a:lnTo>
                      <a:pt x="0" y="90"/>
                    </a:lnTo>
                    <a:lnTo>
                      <a:pt x="0" y="100"/>
                    </a:lnTo>
                    <a:lnTo>
                      <a:pt x="0" y="109"/>
                    </a:lnTo>
                    <a:lnTo>
                      <a:pt x="1" y="120"/>
                    </a:lnTo>
                    <a:lnTo>
                      <a:pt x="3" y="129"/>
                    </a:lnTo>
                    <a:lnTo>
                      <a:pt x="5" y="139"/>
                    </a:lnTo>
                    <a:lnTo>
                      <a:pt x="7" y="149"/>
                    </a:lnTo>
                    <a:lnTo>
                      <a:pt x="10" y="157"/>
                    </a:lnTo>
                    <a:lnTo>
                      <a:pt x="15" y="168"/>
                    </a:lnTo>
                    <a:lnTo>
                      <a:pt x="22" y="180"/>
                    </a:lnTo>
                    <a:lnTo>
                      <a:pt x="29" y="191"/>
                    </a:lnTo>
                    <a:lnTo>
                      <a:pt x="37" y="201"/>
                    </a:lnTo>
                    <a:lnTo>
                      <a:pt x="46" y="213"/>
                    </a:lnTo>
                    <a:lnTo>
                      <a:pt x="57" y="223"/>
                    </a:lnTo>
                    <a:lnTo>
                      <a:pt x="68" y="233"/>
                    </a:lnTo>
                    <a:lnTo>
                      <a:pt x="79" y="243"/>
                    </a:lnTo>
                    <a:lnTo>
                      <a:pt x="92" y="252"/>
                    </a:lnTo>
                    <a:lnTo>
                      <a:pt x="104" y="261"/>
                    </a:lnTo>
                    <a:lnTo>
                      <a:pt x="117" y="268"/>
                    </a:lnTo>
                    <a:lnTo>
                      <a:pt x="130" y="277"/>
                    </a:lnTo>
                    <a:lnTo>
                      <a:pt x="142" y="283"/>
                    </a:lnTo>
                    <a:lnTo>
                      <a:pt x="156" y="289"/>
                    </a:lnTo>
                    <a:lnTo>
                      <a:pt x="168" y="293"/>
                    </a:lnTo>
                    <a:lnTo>
                      <a:pt x="180" y="297"/>
                    </a:lnTo>
                    <a:lnTo>
                      <a:pt x="226" y="310"/>
                    </a:lnTo>
                    <a:lnTo>
                      <a:pt x="267" y="320"/>
                    </a:lnTo>
                    <a:lnTo>
                      <a:pt x="287" y="324"/>
                    </a:lnTo>
                    <a:lnTo>
                      <a:pt x="307" y="327"/>
                    </a:lnTo>
                    <a:lnTo>
                      <a:pt x="326" y="330"/>
                    </a:lnTo>
                    <a:lnTo>
                      <a:pt x="345" y="333"/>
                    </a:lnTo>
                    <a:lnTo>
                      <a:pt x="365" y="334"/>
                    </a:lnTo>
                    <a:lnTo>
                      <a:pt x="384" y="334"/>
                    </a:lnTo>
                    <a:lnTo>
                      <a:pt x="404" y="334"/>
                    </a:lnTo>
                    <a:lnTo>
                      <a:pt x="426" y="334"/>
                    </a:lnTo>
                    <a:lnTo>
                      <a:pt x="447" y="332"/>
                    </a:lnTo>
                    <a:lnTo>
                      <a:pt x="470" y="329"/>
                    </a:lnTo>
                    <a:lnTo>
                      <a:pt x="495" y="327"/>
                    </a:lnTo>
                    <a:lnTo>
                      <a:pt x="521" y="323"/>
                    </a:lnTo>
                    <a:lnTo>
                      <a:pt x="534" y="321"/>
                    </a:lnTo>
                    <a:lnTo>
                      <a:pt x="549" y="318"/>
                    </a:lnTo>
                    <a:lnTo>
                      <a:pt x="563" y="314"/>
                    </a:lnTo>
                    <a:lnTo>
                      <a:pt x="577" y="310"/>
                    </a:lnTo>
                    <a:lnTo>
                      <a:pt x="592" y="305"/>
                    </a:lnTo>
                    <a:lnTo>
                      <a:pt x="605" y="298"/>
                    </a:lnTo>
                    <a:lnTo>
                      <a:pt x="620" y="291"/>
                    </a:lnTo>
                    <a:lnTo>
                      <a:pt x="633" y="284"/>
                    </a:lnTo>
                    <a:lnTo>
                      <a:pt x="646" y="277"/>
                    </a:lnTo>
                    <a:lnTo>
                      <a:pt x="659" y="268"/>
                    </a:lnTo>
                    <a:lnTo>
                      <a:pt x="670" y="260"/>
                    </a:lnTo>
                    <a:lnTo>
                      <a:pt x="683" y="251"/>
                    </a:lnTo>
                    <a:lnTo>
                      <a:pt x="693" y="242"/>
                    </a:lnTo>
                    <a:lnTo>
                      <a:pt x="704" y="232"/>
                    </a:lnTo>
                    <a:lnTo>
                      <a:pt x="713" y="222"/>
                    </a:lnTo>
                    <a:lnTo>
                      <a:pt x="721" y="212"/>
                    </a:lnTo>
                    <a:lnTo>
                      <a:pt x="727" y="204"/>
                    </a:lnTo>
                    <a:lnTo>
                      <a:pt x="732" y="196"/>
                    </a:lnTo>
                    <a:lnTo>
                      <a:pt x="737" y="187"/>
                    </a:lnTo>
                    <a:lnTo>
                      <a:pt x="741" y="178"/>
                    </a:lnTo>
                    <a:lnTo>
                      <a:pt x="744" y="169"/>
                    </a:lnTo>
                    <a:lnTo>
                      <a:pt x="747" y="161"/>
                    </a:lnTo>
                    <a:lnTo>
                      <a:pt x="750" y="152"/>
                    </a:lnTo>
                    <a:lnTo>
                      <a:pt x="751" y="142"/>
                    </a:lnTo>
                    <a:lnTo>
                      <a:pt x="752" y="133"/>
                    </a:lnTo>
                    <a:lnTo>
                      <a:pt x="753" y="125"/>
                    </a:lnTo>
                    <a:lnTo>
                      <a:pt x="753" y="115"/>
                    </a:lnTo>
                    <a:lnTo>
                      <a:pt x="752" y="107"/>
                    </a:lnTo>
                    <a:lnTo>
                      <a:pt x="751" y="98"/>
                    </a:lnTo>
                    <a:lnTo>
                      <a:pt x="749" y="90"/>
                    </a:lnTo>
                    <a:lnTo>
                      <a:pt x="747" y="82"/>
                    </a:lnTo>
                    <a:lnTo>
                      <a:pt x="744" y="74"/>
                    </a:lnTo>
                    <a:lnTo>
                      <a:pt x="738" y="65"/>
                    </a:lnTo>
                    <a:lnTo>
                      <a:pt x="731" y="55"/>
                    </a:lnTo>
                    <a:lnTo>
                      <a:pt x="724" y="48"/>
                    </a:lnTo>
                    <a:lnTo>
                      <a:pt x="716" y="41"/>
                    </a:lnTo>
                    <a:lnTo>
                      <a:pt x="707" y="35"/>
                    </a:lnTo>
                    <a:lnTo>
                      <a:pt x="696" y="30"/>
                    </a:lnTo>
                    <a:lnTo>
                      <a:pt x="685" y="24"/>
                    </a:lnTo>
                    <a:lnTo>
                      <a:pt x="674" y="21"/>
                    </a:lnTo>
                    <a:lnTo>
                      <a:pt x="657" y="18"/>
                    </a:lnTo>
                    <a:lnTo>
                      <a:pt x="643" y="17"/>
                    </a:lnTo>
                    <a:lnTo>
                      <a:pt x="628" y="18"/>
                    </a:lnTo>
                    <a:lnTo>
                      <a:pt x="616" y="20"/>
                    </a:lnTo>
                    <a:lnTo>
                      <a:pt x="602" y="23"/>
                    </a:lnTo>
                    <a:lnTo>
                      <a:pt x="590" y="29"/>
                    </a:lnTo>
                    <a:lnTo>
                      <a:pt x="577" y="34"/>
                    </a:lnTo>
                    <a:lnTo>
                      <a:pt x="565" y="39"/>
                    </a:lnTo>
                    <a:close/>
                  </a:path>
                </a:pathLst>
              </a:custGeom>
              <a:solidFill>
                <a:srgbClr val="F1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57" name="Freeform 133"/>
              <p:cNvSpPr>
                <a:spLocks/>
              </p:cNvSpPr>
              <p:nvPr/>
            </p:nvSpPr>
            <p:spPr bwMode="auto">
              <a:xfrm>
                <a:off x="3552" y="1852"/>
                <a:ext cx="19" cy="67"/>
              </a:xfrm>
              <a:custGeom>
                <a:avLst/>
                <a:gdLst>
                  <a:gd name="T0" fmla="*/ 0 w 131"/>
                  <a:gd name="T1" fmla="*/ 0 h 465"/>
                  <a:gd name="T2" fmla="*/ 0 w 131"/>
                  <a:gd name="T3" fmla="*/ 0 h 465"/>
                  <a:gd name="T4" fmla="*/ 0 w 131"/>
                  <a:gd name="T5" fmla="*/ 0 h 465"/>
                  <a:gd name="T6" fmla="*/ 0 w 131"/>
                  <a:gd name="T7" fmla="*/ 0 h 465"/>
                  <a:gd name="T8" fmla="*/ 0 w 131"/>
                  <a:gd name="T9" fmla="*/ 0 h 465"/>
                  <a:gd name="T10" fmla="*/ 0 w 131"/>
                  <a:gd name="T11" fmla="*/ 0 h 465"/>
                  <a:gd name="T12" fmla="*/ 0 w 131"/>
                  <a:gd name="T13" fmla="*/ 0 h 465"/>
                  <a:gd name="T14" fmla="*/ 0 w 131"/>
                  <a:gd name="T15" fmla="*/ 0 h 465"/>
                  <a:gd name="T16" fmla="*/ 0 w 131"/>
                  <a:gd name="T17" fmla="*/ 0 h 465"/>
                  <a:gd name="T18" fmla="*/ 0 w 131"/>
                  <a:gd name="T19" fmla="*/ 0 h 465"/>
                  <a:gd name="T20" fmla="*/ 0 w 131"/>
                  <a:gd name="T21" fmla="*/ 0 h 465"/>
                  <a:gd name="T22" fmla="*/ 0 w 131"/>
                  <a:gd name="T23" fmla="*/ 0 h 465"/>
                  <a:gd name="T24" fmla="*/ 0 w 131"/>
                  <a:gd name="T25" fmla="*/ 0 h 465"/>
                  <a:gd name="T26" fmla="*/ 0 w 131"/>
                  <a:gd name="T27" fmla="*/ 0 h 465"/>
                  <a:gd name="T28" fmla="*/ 0 w 131"/>
                  <a:gd name="T29" fmla="*/ 0 h 465"/>
                  <a:gd name="T30" fmla="*/ 0 w 131"/>
                  <a:gd name="T31" fmla="*/ 0 h 465"/>
                  <a:gd name="T32" fmla="*/ 0 w 131"/>
                  <a:gd name="T33" fmla="*/ 0 h 465"/>
                  <a:gd name="T34" fmla="*/ 0 w 131"/>
                  <a:gd name="T35" fmla="*/ 0 h 465"/>
                  <a:gd name="T36" fmla="*/ 0 w 131"/>
                  <a:gd name="T37" fmla="*/ 0 h 465"/>
                  <a:gd name="T38" fmla="*/ 0 w 131"/>
                  <a:gd name="T39" fmla="*/ 0 h 465"/>
                  <a:gd name="T40" fmla="*/ 0 w 131"/>
                  <a:gd name="T41" fmla="*/ 0 h 465"/>
                  <a:gd name="T42" fmla="*/ 0 w 131"/>
                  <a:gd name="T43" fmla="*/ 0 h 465"/>
                  <a:gd name="T44" fmla="*/ 0 w 131"/>
                  <a:gd name="T45" fmla="*/ 0 h 465"/>
                  <a:gd name="T46" fmla="*/ 0 w 131"/>
                  <a:gd name="T47" fmla="*/ 0 h 465"/>
                  <a:gd name="T48" fmla="*/ 0 w 131"/>
                  <a:gd name="T49" fmla="*/ 0 h 465"/>
                  <a:gd name="T50" fmla="*/ 0 w 131"/>
                  <a:gd name="T51" fmla="*/ 0 h 465"/>
                  <a:gd name="T52" fmla="*/ 0 w 131"/>
                  <a:gd name="T53" fmla="*/ 0 h 465"/>
                  <a:gd name="T54" fmla="*/ 0 w 131"/>
                  <a:gd name="T55" fmla="*/ 0 h 465"/>
                  <a:gd name="T56" fmla="*/ 0 w 131"/>
                  <a:gd name="T57" fmla="*/ 0 h 465"/>
                  <a:gd name="T58" fmla="*/ 0 w 131"/>
                  <a:gd name="T59" fmla="*/ 0 h 465"/>
                  <a:gd name="T60" fmla="*/ 0 w 131"/>
                  <a:gd name="T61" fmla="*/ 0 h 465"/>
                  <a:gd name="T62" fmla="*/ 0 w 131"/>
                  <a:gd name="T63" fmla="*/ 0 h 465"/>
                  <a:gd name="T64" fmla="*/ 0 w 131"/>
                  <a:gd name="T65" fmla="*/ 0 h 465"/>
                  <a:gd name="T66" fmla="*/ 0 w 131"/>
                  <a:gd name="T67" fmla="*/ 0 h 465"/>
                  <a:gd name="T68" fmla="*/ 0 w 131"/>
                  <a:gd name="T69" fmla="*/ 0 h 465"/>
                  <a:gd name="T70" fmla="*/ 0 w 131"/>
                  <a:gd name="T71" fmla="*/ 0 h 465"/>
                  <a:gd name="T72" fmla="*/ 0 w 131"/>
                  <a:gd name="T73" fmla="*/ 0 h 465"/>
                  <a:gd name="T74" fmla="*/ 0 w 131"/>
                  <a:gd name="T75" fmla="*/ 0 h 465"/>
                  <a:gd name="T76" fmla="*/ 0 w 131"/>
                  <a:gd name="T77" fmla="*/ 0 h 465"/>
                  <a:gd name="T78" fmla="*/ 0 w 131"/>
                  <a:gd name="T79" fmla="*/ 0 h 465"/>
                  <a:gd name="T80" fmla="*/ 0 w 131"/>
                  <a:gd name="T81" fmla="*/ 0 h 465"/>
                  <a:gd name="T82" fmla="*/ 0 w 131"/>
                  <a:gd name="T83" fmla="*/ 0 h 465"/>
                  <a:gd name="T84" fmla="*/ 0 w 131"/>
                  <a:gd name="T85" fmla="*/ 0 h 465"/>
                  <a:gd name="T86" fmla="*/ 0 w 131"/>
                  <a:gd name="T87" fmla="*/ 0 h 465"/>
                  <a:gd name="T88" fmla="*/ 0 w 131"/>
                  <a:gd name="T89" fmla="*/ 0 h 465"/>
                  <a:gd name="T90" fmla="*/ 0 w 131"/>
                  <a:gd name="T91" fmla="*/ 0 h 465"/>
                  <a:gd name="T92" fmla="*/ 0 w 131"/>
                  <a:gd name="T93" fmla="*/ 0 h 465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31"/>
                  <a:gd name="T142" fmla="*/ 0 h 465"/>
                  <a:gd name="T143" fmla="*/ 131 w 131"/>
                  <a:gd name="T144" fmla="*/ 465 h 465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31" h="465">
                    <a:moveTo>
                      <a:pt x="85" y="0"/>
                    </a:moveTo>
                    <a:lnTo>
                      <a:pt x="69" y="7"/>
                    </a:lnTo>
                    <a:lnTo>
                      <a:pt x="56" y="14"/>
                    </a:lnTo>
                    <a:lnTo>
                      <a:pt x="44" y="22"/>
                    </a:lnTo>
                    <a:lnTo>
                      <a:pt x="34" y="31"/>
                    </a:lnTo>
                    <a:lnTo>
                      <a:pt x="25" y="43"/>
                    </a:lnTo>
                    <a:lnTo>
                      <a:pt x="17" y="54"/>
                    </a:lnTo>
                    <a:lnTo>
                      <a:pt x="11" y="68"/>
                    </a:lnTo>
                    <a:lnTo>
                      <a:pt x="7" y="81"/>
                    </a:lnTo>
                    <a:lnTo>
                      <a:pt x="3" y="96"/>
                    </a:lnTo>
                    <a:lnTo>
                      <a:pt x="1" y="111"/>
                    </a:lnTo>
                    <a:lnTo>
                      <a:pt x="0" y="128"/>
                    </a:lnTo>
                    <a:lnTo>
                      <a:pt x="0" y="144"/>
                    </a:lnTo>
                    <a:lnTo>
                      <a:pt x="1" y="161"/>
                    </a:lnTo>
                    <a:lnTo>
                      <a:pt x="2" y="178"/>
                    </a:lnTo>
                    <a:lnTo>
                      <a:pt x="5" y="196"/>
                    </a:lnTo>
                    <a:lnTo>
                      <a:pt x="8" y="214"/>
                    </a:lnTo>
                    <a:lnTo>
                      <a:pt x="15" y="251"/>
                    </a:lnTo>
                    <a:lnTo>
                      <a:pt x="26" y="287"/>
                    </a:lnTo>
                    <a:lnTo>
                      <a:pt x="37" y="323"/>
                    </a:lnTo>
                    <a:lnTo>
                      <a:pt x="48" y="357"/>
                    </a:lnTo>
                    <a:lnTo>
                      <a:pt x="71" y="418"/>
                    </a:lnTo>
                    <a:lnTo>
                      <a:pt x="88" y="465"/>
                    </a:lnTo>
                    <a:lnTo>
                      <a:pt x="96" y="454"/>
                    </a:lnTo>
                    <a:lnTo>
                      <a:pt x="103" y="443"/>
                    </a:lnTo>
                    <a:lnTo>
                      <a:pt x="109" y="430"/>
                    </a:lnTo>
                    <a:lnTo>
                      <a:pt x="115" y="416"/>
                    </a:lnTo>
                    <a:lnTo>
                      <a:pt x="118" y="401"/>
                    </a:lnTo>
                    <a:lnTo>
                      <a:pt x="121" y="385"/>
                    </a:lnTo>
                    <a:lnTo>
                      <a:pt x="123" y="369"/>
                    </a:lnTo>
                    <a:lnTo>
                      <a:pt x="124" y="352"/>
                    </a:lnTo>
                    <a:lnTo>
                      <a:pt x="126" y="319"/>
                    </a:lnTo>
                    <a:lnTo>
                      <a:pt x="126" y="287"/>
                    </a:lnTo>
                    <a:lnTo>
                      <a:pt x="127" y="258"/>
                    </a:lnTo>
                    <a:lnTo>
                      <a:pt x="129" y="232"/>
                    </a:lnTo>
                    <a:lnTo>
                      <a:pt x="130" y="216"/>
                    </a:lnTo>
                    <a:lnTo>
                      <a:pt x="131" y="200"/>
                    </a:lnTo>
                    <a:lnTo>
                      <a:pt x="131" y="186"/>
                    </a:lnTo>
                    <a:lnTo>
                      <a:pt x="131" y="170"/>
                    </a:lnTo>
                    <a:lnTo>
                      <a:pt x="130" y="156"/>
                    </a:lnTo>
                    <a:lnTo>
                      <a:pt x="128" y="141"/>
                    </a:lnTo>
                    <a:lnTo>
                      <a:pt x="126" y="128"/>
                    </a:lnTo>
                    <a:lnTo>
                      <a:pt x="124" y="113"/>
                    </a:lnTo>
                    <a:lnTo>
                      <a:pt x="117" y="86"/>
                    </a:lnTo>
                    <a:lnTo>
                      <a:pt x="107" y="58"/>
                    </a:lnTo>
                    <a:lnTo>
                      <a:pt x="97" y="30"/>
                    </a:lnTo>
                    <a:lnTo>
                      <a:pt x="85" y="0"/>
                    </a:lnTo>
                    <a:close/>
                  </a:path>
                </a:pathLst>
              </a:custGeom>
              <a:solidFill>
                <a:srgbClr val="F1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58" name="Freeform 134"/>
              <p:cNvSpPr>
                <a:spLocks/>
              </p:cNvSpPr>
              <p:nvPr/>
            </p:nvSpPr>
            <p:spPr bwMode="auto">
              <a:xfrm>
                <a:off x="3509" y="1856"/>
                <a:ext cx="107" cy="73"/>
              </a:xfrm>
              <a:custGeom>
                <a:avLst/>
                <a:gdLst>
                  <a:gd name="T0" fmla="*/ 0 w 753"/>
                  <a:gd name="T1" fmla="*/ 0 h 517"/>
                  <a:gd name="T2" fmla="*/ 0 w 753"/>
                  <a:gd name="T3" fmla="*/ 0 h 517"/>
                  <a:gd name="T4" fmla="*/ 0 w 753"/>
                  <a:gd name="T5" fmla="*/ 0 h 517"/>
                  <a:gd name="T6" fmla="*/ 0 w 753"/>
                  <a:gd name="T7" fmla="*/ 0 h 517"/>
                  <a:gd name="T8" fmla="*/ 0 w 753"/>
                  <a:gd name="T9" fmla="*/ 0 h 517"/>
                  <a:gd name="T10" fmla="*/ 0 w 753"/>
                  <a:gd name="T11" fmla="*/ 0 h 517"/>
                  <a:gd name="T12" fmla="*/ 0 w 753"/>
                  <a:gd name="T13" fmla="*/ 0 h 517"/>
                  <a:gd name="T14" fmla="*/ 0 w 753"/>
                  <a:gd name="T15" fmla="*/ 0 h 517"/>
                  <a:gd name="T16" fmla="*/ 0 w 753"/>
                  <a:gd name="T17" fmla="*/ 0 h 517"/>
                  <a:gd name="T18" fmla="*/ 0 w 753"/>
                  <a:gd name="T19" fmla="*/ 0 h 517"/>
                  <a:gd name="T20" fmla="*/ 0 w 753"/>
                  <a:gd name="T21" fmla="*/ 0 h 517"/>
                  <a:gd name="T22" fmla="*/ 0 w 753"/>
                  <a:gd name="T23" fmla="*/ 0 h 517"/>
                  <a:gd name="T24" fmla="*/ 0 w 753"/>
                  <a:gd name="T25" fmla="*/ 0 h 517"/>
                  <a:gd name="T26" fmla="*/ 0 w 753"/>
                  <a:gd name="T27" fmla="*/ 0 h 517"/>
                  <a:gd name="T28" fmla="*/ 0 w 753"/>
                  <a:gd name="T29" fmla="*/ 0 h 517"/>
                  <a:gd name="T30" fmla="*/ 0 w 753"/>
                  <a:gd name="T31" fmla="*/ 0 h 517"/>
                  <a:gd name="T32" fmla="*/ 0 w 753"/>
                  <a:gd name="T33" fmla="*/ 0 h 517"/>
                  <a:gd name="T34" fmla="*/ 0 w 753"/>
                  <a:gd name="T35" fmla="*/ 0 h 517"/>
                  <a:gd name="T36" fmla="*/ 0 w 753"/>
                  <a:gd name="T37" fmla="*/ 0 h 517"/>
                  <a:gd name="T38" fmla="*/ 0 w 753"/>
                  <a:gd name="T39" fmla="*/ 0 h 517"/>
                  <a:gd name="T40" fmla="*/ 0 w 753"/>
                  <a:gd name="T41" fmla="*/ 0 h 517"/>
                  <a:gd name="T42" fmla="*/ 0 w 753"/>
                  <a:gd name="T43" fmla="*/ 0 h 517"/>
                  <a:gd name="T44" fmla="*/ 0 w 753"/>
                  <a:gd name="T45" fmla="*/ 0 h 517"/>
                  <a:gd name="T46" fmla="*/ 0 w 753"/>
                  <a:gd name="T47" fmla="*/ 0 h 517"/>
                  <a:gd name="T48" fmla="*/ 0 w 753"/>
                  <a:gd name="T49" fmla="*/ 0 h 517"/>
                  <a:gd name="T50" fmla="*/ 0 w 753"/>
                  <a:gd name="T51" fmla="*/ 0 h 517"/>
                  <a:gd name="T52" fmla="*/ 0 w 753"/>
                  <a:gd name="T53" fmla="*/ 0 h 517"/>
                  <a:gd name="T54" fmla="*/ 0 w 753"/>
                  <a:gd name="T55" fmla="*/ 0 h 517"/>
                  <a:gd name="T56" fmla="*/ 0 w 753"/>
                  <a:gd name="T57" fmla="*/ 0 h 517"/>
                  <a:gd name="T58" fmla="*/ 0 w 753"/>
                  <a:gd name="T59" fmla="*/ 0 h 517"/>
                  <a:gd name="T60" fmla="*/ 0 w 753"/>
                  <a:gd name="T61" fmla="*/ 0 h 517"/>
                  <a:gd name="T62" fmla="*/ 0 w 753"/>
                  <a:gd name="T63" fmla="*/ 0 h 517"/>
                  <a:gd name="T64" fmla="*/ 0 w 753"/>
                  <a:gd name="T65" fmla="*/ 0 h 517"/>
                  <a:gd name="T66" fmla="*/ 0 w 753"/>
                  <a:gd name="T67" fmla="*/ 0 h 517"/>
                  <a:gd name="T68" fmla="*/ 0 w 753"/>
                  <a:gd name="T69" fmla="*/ 0 h 517"/>
                  <a:gd name="T70" fmla="*/ 0 w 753"/>
                  <a:gd name="T71" fmla="*/ 0 h 517"/>
                  <a:gd name="T72" fmla="*/ 0 w 753"/>
                  <a:gd name="T73" fmla="*/ 0 h 517"/>
                  <a:gd name="T74" fmla="*/ 0 w 753"/>
                  <a:gd name="T75" fmla="*/ 0 h 517"/>
                  <a:gd name="T76" fmla="*/ 0 w 753"/>
                  <a:gd name="T77" fmla="*/ 0 h 517"/>
                  <a:gd name="T78" fmla="*/ 0 w 753"/>
                  <a:gd name="T79" fmla="*/ 0 h 517"/>
                  <a:gd name="T80" fmla="*/ 0 w 753"/>
                  <a:gd name="T81" fmla="*/ 0 h 517"/>
                  <a:gd name="T82" fmla="*/ 0 w 753"/>
                  <a:gd name="T83" fmla="*/ 0 h 517"/>
                  <a:gd name="T84" fmla="*/ 0 w 753"/>
                  <a:gd name="T85" fmla="*/ 0 h 517"/>
                  <a:gd name="T86" fmla="*/ 0 w 753"/>
                  <a:gd name="T87" fmla="*/ 0 h 517"/>
                  <a:gd name="T88" fmla="*/ 0 w 753"/>
                  <a:gd name="T89" fmla="*/ 0 h 517"/>
                  <a:gd name="T90" fmla="*/ 0 w 753"/>
                  <a:gd name="T91" fmla="*/ 0 h 517"/>
                  <a:gd name="T92" fmla="*/ 0 w 753"/>
                  <a:gd name="T93" fmla="*/ 0 h 517"/>
                  <a:gd name="T94" fmla="*/ 0 w 753"/>
                  <a:gd name="T95" fmla="*/ 0 h 517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53"/>
                  <a:gd name="T145" fmla="*/ 0 h 517"/>
                  <a:gd name="T146" fmla="*/ 753 w 753"/>
                  <a:gd name="T147" fmla="*/ 517 h 517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53" h="517">
                    <a:moveTo>
                      <a:pt x="628" y="3"/>
                    </a:moveTo>
                    <a:lnTo>
                      <a:pt x="616" y="5"/>
                    </a:lnTo>
                    <a:lnTo>
                      <a:pt x="605" y="9"/>
                    </a:lnTo>
                    <a:lnTo>
                      <a:pt x="593" y="14"/>
                    </a:lnTo>
                    <a:lnTo>
                      <a:pt x="583" y="18"/>
                    </a:lnTo>
                    <a:lnTo>
                      <a:pt x="573" y="24"/>
                    </a:lnTo>
                    <a:lnTo>
                      <a:pt x="562" y="30"/>
                    </a:lnTo>
                    <a:lnTo>
                      <a:pt x="553" y="36"/>
                    </a:lnTo>
                    <a:lnTo>
                      <a:pt x="544" y="44"/>
                    </a:lnTo>
                    <a:lnTo>
                      <a:pt x="534" y="51"/>
                    </a:lnTo>
                    <a:lnTo>
                      <a:pt x="527" y="59"/>
                    </a:lnTo>
                    <a:lnTo>
                      <a:pt x="519" y="67"/>
                    </a:lnTo>
                    <a:lnTo>
                      <a:pt x="512" y="76"/>
                    </a:lnTo>
                    <a:lnTo>
                      <a:pt x="499" y="93"/>
                    </a:lnTo>
                    <a:lnTo>
                      <a:pt x="488" y="111"/>
                    </a:lnTo>
                    <a:lnTo>
                      <a:pt x="484" y="121"/>
                    </a:lnTo>
                    <a:lnTo>
                      <a:pt x="480" y="134"/>
                    </a:lnTo>
                    <a:lnTo>
                      <a:pt x="477" y="149"/>
                    </a:lnTo>
                    <a:lnTo>
                      <a:pt x="472" y="166"/>
                    </a:lnTo>
                    <a:lnTo>
                      <a:pt x="467" y="205"/>
                    </a:lnTo>
                    <a:lnTo>
                      <a:pt x="463" y="246"/>
                    </a:lnTo>
                    <a:lnTo>
                      <a:pt x="459" y="289"/>
                    </a:lnTo>
                    <a:lnTo>
                      <a:pt x="457" y="327"/>
                    </a:lnTo>
                    <a:lnTo>
                      <a:pt x="455" y="359"/>
                    </a:lnTo>
                    <a:lnTo>
                      <a:pt x="455" y="381"/>
                    </a:lnTo>
                    <a:lnTo>
                      <a:pt x="455" y="395"/>
                    </a:lnTo>
                    <a:lnTo>
                      <a:pt x="455" y="408"/>
                    </a:lnTo>
                    <a:lnTo>
                      <a:pt x="454" y="419"/>
                    </a:lnTo>
                    <a:lnTo>
                      <a:pt x="453" y="429"/>
                    </a:lnTo>
                    <a:lnTo>
                      <a:pt x="450" y="440"/>
                    </a:lnTo>
                    <a:lnTo>
                      <a:pt x="444" y="451"/>
                    </a:lnTo>
                    <a:lnTo>
                      <a:pt x="437" y="462"/>
                    </a:lnTo>
                    <a:lnTo>
                      <a:pt x="427" y="475"/>
                    </a:lnTo>
                    <a:lnTo>
                      <a:pt x="422" y="479"/>
                    </a:lnTo>
                    <a:lnTo>
                      <a:pt x="416" y="483"/>
                    </a:lnTo>
                    <a:lnTo>
                      <a:pt x="409" y="485"/>
                    </a:lnTo>
                    <a:lnTo>
                      <a:pt x="403" y="487"/>
                    </a:lnTo>
                    <a:lnTo>
                      <a:pt x="396" y="487"/>
                    </a:lnTo>
                    <a:lnTo>
                      <a:pt x="389" y="487"/>
                    </a:lnTo>
                    <a:lnTo>
                      <a:pt x="381" y="486"/>
                    </a:lnTo>
                    <a:lnTo>
                      <a:pt x="375" y="484"/>
                    </a:lnTo>
                    <a:lnTo>
                      <a:pt x="368" y="481"/>
                    </a:lnTo>
                    <a:lnTo>
                      <a:pt x="361" y="478"/>
                    </a:lnTo>
                    <a:lnTo>
                      <a:pt x="355" y="474"/>
                    </a:lnTo>
                    <a:lnTo>
                      <a:pt x="348" y="469"/>
                    </a:lnTo>
                    <a:lnTo>
                      <a:pt x="343" y="463"/>
                    </a:lnTo>
                    <a:lnTo>
                      <a:pt x="338" y="458"/>
                    </a:lnTo>
                    <a:lnTo>
                      <a:pt x="334" y="452"/>
                    </a:lnTo>
                    <a:lnTo>
                      <a:pt x="331" y="446"/>
                    </a:lnTo>
                    <a:lnTo>
                      <a:pt x="325" y="431"/>
                    </a:lnTo>
                    <a:lnTo>
                      <a:pt x="322" y="417"/>
                    </a:lnTo>
                    <a:lnTo>
                      <a:pt x="319" y="401"/>
                    </a:lnTo>
                    <a:lnTo>
                      <a:pt x="317" y="385"/>
                    </a:lnTo>
                    <a:lnTo>
                      <a:pt x="317" y="354"/>
                    </a:lnTo>
                    <a:lnTo>
                      <a:pt x="316" y="323"/>
                    </a:lnTo>
                    <a:lnTo>
                      <a:pt x="315" y="304"/>
                    </a:lnTo>
                    <a:lnTo>
                      <a:pt x="313" y="286"/>
                    </a:lnTo>
                    <a:lnTo>
                      <a:pt x="311" y="268"/>
                    </a:lnTo>
                    <a:lnTo>
                      <a:pt x="308" y="250"/>
                    </a:lnTo>
                    <a:lnTo>
                      <a:pt x="304" y="233"/>
                    </a:lnTo>
                    <a:lnTo>
                      <a:pt x="299" y="215"/>
                    </a:lnTo>
                    <a:lnTo>
                      <a:pt x="292" y="198"/>
                    </a:lnTo>
                    <a:lnTo>
                      <a:pt x="284" y="180"/>
                    </a:lnTo>
                    <a:lnTo>
                      <a:pt x="272" y="155"/>
                    </a:lnTo>
                    <a:lnTo>
                      <a:pt x="258" y="133"/>
                    </a:lnTo>
                    <a:lnTo>
                      <a:pt x="250" y="122"/>
                    </a:lnTo>
                    <a:lnTo>
                      <a:pt x="242" y="112"/>
                    </a:lnTo>
                    <a:lnTo>
                      <a:pt x="234" y="102"/>
                    </a:lnTo>
                    <a:lnTo>
                      <a:pt x="224" y="92"/>
                    </a:lnTo>
                    <a:lnTo>
                      <a:pt x="215" y="83"/>
                    </a:lnTo>
                    <a:lnTo>
                      <a:pt x="205" y="75"/>
                    </a:lnTo>
                    <a:lnTo>
                      <a:pt x="193" y="67"/>
                    </a:lnTo>
                    <a:lnTo>
                      <a:pt x="182" y="59"/>
                    </a:lnTo>
                    <a:lnTo>
                      <a:pt x="170" y="53"/>
                    </a:lnTo>
                    <a:lnTo>
                      <a:pt x="156" y="47"/>
                    </a:lnTo>
                    <a:lnTo>
                      <a:pt x="142" y="41"/>
                    </a:lnTo>
                    <a:lnTo>
                      <a:pt x="127" y="35"/>
                    </a:lnTo>
                    <a:lnTo>
                      <a:pt x="115" y="32"/>
                    </a:lnTo>
                    <a:lnTo>
                      <a:pt x="103" y="31"/>
                    </a:lnTo>
                    <a:lnTo>
                      <a:pt x="92" y="30"/>
                    </a:lnTo>
                    <a:lnTo>
                      <a:pt x="81" y="30"/>
                    </a:lnTo>
                    <a:lnTo>
                      <a:pt x="69" y="32"/>
                    </a:lnTo>
                    <a:lnTo>
                      <a:pt x="59" y="34"/>
                    </a:lnTo>
                    <a:lnTo>
                      <a:pt x="50" y="38"/>
                    </a:lnTo>
                    <a:lnTo>
                      <a:pt x="40" y="43"/>
                    </a:lnTo>
                    <a:lnTo>
                      <a:pt x="32" y="48"/>
                    </a:lnTo>
                    <a:lnTo>
                      <a:pt x="24" y="54"/>
                    </a:lnTo>
                    <a:lnTo>
                      <a:pt x="18" y="61"/>
                    </a:lnTo>
                    <a:lnTo>
                      <a:pt x="12" y="69"/>
                    </a:lnTo>
                    <a:lnTo>
                      <a:pt x="6" y="78"/>
                    </a:lnTo>
                    <a:lnTo>
                      <a:pt x="3" y="87"/>
                    </a:lnTo>
                    <a:lnTo>
                      <a:pt x="1" y="97"/>
                    </a:lnTo>
                    <a:lnTo>
                      <a:pt x="0" y="108"/>
                    </a:lnTo>
                    <a:lnTo>
                      <a:pt x="2" y="106"/>
                    </a:lnTo>
                    <a:lnTo>
                      <a:pt x="8" y="100"/>
                    </a:lnTo>
                    <a:lnTo>
                      <a:pt x="19" y="93"/>
                    </a:lnTo>
                    <a:lnTo>
                      <a:pt x="32" y="86"/>
                    </a:lnTo>
                    <a:lnTo>
                      <a:pt x="39" y="82"/>
                    </a:lnTo>
                    <a:lnTo>
                      <a:pt x="49" y="79"/>
                    </a:lnTo>
                    <a:lnTo>
                      <a:pt x="58" y="77"/>
                    </a:lnTo>
                    <a:lnTo>
                      <a:pt x="67" y="75"/>
                    </a:lnTo>
                    <a:lnTo>
                      <a:pt x="78" y="74"/>
                    </a:lnTo>
                    <a:lnTo>
                      <a:pt x="89" y="74"/>
                    </a:lnTo>
                    <a:lnTo>
                      <a:pt x="100" y="76"/>
                    </a:lnTo>
                    <a:lnTo>
                      <a:pt x="112" y="78"/>
                    </a:lnTo>
                    <a:lnTo>
                      <a:pt x="124" y="83"/>
                    </a:lnTo>
                    <a:lnTo>
                      <a:pt x="137" y="89"/>
                    </a:lnTo>
                    <a:lnTo>
                      <a:pt x="149" y="97"/>
                    </a:lnTo>
                    <a:lnTo>
                      <a:pt x="161" y="108"/>
                    </a:lnTo>
                    <a:lnTo>
                      <a:pt x="175" y="120"/>
                    </a:lnTo>
                    <a:lnTo>
                      <a:pt x="188" y="136"/>
                    </a:lnTo>
                    <a:lnTo>
                      <a:pt x="201" y="153"/>
                    </a:lnTo>
                    <a:lnTo>
                      <a:pt x="214" y="174"/>
                    </a:lnTo>
                    <a:lnTo>
                      <a:pt x="227" y="198"/>
                    </a:lnTo>
                    <a:lnTo>
                      <a:pt x="241" y="225"/>
                    </a:lnTo>
                    <a:lnTo>
                      <a:pt x="253" y="255"/>
                    </a:lnTo>
                    <a:lnTo>
                      <a:pt x="266" y="289"/>
                    </a:lnTo>
                    <a:lnTo>
                      <a:pt x="279" y="326"/>
                    </a:lnTo>
                    <a:lnTo>
                      <a:pt x="291" y="367"/>
                    </a:lnTo>
                    <a:lnTo>
                      <a:pt x="303" y="413"/>
                    </a:lnTo>
                    <a:lnTo>
                      <a:pt x="314" y="462"/>
                    </a:lnTo>
                    <a:lnTo>
                      <a:pt x="316" y="470"/>
                    </a:lnTo>
                    <a:lnTo>
                      <a:pt x="319" y="477"/>
                    </a:lnTo>
                    <a:lnTo>
                      <a:pt x="323" y="483"/>
                    </a:lnTo>
                    <a:lnTo>
                      <a:pt x="326" y="489"/>
                    </a:lnTo>
                    <a:lnTo>
                      <a:pt x="331" y="494"/>
                    </a:lnTo>
                    <a:lnTo>
                      <a:pt x="335" y="499"/>
                    </a:lnTo>
                    <a:lnTo>
                      <a:pt x="340" y="503"/>
                    </a:lnTo>
                    <a:lnTo>
                      <a:pt x="346" y="506"/>
                    </a:lnTo>
                    <a:lnTo>
                      <a:pt x="351" y="509"/>
                    </a:lnTo>
                    <a:lnTo>
                      <a:pt x="358" y="512"/>
                    </a:lnTo>
                    <a:lnTo>
                      <a:pt x="364" y="514"/>
                    </a:lnTo>
                    <a:lnTo>
                      <a:pt x="371" y="515"/>
                    </a:lnTo>
                    <a:lnTo>
                      <a:pt x="384" y="517"/>
                    </a:lnTo>
                    <a:lnTo>
                      <a:pt x="398" y="517"/>
                    </a:lnTo>
                    <a:lnTo>
                      <a:pt x="411" y="516"/>
                    </a:lnTo>
                    <a:lnTo>
                      <a:pt x="424" y="513"/>
                    </a:lnTo>
                    <a:lnTo>
                      <a:pt x="436" y="509"/>
                    </a:lnTo>
                    <a:lnTo>
                      <a:pt x="447" y="504"/>
                    </a:lnTo>
                    <a:lnTo>
                      <a:pt x="456" y="498"/>
                    </a:lnTo>
                    <a:lnTo>
                      <a:pt x="463" y="490"/>
                    </a:lnTo>
                    <a:lnTo>
                      <a:pt x="466" y="486"/>
                    </a:lnTo>
                    <a:lnTo>
                      <a:pt x="468" y="482"/>
                    </a:lnTo>
                    <a:lnTo>
                      <a:pt x="469" y="477"/>
                    </a:lnTo>
                    <a:lnTo>
                      <a:pt x="470" y="473"/>
                    </a:lnTo>
                    <a:lnTo>
                      <a:pt x="473" y="429"/>
                    </a:lnTo>
                    <a:lnTo>
                      <a:pt x="479" y="390"/>
                    </a:lnTo>
                    <a:lnTo>
                      <a:pt x="485" y="353"/>
                    </a:lnTo>
                    <a:lnTo>
                      <a:pt x="491" y="318"/>
                    </a:lnTo>
                    <a:lnTo>
                      <a:pt x="499" y="286"/>
                    </a:lnTo>
                    <a:lnTo>
                      <a:pt x="508" y="256"/>
                    </a:lnTo>
                    <a:lnTo>
                      <a:pt x="516" y="229"/>
                    </a:lnTo>
                    <a:lnTo>
                      <a:pt x="525" y="204"/>
                    </a:lnTo>
                    <a:lnTo>
                      <a:pt x="535" y="181"/>
                    </a:lnTo>
                    <a:lnTo>
                      <a:pt x="546" y="160"/>
                    </a:lnTo>
                    <a:lnTo>
                      <a:pt x="556" y="142"/>
                    </a:lnTo>
                    <a:lnTo>
                      <a:pt x="567" y="125"/>
                    </a:lnTo>
                    <a:lnTo>
                      <a:pt x="579" y="111"/>
                    </a:lnTo>
                    <a:lnTo>
                      <a:pt x="590" y="97"/>
                    </a:lnTo>
                    <a:lnTo>
                      <a:pt x="602" y="86"/>
                    </a:lnTo>
                    <a:lnTo>
                      <a:pt x="614" y="77"/>
                    </a:lnTo>
                    <a:lnTo>
                      <a:pt x="625" y="68"/>
                    </a:lnTo>
                    <a:lnTo>
                      <a:pt x="637" y="61"/>
                    </a:lnTo>
                    <a:lnTo>
                      <a:pt x="648" y="56"/>
                    </a:lnTo>
                    <a:lnTo>
                      <a:pt x="659" y="52"/>
                    </a:lnTo>
                    <a:lnTo>
                      <a:pt x="671" y="49"/>
                    </a:lnTo>
                    <a:lnTo>
                      <a:pt x="681" y="47"/>
                    </a:lnTo>
                    <a:lnTo>
                      <a:pt x="690" y="46"/>
                    </a:lnTo>
                    <a:lnTo>
                      <a:pt x="701" y="46"/>
                    </a:lnTo>
                    <a:lnTo>
                      <a:pt x="709" y="46"/>
                    </a:lnTo>
                    <a:lnTo>
                      <a:pt x="718" y="48"/>
                    </a:lnTo>
                    <a:lnTo>
                      <a:pt x="726" y="50"/>
                    </a:lnTo>
                    <a:lnTo>
                      <a:pt x="733" y="52"/>
                    </a:lnTo>
                    <a:lnTo>
                      <a:pt x="739" y="55"/>
                    </a:lnTo>
                    <a:lnTo>
                      <a:pt x="744" y="58"/>
                    </a:lnTo>
                    <a:lnTo>
                      <a:pt x="748" y="61"/>
                    </a:lnTo>
                    <a:lnTo>
                      <a:pt x="751" y="65"/>
                    </a:lnTo>
                    <a:lnTo>
                      <a:pt x="753" y="54"/>
                    </a:lnTo>
                    <a:lnTo>
                      <a:pt x="753" y="45"/>
                    </a:lnTo>
                    <a:lnTo>
                      <a:pt x="751" y="35"/>
                    </a:lnTo>
                    <a:lnTo>
                      <a:pt x="747" y="28"/>
                    </a:lnTo>
                    <a:lnTo>
                      <a:pt x="742" y="22"/>
                    </a:lnTo>
                    <a:lnTo>
                      <a:pt x="736" y="16"/>
                    </a:lnTo>
                    <a:lnTo>
                      <a:pt x="728" y="12"/>
                    </a:lnTo>
                    <a:lnTo>
                      <a:pt x="719" y="7"/>
                    </a:lnTo>
                    <a:lnTo>
                      <a:pt x="709" y="4"/>
                    </a:lnTo>
                    <a:lnTo>
                      <a:pt x="699" y="2"/>
                    </a:lnTo>
                    <a:lnTo>
                      <a:pt x="687" y="1"/>
                    </a:lnTo>
                    <a:lnTo>
                      <a:pt x="676" y="0"/>
                    </a:lnTo>
                    <a:lnTo>
                      <a:pt x="664" y="0"/>
                    </a:lnTo>
                    <a:lnTo>
                      <a:pt x="652" y="0"/>
                    </a:lnTo>
                    <a:lnTo>
                      <a:pt x="640" y="1"/>
                    </a:lnTo>
                    <a:lnTo>
                      <a:pt x="628" y="3"/>
                    </a:lnTo>
                    <a:close/>
                  </a:path>
                </a:pathLst>
              </a:custGeom>
              <a:solidFill>
                <a:srgbClr val="F1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59" name="Freeform 135"/>
              <p:cNvSpPr>
                <a:spLocks/>
              </p:cNvSpPr>
              <p:nvPr/>
            </p:nvSpPr>
            <p:spPr bwMode="auto">
              <a:xfrm>
                <a:off x="3511" y="1895"/>
                <a:ext cx="108" cy="50"/>
              </a:xfrm>
              <a:custGeom>
                <a:avLst/>
                <a:gdLst>
                  <a:gd name="T0" fmla="*/ 0 w 752"/>
                  <a:gd name="T1" fmla="*/ 0 h 347"/>
                  <a:gd name="T2" fmla="*/ 0 w 752"/>
                  <a:gd name="T3" fmla="*/ 0 h 347"/>
                  <a:gd name="T4" fmla="*/ 0 w 752"/>
                  <a:gd name="T5" fmla="*/ 0 h 347"/>
                  <a:gd name="T6" fmla="*/ 0 w 752"/>
                  <a:gd name="T7" fmla="*/ 0 h 347"/>
                  <a:gd name="T8" fmla="*/ 0 w 752"/>
                  <a:gd name="T9" fmla="*/ 0 h 347"/>
                  <a:gd name="T10" fmla="*/ 0 w 752"/>
                  <a:gd name="T11" fmla="*/ 0 h 347"/>
                  <a:gd name="T12" fmla="*/ 0 w 752"/>
                  <a:gd name="T13" fmla="*/ 0 h 347"/>
                  <a:gd name="T14" fmla="*/ 0 w 752"/>
                  <a:gd name="T15" fmla="*/ 0 h 347"/>
                  <a:gd name="T16" fmla="*/ 0 w 752"/>
                  <a:gd name="T17" fmla="*/ 0 h 347"/>
                  <a:gd name="T18" fmla="*/ 0 w 752"/>
                  <a:gd name="T19" fmla="*/ 0 h 347"/>
                  <a:gd name="T20" fmla="*/ 0 w 752"/>
                  <a:gd name="T21" fmla="*/ 0 h 347"/>
                  <a:gd name="T22" fmla="*/ 0 w 752"/>
                  <a:gd name="T23" fmla="*/ 0 h 347"/>
                  <a:gd name="T24" fmla="*/ 0 w 752"/>
                  <a:gd name="T25" fmla="*/ 0 h 347"/>
                  <a:gd name="T26" fmla="*/ 0 w 752"/>
                  <a:gd name="T27" fmla="*/ 0 h 347"/>
                  <a:gd name="T28" fmla="*/ 0 w 752"/>
                  <a:gd name="T29" fmla="*/ 0 h 347"/>
                  <a:gd name="T30" fmla="*/ 0 w 752"/>
                  <a:gd name="T31" fmla="*/ 0 h 347"/>
                  <a:gd name="T32" fmla="*/ 0 w 752"/>
                  <a:gd name="T33" fmla="*/ 0 h 347"/>
                  <a:gd name="T34" fmla="*/ 0 w 752"/>
                  <a:gd name="T35" fmla="*/ 0 h 347"/>
                  <a:gd name="T36" fmla="*/ 0 w 752"/>
                  <a:gd name="T37" fmla="*/ 0 h 347"/>
                  <a:gd name="T38" fmla="*/ 0 w 752"/>
                  <a:gd name="T39" fmla="*/ 0 h 347"/>
                  <a:gd name="T40" fmla="*/ 0 w 752"/>
                  <a:gd name="T41" fmla="*/ 0 h 347"/>
                  <a:gd name="T42" fmla="*/ 0 w 752"/>
                  <a:gd name="T43" fmla="*/ 0 h 347"/>
                  <a:gd name="T44" fmla="*/ 0 w 752"/>
                  <a:gd name="T45" fmla="*/ 0 h 347"/>
                  <a:gd name="T46" fmla="*/ 0 w 752"/>
                  <a:gd name="T47" fmla="*/ 0 h 347"/>
                  <a:gd name="T48" fmla="*/ 0 w 752"/>
                  <a:gd name="T49" fmla="*/ 0 h 347"/>
                  <a:gd name="T50" fmla="*/ 0 w 752"/>
                  <a:gd name="T51" fmla="*/ 0 h 347"/>
                  <a:gd name="T52" fmla="*/ 0 w 752"/>
                  <a:gd name="T53" fmla="*/ 0 h 347"/>
                  <a:gd name="T54" fmla="*/ 0 w 752"/>
                  <a:gd name="T55" fmla="*/ 0 h 347"/>
                  <a:gd name="T56" fmla="*/ 0 w 752"/>
                  <a:gd name="T57" fmla="*/ 0 h 347"/>
                  <a:gd name="T58" fmla="*/ 0 w 752"/>
                  <a:gd name="T59" fmla="*/ 0 h 347"/>
                  <a:gd name="T60" fmla="*/ 0 w 752"/>
                  <a:gd name="T61" fmla="*/ 0 h 347"/>
                  <a:gd name="T62" fmla="*/ 0 w 752"/>
                  <a:gd name="T63" fmla="*/ 0 h 347"/>
                  <a:gd name="T64" fmla="*/ 0 w 752"/>
                  <a:gd name="T65" fmla="*/ 0 h 347"/>
                  <a:gd name="T66" fmla="*/ 0 w 752"/>
                  <a:gd name="T67" fmla="*/ 0 h 347"/>
                  <a:gd name="T68" fmla="*/ 0 w 752"/>
                  <a:gd name="T69" fmla="*/ 0 h 347"/>
                  <a:gd name="T70" fmla="*/ 0 w 752"/>
                  <a:gd name="T71" fmla="*/ 0 h 347"/>
                  <a:gd name="T72" fmla="*/ 0 w 752"/>
                  <a:gd name="T73" fmla="*/ 0 h 347"/>
                  <a:gd name="T74" fmla="*/ 0 w 752"/>
                  <a:gd name="T75" fmla="*/ 0 h 347"/>
                  <a:gd name="T76" fmla="*/ 0 w 752"/>
                  <a:gd name="T77" fmla="*/ 0 h 347"/>
                  <a:gd name="T78" fmla="*/ 0 w 752"/>
                  <a:gd name="T79" fmla="*/ 0 h 347"/>
                  <a:gd name="T80" fmla="*/ 0 w 752"/>
                  <a:gd name="T81" fmla="*/ 0 h 347"/>
                  <a:gd name="T82" fmla="*/ 0 w 752"/>
                  <a:gd name="T83" fmla="*/ 0 h 347"/>
                  <a:gd name="T84" fmla="*/ 0 w 752"/>
                  <a:gd name="T85" fmla="*/ 0 h 347"/>
                  <a:gd name="T86" fmla="*/ 0 w 752"/>
                  <a:gd name="T87" fmla="*/ 0 h 347"/>
                  <a:gd name="T88" fmla="*/ 0 w 752"/>
                  <a:gd name="T89" fmla="*/ 0 h 347"/>
                  <a:gd name="T90" fmla="*/ 0 w 752"/>
                  <a:gd name="T91" fmla="*/ 0 h 347"/>
                  <a:gd name="T92" fmla="*/ 0 w 752"/>
                  <a:gd name="T93" fmla="*/ 0 h 347"/>
                  <a:gd name="T94" fmla="*/ 0 w 752"/>
                  <a:gd name="T95" fmla="*/ 0 h 347"/>
                  <a:gd name="T96" fmla="*/ 0 w 752"/>
                  <a:gd name="T97" fmla="*/ 0 h 347"/>
                  <a:gd name="T98" fmla="*/ 0 w 752"/>
                  <a:gd name="T99" fmla="*/ 0 h 347"/>
                  <a:gd name="T100" fmla="*/ 0 w 752"/>
                  <a:gd name="T101" fmla="*/ 0 h 347"/>
                  <a:gd name="T102" fmla="*/ 0 w 752"/>
                  <a:gd name="T103" fmla="*/ 0 h 347"/>
                  <a:gd name="T104" fmla="*/ 0 w 752"/>
                  <a:gd name="T105" fmla="*/ 0 h 347"/>
                  <a:gd name="T106" fmla="*/ 0 w 752"/>
                  <a:gd name="T107" fmla="*/ 0 h 347"/>
                  <a:gd name="T108" fmla="*/ 0 w 752"/>
                  <a:gd name="T109" fmla="*/ 0 h 347"/>
                  <a:gd name="T110" fmla="*/ 0 w 752"/>
                  <a:gd name="T111" fmla="*/ 0 h 347"/>
                  <a:gd name="T112" fmla="*/ 0 w 752"/>
                  <a:gd name="T113" fmla="*/ 0 h 347"/>
                  <a:gd name="T114" fmla="*/ 0 w 752"/>
                  <a:gd name="T115" fmla="*/ 0 h 347"/>
                  <a:gd name="T116" fmla="*/ 0 w 752"/>
                  <a:gd name="T117" fmla="*/ 0 h 347"/>
                  <a:gd name="T118" fmla="*/ 0 w 752"/>
                  <a:gd name="T119" fmla="*/ 0 h 347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52"/>
                  <a:gd name="T181" fmla="*/ 0 h 347"/>
                  <a:gd name="T182" fmla="*/ 752 w 752"/>
                  <a:gd name="T183" fmla="*/ 347 h 347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52" h="347">
                    <a:moveTo>
                      <a:pt x="556" y="31"/>
                    </a:moveTo>
                    <a:lnTo>
                      <a:pt x="549" y="36"/>
                    </a:lnTo>
                    <a:lnTo>
                      <a:pt x="541" y="41"/>
                    </a:lnTo>
                    <a:lnTo>
                      <a:pt x="534" y="47"/>
                    </a:lnTo>
                    <a:lnTo>
                      <a:pt x="528" y="54"/>
                    </a:lnTo>
                    <a:lnTo>
                      <a:pt x="522" y="62"/>
                    </a:lnTo>
                    <a:lnTo>
                      <a:pt x="517" y="71"/>
                    </a:lnTo>
                    <a:lnTo>
                      <a:pt x="513" y="80"/>
                    </a:lnTo>
                    <a:lnTo>
                      <a:pt x="510" y="89"/>
                    </a:lnTo>
                    <a:lnTo>
                      <a:pt x="509" y="98"/>
                    </a:lnTo>
                    <a:lnTo>
                      <a:pt x="509" y="105"/>
                    </a:lnTo>
                    <a:lnTo>
                      <a:pt x="509" y="112"/>
                    </a:lnTo>
                    <a:lnTo>
                      <a:pt x="511" y="119"/>
                    </a:lnTo>
                    <a:lnTo>
                      <a:pt x="513" y="125"/>
                    </a:lnTo>
                    <a:lnTo>
                      <a:pt x="516" y="132"/>
                    </a:lnTo>
                    <a:lnTo>
                      <a:pt x="521" y="137"/>
                    </a:lnTo>
                    <a:lnTo>
                      <a:pt x="526" y="142"/>
                    </a:lnTo>
                    <a:lnTo>
                      <a:pt x="531" y="146"/>
                    </a:lnTo>
                    <a:lnTo>
                      <a:pt x="539" y="151"/>
                    </a:lnTo>
                    <a:lnTo>
                      <a:pt x="547" y="155"/>
                    </a:lnTo>
                    <a:lnTo>
                      <a:pt x="558" y="158"/>
                    </a:lnTo>
                    <a:lnTo>
                      <a:pt x="568" y="160"/>
                    </a:lnTo>
                    <a:lnTo>
                      <a:pt x="579" y="160"/>
                    </a:lnTo>
                    <a:lnTo>
                      <a:pt x="590" y="160"/>
                    </a:lnTo>
                    <a:lnTo>
                      <a:pt x="600" y="158"/>
                    </a:lnTo>
                    <a:lnTo>
                      <a:pt x="610" y="154"/>
                    </a:lnTo>
                    <a:lnTo>
                      <a:pt x="619" y="151"/>
                    </a:lnTo>
                    <a:lnTo>
                      <a:pt x="626" y="147"/>
                    </a:lnTo>
                    <a:lnTo>
                      <a:pt x="631" y="143"/>
                    </a:lnTo>
                    <a:lnTo>
                      <a:pt x="636" y="138"/>
                    </a:lnTo>
                    <a:lnTo>
                      <a:pt x="640" y="132"/>
                    </a:lnTo>
                    <a:lnTo>
                      <a:pt x="644" y="127"/>
                    </a:lnTo>
                    <a:lnTo>
                      <a:pt x="645" y="120"/>
                    </a:lnTo>
                    <a:lnTo>
                      <a:pt x="646" y="113"/>
                    </a:lnTo>
                    <a:lnTo>
                      <a:pt x="646" y="107"/>
                    </a:lnTo>
                    <a:lnTo>
                      <a:pt x="644" y="102"/>
                    </a:lnTo>
                    <a:lnTo>
                      <a:pt x="641" y="97"/>
                    </a:lnTo>
                    <a:lnTo>
                      <a:pt x="638" y="91"/>
                    </a:lnTo>
                    <a:lnTo>
                      <a:pt x="634" y="87"/>
                    </a:lnTo>
                    <a:lnTo>
                      <a:pt x="630" y="83"/>
                    </a:lnTo>
                    <a:lnTo>
                      <a:pt x="624" y="80"/>
                    </a:lnTo>
                    <a:lnTo>
                      <a:pt x="618" y="77"/>
                    </a:lnTo>
                    <a:lnTo>
                      <a:pt x="611" y="75"/>
                    </a:lnTo>
                    <a:lnTo>
                      <a:pt x="605" y="74"/>
                    </a:lnTo>
                    <a:lnTo>
                      <a:pt x="599" y="73"/>
                    </a:lnTo>
                    <a:lnTo>
                      <a:pt x="593" y="73"/>
                    </a:lnTo>
                    <a:lnTo>
                      <a:pt x="588" y="74"/>
                    </a:lnTo>
                    <a:lnTo>
                      <a:pt x="582" y="75"/>
                    </a:lnTo>
                    <a:lnTo>
                      <a:pt x="576" y="77"/>
                    </a:lnTo>
                    <a:lnTo>
                      <a:pt x="572" y="79"/>
                    </a:lnTo>
                    <a:lnTo>
                      <a:pt x="568" y="82"/>
                    </a:lnTo>
                    <a:lnTo>
                      <a:pt x="566" y="85"/>
                    </a:lnTo>
                    <a:lnTo>
                      <a:pt x="563" y="88"/>
                    </a:lnTo>
                    <a:lnTo>
                      <a:pt x="562" y="91"/>
                    </a:lnTo>
                    <a:lnTo>
                      <a:pt x="561" y="94"/>
                    </a:lnTo>
                    <a:lnTo>
                      <a:pt x="560" y="99"/>
                    </a:lnTo>
                    <a:lnTo>
                      <a:pt x="560" y="103"/>
                    </a:lnTo>
                    <a:lnTo>
                      <a:pt x="561" y="107"/>
                    </a:lnTo>
                    <a:lnTo>
                      <a:pt x="582" y="103"/>
                    </a:lnTo>
                    <a:lnTo>
                      <a:pt x="582" y="100"/>
                    </a:lnTo>
                    <a:lnTo>
                      <a:pt x="582" y="97"/>
                    </a:lnTo>
                    <a:lnTo>
                      <a:pt x="583" y="94"/>
                    </a:lnTo>
                    <a:lnTo>
                      <a:pt x="585" y="92"/>
                    </a:lnTo>
                    <a:lnTo>
                      <a:pt x="590" y="90"/>
                    </a:lnTo>
                    <a:lnTo>
                      <a:pt x="595" y="90"/>
                    </a:lnTo>
                    <a:lnTo>
                      <a:pt x="602" y="90"/>
                    </a:lnTo>
                    <a:lnTo>
                      <a:pt x="608" y="92"/>
                    </a:lnTo>
                    <a:lnTo>
                      <a:pt x="614" y="94"/>
                    </a:lnTo>
                    <a:lnTo>
                      <a:pt x="619" y="99"/>
                    </a:lnTo>
                    <a:lnTo>
                      <a:pt x="621" y="102"/>
                    </a:lnTo>
                    <a:lnTo>
                      <a:pt x="623" y="105"/>
                    </a:lnTo>
                    <a:lnTo>
                      <a:pt x="624" y="109"/>
                    </a:lnTo>
                    <a:lnTo>
                      <a:pt x="625" y="113"/>
                    </a:lnTo>
                    <a:lnTo>
                      <a:pt x="624" y="118"/>
                    </a:lnTo>
                    <a:lnTo>
                      <a:pt x="623" y="123"/>
                    </a:lnTo>
                    <a:lnTo>
                      <a:pt x="620" y="127"/>
                    </a:lnTo>
                    <a:lnTo>
                      <a:pt x="618" y="131"/>
                    </a:lnTo>
                    <a:lnTo>
                      <a:pt x="610" y="136"/>
                    </a:lnTo>
                    <a:lnTo>
                      <a:pt x="602" y="139"/>
                    </a:lnTo>
                    <a:lnTo>
                      <a:pt x="595" y="141"/>
                    </a:lnTo>
                    <a:lnTo>
                      <a:pt x="588" y="142"/>
                    </a:lnTo>
                    <a:lnTo>
                      <a:pt x="579" y="143"/>
                    </a:lnTo>
                    <a:lnTo>
                      <a:pt x="572" y="143"/>
                    </a:lnTo>
                    <a:lnTo>
                      <a:pt x="564" y="142"/>
                    </a:lnTo>
                    <a:lnTo>
                      <a:pt x="558" y="140"/>
                    </a:lnTo>
                    <a:lnTo>
                      <a:pt x="551" y="137"/>
                    </a:lnTo>
                    <a:lnTo>
                      <a:pt x="545" y="134"/>
                    </a:lnTo>
                    <a:lnTo>
                      <a:pt x="540" y="130"/>
                    </a:lnTo>
                    <a:lnTo>
                      <a:pt x="537" y="125"/>
                    </a:lnTo>
                    <a:lnTo>
                      <a:pt x="534" y="121"/>
                    </a:lnTo>
                    <a:lnTo>
                      <a:pt x="532" y="116"/>
                    </a:lnTo>
                    <a:lnTo>
                      <a:pt x="530" y="107"/>
                    </a:lnTo>
                    <a:lnTo>
                      <a:pt x="530" y="99"/>
                    </a:lnTo>
                    <a:lnTo>
                      <a:pt x="531" y="91"/>
                    </a:lnTo>
                    <a:lnTo>
                      <a:pt x="533" y="84"/>
                    </a:lnTo>
                    <a:lnTo>
                      <a:pt x="536" y="77"/>
                    </a:lnTo>
                    <a:lnTo>
                      <a:pt x="540" y="70"/>
                    </a:lnTo>
                    <a:lnTo>
                      <a:pt x="544" y="63"/>
                    </a:lnTo>
                    <a:lnTo>
                      <a:pt x="549" y="57"/>
                    </a:lnTo>
                    <a:lnTo>
                      <a:pt x="556" y="53"/>
                    </a:lnTo>
                    <a:lnTo>
                      <a:pt x="561" y="48"/>
                    </a:lnTo>
                    <a:lnTo>
                      <a:pt x="568" y="45"/>
                    </a:lnTo>
                    <a:lnTo>
                      <a:pt x="579" y="38"/>
                    </a:lnTo>
                    <a:lnTo>
                      <a:pt x="591" y="31"/>
                    </a:lnTo>
                    <a:lnTo>
                      <a:pt x="601" y="26"/>
                    </a:lnTo>
                    <a:lnTo>
                      <a:pt x="611" y="22"/>
                    </a:lnTo>
                    <a:lnTo>
                      <a:pt x="622" y="19"/>
                    </a:lnTo>
                    <a:lnTo>
                      <a:pt x="633" y="17"/>
                    </a:lnTo>
                    <a:lnTo>
                      <a:pt x="645" y="17"/>
                    </a:lnTo>
                    <a:lnTo>
                      <a:pt x="658" y="18"/>
                    </a:lnTo>
                    <a:lnTo>
                      <a:pt x="667" y="20"/>
                    </a:lnTo>
                    <a:lnTo>
                      <a:pt x="677" y="23"/>
                    </a:lnTo>
                    <a:lnTo>
                      <a:pt x="686" y="26"/>
                    </a:lnTo>
                    <a:lnTo>
                      <a:pt x="693" y="30"/>
                    </a:lnTo>
                    <a:lnTo>
                      <a:pt x="700" y="36"/>
                    </a:lnTo>
                    <a:lnTo>
                      <a:pt x="708" y="42"/>
                    </a:lnTo>
                    <a:lnTo>
                      <a:pt x="713" y="48"/>
                    </a:lnTo>
                    <a:lnTo>
                      <a:pt x="718" y="55"/>
                    </a:lnTo>
                    <a:lnTo>
                      <a:pt x="722" y="61"/>
                    </a:lnTo>
                    <a:lnTo>
                      <a:pt x="724" y="69"/>
                    </a:lnTo>
                    <a:lnTo>
                      <a:pt x="727" y="76"/>
                    </a:lnTo>
                    <a:lnTo>
                      <a:pt x="729" y="83"/>
                    </a:lnTo>
                    <a:lnTo>
                      <a:pt x="730" y="91"/>
                    </a:lnTo>
                    <a:lnTo>
                      <a:pt x="731" y="99"/>
                    </a:lnTo>
                    <a:lnTo>
                      <a:pt x="731" y="107"/>
                    </a:lnTo>
                    <a:lnTo>
                      <a:pt x="731" y="115"/>
                    </a:lnTo>
                    <a:lnTo>
                      <a:pt x="729" y="132"/>
                    </a:lnTo>
                    <a:lnTo>
                      <a:pt x="725" y="148"/>
                    </a:lnTo>
                    <a:lnTo>
                      <a:pt x="722" y="157"/>
                    </a:lnTo>
                    <a:lnTo>
                      <a:pt x="719" y="165"/>
                    </a:lnTo>
                    <a:lnTo>
                      <a:pt x="715" y="173"/>
                    </a:lnTo>
                    <a:lnTo>
                      <a:pt x="711" y="180"/>
                    </a:lnTo>
                    <a:lnTo>
                      <a:pt x="703" y="191"/>
                    </a:lnTo>
                    <a:lnTo>
                      <a:pt x="696" y="201"/>
                    </a:lnTo>
                    <a:lnTo>
                      <a:pt x="687" y="211"/>
                    </a:lnTo>
                    <a:lnTo>
                      <a:pt x="679" y="221"/>
                    </a:lnTo>
                    <a:lnTo>
                      <a:pt x="668" y="230"/>
                    </a:lnTo>
                    <a:lnTo>
                      <a:pt x="658" y="239"/>
                    </a:lnTo>
                    <a:lnTo>
                      <a:pt x="647" y="249"/>
                    </a:lnTo>
                    <a:lnTo>
                      <a:pt x="635" y="257"/>
                    </a:lnTo>
                    <a:lnTo>
                      <a:pt x="624" y="265"/>
                    </a:lnTo>
                    <a:lnTo>
                      <a:pt x="611" y="272"/>
                    </a:lnTo>
                    <a:lnTo>
                      <a:pt x="599" y="279"/>
                    </a:lnTo>
                    <a:lnTo>
                      <a:pt x="587" y="286"/>
                    </a:lnTo>
                    <a:lnTo>
                      <a:pt x="573" y="291"/>
                    </a:lnTo>
                    <a:lnTo>
                      <a:pt x="561" y="296"/>
                    </a:lnTo>
                    <a:lnTo>
                      <a:pt x="547" y="300"/>
                    </a:lnTo>
                    <a:lnTo>
                      <a:pt x="535" y="303"/>
                    </a:lnTo>
                    <a:lnTo>
                      <a:pt x="510" y="310"/>
                    </a:lnTo>
                    <a:lnTo>
                      <a:pt x="487" y="315"/>
                    </a:lnTo>
                    <a:lnTo>
                      <a:pt x="465" y="319"/>
                    </a:lnTo>
                    <a:lnTo>
                      <a:pt x="444" y="323"/>
                    </a:lnTo>
                    <a:lnTo>
                      <a:pt x="424" y="325"/>
                    </a:lnTo>
                    <a:lnTo>
                      <a:pt x="405" y="327"/>
                    </a:lnTo>
                    <a:lnTo>
                      <a:pt x="386" y="329"/>
                    </a:lnTo>
                    <a:lnTo>
                      <a:pt x="368" y="329"/>
                    </a:lnTo>
                    <a:lnTo>
                      <a:pt x="349" y="329"/>
                    </a:lnTo>
                    <a:lnTo>
                      <a:pt x="330" y="329"/>
                    </a:lnTo>
                    <a:lnTo>
                      <a:pt x="311" y="327"/>
                    </a:lnTo>
                    <a:lnTo>
                      <a:pt x="291" y="326"/>
                    </a:lnTo>
                    <a:lnTo>
                      <a:pt x="250" y="320"/>
                    </a:lnTo>
                    <a:lnTo>
                      <a:pt x="204" y="313"/>
                    </a:lnTo>
                    <a:lnTo>
                      <a:pt x="193" y="311"/>
                    </a:lnTo>
                    <a:lnTo>
                      <a:pt x="182" y="306"/>
                    </a:lnTo>
                    <a:lnTo>
                      <a:pt x="169" y="302"/>
                    </a:lnTo>
                    <a:lnTo>
                      <a:pt x="157" y="297"/>
                    </a:lnTo>
                    <a:lnTo>
                      <a:pt x="144" y="292"/>
                    </a:lnTo>
                    <a:lnTo>
                      <a:pt x="132" y="286"/>
                    </a:lnTo>
                    <a:lnTo>
                      <a:pt x="120" y="279"/>
                    </a:lnTo>
                    <a:lnTo>
                      <a:pt x="108" y="271"/>
                    </a:lnTo>
                    <a:lnTo>
                      <a:pt x="96" y="263"/>
                    </a:lnTo>
                    <a:lnTo>
                      <a:pt x="84" y="255"/>
                    </a:lnTo>
                    <a:lnTo>
                      <a:pt x="74" y="246"/>
                    </a:lnTo>
                    <a:lnTo>
                      <a:pt x="65" y="237"/>
                    </a:lnTo>
                    <a:lnTo>
                      <a:pt x="56" y="228"/>
                    </a:lnTo>
                    <a:lnTo>
                      <a:pt x="48" y="219"/>
                    </a:lnTo>
                    <a:lnTo>
                      <a:pt x="41" y="209"/>
                    </a:lnTo>
                    <a:lnTo>
                      <a:pt x="36" y="199"/>
                    </a:lnTo>
                    <a:lnTo>
                      <a:pt x="30" y="183"/>
                    </a:lnTo>
                    <a:lnTo>
                      <a:pt x="25" y="167"/>
                    </a:lnTo>
                    <a:lnTo>
                      <a:pt x="22" y="159"/>
                    </a:lnTo>
                    <a:lnTo>
                      <a:pt x="21" y="149"/>
                    </a:lnTo>
                    <a:lnTo>
                      <a:pt x="20" y="141"/>
                    </a:lnTo>
                    <a:lnTo>
                      <a:pt x="20" y="132"/>
                    </a:lnTo>
                    <a:lnTo>
                      <a:pt x="21" y="123"/>
                    </a:lnTo>
                    <a:lnTo>
                      <a:pt x="22" y="115"/>
                    </a:lnTo>
                    <a:lnTo>
                      <a:pt x="25" y="107"/>
                    </a:lnTo>
                    <a:lnTo>
                      <a:pt x="28" y="100"/>
                    </a:lnTo>
                    <a:lnTo>
                      <a:pt x="32" y="91"/>
                    </a:lnTo>
                    <a:lnTo>
                      <a:pt x="37" y="85"/>
                    </a:lnTo>
                    <a:lnTo>
                      <a:pt x="43" y="78"/>
                    </a:lnTo>
                    <a:lnTo>
                      <a:pt x="50" y="73"/>
                    </a:lnTo>
                    <a:lnTo>
                      <a:pt x="61" y="67"/>
                    </a:lnTo>
                    <a:lnTo>
                      <a:pt x="72" y="61"/>
                    </a:lnTo>
                    <a:lnTo>
                      <a:pt x="84" y="57"/>
                    </a:lnTo>
                    <a:lnTo>
                      <a:pt x="98" y="54"/>
                    </a:lnTo>
                    <a:lnTo>
                      <a:pt x="112" y="53"/>
                    </a:lnTo>
                    <a:lnTo>
                      <a:pt x="126" y="52"/>
                    </a:lnTo>
                    <a:lnTo>
                      <a:pt x="139" y="53"/>
                    </a:lnTo>
                    <a:lnTo>
                      <a:pt x="153" y="55"/>
                    </a:lnTo>
                    <a:lnTo>
                      <a:pt x="159" y="57"/>
                    </a:lnTo>
                    <a:lnTo>
                      <a:pt x="165" y="59"/>
                    </a:lnTo>
                    <a:lnTo>
                      <a:pt x="171" y="62"/>
                    </a:lnTo>
                    <a:lnTo>
                      <a:pt x="177" y="66"/>
                    </a:lnTo>
                    <a:lnTo>
                      <a:pt x="183" y="71"/>
                    </a:lnTo>
                    <a:lnTo>
                      <a:pt x="188" y="76"/>
                    </a:lnTo>
                    <a:lnTo>
                      <a:pt x="192" y="82"/>
                    </a:lnTo>
                    <a:lnTo>
                      <a:pt x="195" y="90"/>
                    </a:lnTo>
                    <a:lnTo>
                      <a:pt x="196" y="98"/>
                    </a:lnTo>
                    <a:lnTo>
                      <a:pt x="197" y="105"/>
                    </a:lnTo>
                    <a:lnTo>
                      <a:pt x="196" y="112"/>
                    </a:lnTo>
                    <a:lnTo>
                      <a:pt x="194" y="118"/>
                    </a:lnTo>
                    <a:lnTo>
                      <a:pt x="191" y="124"/>
                    </a:lnTo>
                    <a:lnTo>
                      <a:pt x="187" y="131"/>
                    </a:lnTo>
                    <a:lnTo>
                      <a:pt x="182" y="136"/>
                    </a:lnTo>
                    <a:lnTo>
                      <a:pt x="175" y="141"/>
                    </a:lnTo>
                    <a:lnTo>
                      <a:pt x="170" y="144"/>
                    </a:lnTo>
                    <a:lnTo>
                      <a:pt x="164" y="147"/>
                    </a:lnTo>
                    <a:lnTo>
                      <a:pt x="158" y="149"/>
                    </a:lnTo>
                    <a:lnTo>
                      <a:pt x="152" y="150"/>
                    </a:lnTo>
                    <a:lnTo>
                      <a:pt x="144" y="151"/>
                    </a:lnTo>
                    <a:lnTo>
                      <a:pt x="139" y="151"/>
                    </a:lnTo>
                    <a:lnTo>
                      <a:pt x="133" y="151"/>
                    </a:lnTo>
                    <a:lnTo>
                      <a:pt x="128" y="149"/>
                    </a:lnTo>
                    <a:lnTo>
                      <a:pt x="124" y="147"/>
                    </a:lnTo>
                    <a:lnTo>
                      <a:pt x="121" y="145"/>
                    </a:lnTo>
                    <a:lnTo>
                      <a:pt x="118" y="142"/>
                    </a:lnTo>
                    <a:lnTo>
                      <a:pt x="116" y="140"/>
                    </a:lnTo>
                    <a:lnTo>
                      <a:pt x="113" y="133"/>
                    </a:lnTo>
                    <a:lnTo>
                      <a:pt x="113" y="127"/>
                    </a:lnTo>
                    <a:lnTo>
                      <a:pt x="93" y="128"/>
                    </a:lnTo>
                    <a:lnTo>
                      <a:pt x="93" y="134"/>
                    </a:lnTo>
                    <a:lnTo>
                      <a:pt x="94" y="140"/>
                    </a:lnTo>
                    <a:lnTo>
                      <a:pt x="96" y="145"/>
                    </a:lnTo>
                    <a:lnTo>
                      <a:pt x="99" y="150"/>
                    </a:lnTo>
                    <a:lnTo>
                      <a:pt x="103" y="155"/>
                    </a:lnTo>
                    <a:lnTo>
                      <a:pt x="107" y="159"/>
                    </a:lnTo>
                    <a:lnTo>
                      <a:pt x="112" y="162"/>
                    </a:lnTo>
                    <a:lnTo>
                      <a:pt x="119" y="165"/>
                    </a:lnTo>
                    <a:lnTo>
                      <a:pt x="127" y="167"/>
                    </a:lnTo>
                    <a:lnTo>
                      <a:pt x="135" y="168"/>
                    </a:lnTo>
                    <a:lnTo>
                      <a:pt x="144" y="168"/>
                    </a:lnTo>
                    <a:lnTo>
                      <a:pt x="154" y="167"/>
                    </a:lnTo>
                    <a:lnTo>
                      <a:pt x="163" y="166"/>
                    </a:lnTo>
                    <a:lnTo>
                      <a:pt x="172" y="163"/>
                    </a:lnTo>
                    <a:lnTo>
                      <a:pt x="181" y="159"/>
                    </a:lnTo>
                    <a:lnTo>
                      <a:pt x="189" y="153"/>
                    </a:lnTo>
                    <a:lnTo>
                      <a:pt x="197" y="147"/>
                    </a:lnTo>
                    <a:lnTo>
                      <a:pt x="204" y="140"/>
                    </a:lnTo>
                    <a:lnTo>
                      <a:pt x="209" y="132"/>
                    </a:lnTo>
                    <a:lnTo>
                      <a:pt x="215" y="123"/>
                    </a:lnTo>
                    <a:lnTo>
                      <a:pt x="217" y="115"/>
                    </a:lnTo>
                    <a:lnTo>
                      <a:pt x="218" y="106"/>
                    </a:lnTo>
                    <a:lnTo>
                      <a:pt x="218" y="96"/>
                    </a:lnTo>
                    <a:lnTo>
                      <a:pt x="216" y="86"/>
                    </a:lnTo>
                    <a:lnTo>
                      <a:pt x="212" y="78"/>
                    </a:lnTo>
                    <a:lnTo>
                      <a:pt x="207" y="70"/>
                    </a:lnTo>
                    <a:lnTo>
                      <a:pt x="202" y="63"/>
                    </a:lnTo>
                    <a:lnTo>
                      <a:pt x="196" y="56"/>
                    </a:lnTo>
                    <a:lnTo>
                      <a:pt x="188" y="51"/>
                    </a:lnTo>
                    <a:lnTo>
                      <a:pt x="180" y="47"/>
                    </a:lnTo>
                    <a:lnTo>
                      <a:pt x="169" y="43"/>
                    </a:lnTo>
                    <a:lnTo>
                      <a:pt x="159" y="40"/>
                    </a:lnTo>
                    <a:lnTo>
                      <a:pt x="143" y="37"/>
                    </a:lnTo>
                    <a:lnTo>
                      <a:pt x="127" y="36"/>
                    </a:lnTo>
                    <a:lnTo>
                      <a:pt x="110" y="37"/>
                    </a:lnTo>
                    <a:lnTo>
                      <a:pt x="94" y="39"/>
                    </a:lnTo>
                    <a:lnTo>
                      <a:pt x="78" y="42"/>
                    </a:lnTo>
                    <a:lnTo>
                      <a:pt x="63" y="47"/>
                    </a:lnTo>
                    <a:lnTo>
                      <a:pt x="49" y="52"/>
                    </a:lnTo>
                    <a:lnTo>
                      <a:pt x="37" y="59"/>
                    </a:lnTo>
                    <a:lnTo>
                      <a:pt x="29" y="67"/>
                    </a:lnTo>
                    <a:lnTo>
                      <a:pt x="20" y="75"/>
                    </a:lnTo>
                    <a:lnTo>
                      <a:pt x="14" y="83"/>
                    </a:lnTo>
                    <a:lnTo>
                      <a:pt x="9" y="91"/>
                    </a:lnTo>
                    <a:lnTo>
                      <a:pt x="6" y="101"/>
                    </a:lnTo>
                    <a:lnTo>
                      <a:pt x="3" y="110"/>
                    </a:lnTo>
                    <a:lnTo>
                      <a:pt x="1" y="119"/>
                    </a:lnTo>
                    <a:lnTo>
                      <a:pt x="0" y="130"/>
                    </a:lnTo>
                    <a:lnTo>
                      <a:pt x="0" y="139"/>
                    </a:lnTo>
                    <a:lnTo>
                      <a:pt x="0" y="149"/>
                    </a:lnTo>
                    <a:lnTo>
                      <a:pt x="2" y="160"/>
                    </a:lnTo>
                    <a:lnTo>
                      <a:pt x="3" y="169"/>
                    </a:lnTo>
                    <a:lnTo>
                      <a:pt x="6" y="179"/>
                    </a:lnTo>
                    <a:lnTo>
                      <a:pt x="9" y="189"/>
                    </a:lnTo>
                    <a:lnTo>
                      <a:pt x="12" y="197"/>
                    </a:lnTo>
                    <a:lnTo>
                      <a:pt x="16" y="206"/>
                    </a:lnTo>
                    <a:lnTo>
                      <a:pt x="22" y="216"/>
                    </a:lnTo>
                    <a:lnTo>
                      <a:pt x="30" y="227"/>
                    </a:lnTo>
                    <a:lnTo>
                      <a:pt x="38" y="237"/>
                    </a:lnTo>
                    <a:lnTo>
                      <a:pt x="47" y="248"/>
                    </a:lnTo>
                    <a:lnTo>
                      <a:pt x="58" y="257"/>
                    </a:lnTo>
                    <a:lnTo>
                      <a:pt x="69" y="266"/>
                    </a:lnTo>
                    <a:lnTo>
                      <a:pt x="81" y="275"/>
                    </a:lnTo>
                    <a:lnTo>
                      <a:pt x="94" y="285"/>
                    </a:lnTo>
                    <a:lnTo>
                      <a:pt x="107" y="292"/>
                    </a:lnTo>
                    <a:lnTo>
                      <a:pt x="121" y="300"/>
                    </a:lnTo>
                    <a:lnTo>
                      <a:pt x="134" y="306"/>
                    </a:lnTo>
                    <a:lnTo>
                      <a:pt x="147" y="313"/>
                    </a:lnTo>
                    <a:lnTo>
                      <a:pt x="161" y="318"/>
                    </a:lnTo>
                    <a:lnTo>
                      <a:pt x="174" y="323"/>
                    </a:lnTo>
                    <a:lnTo>
                      <a:pt x="187" y="326"/>
                    </a:lnTo>
                    <a:lnTo>
                      <a:pt x="199" y="329"/>
                    </a:lnTo>
                    <a:lnTo>
                      <a:pt x="247" y="336"/>
                    </a:lnTo>
                    <a:lnTo>
                      <a:pt x="289" y="343"/>
                    </a:lnTo>
                    <a:lnTo>
                      <a:pt x="310" y="345"/>
                    </a:lnTo>
                    <a:lnTo>
                      <a:pt x="329" y="346"/>
                    </a:lnTo>
                    <a:lnTo>
                      <a:pt x="348" y="347"/>
                    </a:lnTo>
                    <a:lnTo>
                      <a:pt x="368" y="347"/>
                    </a:lnTo>
                    <a:lnTo>
                      <a:pt x="387" y="346"/>
                    </a:lnTo>
                    <a:lnTo>
                      <a:pt x="406" y="345"/>
                    </a:lnTo>
                    <a:lnTo>
                      <a:pt x="426" y="343"/>
                    </a:lnTo>
                    <a:lnTo>
                      <a:pt x="447" y="340"/>
                    </a:lnTo>
                    <a:lnTo>
                      <a:pt x="469" y="335"/>
                    </a:lnTo>
                    <a:lnTo>
                      <a:pt x="492" y="331"/>
                    </a:lnTo>
                    <a:lnTo>
                      <a:pt x="515" y="326"/>
                    </a:lnTo>
                    <a:lnTo>
                      <a:pt x="541" y="320"/>
                    </a:lnTo>
                    <a:lnTo>
                      <a:pt x="555" y="316"/>
                    </a:lnTo>
                    <a:lnTo>
                      <a:pt x="569" y="312"/>
                    </a:lnTo>
                    <a:lnTo>
                      <a:pt x="583" y="306"/>
                    </a:lnTo>
                    <a:lnTo>
                      <a:pt x="596" y="300"/>
                    </a:lnTo>
                    <a:lnTo>
                      <a:pt x="609" y="293"/>
                    </a:lnTo>
                    <a:lnTo>
                      <a:pt x="623" y="286"/>
                    </a:lnTo>
                    <a:lnTo>
                      <a:pt x="636" y="277"/>
                    </a:lnTo>
                    <a:lnTo>
                      <a:pt x="649" y="269"/>
                    </a:lnTo>
                    <a:lnTo>
                      <a:pt x="661" y="260"/>
                    </a:lnTo>
                    <a:lnTo>
                      <a:pt x="672" y="251"/>
                    </a:lnTo>
                    <a:lnTo>
                      <a:pt x="684" y="241"/>
                    </a:lnTo>
                    <a:lnTo>
                      <a:pt x="694" y="231"/>
                    </a:lnTo>
                    <a:lnTo>
                      <a:pt x="704" y="221"/>
                    </a:lnTo>
                    <a:lnTo>
                      <a:pt x="714" y="209"/>
                    </a:lnTo>
                    <a:lnTo>
                      <a:pt x="722" y="199"/>
                    </a:lnTo>
                    <a:lnTo>
                      <a:pt x="729" y="188"/>
                    </a:lnTo>
                    <a:lnTo>
                      <a:pt x="734" y="179"/>
                    </a:lnTo>
                    <a:lnTo>
                      <a:pt x="739" y="170"/>
                    </a:lnTo>
                    <a:lnTo>
                      <a:pt x="742" y="162"/>
                    </a:lnTo>
                    <a:lnTo>
                      <a:pt x="746" y="152"/>
                    </a:lnTo>
                    <a:lnTo>
                      <a:pt x="748" y="143"/>
                    </a:lnTo>
                    <a:lnTo>
                      <a:pt x="750" y="134"/>
                    </a:lnTo>
                    <a:lnTo>
                      <a:pt x="751" y="124"/>
                    </a:lnTo>
                    <a:lnTo>
                      <a:pt x="752" y="115"/>
                    </a:lnTo>
                    <a:lnTo>
                      <a:pt x="752" y="106"/>
                    </a:lnTo>
                    <a:lnTo>
                      <a:pt x="752" y="97"/>
                    </a:lnTo>
                    <a:lnTo>
                      <a:pt x="751" y="88"/>
                    </a:lnTo>
                    <a:lnTo>
                      <a:pt x="749" y="79"/>
                    </a:lnTo>
                    <a:lnTo>
                      <a:pt x="747" y="71"/>
                    </a:lnTo>
                    <a:lnTo>
                      <a:pt x="745" y="62"/>
                    </a:lnTo>
                    <a:lnTo>
                      <a:pt x="741" y="55"/>
                    </a:lnTo>
                    <a:lnTo>
                      <a:pt x="737" y="48"/>
                    </a:lnTo>
                    <a:lnTo>
                      <a:pt x="730" y="39"/>
                    </a:lnTo>
                    <a:lnTo>
                      <a:pt x="723" y="30"/>
                    </a:lnTo>
                    <a:lnTo>
                      <a:pt x="715" y="23"/>
                    </a:lnTo>
                    <a:lnTo>
                      <a:pt x="707" y="17"/>
                    </a:lnTo>
                    <a:lnTo>
                      <a:pt x="696" y="12"/>
                    </a:lnTo>
                    <a:lnTo>
                      <a:pt x="686" y="8"/>
                    </a:lnTo>
                    <a:lnTo>
                      <a:pt x="675" y="3"/>
                    </a:lnTo>
                    <a:lnTo>
                      <a:pt x="662" y="1"/>
                    </a:lnTo>
                    <a:lnTo>
                      <a:pt x="646" y="0"/>
                    </a:lnTo>
                    <a:lnTo>
                      <a:pt x="631" y="0"/>
                    </a:lnTo>
                    <a:lnTo>
                      <a:pt x="617" y="2"/>
                    </a:lnTo>
                    <a:lnTo>
                      <a:pt x="604" y="7"/>
                    </a:lnTo>
                    <a:lnTo>
                      <a:pt x="592" y="12"/>
                    </a:lnTo>
                    <a:lnTo>
                      <a:pt x="579" y="17"/>
                    </a:lnTo>
                    <a:lnTo>
                      <a:pt x="568" y="24"/>
                    </a:lnTo>
                    <a:lnTo>
                      <a:pt x="556" y="31"/>
                    </a:lnTo>
                    <a:close/>
                  </a:path>
                </a:pathLst>
              </a:custGeom>
              <a:solidFill>
                <a:srgbClr val="F1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60" name="Freeform 136"/>
              <p:cNvSpPr>
                <a:spLocks/>
              </p:cNvSpPr>
              <p:nvPr/>
            </p:nvSpPr>
            <p:spPr bwMode="auto">
              <a:xfrm>
                <a:off x="3657" y="1842"/>
                <a:ext cx="20" cy="68"/>
              </a:xfrm>
              <a:custGeom>
                <a:avLst/>
                <a:gdLst>
                  <a:gd name="T0" fmla="*/ 0 w 141"/>
                  <a:gd name="T1" fmla="*/ 0 h 478"/>
                  <a:gd name="T2" fmla="*/ 0 w 141"/>
                  <a:gd name="T3" fmla="*/ 0 h 478"/>
                  <a:gd name="T4" fmla="*/ 0 w 141"/>
                  <a:gd name="T5" fmla="*/ 0 h 478"/>
                  <a:gd name="T6" fmla="*/ 0 w 141"/>
                  <a:gd name="T7" fmla="*/ 0 h 478"/>
                  <a:gd name="T8" fmla="*/ 0 w 141"/>
                  <a:gd name="T9" fmla="*/ 0 h 478"/>
                  <a:gd name="T10" fmla="*/ 0 w 141"/>
                  <a:gd name="T11" fmla="*/ 0 h 478"/>
                  <a:gd name="T12" fmla="*/ 0 w 141"/>
                  <a:gd name="T13" fmla="*/ 0 h 478"/>
                  <a:gd name="T14" fmla="*/ 0 w 141"/>
                  <a:gd name="T15" fmla="*/ 0 h 478"/>
                  <a:gd name="T16" fmla="*/ 0 w 141"/>
                  <a:gd name="T17" fmla="*/ 0 h 478"/>
                  <a:gd name="T18" fmla="*/ 0 w 141"/>
                  <a:gd name="T19" fmla="*/ 0 h 478"/>
                  <a:gd name="T20" fmla="*/ 0 w 141"/>
                  <a:gd name="T21" fmla="*/ 0 h 478"/>
                  <a:gd name="T22" fmla="*/ 0 w 141"/>
                  <a:gd name="T23" fmla="*/ 0 h 478"/>
                  <a:gd name="T24" fmla="*/ 0 w 141"/>
                  <a:gd name="T25" fmla="*/ 0 h 478"/>
                  <a:gd name="T26" fmla="*/ 0 w 141"/>
                  <a:gd name="T27" fmla="*/ 0 h 478"/>
                  <a:gd name="T28" fmla="*/ 0 w 141"/>
                  <a:gd name="T29" fmla="*/ 0 h 478"/>
                  <a:gd name="T30" fmla="*/ 0 w 141"/>
                  <a:gd name="T31" fmla="*/ 0 h 478"/>
                  <a:gd name="T32" fmla="*/ 0 w 141"/>
                  <a:gd name="T33" fmla="*/ 0 h 478"/>
                  <a:gd name="T34" fmla="*/ 0 w 141"/>
                  <a:gd name="T35" fmla="*/ 0 h 478"/>
                  <a:gd name="T36" fmla="*/ 0 w 141"/>
                  <a:gd name="T37" fmla="*/ 0 h 478"/>
                  <a:gd name="T38" fmla="*/ 0 w 141"/>
                  <a:gd name="T39" fmla="*/ 0 h 478"/>
                  <a:gd name="T40" fmla="*/ 0 w 141"/>
                  <a:gd name="T41" fmla="*/ 0 h 478"/>
                  <a:gd name="T42" fmla="*/ 0 w 141"/>
                  <a:gd name="T43" fmla="*/ 0 h 478"/>
                  <a:gd name="T44" fmla="*/ 0 w 141"/>
                  <a:gd name="T45" fmla="*/ 0 h 478"/>
                  <a:gd name="T46" fmla="*/ 0 w 141"/>
                  <a:gd name="T47" fmla="*/ 0 h 478"/>
                  <a:gd name="T48" fmla="*/ 0 w 141"/>
                  <a:gd name="T49" fmla="*/ 0 h 478"/>
                  <a:gd name="T50" fmla="*/ 0 w 141"/>
                  <a:gd name="T51" fmla="*/ 0 h 478"/>
                  <a:gd name="T52" fmla="*/ 0 w 141"/>
                  <a:gd name="T53" fmla="*/ 0 h 478"/>
                  <a:gd name="T54" fmla="*/ 0 w 141"/>
                  <a:gd name="T55" fmla="*/ 0 h 478"/>
                  <a:gd name="T56" fmla="*/ 0 w 141"/>
                  <a:gd name="T57" fmla="*/ 0 h 478"/>
                  <a:gd name="T58" fmla="*/ 0 w 141"/>
                  <a:gd name="T59" fmla="*/ 0 h 478"/>
                  <a:gd name="T60" fmla="*/ 0 w 141"/>
                  <a:gd name="T61" fmla="*/ 0 h 478"/>
                  <a:gd name="T62" fmla="*/ 0 w 141"/>
                  <a:gd name="T63" fmla="*/ 0 h 478"/>
                  <a:gd name="T64" fmla="*/ 0 w 141"/>
                  <a:gd name="T65" fmla="*/ 0 h 478"/>
                  <a:gd name="T66" fmla="*/ 0 w 141"/>
                  <a:gd name="T67" fmla="*/ 0 h 478"/>
                  <a:gd name="T68" fmla="*/ 0 w 141"/>
                  <a:gd name="T69" fmla="*/ 0 h 478"/>
                  <a:gd name="T70" fmla="*/ 0 w 141"/>
                  <a:gd name="T71" fmla="*/ 0 h 478"/>
                  <a:gd name="T72" fmla="*/ 0 w 141"/>
                  <a:gd name="T73" fmla="*/ 0 h 478"/>
                  <a:gd name="T74" fmla="*/ 0 w 141"/>
                  <a:gd name="T75" fmla="*/ 0 h 478"/>
                  <a:gd name="T76" fmla="*/ 0 w 141"/>
                  <a:gd name="T77" fmla="*/ 0 h 478"/>
                  <a:gd name="T78" fmla="*/ 0 w 141"/>
                  <a:gd name="T79" fmla="*/ 0 h 478"/>
                  <a:gd name="T80" fmla="*/ 0 w 141"/>
                  <a:gd name="T81" fmla="*/ 0 h 478"/>
                  <a:gd name="T82" fmla="*/ 0 w 141"/>
                  <a:gd name="T83" fmla="*/ 0 h 478"/>
                  <a:gd name="T84" fmla="*/ 0 w 141"/>
                  <a:gd name="T85" fmla="*/ 0 h 478"/>
                  <a:gd name="T86" fmla="*/ 0 w 141"/>
                  <a:gd name="T87" fmla="*/ 0 h 478"/>
                  <a:gd name="T88" fmla="*/ 0 w 141"/>
                  <a:gd name="T89" fmla="*/ 0 h 478"/>
                  <a:gd name="T90" fmla="*/ 0 w 141"/>
                  <a:gd name="T91" fmla="*/ 0 h 478"/>
                  <a:gd name="T92" fmla="*/ 0 w 141"/>
                  <a:gd name="T93" fmla="*/ 0 h 478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41"/>
                  <a:gd name="T142" fmla="*/ 0 h 478"/>
                  <a:gd name="T143" fmla="*/ 141 w 141"/>
                  <a:gd name="T144" fmla="*/ 478 h 478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41" h="478">
                    <a:moveTo>
                      <a:pt x="75" y="0"/>
                    </a:moveTo>
                    <a:lnTo>
                      <a:pt x="61" y="6"/>
                    </a:lnTo>
                    <a:lnTo>
                      <a:pt x="47" y="15"/>
                    </a:lnTo>
                    <a:lnTo>
                      <a:pt x="36" y="25"/>
                    </a:lnTo>
                    <a:lnTo>
                      <a:pt x="26" y="35"/>
                    </a:lnTo>
                    <a:lnTo>
                      <a:pt x="18" y="47"/>
                    </a:lnTo>
                    <a:lnTo>
                      <a:pt x="12" y="60"/>
                    </a:lnTo>
                    <a:lnTo>
                      <a:pt x="7" y="73"/>
                    </a:lnTo>
                    <a:lnTo>
                      <a:pt x="4" y="88"/>
                    </a:lnTo>
                    <a:lnTo>
                      <a:pt x="1" y="103"/>
                    </a:lnTo>
                    <a:lnTo>
                      <a:pt x="0" y="119"/>
                    </a:lnTo>
                    <a:lnTo>
                      <a:pt x="0" y="135"/>
                    </a:lnTo>
                    <a:lnTo>
                      <a:pt x="1" y="153"/>
                    </a:lnTo>
                    <a:lnTo>
                      <a:pt x="3" y="171"/>
                    </a:lnTo>
                    <a:lnTo>
                      <a:pt x="6" y="188"/>
                    </a:lnTo>
                    <a:lnTo>
                      <a:pt x="10" y="207"/>
                    </a:lnTo>
                    <a:lnTo>
                      <a:pt x="14" y="224"/>
                    </a:lnTo>
                    <a:lnTo>
                      <a:pt x="24" y="262"/>
                    </a:lnTo>
                    <a:lnTo>
                      <a:pt x="38" y="299"/>
                    </a:lnTo>
                    <a:lnTo>
                      <a:pt x="51" y="335"/>
                    </a:lnTo>
                    <a:lnTo>
                      <a:pt x="65" y="369"/>
                    </a:lnTo>
                    <a:lnTo>
                      <a:pt x="92" y="430"/>
                    </a:lnTo>
                    <a:lnTo>
                      <a:pt x="113" y="478"/>
                    </a:lnTo>
                    <a:lnTo>
                      <a:pt x="121" y="466"/>
                    </a:lnTo>
                    <a:lnTo>
                      <a:pt x="127" y="454"/>
                    </a:lnTo>
                    <a:lnTo>
                      <a:pt x="132" y="441"/>
                    </a:lnTo>
                    <a:lnTo>
                      <a:pt x="135" y="425"/>
                    </a:lnTo>
                    <a:lnTo>
                      <a:pt x="138" y="410"/>
                    </a:lnTo>
                    <a:lnTo>
                      <a:pt x="139" y="393"/>
                    </a:lnTo>
                    <a:lnTo>
                      <a:pt x="140" y="376"/>
                    </a:lnTo>
                    <a:lnTo>
                      <a:pt x="141" y="359"/>
                    </a:lnTo>
                    <a:lnTo>
                      <a:pt x="140" y="325"/>
                    </a:lnTo>
                    <a:lnTo>
                      <a:pt x="138" y="292"/>
                    </a:lnTo>
                    <a:lnTo>
                      <a:pt x="136" y="262"/>
                    </a:lnTo>
                    <a:lnTo>
                      <a:pt x="136" y="235"/>
                    </a:lnTo>
                    <a:lnTo>
                      <a:pt x="136" y="218"/>
                    </a:lnTo>
                    <a:lnTo>
                      <a:pt x="136" y="202"/>
                    </a:lnTo>
                    <a:lnTo>
                      <a:pt x="135" y="186"/>
                    </a:lnTo>
                    <a:lnTo>
                      <a:pt x="134" y="171"/>
                    </a:lnTo>
                    <a:lnTo>
                      <a:pt x="132" y="156"/>
                    </a:lnTo>
                    <a:lnTo>
                      <a:pt x="129" y="142"/>
                    </a:lnTo>
                    <a:lnTo>
                      <a:pt x="126" y="127"/>
                    </a:lnTo>
                    <a:lnTo>
                      <a:pt x="123" y="113"/>
                    </a:lnTo>
                    <a:lnTo>
                      <a:pt x="113" y="85"/>
                    </a:lnTo>
                    <a:lnTo>
                      <a:pt x="102" y="57"/>
                    </a:lnTo>
                    <a:lnTo>
                      <a:pt x="90" y="29"/>
                    </a:lnTo>
                    <a:lnTo>
                      <a:pt x="75" y="0"/>
                    </a:lnTo>
                    <a:close/>
                  </a:path>
                </a:pathLst>
              </a:custGeom>
              <a:solidFill>
                <a:srgbClr val="F1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61" name="Freeform 137"/>
              <p:cNvSpPr>
                <a:spLocks/>
              </p:cNvSpPr>
              <p:nvPr/>
            </p:nvSpPr>
            <p:spPr bwMode="auto">
              <a:xfrm>
                <a:off x="3614" y="1842"/>
                <a:ext cx="107" cy="79"/>
              </a:xfrm>
              <a:custGeom>
                <a:avLst/>
                <a:gdLst>
                  <a:gd name="T0" fmla="*/ 0 w 747"/>
                  <a:gd name="T1" fmla="*/ 0 h 553"/>
                  <a:gd name="T2" fmla="*/ 0 w 747"/>
                  <a:gd name="T3" fmla="*/ 0 h 553"/>
                  <a:gd name="T4" fmla="*/ 0 w 747"/>
                  <a:gd name="T5" fmla="*/ 0 h 553"/>
                  <a:gd name="T6" fmla="*/ 0 w 747"/>
                  <a:gd name="T7" fmla="*/ 0 h 553"/>
                  <a:gd name="T8" fmla="*/ 0 w 747"/>
                  <a:gd name="T9" fmla="*/ 0 h 553"/>
                  <a:gd name="T10" fmla="*/ 0 w 747"/>
                  <a:gd name="T11" fmla="*/ 0 h 553"/>
                  <a:gd name="T12" fmla="*/ 0 w 747"/>
                  <a:gd name="T13" fmla="*/ 0 h 553"/>
                  <a:gd name="T14" fmla="*/ 0 w 747"/>
                  <a:gd name="T15" fmla="*/ 0 h 553"/>
                  <a:gd name="T16" fmla="*/ 0 w 747"/>
                  <a:gd name="T17" fmla="*/ 0 h 553"/>
                  <a:gd name="T18" fmla="*/ 0 w 747"/>
                  <a:gd name="T19" fmla="*/ 0 h 553"/>
                  <a:gd name="T20" fmla="*/ 0 w 747"/>
                  <a:gd name="T21" fmla="*/ 0 h 553"/>
                  <a:gd name="T22" fmla="*/ 0 w 747"/>
                  <a:gd name="T23" fmla="*/ 0 h 553"/>
                  <a:gd name="T24" fmla="*/ 0 w 747"/>
                  <a:gd name="T25" fmla="*/ 0 h 553"/>
                  <a:gd name="T26" fmla="*/ 0 w 747"/>
                  <a:gd name="T27" fmla="*/ 0 h 553"/>
                  <a:gd name="T28" fmla="*/ 0 w 747"/>
                  <a:gd name="T29" fmla="*/ 0 h 553"/>
                  <a:gd name="T30" fmla="*/ 0 w 747"/>
                  <a:gd name="T31" fmla="*/ 0 h 553"/>
                  <a:gd name="T32" fmla="*/ 0 w 747"/>
                  <a:gd name="T33" fmla="*/ 0 h 553"/>
                  <a:gd name="T34" fmla="*/ 0 w 747"/>
                  <a:gd name="T35" fmla="*/ 0 h 553"/>
                  <a:gd name="T36" fmla="*/ 0 w 747"/>
                  <a:gd name="T37" fmla="*/ 0 h 553"/>
                  <a:gd name="T38" fmla="*/ 0 w 747"/>
                  <a:gd name="T39" fmla="*/ 0 h 553"/>
                  <a:gd name="T40" fmla="*/ 0 w 747"/>
                  <a:gd name="T41" fmla="*/ 0 h 553"/>
                  <a:gd name="T42" fmla="*/ 0 w 747"/>
                  <a:gd name="T43" fmla="*/ 0 h 553"/>
                  <a:gd name="T44" fmla="*/ 0 w 747"/>
                  <a:gd name="T45" fmla="*/ 0 h 553"/>
                  <a:gd name="T46" fmla="*/ 0 w 747"/>
                  <a:gd name="T47" fmla="*/ 0 h 553"/>
                  <a:gd name="T48" fmla="*/ 0 w 747"/>
                  <a:gd name="T49" fmla="*/ 0 h 553"/>
                  <a:gd name="T50" fmla="*/ 0 w 747"/>
                  <a:gd name="T51" fmla="*/ 0 h 553"/>
                  <a:gd name="T52" fmla="*/ 0 w 747"/>
                  <a:gd name="T53" fmla="*/ 0 h 553"/>
                  <a:gd name="T54" fmla="*/ 0 w 747"/>
                  <a:gd name="T55" fmla="*/ 0 h 553"/>
                  <a:gd name="T56" fmla="*/ 0 w 747"/>
                  <a:gd name="T57" fmla="*/ 0 h 553"/>
                  <a:gd name="T58" fmla="*/ 0 w 747"/>
                  <a:gd name="T59" fmla="*/ 0 h 553"/>
                  <a:gd name="T60" fmla="*/ 0 w 747"/>
                  <a:gd name="T61" fmla="*/ 0 h 553"/>
                  <a:gd name="T62" fmla="*/ 0 w 747"/>
                  <a:gd name="T63" fmla="*/ 0 h 553"/>
                  <a:gd name="T64" fmla="*/ 0 w 747"/>
                  <a:gd name="T65" fmla="*/ 0 h 553"/>
                  <a:gd name="T66" fmla="*/ 0 w 747"/>
                  <a:gd name="T67" fmla="*/ 0 h 553"/>
                  <a:gd name="T68" fmla="*/ 0 w 747"/>
                  <a:gd name="T69" fmla="*/ 0 h 553"/>
                  <a:gd name="T70" fmla="*/ 0 w 747"/>
                  <a:gd name="T71" fmla="*/ 0 h 553"/>
                  <a:gd name="T72" fmla="*/ 0 w 747"/>
                  <a:gd name="T73" fmla="*/ 0 h 553"/>
                  <a:gd name="T74" fmla="*/ 0 w 747"/>
                  <a:gd name="T75" fmla="*/ 0 h 553"/>
                  <a:gd name="T76" fmla="*/ 0 w 747"/>
                  <a:gd name="T77" fmla="*/ 0 h 553"/>
                  <a:gd name="T78" fmla="*/ 0 w 747"/>
                  <a:gd name="T79" fmla="*/ 0 h 553"/>
                  <a:gd name="T80" fmla="*/ 0 w 747"/>
                  <a:gd name="T81" fmla="*/ 0 h 553"/>
                  <a:gd name="T82" fmla="*/ 0 w 747"/>
                  <a:gd name="T83" fmla="*/ 0 h 553"/>
                  <a:gd name="T84" fmla="*/ 0 w 747"/>
                  <a:gd name="T85" fmla="*/ 0 h 553"/>
                  <a:gd name="T86" fmla="*/ 0 w 747"/>
                  <a:gd name="T87" fmla="*/ 0 h 553"/>
                  <a:gd name="T88" fmla="*/ 0 w 747"/>
                  <a:gd name="T89" fmla="*/ 0 h 553"/>
                  <a:gd name="T90" fmla="*/ 0 w 747"/>
                  <a:gd name="T91" fmla="*/ 0 h 553"/>
                  <a:gd name="T92" fmla="*/ 0 w 747"/>
                  <a:gd name="T93" fmla="*/ 0 h 553"/>
                  <a:gd name="T94" fmla="*/ 0 w 747"/>
                  <a:gd name="T95" fmla="*/ 0 h 553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47"/>
                  <a:gd name="T145" fmla="*/ 0 h 553"/>
                  <a:gd name="T146" fmla="*/ 747 w 747"/>
                  <a:gd name="T147" fmla="*/ 553 h 553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47" h="553">
                    <a:moveTo>
                      <a:pt x="619" y="6"/>
                    </a:moveTo>
                    <a:lnTo>
                      <a:pt x="608" y="9"/>
                    </a:lnTo>
                    <a:lnTo>
                      <a:pt x="596" y="14"/>
                    </a:lnTo>
                    <a:lnTo>
                      <a:pt x="585" y="19"/>
                    </a:lnTo>
                    <a:lnTo>
                      <a:pt x="574" y="25"/>
                    </a:lnTo>
                    <a:lnTo>
                      <a:pt x="564" y="31"/>
                    </a:lnTo>
                    <a:lnTo>
                      <a:pt x="555" y="38"/>
                    </a:lnTo>
                    <a:lnTo>
                      <a:pt x="546" y="46"/>
                    </a:lnTo>
                    <a:lnTo>
                      <a:pt x="537" y="54"/>
                    </a:lnTo>
                    <a:lnTo>
                      <a:pt x="529" y="62"/>
                    </a:lnTo>
                    <a:lnTo>
                      <a:pt x="522" y="70"/>
                    </a:lnTo>
                    <a:lnTo>
                      <a:pt x="515" y="80"/>
                    </a:lnTo>
                    <a:lnTo>
                      <a:pt x="508" y="89"/>
                    </a:lnTo>
                    <a:lnTo>
                      <a:pt x="497" y="109"/>
                    </a:lnTo>
                    <a:lnTo>
                      <a:pt x="488" y="127"/>
                    </a:lnTo>
                    <a:lnTo>
                      <a:pt x="484" y="138"/>
                    </a:lnTo>
                    <a:lnTo>
                      <a:pt x="480" y="151"/>
                    </a:lnTo>
                    <a:lnTo>
                      <a:pt x="478" y="167"/>
                    </a:lnTo>
                    <a:lnTo>
                      <a:pt x="476" y="185"/>
                    </a:lnTo>
                    <a:lnTo>
                      <a:pt x="473" y="225"/>
                    </a:lnTo>
                    <a:lnTo>
                      <a:pt x="472" y="268"/>
                    </a:lnTo>
                    <a:lnTo>
                      <a:pt x="471" y="311"/>
                    </a:lnTo>
                    <a:lnTo>
                      <a:pt x="472" y="352"/>
                    </a:lnTo>
                    <a:lnTo>
                      <a:pt x="473" y="385"/>
                    </a:lnTo>
                    <a:lnTo>
                      <a:pt x="474" y="408"/>
                    </a:lnTo>
                    <a:lnTo>
                      <a:pt x="475" y="422"/>
                    </a:lnTo>
                    <a:lnTo>
                      <a:pt x="475" y="435"/>
                    </a:lnTo>
                    <a:lnTo>
                      <a:pt x="476" y="447"/>
                    </a:lnTo>
                    <a:lnTo>
                      <a:pt x="475" y="458"/>
                    </a:lnTo>
                    <a:lnTo>
                      <a:pt x="473" y="469"/>
                    </a:lnTo>
                    <a:lnTo>
                      <a:pt x="469" y="480"/>
                    </a:lnTo>
                    <a:lnTo>
                      <a:pt x="462" y="492"/>
                    </a:lnTo>
                    <a:lnTo>
                      <a:pt x="453" y="506"/>
                    </a:lnTo>
                    <a:lnTo>
                      <a:pt x="448" y="511"/>
                    </a:lnTo>
                    <a:lnTo>
                      <a:pt x="442" y="515"/>
                    </a:lnTo>
                    <a:lnTo>
                      <a:pt x="437" y="518"/>
                    </a:lnTo>
                    <a:lnTo>
                      <a:pt x="430" y="520"/>
                    </a:lnTo>
                    <a:lnTo>
                      <a:pt x="424" y="521"/>
                    </a:lnTo>
                    <a:lnTo>
                      <a:pt x="416" y="521"/>
                    </a:lnTo>
                    <a:lnTo>
                      <a:pt x="409" y="520"/>
                    </a:lnTo>
                    <a:lnTo>
                      <a:pt x="402" y="519"/>
                    </a:lnTo>
                    <a:lnTo>
                      <a:pt x="395" y="517"/>
                    </a:lnTo>
                    <a:lnTo>
                      <a:pt x="387" y="514"/>
                    </a:lnTo>
                    <a:lnTo>
                      <a:pt x="381" y="510"/>
                    </a:lnTo>
                    <a:lnTo>
                      <a:pt x="374" y="506"/>
                    </a:lnTo>
                    <a:lnTo>
                      <a:pt x="369" y="501"/>
                    </a:lnTo>
                    <a:lnTo>
                      <a:pt x="363" y="495"/>
                    </a:lnTo>
                    <a:lnTo>
                      <a:pt x="358" y="489"/>
                    </a:lnTo>
                    <a:lnTo>
                      <a:pt x="354" y="483"/>
                    </a:lnTo>
                    <a:lnTo>
                      <a:pt x="348" y="469"/>
                    </a:lnTo>
                    <a:lnTo>
                      <a:pt x="343" y="453"/>
                    </a:lnTo>
                    <a:lnTo>
                      <a:pt x="340" y="438"/>
                    </a:lnTo>
                    <a:lnTo>
                      <a:pt x="338" y="421"/>
                    </a:lnTo>
                    <a:lnTo>
                      <a:pt x="335" y="389"/>
                    </a:lnTo>
                    <a:lnTo>
                      <a:pt x="332" y="357"/>
                    </a:lnTo>
                    <a:lnTo>
                      <a:pt x="329" y="337"/>
                    </a:lnTo>
                    <a:lnTo>
                      <a:pt x="325" y="319"/>
                    </a:lnTo>
                    <a:lnTo>
                      <a:pt x="321" y="301"/>
                    </a:lnTo>
                    <a:lnTo>
                      <a:pt x="317" y="282"/>
                    </a:lnTo>
                    <a:lnTo>
                      <a:pt x="312" y="265"/>
                    </a:lnTo>
                    <a:lnTo>
                      <a:pt x="306" y="247"/>
                    </a:lnTo>
                    <a:lnTo>
                      <a:pt x="298" y="230"/>
                    </a:lnTo>
                    <a:lnTo>
                      <a:pt x="289" y="212"/>
                    </a:lnTo>
                    <a:lnTo>
                      <a:pt x="275" y="188"/>
                    </a:lnTo>
                    <a:lnTo>
                      <a:pt x="259" y="166"/>
                    </a:lnTo>
                    <a:lnTo>
                      <a:pt x="251" y="155"/>
                    </a:lnTo>
                    <a:lnTo>
                      <a:pt x="242" y="145"/>
                    </a:lnTo>
                    <a:lnTo>
                      <a:pt x="232" y="136"/>
                    </a:lnTo>
                    <a:lnTo>
                      <a:pt x="223" y="126"/>
                    </a:lnTo>
                    <a:lnTo>
                      <a:pt x="213" y="117"/>
                    </a:lnTo>
                    <a:lnTo>
                      <a:pt x="201" y="110"/>
                    </a:lnTo>
                    <a:lnTo>
                      <a:pt x="190" y="101"/>
                    </a:lnTo>
                    <a:lnTo>
                      <a:pt x="178" y="95"/>
                    </a:lnTo>
                    <a:lnTo>
                      <a:pt x="164" y="89"/>
                    </a:lnTo>
                    <a:lnTo>
                      <a:pt x="151" y="83"/>
                    </a:lnTo>
                    <a:lnTo>
                      <a:pt x="136" y="79"/>
                    </a:lnTo>
                    <a:lnTo>
                      <a:pt x="121" y="75"/>
                    </a:lnTo>
                    <a:lnTo>
                      <a:pt x="109" y="71"/>
                    </a:lnTo>
                    <a:lnTo>
                      <a:pt x="97" y="70"/>
                    </a:lnTo>
                    <a:lnTo>
                      <a:pt x="86" y="71"/>
                    </a:lnTo>
                    <a:lnTo>
                      <a:pt x="74" y="73"/>
                    </a:lnTo>
                    <a:lnTo>
                      <a:pt x="64" y="75"/>
                    </a:lnTo>
                    <a:lnTo>
                      <a:pt x="54" y="78"/>
                    </a:lnTo>
                    <a:lnTo>
                      <a:pt x="44" y="82"/>
                    </a:lnTo>
                    <a:lnTo>
                      <a:pt x="35" y="87"/>
                    </a:lnTo>
                    <a:lnTo>
                      <a:pt x="27" y="93"/>
                    </a:lnTo>
                    <a:lnTo>
                      <a:pt x="20" y="100"/>
                    </a:lnTo>
                    <a:lnTo>
                      <a:pt x="13" y="108"/>
                    </a:lnTo>
                    <a:lnTo>
                      <a:pt x="8" y="117"/>
                    </a:lnTo>
                    <a:lnTo>
                      <a:pt x="4" y="126"/>
                    </a:lnTo>
                    <a:lnTo>
                      <a:pt x="1" y="136"/>
                    </a:lnTo>
                    <a:lnTo>
                      <a:pt x="0" y="147"/>
                    </a:lnTo>
                    <a:lnTo>
                      <a:pt x="0" y="157"/>
                    </a:lnTo>
                    <a:lnTo>
                      <a:pt x="2" y="155"/>
                    </a:lnTo>
                    <a:lnTo>
                      <a:pt x="7" y="149"/>
                    </a:lnTo>
                    <a:lnTo>
                      <a:pt x="17" y="142"/>
                    </a:lnTo>
                    <a:lnTo>
                      <a:pt x="30" y="132"/>
                    </a:lnTo>
                    <a:lnTo>
                      <a:pt x="37" y="128"/>
                    </a:lnTo>
                    <a:lnTo>
                      <a:pt x="45" y="124"/>
                    </a:lnTo>
                    <a:lnTo>
                      <a:pt x="55" y="121"/>
                    </a:lnTo>
                    <a:lnTo>
                      <a:pt x="65" y="118"/>
                    </a:lnTo>
                    <a:lnTo>
                      <a:pt x="74" y="117"/>
                    </a:lnTo>
                    <a:lnTo>
                      <a:pt x="86" y="116"/>
                    </a:lnTo>
                    <a:lnTo>
                      <a:pt x="97" y="117"/>
                    </a:lnTo>
                    <a:lnTo>
                      <a:pt x="109" y="119"/>
                    </a:lnTo>
                    <a:lnTo>
                      <a:pt x="122" y="123"/>
                    </a:lnTo>
                    <a:lnTo>
                      <a:pt x="134" y="128"/>
                    </a:lnTo>
                    <a:lnTo>
                      <a:pt x="148" y="137"/>
                    </a:lnTo>
                    <a:lnTo>
                      <a:pt x="161" y="146"/>
                    </a:lnTo>
                    <a:lnTo>
                      <a:pt x="176" y="158"/>
                    </a:lnTo>
                    <a:lnTo>
                      <a:pt x="189" y="173"/>
                    </a:lnTo>
                    <a:lnTo>
                      <a:pt x="203" y="190"/>
                    </a:lnTo>
                    <a:lnTo>
                      <a:pt x="219" y="211"/>
                    </a:lnTo>
                    <a:lnTo>
                      <a:pt x="233" y="235"/>
                    </a:lnTo>
                    <a:lnTo>
                      <a:pt x="249" y="262"/>
                    </a:lnTo>
                    <a:lnTo>
                      <a:pt x="263" y="292"/>
                    </a:lnTo>
                    <a:lnTo>
                      <a:pt x="279" y="326"/>
                    </a:lnTo>
                    <a:lnTo>
                      <a:pt x="294" y="363"/>
                    </a:lnTo>
                    <a:lnTo>
                      <a:pt x="310" y="404"/>
                    </a:lnTo>
                    <a:lnTo>
                      <a:pt x="324" y="451"/>
                    </a:lnTo>
                    <a:lnTo>
                      <a:pt x="340" y="501"/>
                    </a:lnTo>
                    <a:lnTo>
                      <a:pt x="343" y="509"/>
                    </a:lnTo>
                    <a:lnTo>
                      <a:pt x="346" y="516"/>
                    </a:lnTo>
                    <a:lnTo>
                      <a:pt x="349" y="522"/>
                    </a:lnTo>
                    <a:lnTo>
                      <a:pt x="353" y="527"/>
                    </a:lnTo>
                    <a:lnTo>
                      <a:pt x="358" y="533"/>
                    </a:lnTo>
                    <a:lnTo>
                      <a:pt x="364" y="537"/>
                    </a:lnTo>
                    <a:lnTo>
                      <a:pt x="369" y="541"/>
                    </a:lnTo>
                    <a:lnTo>
                      <a:pt x="375" y="544"/>
                    </a:lnTo>
                    <a:lnTo>
                      <a:pt x="380" y="547"/>
                    </a:lnTo>
                    <a:lnTo>
                      <a:pt x="387" y="549"/>
                    </a:lnTo>
                    <a:lnTo>
                      <a:pt x="394" y="550"/>
                    </a:lnTo>
                    <a:lnTo>
                      <a:pt x="400" y="552"/>
                    </a:lnTo>
                    <a:lnTo>
                      <a:pt x="413" y="553"/>
                    </a:lnTo>
                    <a:lnTo>
                      <a:pt x="427" y="552"/>
                    </a:lnTo>
                    <a:lnTo>
                      <a:pt x="440" y="550"/>
                    </a:lnTo>
                    <a:lnTo>
                      <a:pt x="453" y="546"/>
                    </a:lnTo>
                    <a:lnTo>
                      <a:pt x="465" y="541"/>
                    </a:lnTo>
                    <a:lnTo>
                      <a:pt x="475" y="535"/>
                    </a:lnTo>
                    <a:lnTo>
                      <a:pt x="479" y="532"/>
                    </a:lnTo>
                    <a:lnTo>
                      <a:pt x="484" y="527"/>
                    </a:lnTo>
                    <a:lnTo>
                      <a:pt x="488" y="523"/>
                    </a:lnTo>
                    <a:lnTo>
                      <a:pt x="491" y="519"/>
                    </a:lnTo>
                    <a:lnTo>
                      <a:pt x="493" y="515"/>
                    </a:lnTo>
                    <a:lnTo>
                      <a:pt x="495" y="510"/>
                    </a:lnTo>
                    <a:lnTo>
                      <a:pt x="496" y="506"/>
                    </a:lnTo>
                    <a:lnTo>
                      <a:pt x="496" y="501"/>
                    </a:lnTo>
                    <a:lnTo>
                      <a:pt x="497" y="456"/>
                    </a:lnTo>
                    <a:lnTo>
                      <a:pt x="499" y="415"/>
                    </a:lnTo>
                    <a:lnTo>
                      <a:pt x="502" y="377"/>
                    </a:lnTo>
                    <a:lnTo>
                      <a:pt x="505" y="340"/>
                    </a:lnTo>
                    <a:lnTo>
                      <a:pt x="510" y="306"/>
                    </a:lnTo>
                    <a:lnTo>
                      <a:pt x="517" y="275"/>
                    </a:lnTo>
                    <a:lnTo>
                      <a:pt x="524" y="246"/>
                    </a:lnTo>
                    <a:lnTo>
                      <a:pt x="531" y="220"/>
                    </a:lnTo>
                    <a:lnTo>
                      <a:pt x="539" y="197"/>
                    </a:lnTo>
                    <a:lnTo>
                      <a:pt x="549" y="174"/>
                    </a:lnTo>
                    <a:lnTo>
                      <a:pt x="558" y="154"/>
                    </a:lnTo>
                    <a:lnTo>
                      <a:pt x="567" y="137"/>
                    </a:lnTo>
                    <a:lnTo>
                      <a:pt x="578" y="120"/>
                    </a:lnTo>
                    <a:lnTo>
                      <a:pt x="588" y="107"/>
                    </a:lnTo>
                    <a:lnTo>
                      <a:pt x="599" y="94"/>
                    </a:lnTo>
                    <a:lnTo>
                      <a:pt x="610" y="83"/>
                    </a:lnTo>
                    <a:lnTo>
                      <a:pt x="621" y="74"/>
                    </a:lnTo>
                    <a:lnTo>
                      <a:pt x="631" y="66"/>
                    </a:lnTo>
                    <a:lnTo>
                      <a:pt x="643" y="60"/>
                    </a:lnTo>
                    <a:lnTo>
                      <a:pt x="654" y="54"/>
                    </a:lnTo>
                    <a:lnTo>
                      <a:pt x="664" y="51"/>
                    </a:lnTo>
                    <a:lnTo>
                      <a:pt x="675" y="48"/>
                    </a:lnTo>
                    <a:lnTo>
                      <a:pt x="684" y="46"/>
                    </a:lnTo>
                    <a:lnTo>
                      <a:pt x="694" y="45"/>
                    </a:lnTo>
                    <a:lnTo>
                      <a:pt x="703" y="46"/>
                    </a:lnTo>
                    <a:lnTo>
                      <a:pt x="712" y="46"/>
                    </a:lnTo>
                    <a:lnTo>
                      <a:pt x="719" y="48"/>
                    </a:lnTo>
                    <a:lnTo>
                      <a:pt x="726" y="50"/>
                    </a:lnTo>
                    <a:lnTo>
                      <a:pt x="733" y="52"/>
                    </a:lnTo>
                    <a:lnTo>
                      <a:pt x="738" y="55"/>
                    </a:lnTo>
                    <a:lnTo>
                      <a:pt x="743" y="58"/>
                    </a:lnTo>
                    <a:lnTo>
                      <a:pt x="746" y="62"/>
                    </a:lnTo>
                    <a:lnTo>
                      <a:pt x="747" y="51"/>
                    </a:lnTo>
                    <a:lnTo>
                      <a:pt x="747" y="40"/>
                    </a:lnTo>
                    <a:lnTo>
                      <a:pt x="744" y="31"/>
                    </a:lnTo>
                    <a:lnTo>
                      <a:pt x="740" y="24"/>
                    </a:lnTo>
                    <a:lnTo>
                      <a:pt x="734" y="18"/>
                    </a:lnTo>
                    <a:lnTo>
                      <a:pt x="727" y="13"/>
                    </a:lnTo>
                    <a:lnTo>
                      <a:pt x="719" y="7"/>
                    </a:lnTo>
                    <a:lnTo>
                      <a:pt x="710" y="4"/>
                    </a:lnTo>
                    <a:lnTo>
                      <a:pt x="700" y="2"/>
                    </a:lnTo>
                    <a:lnTo>
                      <a:pt x="689" y="0"/>
                    </a:lnTo>
                    <a:lnTo>
                      <a:pt x="678" y="0"/>
                    </a:lnTo>
                    <a:lnTo>
                      <a:pt x="666" y="0"/>
                    </a:lnTo>
                    <a:lnTo>
                      <a:pt x="654" y="0"/>
                    </a:lnTo>
                    <a:lnTo>
                      <a:pt x="643" y="2"/>
                    </a:lnTo>
                    <a:lnTo>
                      <a:pt x="630" y="4"/>
                    </a:lnTo>
                    <a:lnTo>
                      <a:pt x="619" y="6"/>
                    </a:lnTo>
                    <a:close/>
                  </a:path>
                </a:pathLst>
              </a:custGeom>
              <a:solidFill>
                <a:srgbClr val="F1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62" name="Freeform 138"/>
              <p:cNvSpPr>
                <a:spLocks/>
              </p:cNvSpPr>
              <p:nvPr/>
            </p:nvSpPr>
            <p:spPr bwMode="auto">
              <a:xfrm>
                <a:off x="3619" y="1877"/>
                <a:ext cx="107" cy="54"/>
              </a:xfrm>
              <a:custGeom>
                <a:avLst/>
                <a:gdLst>
                  <a:gd name="T0" fmla="*/ 0 w 750"/>
                  <a:gd name="T1" fmla="*/ 0 h 378"/>
                  <a:gd name="T2" fmla="*/ 0 w 750"/>
                  <a:gd name="T3" fmla="*/ 0 h 378"/>
                  <a:gd name="T4" fmla="*/ 0 w 750"/>
                  <a:gd name="T5" fmla="*/ 0 h 378"/>
                  <a:gd name="T6" fmla="*/ 0 w 750"/>
                  <a:gd name="T7" fmla="*/ 0 h 378"/>
                  <a:gd name="T8" fmla="*/ 0 w 750"/>
                  <a:gd name="T9" fmla="*/ 0 h 378"/>
                  <a:gd name="T10" fmla="*/ 0 w 750"/>
                  <a:gd name="T11" fmla="*/ 0 h 378"/>
                  <a:gd name="T12" fmla="*/ 0 w 750"/>
                  <a:gd name="T13" fmla="*/ 0 h 378"/>
                  <a:gd name="T14" fmla="*/ 0 w 750"/>
                  <a:gd name="T15" fmla="*/ 0 h 378"/>
                  <a:gd name="T16" fmla="*/ 0 w 750"/>
                  <a:gd name="T17" fmla="*/ 0 h 378"/>
                  <a:gd name="T18" fmla="*/ 0 w 750"/>
                  <a:gd name="T19" fmla="*/ 0 h 378"/>
                  <a:gd name="T20" fmla="*/ 0 w 750"/>
                  <a:gd name="T21" fmla="*/ 0 h 378"/>
                  <a:gd name="T22" fmla="*/ 0 w 750"/>
                  <a:gd name="T23" fmla="*/ 0 h 378"/>
                  <a:gd name="T24" fmla="*/ 0 w 750"/>
                  <a:gd name="T25" fmla="*/ 0 h 378"/>
                  <a:gd name="T26" fmla="*/ 0 w 750"/>
                  <a:gd name="T27" fmla="*/ 0 h 378"/>
                  <a:gd name="T28" fmla="*/ 0 w 750"/>
                  <a:gd name="T29" fmla="*/ 0 h 378"/>
                  <a:gd name="T30" fmla="*/ 0 w 750"/>
                  <a:gd name="T31" fmla="*/ 0 h 378"/>
                  <a:gd name="T32" fmla="*/ 0 w 750"/>
                  <a:gd name="T33" fmla="*/ 0 h 378"/>
                  <a:gd name="T34" fmla="*/ 0 w 750"/>
                  <a:gd name="T35" fmla="*/ 0 h 378"/>
                  <a:gd name="T36" fmla="*/ 0 w 750"/>
                  <a:gd name="T37" fmla="*/ 0 h 378"/>
                  <a:gd name="T38" fmla="*/ 0 w 750"/>
                  <a:gd name="T39" fmla="*/ 0 h 378"/>
                  <a:gd name="T40" fmla="*/ 0 w 750"/>
                  <a:gd name="T41" fmla="*/ 0 h 378"/>
                  <a:gd name="T42" fmla="*/ 0 w 750"/>
                  <a:gd name="T43" fmla="*/ 0 h 378"/>
                  <a:gd name="T44" fmla="*/ 0 w 750"/>
                  <a:gd name="T45" fmla="*/ 0 h 378"/>
                  <a:gd name="T46" fmla="*/ 0 w 750"/>
                  <a:gd name="T47" fmla="*/ 0 h 378"/>
                  <a:gd name="T48" fmla="*/ 0 w 750"/>
                  <a:gd name="T49" fmla="*/ 0 h 378"/>
                  <a:gd name="T50" fmla="*/ 0 w 750"/>
                  <a:gd name="T51" fmla="*/ 0 h 378"/>
                  <a:gd name="T52" fmla="*/ 0 w 750"/>
                  <a:gd name="T53" fmla="*/ 0 h 378"/>
                  <a:gd name="T54" fmla="*/ 0 w 750"/>
                  <a:gd name="T55" fmla="*/ 0 h 378"/>
                  <a:gd name="T56" fmla="*/ 0 w 750"/>
                  <a:gd name="T57" fmla="*/ 0 h 378"/>
                  <a:gd name="T58" fmla="*/ 0 w 750"/>
                  <a:gd name="T59" fmla="*/ 0 h 378"/>
                  <a:gd name="T60" fmla="*/ 0 w 750"/>
                  <a:gd name="T61" fmla="*/ 0 h 378"/>
                  <a:gd name="T62" fmla="*/ 0 w 750"/>
                  <a:gd name="T63" fmla="*/ 0 h 378"/>
                  <a:gd name="T64" fmla="*/ 0 w 750"/>
                  <a:gd name="T65" fmla="*/ 0 h 378"/>
                  <a:gd name="T66" fmla="*/ 0 w 750"/>
                  <a:gd name="T67" fmla="*/ 0 h 378"/>
                  <a:gd name="T68" fmla="*/ 0 w 750"/>
                  <a:gd name="T69" fmla="*/ 0 h 378"/>
                  <a:gd name="T70" fmla="*/ 0 w 750"/>
                  <a:gd name="T71" fmla="*/ 0 h 378"/>
                  <a:gd name="T72" fmla="*/ 0 w 750"/>
                  <a:gd name="T73" fmla="*/ 0 h 378"/>
                  <a:gd name="T74" fmla="*/ 0 w 750"/>
                  <a:gd name="T75" fmla="*/ 0 h 378"/>
                  <a:gd name="T76" fmla="*/ 0 w 750"/>
                  <a:gd name="T77" fmla="*/ 0 h 378"/>
                  <a:gd name="T78" fmla="*/ 0 w 750"/>
                  <a:gd name="T79" fmla="*/ 0 h 378"/>
                  <a:gd name="T80" fmla="*/ 0 w 750"/>
                  <a:gd name="T81" fmla="*/ 0 h 378"/>
                  <a:gd name="T82" fmla="*/ 0 w 750"/>
                  <a:gd name="T83" fmla="*/ 0 h 378"/>
                  <a:gd name="T84" fmla="*/ 0 w 750"/>
                  <a:gd name="T85" fmla="*/ 0 h 378"/>
                  <a:gd name="T86" fmla="*/ 0 w 750"/>
                  <a:gd name="T87" fmla="*/ 0 h 378"/>
                  <a:gd name="T88" fmla="*/ 0 w 750"/>
                  <a:gd name="T89" fmla="*/ 0 h 378"/>
                  <a:gd name="T90" fmla="*/ 0 w 750"/>
                  <a:gd name="T91" fmla="*/ 0 h 378"/>
                  <a:gd name="T92" fmla="*/ 0 w 750"/>
                  <a:gd name="T93" fmla="*/ 0 h 378"/>
                  <a:gd name="T94" fmla="*/ 0 w 750"/>
                  <a:gd name="T95" fmla="*/ 0 h 378"/>
                  <a:gd name="T96" fmla="*/ 0 w 750"/>
                  <a:gd name="T97" fmla="*/ 0 h 378"/>
                  <a:gd name="T98" fmla="*/ 0 w 750"/>
                  <a:gd name="T99" fmla="*/ 0 h 378"/>
                  <a:gd name="T100" fmla="*/ 0 w 750"/>
                  <a:gd name="T101" fmla="*/ 0 h 378"/>
                  <a:gd name="T102" fmla="*/ 0 w 750"/>
                  <a:gd name="T103" fmla="*/ 0 h 378"/>
                  <a:gd name="T104" fmla="*/ 0 w 750"/>
                  <a:gd name="T105" fmla="*/ 0 h 378"/>
                  <a:gd name="T106" fmla="*/ 0 w 750"/>
                  <a:gd name="T107" fmla="*/ 0 h 378"/>
                  <a:gd name="T108" fmla="*/ 0 w 750"/>
                  <a:gd name="T109" fmla="*/ 0 h 378"/>
                  <a:gd name="T110" fmla="*/ 0 w 750"/>
                  <a:gd name="T111" fmla="*/ 0 h 378"/>
                  <a:gd name="T112" fmla="*/ 0 w 750"/>
                  <a:gd name="T113" fmla="*/ 0 h 378"/>
                  <a:gd name="T114" fmla="*/ 0 w 750"/>
                  <a:gd name="T115" fmla="*/ 0 h 378"/>
                  <a:gd name="T116" fmla="*/ 0 w 750"/>
                  <a:gd name="T117" fmla="*/ 0 h 378"/>
                  <a:gd name="T118" fmla="*/ 0 w 750"/>
                  <a:gd name="T119" fmla="*/ 0 h 378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50"/>
                  <a:gd name="T181" fmla="*/ 0 h 378"/>
                  <a:gd name="T182" fmla="*/ 750 w 750"/>
                  <a:gd name="T183" fmla="*/ 378 h 378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50" h="378">
                    <a:moveTo>
                      <a:pt x="548" y="38"/>
                    </a:moveTo>
                    <a:lnTo>
                      <a:pt x="542" y="42"/>
                    </a:lnTo>
                    <a:lnTo>
                      <a:pt x="534" y="49"/>
                    </a:lnTo>
                    <a:lnTo>
                      <a:pt x="527" y="56"/>
                    </a:lnTo>
                    <a:lnTo>
                      <a:pt x="522" y="64"/>
                    </a:lnTo>
                    <a:lnTo>
                      <a:pt x="517" y="72"/>
                    </a:lnTo>
                    <a:lnTo>
                      <a:pt x="513" y="82"/>
                    </a:lnTo>
                    <a:lnTo>
                      <a:pt x="510" y="91"/>
                    </a:lnTo>
                    <a:lnTo>
                      <a:pt x="507" y="100"/>
                    </a:lnTo>
                    <a:lnTo>
                      <a:pt x="506" y="110"/>
                    </a:lnTo>
                    <a:lnTo>
                      <a:pt x="506" y="118"/>
                    </a:lnTo>
                    <a:lnTo>
                      <a:pt x="508" y="125"/>
                    </a:lnTo>
                    <a:lnTo>
                      <a:pt x="511" y="131"/>
                    </a:lnTo>
                    <a:lnTo>
                      <a:pt x="513" y="138"/>
                    </a:lnTo>
                    <a:lnTo>
                      <a:pt x="517" y="144"/>
                    </a:lnTo>
                    <a:lnTo>
                      <a:pt x="521" y="149"/>
                    </a:lnTo>
                    <a:lnTo>
                      <a:pt x="526" y="154"/>
                    </a:lnTo>
                    <a:lnTo>
                      <a:pt x="532" y="158"/>
                    </a:lnTo>
                    <a:lnTo>
                      <a:pt x="541" y="163"/>
                    </a:lnTo>
                    <a:lnTo>
                      <a:pt x="550" y="167"/>
                    </a:lnTo>
                    <a:lnTo>
                      <a:pt x="559" y="169"/>
                    </a:lnTo>
                    <a:lnTo>
                      <a:pt x="569" y="170"/>
                    </a:lnTo>
                    <a:lnTo>
                      <a:pt x="581" y="170"/>
                    </a:lnTo>
                    <a:lnTo>
                      <a:pt x="591" y="168"/>
                    </a:lnTo>
                    <a:lnTo>
                      <a:pt x="603" y="166"/>
                    </a:lnTo>
                    <a:lnTo>
                      <a:pt x="612" y="161"/>
                    </a:lnTo>
                    <a:lnTo>
                      <a:pt x="620" y="157"/>
                    </a:lnTo>
                    <a:lnTo>
                      <a:pt x="626" y="153"/>
                    </a:lnTo>
                    <a:lnTo>
                      <a:pt x="631" y="148"/>
                    </a:lnTo>
                    <a:lnTo>
                      <a:pt x="637" y="143"/>
                    </a:lnTo>
                    <a:lnTo>
                      <a:pt x="640" y="137"/>
                    </a:lnTo>
                    <a:lnTo>
                      <a:pt x="642" y="130"/>
                    </a:lnTo>
                    <a:lnTo>
                      <a:pt x="644" y="123"/>
                    </a:lnTo>
                    <a:lnTo>
                      <a:pt x="644" y="117"/>
                    </a:lnTo>
                    <a:lnTo>
                      <a:pt x="643" y="111"/>
                    </a:lnTo>
                    <a:lnTo>
                      <a:pt x="641" y="105"/>
                    </a:lnTo>
                    <a:lnTo>
                      <a:pt x="639" y="99"/>
                    </a:lnTo>
                    <a:lnTo>
                      <a:pt x="635" y="95"/>
                    </a:lnTo>
                    <a:lnTo>
                      <a:pt x="630" y="90"/>
                    </a:lnTo>
                    <a:lnTo>
                      <a:pt x="625" y="87"/>
                    </a:lnTo>
                    <a:lnTo>
                      <a:pt x="620" y="84"/>
                    </a:lnTo>
                    <a:lnTo>
                      <a:pt x="614" y="81"/>
                    </a:lnTo>
                    <a:lnTo>
                      <a:pt x="608" y="80"/>
                    </a:lnTo>
                    <a:lnTo>
                      <a:pt x="601" y="79"/>
                    </a:lnTo>
                    <a:lnTo>
                      <a:pt x="594" y="79"/>
                    </a:lnTo>
                    <a:lnTo>
                      <a:pt x="589" y="79"/>
                    </a:lnTo>
                    <a:lnTo>
                      <a:pt x="583" y="80"/>
                    </a:lnTo>
                    <a:lnTo>
                      <a:pt x="577" y="82"/>
                    </a:lnTo>
                    <a:lnTo>
                      <a:pt x="573" y="84"/>
                    </a:lnTo>
                    <a:lnTo>
                      <a:pt x="567" y="87"/>
                    </a:lnTo>
                    <a:lnTo>
                      <a:pt x="564" y="90"/>
                    </a:lnTo>
                    <a:lnTo>
                      <a:pt x="562" y="93"/>
                    </a:lnTo>
                    <a:lnTo>
                      <a:pt x="560" y="96"/>
                    </a:lnTo>
                    <a:lnTo>
                      <a:pt x="558" y="99"/>
                    </a:lnTo>
                    <a:lnTo>
                      <a:pt x="557" y="103"/>
                    </a:lnTo>
                    <a:lnTo>
                      <a:pt x="557" y="108"/>
                    </a:lnTo>
                    <a:lnTo>
                      <a:pt x="558" y="112"/>
                    </a:lnTo>
                    <a:lnTo>
                      <a:pt x="559" y="116"/>
                    </a:lnTo>
                    <a:lnTo>
                      <a:pt x="579" y="111"/>
                    </a:lnTo>
                    <a:lnTo>
                      <a:pt x="579" y="107"/>
                    </a:lnTo>
                    <a:lnTo>
                      <a:pt x="579" y="103"/>
                    </a:lnTo>
                    <a:lnTo>
                      <a:pt x="580" y="101"/>
                    </a:lnTo>
                    <a:lnTo>
                      <a:pt x="582" y="99"/>
                    </a:lnTo>
                    <a:lnTo>
                      <a:pt x="586" y="97"/>
                    </a:lnTo>
                    <a:lnTo>
                      <a:pt x="592" y="96"/>
                    </a:lnTo>
                    <a:lnTo>
                      <a:pt x="598" y="96"/>
                    </a:lnTo>
                    <a:lnTo>
                      <a:pt x="606" y="97"/>
                    </a:lnTo>
                    <a:lnTo>
                      <a:pt x="611" y="99"/>
                    </a:lnTo>
                    <a:lnTo>
                      <a:pt x="616" y="103"/>
                    </a:lnTo>
                    <a:lnTo>
                      <a:pt x="618" y="107"/>
                    </a:lnTo>
                    <a:lnTo>
                      <a:pt x="620" y="110"/>
                    </a:lnTo>
                    <a:lnTo>
                      <a:pt x="622" y="114"/>
                    </a:lnTo>
                    <a:lnTo>
                      <a:pt x="623" y="118"/>
                    </a:lnTo>
                    <a:lnTo>
                      <a:pt x="622" y="123"/>
                    </a:lnTo>
                    <a:lnTo>
                      <a:pt x="621" y="128"/>
                    </a:lnTo>
                    <a:lnTo>
                      <a:pt x="619" y="132"/>
                    </a:lnTo>
                    <a:lnTo>
                      <a:pt x="617" y="137"/>
                    </a:lnTo>
                    <a:lnTo>
                      <a:pt x="610" y="142"/>
                    </a:lnTo>
                    <a:lnTo>
                      <a:pt x="603" y="146"/>
                    </a:lnTo>
                    <a:lnTo>
                      <a:pt x="595" y="149"/>
                    </a:lnTo>
                    <a:lnTo>
                      <a:pt x="588" y="151"/>
                    </a:lnTo>
                    <a:lnTo>
                      <a:pt x="580" y="152"/>
                    </a:lnTo>
                    <a:lnTo>
                      <a:pt x="573" y="152"/>
                    </a:lnTo>
                    <a:lnTo>
                      <a:pt x="565" y="151"/>
                    </a:lnTo>
                    <a:lnTo>
                      <a:pt x="558" y="150"/>
                    </a:lnTo>
                    <a:lnTo>
                      <a:pt x="551" y="148"/>
                    </a:lnTo>
                    <a:lnTo>
                      <a:pt x="546" y="145"/>
                    </a:lnTo>
                    <a:lnTo>
                      <a:pt x="541" y="141"/>
                    </a:lnTo>
                    <a:lnTo>
                      <a:pt x="536" y="137"/>
                    </a:lnTo>
                    <a:lnTo>
                      <a:pt x="533" y="132"/>
                    </a:lnTo>
                    <a:lnTo>
                      <a:pt x="531" y="127"/>
                    </a:lnTo>
                    <a:lnTo>
                      <a:pt x="528" y="118"/>
                    </a:lnTo>
                    <a:lnTo>
                      <a:pt x="528" y="110"/>
                    </a:lnTo>
                    <a:lnTo>
                      <a:pt x="528" y="101"/>
                    </a:lnTo>
                    <a:lnTo>
                      <a:pt x="529" y="94"/>
                    </a:lnTo>
                    <a:lnTo>
                      <a:pt x="532" y="87"/>
                    </a:lnTo>
                    <a:lnTo>
                      <a:pt x="535" y="79"/>
                    </a:lnTo>
                    <a:lnTo>
                      <a:pt x="539" y="72"/>
                    </a:lnTo>
                    <a:lnTo>
                      <a:pt x="544" y="66"/>
                    </a:lnTo>
                    <a:lnTo>
                      <a:pt x="549" y="60"/>
                    </a:lnTo>
                    <a:lnTo>
                      <a:pt x="555" y="56"/>
                    </a:lnTo>
                    <a:lnTo>
                      <a:pt x="561" y="51"/>
                    </a:lnTo>
                    <a:lnTo>
                      <a:pt x="573" y="44"/>
                    </a:lnTo>
                    <a:lnTo>
                      <a:pt x="583" y="36"/>
                    </a:lnTo>
                    <a:lnTo>
                      <a:pt x="592" y="30"/>
                    </a:lnTo>
                    <a:lnTo>
                      <a:pt x="603" y="25"/>
                    </a:lnTo>
                    <a:lnTo>
                      <a:pt x="613" y="21"/>
                    </a:lnTo>
                    <a:lnTo>
                      <a:pt x="624" y="19"/>
                    </a:lnTo>
                    <a:lnTo>
                      <a:pt x="636" y="18"/>
                    </a:lnTo>
                    <a:lnTo>
                      <a:pt x="649" y="18"/>
                    </a:lnTo>
                    <a:lnTo>
                      <a:pt x="658" y="19"/>
                    </a:lnTo>
                    <a:lnTo>
                      <a:pt x="669" y="21"/>
                    </a:lnTo>
                    <a:lnTo>
                      <a:pt x="677" y="24"/>
                    </a:lnTo>
                    <a:lnTo>
                      <a:pt x="685" y="28"/>
                    </a:lnTo>
                    <a:lnTo>
                      <a:pt x="692" y="33"/>
                    </a:lnTo>
                    <a:lnTo>
                      <a:pt x="700" y="38"/>
                    </a:lnTo>
                    <a:lnTo>
                      <a:pt x="706" y="45"/>
                    </a:lnTo>
                    <a:lnTo>
                      <a:pt x="712" y="52"/>
                    </a:lnTo>
                    <a:lnTo>
                      <a:pt x="716" y="58"/>
                    </a:lnTo>
                    <a:lnTo>
                      <a:pt x="719" y="65"/>
                    </a:lnTo>
                    <a:lnTo>
                      <a:pt x="722" y="72"/>
                    </a:lnTo>
                    <a:lnTo>
                      <a:pt x="724" y="80"/>
                    </a:lnTo>
                    <a:lnTo>
                      <a:pt x="727" y="88"/>
                    </a:lnTo>
                    <a:lnTo>
                      <a:pt x="728" y="96"/>
                    </a:lnTo>
                    <a:lnTo>
                      <a:pt x="729" y="105"/>
                    </a:lnTo>
                    <a:lnTo>
                      <a:pt x="730" y="113"/>
                    </a:lnTo>
                    <a:lnTo>
                      <a:pt x="729" y="130"/>
                    </a:lnTo>
                    <a:lnTo>
                      <a:pt x="726" y="148"/>
                    </a:lnTo>
                    <a:lnTo>
                      <a:pt x="723" y="156"/>
                    </a:lnTo>
                    <a:lnTo>
                      <a:pt x="720" y="165"/>
                    </a:lnTo>
                    <a:lnTo>
                      <a:pt x="717" y="173"/>
                    </a:lnTo>
                    <a:lnTo>
                      <a:pt x="713" y="181"/>
                    </a:lnTo>
                    <a:lnTo>
                      <a:pt x="707" y="192"/>
                    </a:lnTo>
                    <a:lnTo>
                      <a:pt x="701" y="204"/>
                    </a:lnTo>
                    <a:lnTo>
                      <a:pt x="692" y="214"/>
                    </a:lnTo>
                    <a:lnTo>
                      <a:pt x="684" y="226"/>
                    </a:lnTo>
                    <a:lnTo>
                      <a:pt x="675" y="236"/>
                    </a:lnTo>
                    <a:lnTo>
                      <a:pt x="666" y="246"/>
                    </a:lnTo>
                    <a:lnTo>
                      <a:pt x="655" y="255"/>
                    </a:lnTo>
                    <a:lnTo>
                      <a:pt x="645" y="265"/>
                    </a:lnTo>
                    <a:lnTo>
                      <a:pt x="634" y="274"/>
                    </a:lnTo>
                    <a:lnTo>
                      <a:pt x="622" y="282"/>
                    </a:lnTo>
                    <a:lnTo>
                      <a:pt x="610" y="291"/>
                    </a:lnTo>
                    <a:lnTo>
                      <a:pt x="597" y="298"/>
                    </a:lnTo>
                    <a:lnTo>
                      <a:pt x="585" y="305"/>
                    </a:lnTo>
                    <a:lnTo>
                      <a:pt x="573" y="310"/>
                    </a:lnTo>
                    <a:lnTo>
                      <a:pt x="560" y="317"/>
                    </a:lnTo>
                    <a:lnTo>
                      <a:pt x="548" y="321"/>
                    </a:lnTo>
                    <a:lnTo>
                      <a:pt x="524" y="329"/>
                    </a:lnTo>
                    <a:lnTo>
                      <a:pt x="501" y="335"/>
                    </a:lnTo>
                    <a:lnTo>
                      <a:pt x="480" y="341"/>
                    </a:lnTo>
                    <a:lnTo>
                      <a:pt x="459" y="346"/>
                    </a:lnTo>
                    <a:lnTo>
                      <a:pt x="439" y="351"/>
                    </a:lnTo>
                    <a:lnTo>
                      <a:pt x="420" y="354"/>
                    </a:lnTo>
                    <a:lnTo>
                      <a:pt x="401" y="357"/>
                    </a:lnTo>
                    <a:lnTo>
                      <a:pt x="382" y="359"/>
                    </a:lnTo>
                    <a:lnTo>
                      <a:pt x="364" y="360"/>
                    </a:lnTo>
                    <a:lnTo>
                      <a:pt x="345" y="360"/>
                    </a:lnTo>
                    <a:lnTo>
                      <a:pt x="326" y="360"/>
                    </a:lnTo>
                    <a:lnTo>
                      <a:pt x="306" y="360"/>
                    </a:lnTo>
                    <a:lnTo>
                      <a:pt x="265" y="357"/>
                    </a:lnTo>
                    <a:lnTo>
                      <a:pt x="218" y="352"/>
                    </a:lnTo>
                    <a:lnTo>
                      <a:pt x="207" y="351"/>
                    </a:lnTo>
                    <a:lnTo>
                      <a:pt x="195" y="348"/>
                    </a:lnTo>
                    <a:lnTo>
                      <a:pt x="183" y="344"/>
                    </a:lnTo>
                    <a:lnTo>
                      <a:pt x="171" y="340"/>
                    </a:lnTo>
                    <a:lnTo>
                      <a:pt x="157" y="335"/>
                    </a:lnTo>
                    <a:lnTo>
                      <a:pt x="145" y="329"/>
                    </a:lnTo>
                    <a:lnTo>
                      <a:pt x="131" y="323"/>
                    </a:lnTo>
                    <a:lnTo>
                      <a:pt x="119" y="317"/>
                    </a:lnTo>
                    <a:lnTo>
                      <a:pt x="107" y="309"/>
                    </a:lnTo>
                    <a:lnTo>
                      <a:pt x="95" y="301"/>
                    </a:lnTo>
                    <a:lnTo>
                      <a:pt x="84" y="293"/>
                    </a:lnTo>
                    <a:lnTo>
                      <a:pt x="73" y="284"/>
                    </a:lnTo>
                    <a:lnTo>
                      <a:pt x="64" y="275"/>
                    </a:lnTo>
                    <a:lnTo>
                      <a:pt x="55" y="266"/>
                    </a:lnTo>
                    <a:lnTo>
                      <a:pt x="48" y="257"/>
                    </a:lnTo>
                    <a:lnTo>
                      <a:pt x="41" y="247"/>
                    </a:lnTo>
                    <a:lnTo>
                      <a:pt x="34" y="232"/>
                    </a:lnTo>
                    <a:lnTo>
                      <a:pt x="28" y="214"/>
                    </a:lnTo>
                    <a:lnTo>
                      <a:pt x="25" y="206"/>
                    </a:lnTo>
                    <a:lnTo>
                      <a:pt x="23" y="197"/>
                    </a:lnTo>
                    <a:lnTo>
                      <a:pt x="22" y="188"/>
                    </a:lnTo>
                    <a:lnTo>
                      <a:pt x="22" y="179"/>
                    </a:lnTo>
                    <a:lnTo>
                      <a:pt x="22" y="170"/>
                    </a:lnTo>
                    <a:lnTo>
                      <a:pt x="22" y="161"/>
                    </a:lnTo>
                    <a:lnTo>
                      <a:pt x="24" y="153"/>
                    </a:lnTo>
                    <a:lnTo>
                      <a:pt x="27" y="145"/>
                    </a:lnTo>
                    <a:lnTo>
                      <a:pt x="30" y="137"/>
                    </a:lnTo>
                    <a:lnTo>
                      <a:pt x="34" y="129"/>
                    </a:lnTo>
                    <a:lnTo>
                      <a:pt x="40" y="122"/>
                    </a:lnTo>
                    <a:lnTo>
                      <a:pt x="48" y="115"/>
                    </a:lnTo>
                    <a:lnTo>
                      <a:pt x="57" y="109"/>
                    </a:lnTo>
                    <a:lnTo>
                      <a:pt x="67" y="102"/>
                    </a:lnTo>
                    <a:lnTo>
                      <a:pt x="80" y="97"/>
                    </a:lnTo>
                    <a:lnTo>
                      <a:pt x="93" y="94"/>
                    </a:lnTo>
                    <a:lnTo>
                      <a:pt x="107" y="91"/>
                    </a:lnTo>
                    <a:lnTo>
                      <a:pt x="121" y="90"/>
                    </a:lnTo>
                    <a:lnTo>
                      <a:pt x="134" y="90"/>
                    </a:lnTo>
                    <a:lnTo>
                      <a:pt x="148" y="91"/>
                    </a:lnTo>
                    <a:lnTo>
                      <a:pt x="154" y="92"/>
                    </a:lnTo>
                    <a:lnTo>
                      <a:pt x="160" y="94"/>
                    </a:lnTo>
                    <a:lnTo>
                      <a:pt x="166" y="97"/>
                    </a:lnTo>
                    <a:lnTo>
                      <a:pt x="173" y="100"/>
                    </a:lnTo>
                    <a:lnTo>
                      <a:pt x="179" y="105"/>
                    </a:lnTo>
                    <a:lnTo>
                      <a:pt x="184" y="110"/>
                    </a:lnTo>
                    <a:lnTo>
                      <a:pt x="188" y="116"/>
                    </a:lnTo>
                    <a:lnTo>
                      <a:pt x="192" y="123"/>
                    </a:lnTo>
                    <a:lnTo>
                      <a:pt x="194" y="131"/>
                    </a:lnTo>
                    <a:lnTo>
                      <a:pt x="195" y="139"/>
                    </a:lnTo>
                    <a:lnTo>
                      <a:pt x="195" y="146"/>
                    </a:lnTo>
                    <a:lnTo>
                      <a:pt x="193" y="153"/>
                    </a:lnTo>
                    <a:lnTo>
                      <a:pt x="191" y="159"/>
                    </a:lnTo>
                    <a:lnTo>
                      <a:pt x="188" y="166"/>
                    </a:lnTo>
                    <a:lnTo>
                      <a:pt x="183" y="172"/>
                    </a:lnTo>
                    <a:lnTo>
                      <a:pt x="177" y="177"/>
                    </a:lnTo>
                    <a:lnTo>
                      <a:pt x="172" y="181"/>
                    </a:lnTo>
                    <a:lnTo>
                      <a:pt x="165" y="184"/>
                    </a:lnTo>
                    <a:lnTo>
                      <a:pt x="159" y="187"/>
                    </a:lnTo>
                    <a:lnTo>
                      <a:pt x="153" y="189"/>
                    </a:lnTo>
                    <a:lnTo>
                      <a:pt x="147" y="190"/>
                    </a:lnTo>
                    <a:lnTo>
                      <a:pt x="141" y="190"/>
                    </a:lnTo>
                    <a:lnTo>
                      <a:pt x="135" y="190"/>
                    </a:lnTo>
                    <a:lnTo>
                      <a:pt x="130" y="189"/>
                    </a:lnTo>
                    <a:lnTo>
                      <a:pt x="126" y="187"/>
                    </a:lnTo>
                    <a:lnTo>
                      <a:pt x="122" y="185"/>
                    </a:lnTo>
                    <a:lnTo>
                      <a:pt x="119" y="183"/>
                    </a:lnTo>
                    <a:lnTo>
                      <a:pt x="117" y="180"/>
                    </a:lnTo>
                    <a:lnTo>
                      <a:pt x="115" y="174"/>
                    </a:lnTo>
                    <a:lnTo>
                      <a:pt x="114" y="168"/>
                    </a:lnTo>
                    <a:lnTo>
                      <a:pt x="93" y="170"/>
                    </a:lnTo>
                    <a:lnTo>
                      <a:pt x="93" y="176"/>
                    </a:lnTo>
                    <a:lnTo>
                      <a:pt x="95" y="182"/>
                    </a:lnTo>
                    <a:lnTo>
                      <a:pt x="98" y="187"/>
                    </a:lnTo>
                    <a:lnTo>
                      <a:pt x="101" y="192"/>
                    </a:lnTo>
                    <a:lnTo>
                      <a:pt x="105" y="197"/>
                    </a:lnTo>
                    <a:lnTo>
                      <a:pt x="111" y="201"/>
                    </a:lnTo>
                    <a:lnTo>
                      <a:pt x="116" y="204"/>
                    </a:lnTo>
                    <a:lnTo>
                      <a:pt x="122" y="206"/>
                    </a:lnTo>
                    <a:lnTo>
                      <a:pt x="130" y="208"/>
                    </a:lnTo>
                    <a:lnTo>
                      <a:pt x="139" y="208"/>
                    </a:lnTo>
                    <a:lnTo>
                      <a:pt x="148" y="208"/>
                    </a:lnTo>
                    <a:lnTo>
                      <a:pt x="157" y="206"/>
                    </a:lnTo>
                    <a:lnTo>
                      <a:pt x="165" y="204"/>
                    </a:lnTo>
                    <a:lnTo>
                      <a:pt x="175" y="200"/>
                    </a:lnTo>
                    <a:lnTo>
                      <a:pt x="183" y="196"/>
                    </a:lnTo>
                    <a:lnTo>
                      <a:pt x="191" y="189"/>
                    </a:lnTo>
                    <a:lnTo>
                      <a:pt x="200" y="182"/>
                    </a:lnTo>
                    <a:lnTo>
                      <a:pt x="206" y="174"/>
                    </a:lnTo>
                    <a:lnTo>
                      <a:pt x="211" y="166"/>
                    </a:lnTo>
                    <a:lnTo>
                      <a:pt x="214" y="157"/>
                    </a:lnTo>
                    <a:lnTo>
                      <a:pt x="216" y="148"/>
                    </a:lnTo>
                    <a:lnTo>
                      <a:pt x="216" y="138"/>
                    </a:lnTo>
                    <a:lnTo>
                      <a:pt x="215" y="128"/>
                    </a:lnTo>
                    <a:lnTo>
                      <a:pt x="212" y="118"/>
                    </a:lnTo>
                    <a:lnTo>
                      <a:pt x="209" y="110"/>
                    </a:lnTo>
                    <a:lnTo>
                      <a:pt x="204" y="101"/>
                    </a:lnTo>
                    <a:lnTo>
                      <a:pt x="197" y="95"/>
                    </a:lnTo>
                    <a:lnTo>
                      <a:pt x="190" y="89"/>
                    </a:lnTo>
                    <a:lnTo>
                      <a:pt x="183" y="84"/>
                    </a:lnTo>
                    <a:lnTo>
                      <a:pt x="174" y="80"/>
                    </a:lnTo>
                    <a:lnTo>
                      <a:pt x="163" y="77"/>
                    </a:lnTo>
                    <a:lnTo>
                      <a:pt x="153" y="74"/>
                    </a:lnTo>
                    <a:lnTo>
                      <a:pt x="138" y="72"/>
                    </a:lnTo>
                    <a:lnTo>
                      <a:pt x="121" y="72"/>
                    </a:lnTo>
                    <a:lnTo>
                      <a:pt x="104" y="74"/>
                    </a:lnTo>
                    <a:lnTo>
                      <a:pt x="88" y="77"/>
                    </a:lnTo>
                    <a:lnTo>
                      <a:pt x="72" y="82"/>
                    </a:lnTo>
                    <a:lnTo>
                      <a:pt x="57" y="88"/>
                    </a:lnTo>
                    <a:lnTo>
                      <a:pt x="43" y="95"/>
                    </a:lnTo>
                    <a:lnTo>
                      <a:pt x="32" y="103"/>
                    </a:lnTo>
                    <a:lnTo>
                      <a:pt x="24" y="112"/>
                    </a:lnTo>
                    <a:lnTo>
                      <a:pt x="18" y="120"/>
                    </a:lnTo>
                    <a:lnTo>
                      <a:pt x="11" y="128"/>
                    </a:lnTo>
                    <a:lnTo>
                      <a:pt x="7" y="138"/>
                    </a:lnTo>
                    <a:lnTo>
                      <a:pt x="4" y="148"/>
                    </a:lnTo>
                    <a:lnTo>
                      <a:pt x="2" y="157"/>
                    </a:lnTo>
                    <a:lnTo>
                      <a:pt x="1" y="168"/>
                    </a:lnTo>
                    <a:lnTo>
                      <a:pt x="0" y="178"/>
                    </a:lnTo>
                    <a:lnTo>
                      <a:pt x="1" y="188"/>
                    </a:lnTo>
                    <a:lnTo>
                      <a:pt x="2" y="198"/>
                    </a:lnTo>
                    <a:lnTo>
                      <a:pt x="4" y="208"/>
                    </a:lnTo>
                    <a:lnTo>
                      <a:pt x="7" y="218"/>
                    </a:lnTo>
                    <a:lnTo>
                      <a:pt x="10" y="228"/>
                    </a:lnTo>
                    <a:lnTo>
                      <a:pt x="15" y="237"/>
                    </a:lnTo>
                    <a:lnTo>
                      <a:pt x="19" y="246"/>
                    </a:lnTo>
                    <a:lnTo>
                      <a:pt x="23" y="255"/>
                    </a:lnTo>
                    <a:lnTo>
                      <a:pt x="29" y="266"/>
                    </a:lnTo>
                    <a:lnTo>
                      <a:pt x="37" y="276"/>
                    </a:lnTo>
                    <a:lnTo>
                      <a:pt x="47" y="285"/>
                    </a:lnTo>
                    <a:lnTo>
                      <a:pt x="57" y="296"/>
                    </a:lnTo>
                    <a:lnTo>
                      <a:pt x="68" y="305"/>
                    </a:lnTo>
                    <a:lnTo>
                      <a:pt x="81" y="314"/>
                    </a:lnTo>
                    <a:lnTo>
                      <a:pt x="93" y="323"/>
                    </a:lnTo>
                    <a:lnTo>
                      <a:pt x="107" y="331"/>
                    </a:lnTo>
                    <a:lnTo>
                      <a:pt x="120" y="338"/>
                    </a:lnTo>
                    <a:lnTo>
                      <a:pt x="133" y="344"/>
                    </a:lnTo>
                    <a:lnTo>
                      <a:pt x="148" y="351"/>
                    </a:lnTo>
                    <a:lnTo>
                      <a:pt x="162" y="357"/>
                    </a:lnTo>
                    <a:lnTo>
                      <a:pt x="176" y="361"/>
                    </a:lnTo>
                    <a:lnTo>
                      <a:pt x="189" y="365"/>
                    </a:lnTo>
                    <a:lnTo>
                      <a:pt x="203" y="367"/>
                    </a:lnTo>
                    <a:lnTo>
                      <a:pt x="215" y="369"/>
                    </a:lnTo>
                    <a:lnTo>
                      <a:pt x="263" y="374"/>
                    </a:lnTo>
                    <a:lnTo>
                      <a:pt x="305" y="378"/>
                    </a:lnTo>
                    <a:lnTo>
                      <a:pt x="326" y="378"/>
                    </a:lnTo>
                    <a:lnTo>
                      <a:pt x="345" y="378"/>
                    </a:lnTo>
                    <a:lnTo>
                      <a:pt x="365" y="378"/>
                    </a:lnTo>
                    <a:lnTo>
                      <a:pt x="383" y="375"/>
                    </a:lnTo>
                    <a:lnTo>
                      <a:pt x="403" y="374"/>
                    </a:lnTo>
                    <a:lnTo>
                      <a:pt x="423" y="371"/>
                    </a:lnTo>
                    <a:lnTo>
                      <a:pt x="442" y="367"/>
                    </a:lnTo>
                    <a:lnTo>
                      <a:pt x="463" y="363"/>
                    </a:lnTo>
                    <a:lnTo>
                      <a:pt x="484" y="358"/>
                    </a:lnTo>
                    <a:lnTo>
                      <a:pt x="506" y="352"/>
                    </a:lnTo>
                    <a:lnTo>
                      <a:pt x="530" y="344"/>
                    </a:lnTo>
                    <a:lnTo>
                      <a:pt x="555" y="337"/>
                    </a:lnTo>
                    <a:lnTo>
                      <a:pt x="568" y="332"/>
                    </a:lnTo>
                    <a:lnTo>
                      <a:pt x="582" y="326"/>
                    </a:lnTo>
                    <a:lnTo>
                      <a:pt x="595" y="320"/>
                    </a:lnTo>
                    <a:lnTo>
                      <a:pt x="609" y="312"/>
                    </a:lnTo>
                    <a:lnTo>
                      <a:pt x="621" y="304"/>
                    </a:lnTo>
                    <a:lnTo>
                      <a:pt x="635" y="296"/>
                    </a:lnTo>
                    <a:lnTo>
                      <a:pt x="647" y="287"/>
                    </a:lnTo>
                    <a:lnTo>
                      <a:pt x="658" y="277"/>
                    </a:lnTo>
                    <a:lnTo>
                      <a:pt x="670" y="267"/>
                    </a:lnTo>
                    <a:lnTo>
                      <a:pt x="681" y="257"/>
                    </a:lnTo>
                    <a:lnTo>
                      <a:pt x="691" y="245"/>
                    </a:lnTo>
                    <a:lnTo>
                      <a:pt x="702" y="235"/>
                    </a:lnTo>
                    <a:lnTo>
                      <a:pt x="710" y="223"/>
                    </a:lnTo>
                    <a:lnTo>
                      <a:pt x="718" y="211"/>
                    </a:lnTo>
                    <a:lnTo>
                      <a:pt x="727" y="200"/>
                    </a:lnTo>
                    <a:lnTo>
                      <a:pt x="733" y="187"/>
                    </a:lnTo>
                    <a:lnTo>
                      <a:pt x="737" y="178"/>
                    </a:lnTo>
                    <a:lnTo>
                      <a:pt x="741" y="169"/>
                    </a:lnTo>
                    <a:lnTo>
                      <a:pt x="744" y="159"/>
                    </a:lnTo>
                    <a:lnTo>
                      <a:pt x="746" y="150"/>
                    </a:lnTo>
                    <a:lnTo>
                      <a:pt x="748" y="141"/>
                    </a:lnTo>
                    <a:lnTo>
                      <a:pt x="749" y="130"/>
                    </a:lnTo>
                    <a:lnTo>
                      <a:pt x="750" y="121"/>
                    </a:lnTo>
                    <a:lnTo>
                      <a:pt x="750" y="111"/>
                    </a:lnTo>
                    <a:lnTo>
                      <a:pt x="749" y="101"/>
                    </a:lnTo>
                    <a:lnTo>
                      <a:pt x="748" y="92"/>
                    </a:lnTo>
                    <a:lnTo>
                      <a:pt x="747" y="83"/>
                    </a:lnTo>
                    <a:lnTo>
                      <a:pt x="745" y="75"/>
                    </a:lnTo>
                    <a:lnTo>
                      <a:pt x="742" y="66"/>
                    </a:lnTo>
                    <a:lnTo>
                      <a:pt x="739" y="58"/>
                    </a:lnTo>
                    <a:lnTo>
                      <a:pt x="735" y="50"/>
                    </a:lnTo>
                    <a:lnTo>
                      <a:pt x="730" y="42"/>
                    </a:lnTo>
                    <a:lnTo>
                      <a:pt x="723" y="34"/>
                    </a:lnTo>
                    <a:lnTo>
                      <a:pt x="715" y="26"/>
                    </a:lnTo>
                    <a:lnTo>
                      <a:pt x="707" y="19"/>
                    </a:lnTo>
                    <a:lnTo>
                      <a:pt x="697" y="14"/>
                    </a:lnTo>
                    <a:lnTo>
                      <a:pt x="687" y="8"/>
                    </a:lnTo>
                    <a:lnTo>
                      <a:pt x="676" y="4"/>
                    </a:lnTo>
                    <a:lnTo>
                      <a:pt x="664" y="2"/>
                    </a:lnTo>
                    <a:lnTo>
                      <a:pt x="651" y="0"/>
                    </a:lnTo>
                    <a:lnTo>
                      <a:pt x="636" y="0"/>
                    </a:lnTo>
                    <a:lnTo>
                      <a:pt x="620" y="1"/>
                    </a:lnTo>
                    <a:lnTo>
                      <a:pt x="607" y="5"/>
                    </a:lnTo>
                    <a:lnTo>
                      <a:pt x="594" y="9"/>
                    </a:lnTo>
                    <a:lnTo>
                      <a:pt x="582" y="16"/>
                    </a:lnTo>
                    <a:lnTo>
                      <a:pt x="570" y="22"/>
                    </a:lnTo>
                    <a:lnTo>
                      <a:pt x="559" y="30"/>
                    </a:lnTo>
                    <a:lnTo>
                      <a:pt x="548" y="38"/>
                    </a:lnTo>
                    <a:close/>
                  </a:path>
                </a:pathLst>
              </a:custGeom>
              <a:solidFill>
                <a:srgbClr val="F1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63" name="Freeform 139"/>
              <p:cNvSpPr>
                <a:spLocks/>
              </p:cNvSpPr>
              <p:nvPr/>
            </p:nvSpPr>
            <p:spPr bwMode="auto">
              <a:xfrm>
                <a:off x="3761" y="1827"/>
                <a:ext cx="23" cy="65"/>
              </a:xfrm>
              <a:custGeom>
                <a:avLst/>
                <a:gdLst>
                  <a:gd name="T0" fmla="*/ 0 w 160"/>
                  <a:gd name="T1" fmla="*/ 0 h 454"/>
                  <a:gd name="T2" fmla="*/ 0 w 160"/>
                  <a:gd name="T3" fmla="*/ 0 h 454"/>
                  <a:gd name="T4" fmla="*/ 0 w 160"/>
                  <a:gd name="T5" fmla="*/ 0 h 454"/>
                  <a:gd name="T6" fmla="*/ 0 w 160"/>
                  <a:gd name="T7" fmla="*/ 0 h 454"/>
                  <a:gd name="T8" fmla="*/ 0 w 160"/>
                  <a:gd name="T9" fmla="*/ 0 h 454"/>
                  <a:gd name="T10" fmla="*/ 0 w 160"/>
                  <a:gd name="T11" fmla="*/ 0 h 454"/>
                  <a:gd name="T12" fmla="*/ 0 w 160"/>
                  <a:gd name="T13" fmla="*/ 0 h 454"/>
                  <a:gd name="T14" fmla="*/ 0 w 160"/>
                  <a:gd name="T15" fmla="*/ 0 h 454"/>
                  <a:gd name="T16" fmla="*/ 0 w 160"/>
                  <a:gd name="T17" fmla="*/ 0 h 454"/>
                  <a:gd name="T18" fmla="*/ 0 w 160"/>
                  <a:gd name="T19" fmla="*/ 0 h 454"/>
                  <a:gd name="T20" fmla="*/ 0 w 160"/>
                  <a:gd name="T21" fmla="*/ 0 h 454"/>
                  <a:gd name="T22" fmla="*/ 0 w 160"/>
                  <a:gd name="T23" fmla="*/ 0 h 454"/>
                  <a:gd name="T24" fmla="*/ 0 w 160"/>
                  <a:gd name="T25" fmla="*/ 0 h 454"/>
                  <a:gd name="T26" fmla="*/ 0 w 160"/>
                  <a:gd name="T27" fmla="*/ 0 h 454"/>
                  <a:gd name="T28" fmla="*/ 0 w 160"/>
                  <a:gd name="T29" fmla="*/ 0 h 454"/>
                  <a:gd name="T30" fmla="*/ 0 w 160"/>
                  <a:gd name="T31" fmla="*/ 0 h 454"/>
                  <a:gd name="T32" fmla="*/ 0 w 160"/>
                  <a:gd name="T33" fmla="*/ 0 h 454"/>
                  <a:gd name="T34" fmla="*/ 0 w 160"/>
                  <a:gd name="T35" fmla="*/ 0 h 454"/>
                  <a:gd name="T36" fmla="*/ 0 w 160"/>
                  <a:gd name="T37" fmla="*/ 0 h 454"/>
                  <a:gd name="T38" fmla="*/ 0 w 160"/>
                  <a:gd name="T39" fmla="*/ 0 h 454"/>
                  <a:gd name="T40" fmla="*/ 0 w 160"/>
                  <a:gd name="T41" fmla="*/ 0 h 454"/>
                  <a:gd name="T42" fmla="*/ 0 w 160"/>
                  <a:gd name="T43" fmla="*/ 0 h 454"/>
                  <a:gd name="T44" fmla="*/ 0 w 160"/>
                  <a:gd name="T45" fmla="*/ 0 h 454"/>
                  <a:gd name="T46" fmla="*/ 0 w 160"/>
                  <a:gd name="T47" fmla="*/ 0 h 454"/>
                  <a:gd name="T48" fmla="*/ 0 w 160"/>
                  <a:gd name="T49" fmla="*/ 0 h 454"/>
                  <a:gd name="T50" fmla="*/ 0 w 160"/>
                  <a:gd name="T51" fmla="*/ 0 h 454"/>
                  <a:gd name="T52" fmla="*/ 0 w 160"/>
                  <a:gd name="T53" fmla="*/ 0 h 454"/>
                  <a:gd name="T54" fmla="*/ 0 w 160"/>
                  <a:gd name="T55" fmla="*/ 0 h 454"/>
                  <a:gd name="T56" fmla="*/ 0 w 160"/>
                  <a:gd name="T57" fmla="*/ 0 h 454"/>
                  <a:gd name="T58" fmla="*/ 0 w 160"/>
                  <a:gd name="T59" fmla="*/ 0 h 454"/>
                  <a:gd name="T60" fmla="*/ 0 w 160"/>
                  <a:gd name="T61" fmla="*/ 0 h 454"/>
                  <a:gd name="T62" fmla="*/ 0 w 160"/>
                  <a:gd name="T63" fmla="*/ 0 h 454"/>
                  <a:gd name="T64" fmla="*/ 0 w 160"/>
                  <a:gd name="T65" fmla="*/ 0 h 454"/>
                  <a:gd name="T66" fmla="*/ 0 w 160"/>
                  <a:gd name="T67" fmla="*/ 0 h 454"/>
                  <a:gd name="T68" fmla="*/ 0 w 160"/>
                  <a:gd name="T69" fmla="*/ 0 h 454"/>
                  <a:gd name="T70" fmla="*/ 0 w 160"/>
                  <a:gd name="T71" fmla="*/ 0 h 454"/>
                  <a:gd name="T72" fmla="*/ 0 w 160"/>
                  <a:gd name="T73" fmla="*/ 0 h 454"/>
                  <a:gd name="T74" fmla="*/ 0 w 160"/>
                  <a:gd name="T75" fmla="*/ 0 h 454"/>
                  <a:gd name="T76" fmla="*/ 0 w 160"/>
                  <a:gd name="T77" fmla="*/ 0 h 454"/>
                  <a:gd name="T78" fmla="*/ 0 w 160"/>
                  <a:gd name="T79" fmla="*/ 0 h 454"/>
                  <a:gd name="T80" fmla="*/ 0 w 160"/>
                  <a:gd name="T81" fmla="*/ 0 h 454"/>
                  <a:gd name="T82" fmla="*/ 0 w 160"/>
                  <a:gd name="T83" fmla="*/ 0 h 454"/>
                  <a:gd name="T84" fmla="*/ 0 w 160"/>
                  <a:gd name="T85" fmla="*/ 0 h 454"/>
                  <a:gd name="T86" fmla="*/ 0 w 160"/>
                  <a:gd name="T87" fmla="*/ 0 h 454"/>
                  <a:gd name="T88" fmla="*/ 0 w 160"/>
                  <a:gd name="T89" fmla="*/ 0 h 454"/>
                  <a:gd name="T90" fmla="*/ 0 w 160"/>
                  <a:gd name="T91" fmla="*/ 0 h 454"/>
                  <a:gd name="T92" fmla="*/ 0 w 160"/>
                  <a:gd name="T93" fmla="*/ 0 h 454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60"/>
                  <a:gd name="T142" fmla="*/ 0 h 454"/>
                  <a:gd name="T143" fmla="*/ 160 w 160"/>
                  <a:gd name="T144" fmla="*/ 454 h 454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60" h="454">
                    <a:moveTo>
                      <a:pt x="65" y="0"/>
                    </a:moveTo>
                    <a:lnTo>
                      <a:pt x="51" y="8"/>
                    </a:lnTo>
                    <a:lnTo>
                      <a:pt x="38" y="17"/>
                    </a:lnTo>
                    <a:lnTo>
                      <a:pt x="28" y="28"/>
                    </a:lnTo>
                    <a:lnTo>
                      <a:pt x="20" y="38"/>
                    </a:lnTo>
                    <a:lnTo>
                      <a:pt x="13" y="50"/>
                    </a:lnTo>
                    <a:lnTo>
                      <a:pt x="7" y="63"/>
                    </a:lnTo>
                    <a:lnTo>
                      <a:pt x="3" y="76"/>
                    </a:lnTo>
                    <a:lnTo>
                      <a:pt x="1" y="91"/>
                    </a:lnTo>
                    <a:lnTo>
                      <a:pt x="0" y="106"/>
                    </a:lnTo>
                    <a:lnTo>
                      <a:pt x="0" y="121"/>
                    </a:lnTo>
                    <a:lnTo>
                      <a:pt x="1" y="137"/>
                    </a:lnTo>
                    <a:lnTo>
                      <a:pt x="3" y="153"/>
                    </a:lnTo>
                    <a:lnTo>
                      <a:pt x="7" y="169"/>
                    </a:lnTo>
                    <a:lnTo>
                      <a:pt x="12" y="187"/>
                    </a:lnTo>
                    <a:lnTo>
                      <a:pt x="17" y="203"/>
                    </a:lnTo>
                    <a:lnTo>
                      <a:pt x="23" y="221"/>
                    </a:lnTo>
                    <a:lnTo>
                      <a:pt x="36" y="255"/>
                    </a:lnTo>
                    <a:lnTo>
                      <a:pt x="51" y="289"/>
                    </a:lnTo>
                    <a:lnTo>
                      <a:pt x="67" y="322"/>
                    </a:lnTo>
                    <a:lnTo>
                      <a:pt x="84" y="353"/>
                    </a:lnTo>
                    <a:lnTo>
                      <a:pt x="116" y="410"/>
                    </a:lnTo>
                    <a:lnTo>
                      <a:pt x="141" y="454"/>
                    </a:lnTo>
                    <a:lnTo>
                      <a:pt x="147" y="441"/>
                    </a:lnTo>
                    <a:lnTo>
                      <a:pt x="152" y="429"/>
                    </a:lnTo>
                    <a:lnTo>
                      <a:pt x="156" y="415"/>
                    </a:lnTo>
                    <a:lnTo>
                      <a:pt x="158" y="401"/>
                    </a:lnTo>
                    <a:lnTo>
                      <a:pt x="159" y="385"/>
                    </a:lnTo>
                    <a:lnTo>
                      <a:pt x="160" y="370"/>
                    </a:lnTo>
                    <a:lnTo>
                      <a:pt x="159" y="353"/>
                    </a:lnTo>
                    <a:lnTo>
                      <a:pt x="158" y="338"/>
                    </a:lnTo>
                    <a:lnTo>
                      <a:pt x="155" y="305"/>
                    </a:lnTo>
                    <a:lnTo>
                      <a:pt x="151" y="274"/>
                    </a:lnTo>
                    <a:lnTo>
                      <a:pt x="147" y="245"/>
                    </a:lnTo>
                    <a:lnTo>
                      <a:pt x="145" y="219"/>
                    </a:lnTo>
                    <a:lnTo>
                      <a:pt x="144" y="203"/>
                    </a:lnTo>
                    <a:lnTo>
                      <a:pt x="142" y="188"/>
                    </a:lnTo>
                    <a:lnTo>
                      <a:pt x="140" y="172"/>
                    </a:lnTo>
                    <a:lnTo>
                      <a:pt x="138" y="158"/>
                    </a:lnTo>
                    <a:lnTo>
                      <a:pt x="134" y="144"/>
                    </a:lnTo>
                    <a:lnTo>
                      <a:pt x="130" y="131"/>
                    </a:lnTo>
                    <a:lnTo>
                      <a:pt x="126" y="118"/>
                    </a:lnTo>
                    <a:lnTo>
                      <a:pt x="121" y="104"/>
                    </a:lnTo>
                    <a:lnTo>
                      <a:pt x="110" y="78"/>
                    </a:lnTo>
                    <a:lnTo>
                      <a:pt x="97" y="52"/>
                    </a:lnTo>
                    <a:lnTo>
                      <a:pt x="82" y="27"/>
                    </a:lnTo>
                    <a:lnTo>
                      <a:pt x="65" y="0"/>
                    </a:lnTo>
                    <a:close/>
                  </a:path>
                </a:pathLst>
              </a:custGeom>
              <a:solidFill>
                <a:srgbClr val="F1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64" name="Freeform 140"/>
              <p:cNvSpPr>
                <a:spLocks/>
              </p:cNvSpPr>
              <p:nvPr/>
            </p:nvSpPr>
            <p:spPr bwMode="auto">
              <a:xfrm>
                <a:off x="3719" y="1824"/>
                <a:ext cx="105" cy="79"/>
              </a:xfrm>
              <a:custGeom>
                <a:avLst/>
                <a:gdLst>
                  <a:gd name="T0" fmla="*/ 0 w 736"/>
                  <a:gd name="T1" fmla="*/ 0 h 553"/>
                  <a:gd name="T2" fmla="*/ 0 w 736"/>
                  <a:gd name="T3" fmla="*/ 0 h 553"/>
                  <a:gd name="T4" fmla="*/ 0 w 736"/>
                  <a:gd name="T5" fmla="*/ 0 h 553"/>
                  <a:gd name="T6" fmla="*/ 0 w 736"/>
                  <a:gd name="T7" fmla="*/ 0 h 553"/>
                  <a:gd name="T8" fmla="*/ 0 w 736"/>
                  <a:gd name="T9" fmla="*/ 0 h 553"/>
                  <a:gd name="T10" fmla="*/ 0 w 736"/>
                  <a:gd name="T11" fmla="*/ 0 h 553"/>
                  <a:gd name="T12" fmla="*/ 0 w 736"/>
                  <a:gd name="T13" fmla="*/ 0 h 553"/>
                  <a:gd name="T14" fmla="*/ 0 w 736"/>
                  <a:gd name="T15" fmla="*/ 0 h 553"/>
                  <a:gd name="T16" fmla="*/ 0 w 736"/>
                  <a:gd name="T17" fmla="*/ 0 h 553"/>
                  <a:gd name="T18" fmla="*/ 0 w 736"/>
                  <a:gd name="T19" fmla="*/ 0 h 553"/>
                  <a:gd name="T20" fmla="*/ 0 w 736"/>
                  <a:gd name="T21" fmla="*/ 0 h 553"/>
                  <a:gd name="T22" fmla="*/ 0 w 736"/>
                  <a:gd name="T23" fmla="*/ 0 h 553"/>
                  <a:gd name="T24" fmla="*/ 0 w 736"/>
                  <a:gd name="T25" fmla="*/ 0 h 553"/>
                  <a:gd name="T26" fmla="*/ 0 w 736"/>
                  <a:gd name="T27" fmla="*/ 0 h 553"/>
                  <a:gd name="T28" fmla="*/ 0 w 736"/>
                  <a:gd name="T29" fmla="*/ 0 h 553"/>
                  <a:gd name="T30" fmla="*/ 0 w 736"/>
                  <a:gd name="T31" fmla="*/ 0 h 553"/>
                  <a:gd name="T32" fmla="*/ 0 w 736"/>
                  <a:gd name="T33" fmla="*/ 0 h 553"/>
                  <a:gd name="T34" fmla="*/ 0 w 736"/>
                  <a:gd name="T35" fmla="*/ 0 h 553"/>
                  <a:gd name="T36" fmla="*/ 0 w 736"/>
                  <a:gd name="T37" fmla="*/ 0 h 553"/>
                  <a:gd name="T38" fmla="*/ 0 w 736"/>
                  <a:gd name="T39" fmla="*/ 0 h 553"/>
                  <a:gd name="T40" fmla="*/ 0 w 736"/>
                  <a:gd name="T41" fmla="*/ 0 h 553"/>
                  <a:gd name="T42" fmla="*/ 0 w 736"/>
                  <a:gd name="T43" fmla="*/ 0 h 553"/>
                  <a:gd name="T44" fmla="*/ 0 w 736"/>
                  <a:gd name="T45" fmla="*/ 0 h 553"/>
                  <a:gd name="T46" fmla="*/ 0 w 736"/>
                  <a:gd name="T47" fmla="*/ 0 h 553"/>
                  <a:gd name="T48" fmla="*/ 0 w 736"/>
                  <a:gd name="T49" fmla="*/ 0 h 553"/>
                  <a:gd name="T50" fmla="*/ 0 w 736"/>
                  <a:gd name="T51" fmla="*/ 0 h 553"/>
                  <a:gd name="T52" fmla="*/ 0 w 736"/>
                  <a:gd name="T53" fmla="*/ 0 h 553"/>
                  <a:gd name="T54" fmla="*/ 0 w 736"/>
                  <a:gd name="T55" fmla="*/ 0 h 553"/>
                  <a:gd name="T56" fmla="*/ 0 w 736"/>
                  <a:gd name="T57" fmla="*/ 0 h 553"/>
                  <a:gd name="T58" fmla="*/ 0 w 736"/>
                  <a:gd name="T59" fmla="*/ 0 h 553"/>
                  <a:gd name="T60" fmla="*/ 0 w 736"/>
                  <a:gd name="T61" fmla="*/ 0 h 553"/>
                  <a:gd name="T62" fmla="*/ 0 w 736"/>
                  <a:gd name="T63" fmla="*/ 0 h 553"/>
                  <a:gd name="T64" fmla="*/ 0 w 736"/>
                  <a:gd name="T65" fmla="*/ 0 h 553"/>
                  <a:gd name="T66" fmla="*/ 0 w 736"/>
                  <a:gd name="T67" fmla="*/ 0 h 553"/>
                  <a:gd name="T68" fmla="*/ 0 w 736"/>
                  <a:gd name="T69" fmla="*/ 0 h 553"/>
                  <a:gd name="T70" fmla="*/ 0 w 736"/>
                  <a:gd name="T71" fmla="*/ 0 h 553"/>
                  <a:gd name="T72" fmla="*/ 0 w 736"/>
                  <a:gd name="T73" fmla="*/ 0 h 553"/>
                  <a:gd name="T74" fmla="*/ 0 w 736"/>
                  <a:gd name="T75" fmla="*/ 0 h 553"/>
                  <a:gd name="T76" fmla="*/ 0 w 736"/>
                  <a:gd name="T77" fmla="*/ 0 h 553"/>
                  <a:gd name="T78" fmla="*/ 0 w 736"/>
                  <a:gd name="T79" fmla="*/ 0 h 553"/>
                  <a:gd name="T80" fmla="*/ 0 w 736"/>
                  <a:gd name="T81" fmla="*/ 0 h 553"/>
                  <a:gd name="T82" fmla="*/ 0 w 736"/>
                  <a:gd name="T83" fmla="*/ 0 h 553"/>
                  <a:gd name="T84" fmla="*/ 0 w 736"/>
                  <a:gd name="T85" fmla="*/ 0 h 553"/>
                  <a:gd name="T86" fmla="*/ 0 w 736"/>
                  <a:gd name="T87" fmla="*/ 0 h 553"/>
                  <a:gd name="T88" fmla="*/ 0 w 736"/>
                  <a:gd name="T89" fmla="*/ 0 h 553"/>
                  <a:gd name="T90" fmla="*/ 0 w 736"/>
                  <a:gd name="T91" fmla="*/ 0 h 553"/>
                  <a:gd name="T92" fmla="*/ 0 w 736"/>
                  <a:gd name="T93" fmla="*/ 0 h 553"/>
                  <a:gd name="T94" fmla="*/ 0 w 736"/>
                  <a:gd name="T95" fmla="*/ 0 h 553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36"/>
                  <a:gd name="T145" fmla="*/ 0 h 553"/>
                  <a:gd name="T146" fmla="*/ 736 w 736"/>
                  <a:gd name="T147" fmla="*/ 553 h 553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36" h="553">
                    <a:moveTo>
                      <a:pt x="605" y="12"/>
                    </a:moveTo>
                    <a:lnTo>
                      <a:pt x="594" y="16"/>
                    </a:lnTo>
                    <a:lnTo>
                      <a:pt x="582" y="22"/>
                    </a:lnTo>
                    <a:lnTo>
                      <a:pt x="572" y="27"/>
                    </a:lnTo>
                    <a:lnTo>
                      <a:pt x="562" y="34"/>
                    </a:lnTo>
                    <a:lnTo>
                      <a:pt x="552" y="41"/>
                    </a:lnTo>
                    <a:lnTo>
                      <a:pt x="544" y="48"/>
                    </a:lnTo>
                    <a:lnTo>
                      <a:pt x="535" y="57"/>
                    </a:lnTo>
                    <a:lnTo>
                      <a:pt x="528" y="65"/>
                    </a:lnTo>
                    <a:lnTo>
                      <a:pt x="520" y="73"/>
                    </a:lnTo>
                    <a:lnTo>
                      <a:pt x="513" y="83"/>
                    </a:lnTo>
                    <a:lnTo>
                      <a:pt x="507" y="92"/>
                    </a:lnTo>
                    <a:lnTo>
                      <a:pt x="501" y="101"/>
                    </a:lnTo>
                    <a:lnTo>
                      <a:pt x="492" y="121"/>
                    </a:lnTo>
                    <a:lnTo>
                      <a:pt x="483" y="139"/>
                    </a:lnTo>
                    <a:lnTo>
                      <a:pt x="480" y="150"/>
                    </a:lnTo>
                    <a:lnTo>
                      <a:pt x="478" y="163"/>
                    </a:lnTo>
                    <a:lnTo>
                      <a:pt x="477" y="179"/>
                    </a:lnTo>
                    <a:lnTo>
                      <a:pt x="477" y="195"/>
                    </a:lnTo>
                    <a:lnTo>
                      <a:pt x="477" y="235"/>
                    </a:lnTo>
                    <a:lnTo>
                      <a:pt x="479" y="276"/>
                    </a:lnTo>
                    <a:lnTo>
                      <a:pt x="482" y="317"/>
                    </a:lnTo>
                    <a:lnTo>
                      <a:pt x="485" y="355"/>
                    </a:lnTo>
                    <a:lnTo>
                      <a:pt x="488" y="387"/>
                    </a:lnTo>
                    <a:lnTo>
                      <a:pt x="492" y="408"/>
                    </a:lnTo>
                    <a:lnTo>
                      <a:pt x="494" y="422"/>
                    </a:lnTo>
                    <a:lnTo>
                      <a:pt x="496" y="434"/>
                    </a:lnTo>
                    <a:lnTo>
                      <a:pt x="497" y="446"/>
                    </a:lnTo>
                    <a:lnTo>
                      <a:pt x="497" y="456"/>
                    </a:lnTo>
                    <a:lnTo>
                      <a:pt x="496" y="467"/>
                    </a:lnTo>
                    <a:lnTo>
                      <a:pt x="493" y="478"/>
                    </a:lnTo>
                    <a:lnTo>
                      <a:pt x="486" y="490"/>
                    </a:lnTo>
                    <a:lnTo>
                      <a:pt x="478" y="504"/>
                    </a:lnTo>
                    <a:lnTo>
                      <a:pt x="474" y="510"/>
                    </a:lnTo>
                    <a:lnTo>
                      <a:pt x="469" y="514"/>
                    </a:lnTo>
                    <a:lnTo>
                      <a:pt x="464" y="518"/>
                    </a:lnTo>
                    <a:lnTo>
                      <a:pt x="457" y="520"/>
                    </a:lnTo>
                    <a:lnTo>
                      <a:pt x="450" y="522"/>
                    </a:lnTo>
                    <a:lnTo>
                      <a:pt x="443" y="522"/>
                    </a:lnTo>
                    <a:lnTo>
                      <a:pt x="436" y="522"/>
                    </a:lnTo>
                    <a:lnTo>
                      <a:pt x="428" y="521"/>
                    </a:lnTo>
                    <a:lnTo>
                      <a:pt x="421" y="520"/>
                    </a:lnTo>
                    <a:lnTo>
                      <a:pt x="414" y="518"/>
                    </a:lnTo>
                    <a:lnTo>
                      <a:pt x="407" y="515"/>
                    </a:lnTo>
                    <a:lnTo>
                      <a:pt x="401" y="511"/>
                    </a:lnTo>
                    <a:lnTo>
                      <a:pt x="394" y="507"/>
                    </a:lnTo>
                    <a:lnTo>
                      <a:pt x="388" y="502"/>
                    </a:lnTo>
                    <a:lnTo>
                      <a:pt x="383" y="497"/>
                    </a:lnTo>
                    <a:lnTo>
                      <a:pt x="379" y="491"/>
                    </a:lnTo>
                    <a:lnTo>
                      <a:pt x="372" y="479"/>
                    </a:lnTo>
                    <a:lnTo>
                      <a:pt x="365" y="464"/>
                    </a:lnTo>
                    <a:lnTo>
                      <a:pt x="360" y="450"/>
                    </a:lnTo>
                    <a:lnTo>
                      <a:pt x="357" y="434"/>
                    </a:lnTo>
                    <a:lnTo>
                      <a:pt x="351" y="403"/>
                    </a:lnTo>
                    <a:lnTo>
                      <a:pt x="346" y="373"/>
                    </a:lnTo>
                    <a:lnTo>
                      <a:pt x="342" y="355"/>
                    </a:lnTo>
                    <a:lnTo>
                      <a:pt x="338" y="337"/>
                    </a:lnTo>
                    <a:lnTo>
                      <a:pt x="332" y="320"/>
                    </a:lnTo>
                    <a:lnTo>
                      <a:pt x="326" y="304"/>
                    </a:lnTo>
                    <a:lnTo>
                      <a:pt x="320" y="287"/>
                    </a:lnTo>
                    <a:lnTo>
                      <a:pt x="312" y="271"/>
                    </a:lnTo>
                    <a:lnTo>
                      <a:pt x="302" y="254"/>
                    </a:lnTo>
                    <a:lnTo>
                      <a:pt x="292" y="239"/>
                    </a:lnTo>
                    <a:lnTo>
                      <a:pt x="277" y="217"/>
                    </a:lnTo>
                    <a:lnTo>
                      <a:pt x="259" y="197"/>
                    </a:lnTo>
                    <a:lnTo>
                      <a:pt x="250" y="188"/>
                    </a:lnTo>
                    <a:lnTo>
                      <a:pt x="240" y="179"/>
                    </a:lnTo>
                    <a:lnTo>
                      <a:pt x="230" y="170"/>
                    </a:lnTo>
                    <a:lnTo>
                      <a:pt x="220" y="162"/>
                    </a:lnTo>
                    <a:lnTo>
                      <a:pt x="209" y="155"/>
                    </a:lnTo>
                    <a:lnTo>
                      <a:pt x="197" y="149"/>
                    </a:lnTo>
                    <a:lnTo>
                      <a:pt x="186" y="143"/>
                    </a:lnTo>
                    <a:lnTo>
                      <a:pt x="172" y="137"/>
                    </a:lnTo>
                    <a:lnTo>
                      <a:pt x="159" y="132"/>
                    </a:lnTo>
                    <a:lnTo>
                      <a:pt x="145" y="128"/>
                    </a:lnTo>
                    <a:lnTo>
                      <a:pt x="131" y="125"/>
                    </a:lnTo>
                    <a:lnTo>
                      <a:pt x="115" y="123"/>
                    </a:lnTo>
                    <a:lnTo>
                      <a:pt x="103" y="122"/>
                    </a:lnTo>
                    <a:lnTo>
                      <a:pt x="91" y="122"/>
                    </a:lnTo>
                    <a:lnTo>
                      <a:pt x="79" y="123"/>
                    </a:lnTo>
                    <a:lnTo>
                      <a:pt x="68" y="125"/>
                    </a:lnTo>
                    <a:lnTo>
                      <a:pt x="58" y="128"/>
                    </a:lnTo>
                    <a:lnTo>
                      <a:pt x="48" y="132"/>
                    </a:lnTo>
                    <a:lnTo>
                      <a:pt x="39" y="137"/>
                    </a:lnTo>
                    <a:lnTo>
                      <a:pt x="31" y="143"/>
                    </a:lnTo>
                    <a:lnTo>
                      <a:pt x="22" y="150"/>
                    </a:lnTo>
                    <a:lnTo>
                      <a:pt x="16" y="157"/>
                    </a:lnTo>
                    <a:lnTo>
                      <a:pt x="11" y="164"/>
                    </a:lnTo>
                    <a:lnTo>
                      <a:pt x="6" y="174"/>
                    </a:lnTo>
                    <a:lnTo>
                      <a:pt x="3" y="183"/>
                    </a:lnTo>
                    <a:lnTo>
                      <a:pt x="1" y="192"/>
                    </a:lnTo>
                    <a:lnTo>
                      <a:pt x="0" y="203"/>
                    </a:lnTo>
                    <a:lnTo>
                      <a:pt x="1" y="213"/>
                    </a:lnTo>
                    <a:lnTo>
                      <a:pt x="2" y="211"/>
                    </a:lnTo>
                    <a:lnTo>
                      <a:pt x="8" y="205"/>
                    </a:lnTo>
                    <a:lnTo>
                      <a:pt x="16" y="196"/>
                    </a:lnTo>
                    <a:lnTo>
                      <a:pt x="29" y="186"/>
                    </a:lnTo>
                    <a:lnTo>
                      <a:pt x="36" y="182"/>
                    </a:lnTo>
                    <a:lnTo>
                      <a:pt x="44" y="178"/>
                    </a:lnTo>
                    <a:lnTo>
                      <a:pt x="52" y="174"/>
                    </a:lnTo>
                    <a:lnTo>
                      <a:pt x="62" y="169"/>
                    </a:lnTo>
                    <a:lnTo>
                      <a:pt x="72" y="167"/>
                    </a:lnTo>
                    <a:lnTo>
                      <a:pt x="83" y="166"/>
                    </a:lnTo>
                    <a:lnTo>
                      <a:pt x="95" y="165"/>
                    </a:lnTo>
                    <a:lnTo>
                      <a:pt x="106" y="166"/>
                    </a:lnTo>
                    <a:lnTo>
                      <a:pt x="120" y="169"/>
                    </a:lnTo>
                    <a:lnTo>
                      <a:pt x="132" y="174"/>
                    </a:lnTo>
                    <a:lnTo>
                      <a:pt x="146" y="180"/>
                    </a:lnTo>
                    <a:lnTo>
                      <a:pt x="161" y="187"/>
                    </a:lnTo>
                    <a:lnTo>
                      <a:pt x="175" y="197"/>
                    </a:lnTo>
                    <a:lnTo>
                      <a:pt x="191" y="211"/>
                    </a:lnTo>
                    <a:lnTo>
                      <a:pt x="206" y="226"/>
                    </a:lnTo>
                    <a:lnTo>
                      <a:pt x="223" y="244"/>
                    </a:lnTo>
                    <a:lnTo>
                      <a:pt x="239" y="266"/>
                    </a:lnTo>
                    <a:lnTo>
                      <a:pt x="256" y="289"/>
                    </a:lnTo>
                    <a:lnTo>
                      <a:pt x="273" y="317"/>
                    </a:lnTo>
                    <a:lnTo>
                      <a:pt x="291" y="347"/>
                    </a:lnTo>
                    <a:lnTo>
                      <a:pt x="310" y="382"/>
                    </a:lnTo>
                    <a:lnTo>
                      <a:pt x="328" y="421"/>
                    </a:lnTo>
                    <a:lnTo>
                      <a:pt x="347" y="463"/>
                    </a:lnTo>
                    <a:lnTo>
                      <a:pt x="365" y="510"/>
                    </a:lnTo>
                    <a:lnTo>
                      <a:pt x="369" y="517"/>
                    </a:lnTo>
                    <a:lnTo>
                      <a:pt x="373" y="523"/>
                    </a:lnTo>
                    <a:lnTo>
                      <a:pt x="377" y="529"/>
                    </a:lnTo>
                    <a:lnTo>
                      <a:pt x="381" y="533"/>
                    </a:lnTo>
                    <a:lnTo>
                      <a:pt x="386" y="539"/>
                    </a:lnTo>
                    <a:lnTo>
                      <a:pt x="391" y="542"/>
                    </a:lnTo>
                    <a:lnTo>
                      <a:pt x="397" y="545"/>
                    </a:lnTo>
                    <a:lnTo>
                      <a:pt x="404" y="548"/>
                    </a:lnTo>
                    <a:lnTo>
                      <a:pt x="410" y="550"/>
                    </a:lnTo>
                    <a:lnTo>
                      <a:pt x="416" y="551"/>
                    </a:lnTo>
                    <a:lnTo>
                      <a:pt x="422" y="552"/>
                    </a:lnTo>
                    <a:lnTo>
                      <a:pt x="430" y="553"/>
                    </a:lnTo>
                    <a:lnTo>
                      <a:pt x="443" y="552"/>
                    </a:lnTo>
                    <a:lnTo>
                      <a:pt x="456" y="551"/>
                    </a:lnTo>
                    <a:lnTo>
                      <a:pt x="470" y="547"/>
                    </a:lnTo>
                    <a:lnTo>
                      <a:pt x="481" y="543"/>
                    </a:lnTo>
                    <a:lnTo>
                      <a:pt x="493" y="537"/>
                    </a:lnTo>
                    <a:lnTo>
                      <a:pt x="503" y="529"/>
                    </a:lnTo>
                    <a:lnTo>
                      <a:pt x="511" y="522"/>
                    </a:lnTo>
                    <a:lnTo>
                      <a:pt x="516" y="514"/>
                    </a:lnTo>
                    <a:lnTo>
                      <a:pt x="518" y="509"/>
                    </a:lnTo>
                    <a:lnTo>
                      <a:pt x="520" y="504"/>
                    </a:lnTo>
                    <a:lnTo>
                      <a:pt x="521" y="500"/>
                    </a:lnTo>
                    <a:lnTo>
                      <a:pt x="521" y="495"/>
                    </a:lnTo>
                    <a:lnTo>
                      <a:pt x="518" y="453"/>
                    </a:lnTo>
                    <a:lnTo>
                      <a:pt x="517" y="413"/>
                    </a:lnTo>
                    <a:lnTo>
                      <a:pt x="517" y="375"/>
                    </a:lnTo>
                    <a:lnTo>
                      <a:pt x="518" y="341"/>
                    </a:lnTo>
                    <a:lnTo>
                      <a:pt x="520" y="308"/>
                    </a:lnTo>
                    <a:lnTo>
                      <a:pt x="525" y="278"/>
                    </a:lnTo>
                    <a:lnTo>
                      <a:pt x="529" y="250"/>
                    </a:lnTo>
                    <a:lnTo>
                      <a:pt x="534" y="224"/>
                    </a:lnTo>
                    <a:lnTo>
                      <a:pt x="540" y="200"/>
                    </a:lnTo>
                    <a:lnTo>
                      <a:pt x="547" y="179"/>
                    </a:lnTo>
                    <a:lnTo>
                      <a:pt x="556" y="159"/>
                    </a:lnTo>
                    <a:lnTo>
                      <a:pt x="564" y="141"/>
                    </a:lnTo>
                    <a:lnTo>
                      <a:pt x="573" y="125"/>
                    </a:lnTo>
                    <a:lnTo>
                      <a:pt x="582" y="111"/>
                    </a:lnTo>
                    <a:lnTo>
                      <a:pt x="592" y="97"/>
                    </a:lnTo>
                    <a:lnTo>
                      <a:pt x="602" y="86"/>
                    </a:lnTo>
                    <a:lnTo>
                      <a:pt x="612" y="76"/>
                    </a:lnTo>
                    <a:lnTo>
                      <a:pt x="623" y="68"/>
                    </a:lnTo>
                    <a:lnTo>
                      <a:pt x="633" y="61"/>
                    </a:lnTo>
                    <a:lnTo>
                      <a:pt x="643" y="55"/>
                    </a:lnTo>
                    <a:lnTo>
                      <a:pt x="654" y="50"/>
                    </a:lnTo>
                    <a:lnTo>
                      <a:pt x="663" y="46"/>
                    </a:lnTo>
                    <a:lnTo>
                      <a:pt x="673" y="43"/>
                    </a:lnTo>
                    <a:lnTo>
                      <a:pt x="683" y="42"/>
                    </a:lnTo>
                    <a:lnTo>
                      <a:pt x="692" y="41"/>
                    </a:lnTo>
                    <a:lnTo>
                      <a:pt x="700" y="41"/>
                    </a:lnTo>
                    <a:lnTo>
                      <a:pt x="709" y="42"/>
                    </a:lnTo>
                    <a:lnTo>
                      <a:pt x="716" y="43"/>
                    </a:lnTo>
                    <a:lnTo>
                      <a:pt x="722" y="45"/>
                    </a:lnTo>
                    <a:lnTo>
                      <a:pt x="727" y="47"/>
                    </a:lnTo>
                    <a:lnTo>
                      <a:pt x="732" y="51"/>
                    </a:lnTo>
                    <a:lnTo>
                      <a:pt x="736" y="54"/>
                    </a:lnTo>
                    <a:lnTo>
                      <a:pt x="736" y="42"/>
                    </a:lnTo>
                    <a:lnTo>
                      <a:pt x="734" y="33"/>
                    </a:lnTo>
                    <a:lnTo>
                      <a:pt x="731" y="25"/>
                    </a:lnTo>
                    <a:lnTo>
                      <a:pt x="727" y="17"/>
                    </a:lnTo>
                    <a:lnTo>
                      <a:pt x="721" y="12"/>
                    </a:lnTo>
                    <a:lnTo>
                      <a:pt x="713" y="7"/>
                    </a:lnTo>
                    <a:lnTo>
                      <a:pt x="704" y="4"/>
                    </a:lnTo>
                    <a:lnTo>
                      <a:pt x="695" y="2"/>
                    </a:lnTo>
                    <a:lnTo>
                      <a:pt x="685" y="1"/>
                    </a:lnTo>
                    <a:lnTo>
                      <a:pt x="674" y="0"/>
                    </a:lnTo>
                    <a:lnTo>
                      <a:pt x="663" y="0"/>
                    </a:lnTo>
                    <a:lnTo>
                      <a:pt x="652" y="2"/>
                    </a:lnTo>
                    <a:lnTo>
                      <a:pt x="639" y="3"/>
                    </a:lnTo>
                    <a:lnTo>
                      <a:pt x="628" y="6"/>
                    </a:lnTo>
                    <a:lnTo>
                      <a:pt x="617" y="8"/>
                    </a:lnTo>
                    <a:lnTo>
                      <a:pt x="605" y="12"/>
                    </a:lnTo>
                    <a:close/>
                  </a:path>
                </a:pathLst>
              </a:custGeom>
              <a:solidFill>
                <a:srgbClr val="F1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65" name="Freeform 141"/>
              <p:cNvSpPr>
                <a:spLocks/>
              </p:cNvSpPr>
              <p:nvPr/>
            </p:nvSpPr>
            <p:spPr bwMode="auto">
              <a:xfrm>
                <a:off x="3727" y="1857"/>
                <a:ext cx="106" cy="56"/>
              </a:xfrm>
              <a:custGeom>
                <a:avLst/>
                <a:gdLst>
                  <a:gd name="T0" fmla="*/ 0 w 742"/>
                  <a:gd name="T1" fmla="*/ 0 h 393"/>
                  <a:gd name="T2" fmla="*/ 0 w 742"/>
                  <a:gd name="T3" fmla="*/ 0 h 393"/>
                  <a:gd name="T4" fmla="*/ 0 w 742"/>
                  <a:gd name="T5" fmla="*/ 0 h 393"/>
                  <a:gd name="T6" fmla="*/ 0 w 742"/>
                  <a:gd name="T7" fmla="*/ 0 h 393"/>
                  <a:gd name="T8" fmla="*/ 0 w 742"/>
                  <a:gd name="T9" fmla="*/ 0 h 393"/>
                  <a:gd name="T10" fmla="*/ 0 w 742"/>
                  <a:gd name="T11" fmla="*/ 0 h 393"/>
                  <a:gd name="T12" fmla="*/ 0 w 742"/>
                  <a:gd name="T13" fmla="*/ 0 h 393"/>
                  <a:gd name="T14" fmla="*/ 0 w 742"/>
                  <a:gd name="T15" fmla="*/ 0 h 393"/>
                  <a:gd name="T16" fmla="*/ 0 w 742"/>
                  <a:gd name="T17" fmla="*/ 0 h 393"/>
                  <a:gd name="T18" fmla="*/ 0 w 742"/>
                  <a:gd name="T19" fmla="*/ 0 h 393"/>
                  <a:gd name="T20" fmla="*/ 0 w 742"/>
                  <a:gd name="T21" fmla="*/ 0 h 393"/>
                  <a:gd name="T22" fmla="*/ 0 w 742"/>
                  <a:gd name="T23" fmla="*/ 0 h 393"/>
                  <a:gd name="T24" fmla="*/ 0 w 742"/>
                  <a:gd name="T25" fmla="*/ 0 h 393"/>
                  <a:gd name="T26" fmla="*/ 0 w 742"/>
                  <a:gd name="T27" fmla="*/ 0 h 393"/>
                  <a:gd name="T28" fmla="*/ 0 w 742"/>
                  <a:gd name="T29" fmla="*/ 0 h 393"/>
                  <a:gd name="T30" fmla="*/ 0 w 742"/>
                  <a:gd name="T31" fmla="*/ 0 h 393"/>
                  <a:gd name="T32" fmla="*/ 0 w 742"/>
                  <a:gd name="T33" fmla="*/ 0 h 393"/>
                  <a:gd name="T34" fmla="*/ 0 w 742"/>
                  <a:gd name="T35" fmla="*/ 0 h 393"/>
                  <a:gd name="T36" fmla="*/ 0 w 742"/>
                  <a:gd name="T37" fmla="*/ 0 h 393"/>
                  <a:gd name="T38" fmla="*/ 0 w 742"/>
                  <a:gd name="T39" fmla="*/ 0 h 393"/>
                  <a:gd name="T40" fmla="*/ 0 w 742"/>
                  <a:gd name="T41" fmla="*/ 0 h 393"/>
                  <a:gd name="T42" fmla="*/ 0 w 742"/>
                  <a:gd name="T43" fmla="*/ 0 h 393"/>
                  <a:gd name="T44" fmla="*/ 0 w 742"/>
                  <a:gd name="T45" fmla="*/ 0 h 393"/>
                  <a:gd name="T46" fmla="*/ 0 w 742"/>
                  <a:gd name="T47" fmla="*/ 0 h 393"/>
                  <a:gd name="T48" fmla="*/ 0 w 742"/>
                  <a:gd name="T49" fmla="*/ 0 h 393"/>
                  <a:gd name="T50" fmla="*/ 0 w 742"/>
                  <a:gd name="T51" fmla="*/ 0 h 393"/>
                  <a:gd name="T52" fmla="*/ 0 w 742"/>
                  <a:gd name="T53" fmla="*/ 0 h 393"/>
                  <a:gd name="T54" fmla="*/ 0 w 742"/>
                  <a:gd name="T55" fmla="*/ 0 h 393"/>
                  <a:gd name="T56" fmla="*/ 0 w 742"/>
                  <a:gd name="T57" fmla="*/ 0 h 393"/>
                  <a:gd name="T58" fmla="*/ 0 w 742"/>
                  <a:gd name="T59" fmla="*/ 0 h 393"/>
                  <a:gd name="T60" fmla="*/ 0 w 742"/>
                  <a:gd name="T61" fmla="*/ 0 h 393"/>
                  <a:gd name="T62" fmla="*/ 0 w 742"/>
                  <a:gd name="T63" fmla="*/ 0 h 393"/>
                  <a:gd name="T64" fmla="*/ 0 w 742"/>
                  <a:gd name="T65" fmla="*/ 0 h 393"/>
                  <a:gd name="T66" fmla="*/ 0 w 742"/>
                  <a:gd name="T67" fmla="*/ 0 h 393"/>
                  <a:gd name="T68" fmla="*/ 0 w 742"/>
                  <a:gd name="T69" fmla="*/ 0 h 393"/>
                  <a:gd name="T70" fmla="*/ 0 w 742"/>
                  <a:gd name="T71" fmla="*/ 0 h 393"/>
                  <a:gd name="T72" fmla="*/ 0 w 742"/>
                  <a:gd name="T73" fmla="*/ 0 h 393"/>
                  <a:gd name="T74" fmla="*/ 0 w 742"/>
                  <a:gd name="T75" fmla="*/ 0 h 393"/>
                  <a:gd name="T76" fmla="*/ 0 w 742"/>
                  <a:gd name="T77" fmla="*/ 0 h 393"/>
                  <a:gd name="T78" fmla="*/ 0 w 742"/>
                  <a:gd name="T79" fmla="*/ 0 h 393"/>
                  <a:gd name="T80" fmla="*/ 0 w 742"/>
                  <a:gd name="T81" fmla="*/ 0 h 393"/>
                  <a:gd name="T82" fmla="*/ 0 w 742"/>
                  <a:gd name="T83" fmla="*/ 0 h 393"/>
                  <a:gd name="T84" fmla="*/ 0 w 742"/>
                  <a:gd name="T85" fmla="*/ 0 h 393"/>
                  <a:gd name="T86" fmla="*/ 0 w 742"/>
                  <a:gd name="T87" fmla="*/ 0 h 393"/>
                  <a:gd name="T88" fmla="*/ 0 w 742"/>
                  <a:gd name="T89" fmla="*/ 0 h 393"/>
                  <a:gd name="T90" fmla="*/ 0 w 742"/>
                  <a:gd name="T91" fmla="*/ 0 h 393"/>
                  <a:gd name="T92" fmla="*/ 0 w 742"/>
                  <a:gd name="T93" fmla="*/ 0 h 393"/>
                  <a:gd name="T94" fmla="*/ 0 w 742"/>
                  <a:gd name="T95" fmla="*/ 0 h 393"/>
                  <a:gd name="T96" fmla="*/ 0 w 742"/>
                  <a:gd name="T97" fmla="*/ 0 h 393"/>
                  <a:gd name="T98" fmla="*/ 0 w 742"/>
                  <a:gd name="T99" fmla="*/ 0 h 393"/>
                  <a:gd name="T100" fmla="*/ 0 w 742"/>
                  <a:gd name="T101" fmla="*/ 0 h 393"/>
                  <a:gd name="T102" fmla="*/ 0 w 742"/>
                  <a:gd name="T103" fmla="*/ 0 h 393"/>
                  <a:gd name="T104" fmla="*/ 0 w 742"/>
                  <a:gd name="T105" fmla="*/ 0 h 393"/>
                  <a:gd name="T106" fmla="*/ 0 w 742"/>
                  <a:gd name="T107" fmla="*/ 0 h 393"/>
                  <a:gd name="T108" fmla="*/ 0 w 742"/>
                  <a:gd name="T109" fmla="*/ 0 h 393"/>
                  <a:gd name="T110" fmla="*/ 0 w 742"/>
                  <a:gd name="T111" fmla="*/ 0 h 393"/>
                  <a:gd name="T112" fmla="*/ 0 w 742"/>
                  <a:gd name="T113" fmla="*/ 0 h 393"/>
                  <a:gd name="T114" fmla="*/ 0 w 742"/>
                  <a:gd name="T115" fmla="*/ 0 h 393"/>
                  <a:gd name="T116" fmla="*/ 0 w 742"/>
                  <a:gd name="T117" fmla="*/ 0 h 393"/>
                  <a:gd name="T118" fmla="*/ 0 w 742"/>
                  <a:gd name="T119" fmla="*/ 0 h 393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42"/>
                  <a:gd name="T181" fmla="*/ 0 h 393"/>
                  <a:gd name="T182" fmla="*/ 742 w 742"/>
                  <a:gd name="T183" fmla="*/ 393 h 393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42" h="393">
                    <a:moveTo>
                      <a:pt x="536" y="46"/>
                    </a:moveTo>
                    <a:lnTo>
                      <a:pt x="530" y="51"/>
                    </a:lnTo>
                    <a:lnTo>
                      <a:pt x="522" y="58"/>
                    </a:lnTo>
                    <a:lnTo>
                      <a:pt x="516" y="66"/>
                    </a:lnTo>
                    <a:lnTo>
                      <a:pt x="511" y="73"/>
                    </a:lnTo>
                    <a:lnTo>
                      <a:pt x="507" y="82"/>
                    </a:lnTo>
                    <a:lnTo>
                      <a:pt x="504" y="91"/>
                    </a:lnTo>
                    <a:lnTo>
                      <a:pt x="501" y="101"/>
                    </a:lnTo>
                    <a:lnTo>
                      <a:pt x="500" y="110"/>
                    </a:lnTo>
                    <a:lnTo>
                      <a:pt x="500" y="119"/>
                    </a:lnTo>
                    <a:lnTo>
                      <a:pt x="501" y="127"/>
                    </a:lnTo>
                    <a:lnTo>
                      <a:pt x="503" y="133"/>
                    </a:lnTo>
                    <a:lnTo>
                      <a:pt x="505" y="139"/>
                    </a:lnTo>
                    <a:lnTo>
                      <a:pt x="508" y="145"/>
                    </a:lnTo>
                    <a:lnTo>
                      <a:pt x="512" y="150"/>
                    </a:lnTo>
                    <a:lnTo>
                      <a:pt x="517" y="156"/>
                    </a:lnTo>
                    <a:lnTo>
                      <a:pt x="522" y="160"/>
                    </a:lnTo>
                    <a:lnTo>
                      <a:pt x="529" y="163"/>
                    </a:lnTo>
                    <a:lnTo>
                      <a:pt x="537" y="167"/>
                    </a:lnTo>
                    <a:lnTo>
                      <a:pt x="547" y="169"/>
                    </a:lnTo>
                    <a:lnTo>
                      <a:pt x="556" y="170"/>
                    </a:lnTo>
                    <a:lnTo>
                      <a:pt x="568" y="170"/>
                    </a:lnTo>
                    <a:lnTo>
                      <a:pt x="578" y="169"/>
                    </a:lnTo>
                    <a:lnTo>
                      <a:pt x="588" y="166"/>
                    </a:lnTo>
                    <a:lnTo>
                      <a:pt x="599" y="163"/>
                    </a:lnTo>
                    <a:lnTo>
                      <a:pt x="609" y="158"/>
                    </a:lnTo>
                    <a:lnTo>
                      <a:pt x="616" y="153"/>
                    </a:lnTo>
                    <a:lnTo>
                      <a:pt x="623" y="149"/>
                    </a:lnTo>
                    <a:lnTo>
                      <a:pt x="628" y="143"/>
                    </a:lnTo>
                    <a:lnTo>
                      <a:pt x="632" y="138"/>
                    </a:lnTo>
                    <a:lnTo>
                      <a:pt x="634" y="132"/>
                    </a:lnTo>
                    <a:lnTo>
                      <a:pt x="636" y="126"/>
                    </a:lnTo>
                    <a:lnTo>
                      <a:pt x="637" y="119"/>
                    </a:lnTo>
                    <a:lnTo>
                      <a:pt x="637" y="112"/>
                    </a:lnTo>
                    <a:lnTo>
                      <a:pt x="635" y="107"/>
                    </a:lnTo>
                    <a:lnTo>
                      <a:pt x="633" y="102"/>
                    </a:lnTo>
                    <a:lnTo>
                      <a:pt x="630" y="97"/>
                    </a:lnTo>
                    <a:lnTo>
                      <a:pt x="627" y="92"/>
                    </a:lnTo>
                    <a:lnTo>
                      <a:pt x="622" y="88"/>
                    </a:lnTo>
                    <a:lnTo>
                      <a:pt x="616" y="85"/>
                    </a:lnTo>
                    <a:lnTo>
                      <a:pt x="610" y="83"/>
                    </a:lnTo>
                    <a:lnTo>
                      <a:pt x="604" y="81"/>
                    </a:lnTo>
                    <a:lnTo>
                      <a:pt x="598" y="80"/>
                    </a:lnTo>
                    <a:lnTo>
                      <a:pt x="592" y="80"/>
                    </a:lnTo>
                    <a:lnTo>
                      <a:pt x="585" y="81"/>
                    </a:lnTo>
                    <a:lnTo>
                      <a:pt x="579" y="82"/>
                    </a:lnTo>
                    <a:lnTo>
                      <a:pt x="573" y="83"/>
                    </a:lnTo>
                    <a:lnTo>
                      <a:pt x="568" y="85"/>
                    </a:lnTo>
                    <a:lnTo>
                      <a:pt x="563" y="88"/>
                    </a:lnTo>
                    <a:lnTo>
                      <a:pt x="558" y="91"/>
                    </a:lnTo>
                    <a:lnTo>
                      <a:pt x="555" y="95"/>
                    </a:lnTo>
                    <a:lnTo>
                      <a:pt x="553" y="98"/>
                    </a:lnTo>
                    <a:lnTo>
                      <a:pt x="551" y="101"/>
                    </a:lnTo>
                    <a:lnTo>
                      <a:pt x="550" y="104"/>
                    </a:lnTo>
                    <a:lnTo>
                      <a:pt x="550" y="108"/>
                    </a:lnTo>
                    <a:lnTo>
                      <a:pt x="550" y="112"/>
                    </a:lnTo>
                    <a:lnTo>
                      <a:pt x="551" y="115"/>
                    </a:lnTo>
                    <a:lnTo>
                      <a:pt x="552" y="119"/>
                    </a:lnTo>
                    <a:lnTo>
                      <a:pt x="572" y="112"/>
                    </a:lnTo>
                    <a:lnTo>
                      <a:pt x="571" y="109"/>
                    </a:lnTo>
                    <a:lnTo>
                      <a:pt x="571" y="107"/>
                    </a:lnTo>
                    <a:lnTo>
                      <a:pt x="572" y="104"/>
                    </a:lnTo>
                    <a:lnTo>
                      <a:pt x="573" y="102"/>
                    </a:lnTo>
                    <a:lnTo>
                      <a:pt x="578" y="100"/>
                    </a:lnTo>
                    <a:lnTo>
                      <a:pt x="583" y="98"/>
                    </a:lnTo>
                    <a:lnTo>
                      <a:pt x="591" y="98"/>
                    </a:lnTo>
                    <a:lnTo>
                      <a:pt x="597" y="98"/>
                    </a:lnTo>
                    <a:lnTo>
                      <a:pt x="603" y="100"/>
                    </a:lnTo>
                    <a:lnTo>
                      <a:pt x="608" y="103"/>
                    </a:lnTo>
                    <a:lnTo>
                      <a:pt x="611" y="105"/>
                    </a:lnTo>
                    <a:lnTo>
                      <a:pt x="613" y="108"/>
                    </a:lnTo>
                    <a:lnTo>
                      <a:pt x="615" y="112"/>
                    </a:lnTo>
                    <a:lnTo>
                      <a:pt x="616" y="116"/>
                    </a:lnTo>
                    <a:lnTo>
                      <a:pt x="616" y="121"/>
                    </a:lnTo>
                    <a:lnTo>
                      <a:pt x="615" y="126"/>
                    </a:lnTo>
                    <a:lnTo>
                      <a:pt x="613" y="130"/>
                    </a:lnTo>
                    <a:lnTo>
                      <a:pt x="611" y="134"/>
                    </a:lnTo>
                    <a:lnTo>
                      <a:pt x="605" y="140"/>
                    </a:lnTo>
                    <a:lnTo>
                      <a:pt x="599" y="144"/>
                    </a:lnTo>
                    <a:lnTo>
                      <a:pt x="592" y="148"/>
                    </a:lnTo>
                    <a:lnTo>
                      <a:pt x="584" y="150"/>
                    </a:lnTo>
                    <a:lnTo>
                      <a:pt x="576" y="152"/>
                    </a:lnTo>
                    <a:lnTo>
                      <a:pt x="569" y="152"/>
                    </a:lnTo>
                    <a:lnTo>
                      <a:pt x="561" y="153"/>
                    </a:lnTo>
                    <a:lnTo>
                      <a:pt x="553" y="152"/>
                    </a:lnTo>
                    <a:lnTo>
                      <a:pt x="547" y="150"/>
                    </a:lnTo>
                    <a:lnTo>
                      <a:pt x="541" y="148"/>
                    </a:lnTo>
                    <a:lnTo>
                      <a:pt x="536" y="145"/>
                    </a:lnTo>
                    <a:lnTo>
                      <a:pt x="532" y="142"/>
                    </a:lnTo>
                    <a:lnTo>
                      <a:pt x="527" y="138"/>
                    </a:lnTo>
                    <a:lnTo>
                      <a:pt x="525" y="134"/>
                    </a:lnTo>
                    <a:lnTo>
                      <a:pt x="522" y="125"/>
                    </a:lnTo>
                    <a:lnTo>
                      <a:pt x="520" y="116"/>
                    </a:lnTo>
                    <a:lnTo>
                      <a:pt x="520" y="109"/>
                    </a:lnTo>
                    <a:lnTo>
                      <a:pt x="521" y="102"/>
                    </a:lnTo>
                    <a:lnTo>
                      <a:pt x="523" y="95"/>
                    </a:lnTo>
                    <a:lnTo>
                      <a:pt x="526" y="87"/>
                    </a:lnTo>
                    <a:lnTo>
                      <a:pt x="530" y="80"/>
                    </a:lnTo>
                    <a:lnTo>
                      <a:pt x="534" y="74"/>
                    </a:lnTo>
                    <a:lnTo>
                      <a:pt x="538" y="68"/>
                    </a:lnTo>
                    <a:lnTo>
                      <a:pt x="544" y="63"/>
                    </a:lnTo>
                    <a:lnTo>
                      <a:pt x="549" y="57"/>
                    </a:lnTo>
                    <a:lnTo>
                      <a:pt x="560" y="49"/>
                    </a:lnTo>
                    <a:lnTo>
                      <a:pt x="570" y="42"/>
                    </a:lnTo>
                    <a:lnTo>
                      <a:pt x="579" y="35"/>
                    </a:lnTo>
                    <a:lnTo>
                      <a:pt x="588" y="29"/>
                    </a:lnTo>
                    <a:lnTo>
                      <a:pt x="599" y="24"/>
                    </a:lnTo>
                    <a:lnTo>
                      <a:pt x="609" y="21"/>
                    </a:lnTo>
                    <a:lnTo>
                      <a:pt x="620" y="19"/>
                    </a:lnTo>
                    <a:lnTo>
                      <a:pt x="634" y="18"/>
                    </a:lnTo>
                    <a:lnTo>
                      <a:pt x="644" y="18"/>
                    </a:lnTo>
                    <a:lnTo>
                      <a:pt x="654" y="19"/>
                    </a:lnTo>
                    <a:lnTo>
                      <a:pt x="663" y="21"/>
                    </a:lnTo>
                    <a:lnTo>
                      <a:pt x="671" y="24"/>
                    </a:lnTo>
                    <a:lnTo>
                      <a:pt x="679" y="28"/>
                    </a:lnTo>
                    <a:lnTo>
                      <a:pt x="687" y="33"/>
                    </a:lnTo>
                    <a:lnTo>
                      <a:pt x="693" y="39"/>
                    </a:lnTo>
                    <a:lnTo>
                      <a:pt x="699" y="45"/>
                    </a:lnTo>
                    <a:lnTo>
                      <a:pt x="704" y="50"/>
                    </a:lnTo>
                    <a:lnTo>
                      <a:pt x="708" y="56"/>
                    </a:lnTo>
                    <a:lnTo>
                      <a:pt x="711" y="64"/>
                    </a:lnTo>
                    <a:lnTo>
                      <a:pt x="715" y="71"/>
                    </a:lnTo>
                    <a:lnTo>
                      <a:pt x="717" y="78"/>
                    </a:lnTo>
                    <a:lnTo>
                      <a:pt x="719" y="85"/>
                    </a:lnTo>
                    <a:lnTo>
                      <a:pt x="721" y="94"/>
                    </a:lnTo>
                    <a:lnTo>
                      <a:pt x="722" y="101"/>
                    </a:lnTo>
                    <a:lnTo>
                      <a:pt x="722" y="118"/>
                    </a:lnTo>
                    <a:lnTo>
                      <a:pt x="721" y="135"/>
                    </a:lnTo>
                    <a:lnTo>
                      <a:pt x="719" y="143"/>
                    </a:lnTo>
                    <a:lnTo>
                      <a:pt x="717" y="151"/>
                    </a:lnTo>
                    <a:lnTo>
                      <a:pt x="715" y="160"/>
                    </a:lnTo>
                    <a:lnTo>
                      <a:pt x="711" y="168"/>
                    </a:lnTo>
                    <a:lnTo>
                      <a:pt x="706" y="179"/>
                    </a:lnTo>
                    <a:lnTo>
                      <a:pt x="700" y="191"/>
                    </a:lnTo>
                    <a:lnTo>
                      <a:pt x="693" y="201"/>
                    </a:lnTo>
                    <a:lnTo>
                      <a:pt x="686" y="212"/>
                    </a:lnTo>
                    <a:lnTo>
                      <a:pt x="677" y="224"/>
                    </a:lnTo>
                    <a:lnTo>
                      <a:pt x="668" y="234"/>
                    </a:lnTo>
                    <a:lnTo>
                      <a:pt x="659" y="244"/>
                    </a:lnTo>
                    <a:lnTo>
                      <a:pt x="649" y="254"/>
                    </a:lnTo>
                    <a:lnTo>
                      <a:pt x="639" y="264"/>
                    </a:lnTo>
                    <a:lnTo>
                      <a:pt x="628" y="273"/>
                    </a:lnTo>
                    <a:lnTo>
                      <a:pt x="616" y="282"/>
                    </a:lnTo>
                    <a:lnTo>
                      <a:pt x="605" y="290"/>
                    </a:lnTo>
                    <a:lnTo>
                      <a:pt x="594" y="297"/>
                    </a:lnTo>
                    <a:lnTo>
                      <a:pt x="581" y="304"/>
                    </a:lnTo>
                    <a:lnTo>
                      <a:pt x="569" y="311"/>
                    </a:lnTo>
                    <a:lnTo>
                      <a:pt x="557" y="316"/>
                    </a:lnTo>
                    <a:lnTo>
                      <a:pt x="534" y="326"/>
                    </a:lnTo>
                    <a:lnTo>
                      <a:pt x="511" y="334"/>
                    </a:lnTo>
                    <a:lnTo>
                      <a:pt x="490" y="342"/>
                    </a:lnTo>
                    <a:lnTo>
                      <a:pt x="471" y="349"/>
                    </a:lnTo>
                    <a:lnTo>
                      <a:pt x="451" y="355"/>
                    </a:lnTo>
                    <a:lnTo>
                      <a:pt x="432" y="360"/>
                    </a:lnTo>
                    <a:lnTo>
                      <a:pt x="414" y="364"/>
                    </a:lnTo>
                    <a:lnTo>
                      <a:pt x="395" y="368"/>
                    </a:lnTo>
                    <a:lnTo>
                      <a:pt x="377" y="371"/>
                    </a:lnTo>
                    <a:lnTo>
                      <a:pt x="358" y="373"/>
                    </a:lnTo>
                    <a:lnTo>
                      <a:pt x="339" y="375"/>
                    </a:lnTo>
                    <a:lnTo>
                      <a:pt x="320" y="376"/>
                    </a:lnTo>
                    <a:lnTo>
                      <a:pt x="278" y="377"/>
                    </a:lnTo>
                    <a:lnTo>
                      <a:pt x="232" y="377"/>
                    </a:lnTo>
                    <a:lnTo>
                      <a:pt x="221" y="376"/>
                    </a:lnTo>
                    <a:lnTo>
                      <a:pt x="208" y="375"/>
                    </a:lnTo>
                    <a:lnTo>
                      <a:pt x="196" y="373"/>
                    </a:lnTo>
                    <a:lnTo>
                      <a:pt x="183" y="370"/>
                    </a:lnTo>
                    <a:lnTo>
                      <a:pt x="170" y="365"/>
                    </a:lnTo>
                    <a:lnTo>
                      <a:pt x="157" y="361"/>
                    </a:lnTo>
                    <a:lnTo>
                      <a:pt x="143" y="357"/>
                    </a:lnTo>
                    <a:lnTo>
                      <a:pt x="130" y="351"/>
                    </a:lnTo>
                    <a:lnTo>
                      <a:pt x="117" y="346"/>
                    </a:lnTo>
                    <a:lnTo>
                      <a:pt x="105" y="339"/>
                    </a:lnTo>
                    <a:lnTo>
                      <a:pt x="93" y="332"/>
                    </a:lnTo>
                    <a:lnTo>
                      <a:pt x="82" y="325"/>
                    </a:lnTo>
                    <a:lnTo>
                      <a:pt x="72" y="317"/>
                    </a:lnTo>
                    <a:lnTo>
                      <a:pt x="62" y="310"/>
                    </a:lnTo>
                    <a:lnTo>
                      <a:pt x="54" y="301"/>
                    </a:lnTo>
                    <a:lnTo>
                      <a:pt x="48" y="292"/>
                    </a:lnTo>
                    <a:lnTo>
                      <a:pt x="39" y="279"/>
                    </a:lnTo>
                    <a:lnTo>
                      <a:pt x="31" y="263"/>
                    </a:lnTo>
                    <a:lnTo>
                      <a:pt x="28" y="255"/>
                    </a:lnTo>
                    <a:lnTo>
                      <a:pt x="25" y="247"/>
                    </a:lnTo>
                    <a:lnTo>
                      <a:pt x="23" y="238"/>
                    </a:lnTo>
                    <a:lnTo>
                      <a:pt x="22" y="229"/>
                    </a:lnTo>
                    <a:lnTo>
                      <a:pt x="21" y="221"/>
                    </a:lnTo>
                    <a:lnTo>
                      <a:pt x="22" y="212"/>
                    </a:lnTo>
                    <a:lnTo>
                      <a:pt x="23" y="204"/>
                    </a:lnTo>
                    <a:lnTo>
                      <a:pt x="24" y="196"/>
                    </a:lnTo>
                    <a:lnTo>
                      <a:pt x="27" y="189"/>
                    </a:lnTo>
                    <a:lnTo>
                      <a:pt x="31" y="180"/>
                    </a:lnTo>
                    <a:lnTo>
                      <a:pt x="37" y="173"/>
                    </a:lnTo>
                    <a:lnTo>
                      <a:pt x="43" y="166"/>
                    </a:lnTo>
                    <a:lnTo>
                      <a:pt x="52" y="159"/>
                    </a:lnTo>
                    <a:lnTo>
                      <a:pt x="62" y="152"/>
                    </a:lnTo>
                    <a:lnTo>
                      <a:pt x="75" y="146"/>
                    </a:lnTo>
                    <a:lnTo>
                      <a:pt x="87" y="141"/>
                    </a:lnTo>
                    <a:lnTo>
                      <a:pt x="101" y="138"/>
                    </a:lnTo>
                    <a:lnTo>
                      <a:pt x="114" y="135"/>
                    </a:lnTo>
                    <a:lnTo>
                      <a:pt x="128" y="134"/>
                    </a:lnTo>
                    <a:lnTo>
                      <a:pt x="141" y="134"/>
                    </a:lnTo>
                    <a:lnTo>
                      <a:pt x="147" y="135"/>
                    </a:lnTo>
                    <a:lnTo>
                      <a:pt x="153" y="136"/>
                    </a:lnTo>
                    <a:lnTo>
                      <a:pt x="161" y="138"/>
                    </a:lnTo>
                    <a:lnTo>
                      <a:pt x="167" y="140"/>
                    </a:lnTo>
                    <a:lnTo>
                      <a:pt x="173" y="144"/>
                    </a:lnTo>
                    <a:lnTo>
                      <a:pt x="179" y="148"/>
                    </a:lnTo>
                    <a:lnTo>
                      <a:pt x="184" y="155"/>
                    </a:lnTo>
                    <a:lnTo>
                      <a:pt x="189" y="161"/>
                    </a:lnTo>
                    <a:lnTo>
                      <a:pt x="191" y="168"/>
                    </a:lnTo>
                    <a:lnTo>
                      <a:pt x="193" y="175"/>
                    </a:lnTo>
                    <a:lnTo>
                      <a:pt x="193" y="181"/>
                    </a:lnTo>
                    <a:lnTo>
                      <a:pt x="192" y="189"/>
                    </a:lnTo>
                    <a:lnTo>
                      <a:pt x="190" y="195"/>
                    </a:lnTo>
                    <a:lnTo>
                      <a:pt x="186" y="201"/>
                    </a:lnTo>
                    <a:lnTo>
                      <a:pt x="182" y="207"/>
                    </a:lnTo>
                    <a:lnTo>
                      <a:pt x="177" y="213"/>
                    </a:lnTo>
                    <a:lnTo>
                      <a:pt x="172" y="218"/>
                    </a:lnTo>
                    <a:lnTo>
                      <a:pt x="166" y="222"/>
                    </a:lnTo>
                    <a:lnTo>
                      <a:pt x="161" y="225"/>
                    </a:lnTo>
                    <a:lnTo>
                      <a:pt x="154" y="227"/>
                    </a:lnTo>
                    <a:lnTo>
                      <a:pt x="148" y="229"/>
                    </a:lnTo>
                    <a:lnTo>
                      <a:pt x="142" y="230"/>
                    </a:lnTo>
                    <a:lnTo>
                      <a:pt x="137" y="230"/>
                    </a:lnTo>
                    <a:lnTo>
                      <a:pt x="131" y="229"/>
                    </a:lnTo>
                    <a:lnTo>
                      <a:pt x="127" y="228"/>
                    </a:lnTo>
                    <a:lnTo>
                      <a:pt x="123" y="226"/>
                    </a:lnTo>
                    <a:lnTo>
                      <a:pt x="120" y="224"/>
                    </a:lnTo>
                    <a:lnTo>
                      <a:pt x="118" y="222"/>
                    </a:lnTo>
                    <a:lnTo>
                      <a:pt x="114" y="216"/>
                    </a:lnTo>
                    <a:lnTo>
                      <a:pt x="113" y="209"/>
                    </a:lnTo>
                    <a:lnTo>
                      <a:pt x="92" y="213"/>
                    </a:lnTo>
                    <a:lnTo>
                      <a:pt x="95" y="220"/>
                    </a:lnTo>
                    <a:lnTo>
                      <a:pt x="97" y="226"/>
                    </a:lnTo>
                    <a:lnTo>
                      <a:pt x="99" y="231"/>
                    </a:lnTo>
                    <a:lnTo>
                      <a:pt x="103" y="235"/>
                    </a:lnTo>
                    <a:lnTo>
                      <a:pt x="107" y="238"/>
                    </a:lnTo>
                    <a:lnTo>
                      <a:pt x="112" y="241"/>
                    </a:lnTo>
                    <a:lnTo>
                      <a:pt x="118" y="244"/>
                    </a:lnTo>
                    <a:lnTo>
                      <a:pt x="124" y="246"/>
                    </a:lnTo>
                    <a:lnTo>
                      <a:pt x="133" y="247"/>
                    </a:lnTo>
                    <a:lnTo>
                      <a:pt x="141" y="247"/>
                    </a:lnTo>
                    <a:lnTo>
                      <a:pt x="150" y="246"/>
                    </a:lnTo>
                    <a:lnTo>
                      <a:pt x="160" y="242"/>
                    </a:lnTo>
                    <a:lnTo>
                      <a:pt x="168" y="239"/>
                    </a:lnTo>
                    <a:lnTo>
                      <a:pt x="176" y="235"/>
                    </a:lnTo>
                    <a:lnTo>
                      <a:pt x="184" y="230"/>
                    </a:lnTo>
                    <a:lnTo>
                      <a:pt x="192" y="224"/>
                    </a:lnTo>
                    <a:lnTo>
                      <a:pt x="200" y="216"/>
                    </a:lnTo>
                    <a:lnTo>
                      <a:pt x="205" y="208"/>
                    </a:lnTo>
                    <a:lnTo>
                      <a:pt x="209" y="199"/>
                    </a:lnTo>
                    <a:lnTo>
                      <a:pt x="212" y="191"/>
                    </a:lnTo>
                    <a:lnTo>
                      <a:pt x="213" y="181"/>
                    </a:lnTo>
                    <a:lnTo>
                      <a:pt x="213" y="172"/>
                    </a:lnTo>
                    <a:lnTo>
                      <a:pt x="211" y="163"/>
                    </a:lnTo>
                    <a:lnTo>
                      <a:pt x="207" y="153"/>
                    </a:lnTo>
                    <a:lnTo>
                      <a:pt x="203" y="146"/>
                    </a:lnTo>
                    <a:lnTo>
                      <a:pt x="198" y="139"/>
                    </a:lnTo>
                    <a:lnTo>
                      <a:pt x="192" y="133"/>
                    </a:lnTo>
                    <a:lnTo>
                      <a:pt x="183" y="128"/>
                    </a:lnTo>
                    <a:lnTo>
                      <a:pt x="175" y="124"/>
                    </a:lnTo>
                    <a:lnTo>
                      <a:pt x="166" y="120"/>
                    </a:lnTo>
                    <a:lnTo>
                      <a:pt x="155" y="118"/>
                    </a:lnTo>
                    <a:lnTo>
                      <a:pt x="145" y="117"/>
                    </a:lnTo>
                    <a:lnTo>
                      <a:pt x="130" y="117"/>
                    </a:lnTo>
                    <a:lnTo>
                      <a:pt x="113" y="118"/>
                    </a:lnTo>
                    <a:lnTo>
                      <a:pt x="97" y="121"/>
                    </a:lnTo>
                    <a:lnTo>
                      <a:pt x="81" y="126"/>
                    </a:lnTo>
                    <a:lnTo>
                      <a:pt x="66" y="132"/>
                    </a:lnTo>
                    <a:lnTo>
                      <a:pt x="51" y="139"/>
                    </a:lnTo>
                    <a:lnTo>
                      <a:pt x="39" y="147"/>
                    </a:lnTo>
                    <a:lnTo>
                      <a:pt x="27" y="157"/>
                    </a:lnTo>
                    <a:lnTo>
                      <a:pt x="20" y="165"/>
                    </a:lnTo>
                    <a:lnTo>
                      <a:pt x="14" y="173"/>
                    </a:lnTo>
                    <a:lnTo>
                      <a:pt x="9" y="182"/>
                    </a:lnTo>
                    <a:lnTo>
                      <a:pt x="6" y="192"/>
                    </a:lnTo>
                    <a:lnTo>
                      <a:pt x="3" y="201"/>
                    </a:lnTo>
                    <a:lnTo>
                      <a:pt x="2" y="210"/>
                    </a:lnTo>
                    <a:lnTo>
                      <a:pt x="0" y="221"/>
                    </a:lnTo>
                    <a:lnTo>
                      <a:pt x="2" y="230"/>
                    </a:lnTo>
                    <a:lnTo>
                      <a:pt x="3" y="239"/>
                    </a:lnTo>
                    <a:lnTo>
                      <a:pt x="5" y="250"/>
                    </a:lnTo>
                    <a:lnTo>
                      <a:pt x="8" y="259"/>
                    </a:lnTo>
                    <a:lnTo>
                      <a:pt x="11" y="268"/>
                    </a:lnTo>
                    <a:lnTo>
                      <a:pt x="15" y="278"/>
                    </a:lnTo>
                    <a:lnTo>
                      <a:pt x="19" y="286"/>
                    </a:lnTo>
                    <a:lnTo>
                      <a:pt x="24" y="294"/>
                    </a:lnTo>
                    <a:lnTo>
                      <a:pt x="29" y="302"/>
                    </a:lnTo>
                    <a:lnTo>
                      <a:pt x="37" y="312"/>
                    </a:lnTo>
                    <a:lnTo>
                      <a:pt x="46" y="320"/>
                    </a:lnTo>
                    <a:lnTo>
                      <a:pt x="55" y="329"/>
                    </a:lnTo>
                    <a:lnTo>
                      <a:pt x="67" y="338"/>
                    </a:lnTo>
                    <a:lnTo>
                      <a:pt x="79" y="346"/>
                    </a:lnTo>
                    <a:lnTo>
                      <a:pt x="91" y="353"/>
                    </a:lnTo>
                    <a:lnTo>
                      <a:pt x="105" y="360"/>
                    </a:lnTo>
                    <a:lnTo>
                      <a:pt x="118" y="367"/>
                    </a:lnTo>
                    <a:lnTo>
                      <a:pt x="133" y="372"/>
                    </a:lnTo>
                    <a:lnTo>
                      <a:pt x="147" y="378"/>
                    </a:lnTo>
                    <a:lnTo>
                      <a:pt x="162" y="382"/>
                    </a:lnTo>
                    <a:lnTo>
                      <a:pt x="176" y="386"/>
                    </a:lnTo>
                    <a:lnTo>
                      <a:pt x="190" y="389"/>
                    </a:lnTo>
                    <a:lnTo>
                      <a:pt x="204" y="391"/>
                    </a:lnTo>
                    <a:lnTo>
                      <a:pt x="216" y="392"/>
                    </a:lnTo>
                    <a:lnTo>
                      <a:pt x="229" y="393"/>
                    </a:lnTo>
                    <a:lnTo>
                      <a:pt x="277" y="393"/>
                    </a:lnTo>
                    <a:lnTo>
                      <a:pt x="320" y="392"/>
                    </a:lnTo>
                    <a:lnTo>
                      <a:pt x="340" y="391"/>
                    </a:lnTo>
                    <a:lnTo>
                      <a:pt x="360" y="389"/>
                    </a:lnTo>
                    <a:lnTo>
                      <a:pt x="379" y="387"/>
                    </a:lnTo>
                    <a:lnTo>
                      <a:pt x="398" y="384"/>
                    </a:lnTo>
                    <a:lnTo>
                      <a:pt x="417" y="381"/>
                    </a:lnTo>
                    <a:lnTo>
                      <a:pt x="436" y="376"/>
                    </a:lnTo>
                    <a:lnTo>
                      <a:pt x="455" y="371"/>
                    </a:lnTo>
                    <a:lnTo>
                      <a:pt x="476" y="364"/>
                    </a:lnTo>
                    <a:lnTo>
                      <a:pt x="496" y="358"/>
                    </a:lnTo>
                    <a:lnTo>
                      <a:pt x="518" y="350"/>
                    </a:lnTo>
                    <a:lnTo>
                      <a:pt x="541" y="341"/>
                    </a:lnTo>
                    <a:lnTo>
                      <a:pt x="565" y="331"/>
                    </a:lnTo>
                    <a:lnTo>
                      <a:pt x="578" y="325"/>
                    </a:lnTo>
                    <a:lnTo>
                      <a:pt x="592" y="319"/>
                    </a:lnTo>
                    <a:lnTo>
                      <a:pt x="604" y="311"/>
                    </a:lnTo>
                    <a:lnTo>
                      <a:pt x="616" y="302"/>
                    </a:lnTo>
                    <a:lnTo>
                      <a:pt x="629" y="294"/>
                    </a:lnTo>
                    <a:lnTo>
                      <a:pt x="641" y="285"/>
                    </a:lnTo>
                    <a:lnTo>
                      <a:pt x="653" y="274"/>
                    </a:lnTo>
                    <a:lnTo>
                      <a:pt x="664" y="264"/>
                    </a:lnTo>
                    <a:lnTo>
                      <a:pt x="674" y="254"/>
                    </a:lnTo>
                    <a:lnTo>
                      <a:pt x="685" y="242"/>
                    </a:lnTo>
                    <a:lnTo>
                      <a:pt x="695" y="231"/>
                    </a:lnTo>
                    <a:lnTo>
                      <a:pt x="703" y="220"/>
                    </a:lnTo>
                    <a:lnTo>
                      <a:pt x="711" y="208"/>
                    </a:lnTo>
                    <a:lnTo>
                      <a:pt x="719" y="196"/>
                    </a:lnTo>
                    <a:lnTo>
                      <a:pt x="725" y="185"/>
                    </a:lnTo>
                    <a:lnTo>
                      <a:pt x="731" y="172"/>
                    </a:lnTo>
                    <a:lnTo>
                      <a:pt x="734" y="163"/>
                    </a:lnTo>
                    <a:lnTo>
                      <a:pt x="737" y="153"/>
                    </a:lnTo>
                    <a:lnTo>
                      <a:pt x="739" y="144"/>
                    </a:lnTo>
                    <a:lnTo>
                      <a:pt x="741" y="135"/>
                    </a:lnTo>
                    <a:lnTo>
                      <a:pt x="742" y="126"/>
                    </a:lnTo>
                    <a:lnTo>
                      <a:pt x="742" y="116"/>
                    </a:lnTo>
                    <a:lnTo>
                      <a:pt x="742" y="107"/>
                    </a:lnTo>
                    <a:lnTo>
                      <a:pt x="742" y="98"/>
                    </a:lnTo>
                    <a:lnTo>
                      <a:pt x="741" y="88"/>
                    </a:lnTo>
                    <a:lnTo>
                      <a:pt x="739" y="80"/>
                    </a:lnTo>
                    <a:lnTo>
                      <a:pt x="737" y="71"/>
                    </a:lnTo>
                    <a:lnTo>
                      <a:pt x="734" y="63"/>
                    </a:lnTo>
                    <a:lnTo>
                      <a:pt x="730" y="55"/>
                    </a:lnTo>
                    <a:lnTo>
                      <a:pt x="727" y="48"/>
                    </a:lnTo>
                    <a:lnTo>
                      <a:pt x="722" y="41"/>
                    </a:lnTo>
                    <a:lnTo>
                      <a:pt x="717" y="35"/>
                    </a:lnTo>
                    <a:lnTo>
                      <a:pt x="709" y="26"/>
                    </a:lnTo>
                    <a:lnTo>
                      <a:pt x="701" y="19"/>
                    </a:lnTo>
                    <a:lnTo>
                      <a:pt x="692" y="14"/>
                    </a:lnTo>
                    <a:lnTo>
                      <a:pt x="681" y="9"/>
                    </a:lnTo>
                    <a:lnTo>
                      <a:pt x="671" y="6"/>
                    </a:lnTo>
                    <a:lnTo>
                      <a:pt x="660" y="3"/>
                    </a:lnTo>
                    <a:lnTo>
                      <a:pt x="648" y="1"/>
                    </a:lnTo>
                    <a:lnTo>
                      <a:pt x="636" y="0"/>
                    </a:lnTo>
                    <a:lnTo>
                      <a:pt x="619" y="3"/>
                    </a:lnTo>
                    <a:lnTo>
                      <a:pt x="605" y="5"/>
                    </a:lnTo>
                    <a:lnTo>
                      <a:pt x="592" y="10"/>
                    </a:lnTo>
                    <a:lnTo>
                      <a:pt x="579" y="15"/>
                    </a:lnTo>
                    <a:lnTo>
                      <a:pt x="568" y="21"/>
                    </a:lnTo>
                    <a:lnTo>
                      <a:pt x="557" y="29"/>
                    </a:lnTo>
                    <a:lnTo>
                      <a:pt x="546" y="38"/>
                    </a:lnTo>
                    <a:lnTo>
                      <a:pt x="536" y="46"/>
                    </a:lnTo>
                    <a:close/>
                  </a:path>
                </a:pathLst>
              </a:custGeom>
              <a:solidFill>
                <a:srgbClr val="F1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66" name="Freeform 142"/>
              <p:cNvSpPr>
                <a:spLocks/>
              </p:cNvSpPr>
              <p:nvPr/>
            </p:nvSpPr>
            <p:spPr bwMode="auto">
              <a:xfrm>
                <a:off x="3870" y="1799"/>
                <a:ext cx="26" cy="62"/>
              </a:xfrm>
              <a:custGeom>
                <a:avLst/>
                <a:gdLst>
                  <a:gd name="T0" fmla="*/ 0 w 186"/>
                  <a:gd name="T1" fmla="*/ 0 h 434"/>
                  <a:gd name="T2" fmla="*/ 0 w 186"/>
                  <a:gd name="T3" fmla="*/ 0 h 434"/>
                  <a:gd name="T4" fmla="*/ 0 w 186"/>
                  <a:gd name="T5" fmla="*/ 0 h 434"/>
                  <a:gd name="T6" fmla="*/ 0 w 186"/>
                  <a:gd name="T7" fmla="*/ 0 h 434"/>
                  <a:gd name="T8" fmla="*/ 0 w 186"/>
                  <a:gd name="T9" fmla="*/ 0 h 434"/>
                  <a:gd name="T10" fmla="*/ 0 w 186"/>
                  <a:gd name="T11" fmla="*/ 0 h 434"/>
                  <a:gd name="T12" fmla="*/ 0 w 186"/>
                  <a:gd name="T13" fmla="*/ 0 h 434"/>
                  <a:gd name="T14" fmla="*/ 0 w 186"/>
                  <a:gd name="T15" fmla="*/ 0 h 434"/>
                  <a:gd name="T16" fmla="*/ 0 w 186"/>
                  <a:gd name="T17" fmla="*/ 0 h 434"/>
                  <a:gd name="T18" fmla="*/ 0 w 186"/>
                  <a:gd name="T19" fmla="*/ 0 h 434"/>
                  <a:gd name="T20" fmla="*/ 0 w 186"/>
                  <a:gd name="T21" fmla="*/ 0 h 434"/>
                  <a:gd name="T22" fmla="*/ 0 w 186"/>
                  <a:gd name="T23" fmla="*/ 0 h 434"/>
                  <a:gd name="T24" fmla="*/ 0 w 186"/>
                  <a:gd name="T25" fmla="*/ 0 h 434"/>
                  <a:gd name="T26" fmla="*/ 0 w 186"/>
                  <a:gd name="T27" fmla="*/ 0 h 434"/>
                  <a:gd name="T28" fmla="*/ 0 w 186"/>
                  <a:gd name="T29" fmla="*/ 0 h 434"/>
                  <a:gd name="T30" fmla="*/ 0 w 186"/>
                  <a:gd name="T31" fmla="*/ 0 h 434"/>
                  <a:gd name="T32" fmla="*/ 0 w 186"/>
                  <a:gd name="T33" fmla="*/ 0 h 434"/>
                  <a:gd name="T34" fmla="*/ 0 w 186"/>
                  <a:gd name="T35" fmla="*/ 0 h 434"/>
                  <a:gd name="T36" fmla="*/ 0 w 186"/>
                  <a:gd name="T37" fmla="*/ 0 h 434"/>
                  <a:gd name="T38" fmla="*/ 0 w 186"/>
                  <a:gd name="T39" fmla="*/ 0 h 434"/>
                  <a:gd name="T40" fmla="*/ 0 w 186"/>
                  <a:gd name="T41" fmla="*/ 0 h 434"/>
                  <a:gd name="T42" fmla="*/ 0 w 186"/>
                  <a:gd name="T43" fmla="*/ 0 h 434"/>
                  <a:gd name="T44" fmla="*/ 0 w 186"/>
                  <a:gd name="T45" fmla="*/ 0 h 434"/>
                  <a:gd name="T46" fmla="*/ 0 w 186"/>
                  <a:gd name="T47" fmla="*/ 0 h 434"/>
                  <a:gd name="T48" fmla="*/ 0 w 186"/>
                  <a:gd name="T49" fmla="*/ 0 h 434"/>
                  <a:gd name="T50" fmla="*/ 0 w 186"/>
                  <a:gd name="T51" fmla="*/ 0 h 434"/>
                  <a:gd name="T52" fmla="*/ 0 w 186"/>
                  <a:gd name="T53" fmla="*/ 0 h 434"/>
                  <a:gd name="T54" fmla="*/ 0 w 186"/>
                  <a:gd name="T55" fmla="*/ 0 h 434"/>
                  <a:gd name="T56" fmla="*/ 0 w 186"/>
                  <a:gd name="T57" fmla="*/ 0 h 434"/>
                  <a:gd name="T58" fmla="*/ 0 w 186"/>
                  <a:gd name="T59" fmla="*/ 0 h 434"/>
                  <a:gd name="T60" fmla="*/ 0 w 186"/>
                  <a:gd name="T61" fmla="*/ 0 h 434"/>
                  <a:gd name="T62" fmla="*/ 0 w 186"/>
                  <a:gd name="T63" fmla="*/ 0 h 434"/>
                  <a:gd name="T64" fmla="*/ 0 w 186"/>
                  <a:gd name="T65" fmla="*/ 0 h 434"/>
                  <a:gd name="T66" fmla="*/ 0 w 186"/>
                  <a:gd name="T67" fmla="*/ 0 h 434"/>
                  <a:gd name="T68" fmla="*/ 0 w 186"/>
                  <a:gd name="T69" fmla="*/ 0 h 434"/>
                  <a:gd name="T70" fmla="*/ 0 w 186"/>
                  <a:gd name="T71" fmla="*/ 0 h 434"/>
                  <a:gd name="T72" fmla="*/ 0 w 186"/>
                  <a:gd name="T73" fmla="*/ 0 h 434"/>
                  <a:gd name="T74" fmla="*/ 0 w 186"/>
                  <a:gd name="T75" fmla="*/ 0 h 434"/>
                  <a:gd name="T76" fmla="*/ 0 w 186"/>
                  <a:gd name="T77" fmla="*/ 0 h 434"/>
                  <a:gd name="T78" fmla="*/ 0 w 186"/>
                  <a:gd name="T79" fmla="*/ 0 h 434"/>
                  <a:gd name="T80" fmla="*/ 0 w 186"/>
                  <a:gd name="T81" fmla="*/ 0 h 434"/>
                  <a:gd name="T82" fmla="*/ 0 w 186"/>
                  <a:gd name="T83" fmla="*/ 0 h 434"/>
                  <a:gd name="T84" fmla="*/ 0 w 186"/>
                  <a:gd name="T85" fmla="*/ 0 h 434"/>
                  <a:gd name="T86" fmla="*/ 0 w 186"/>
                  <a:gd name="T87" fmla="*/ 0 h 434"/>
                  <a:gd name="T88" fmla="*/ 0 w 186"/>
                  <a:gd name="T89" fmla="*/ 0 h 434"/>
                  <a:gd name="T90" fmla="*/ 0 w 186"/>
                  <a:gd name="T91" fmla="*/ 0 h 434"/>
                  <a:gd name="T92" fmla="*/ 0 w 186"/>
                  <a:gd name="T93" fmla="*/ 0 h 434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w 186"/>
                  <a:gd name="T142" fmla="*/ 0 h 434"/>
                  <a:gd name="T143" fmla="*/ 186 w 186"/>
                  <a:gd name="T144" fmla="*/ 434 h 434"/>
                </a:gdLst>
                <a:ahLst/>
                <a:cxnLst>
                  <a:cxn ang="T94">
                    <a:pos x="T0" y="T1"/>
                  </a:cxn>
                  <a:cxn ang="T95">
                    <a:pos x="T2" y="T3"/>
                  </a:cxn>
                  <a:cxn ang="T96">
                    <a:pos x="T4" y="T5"/>
                  </a:cxn>
                  <a:cxn ang="T97">
                    <a:pos x="T6" y="T7"/>
                  </a:cxn>
                  <a:cxn ang="T98">
                    <a:pos x="T8" y="T9"/>
                  </a:cxn>
                  <a:cxn ang="T99">
                    <a:pos x="T10" y="T11"/>
                  </a:cxn>
                  <a:cxn ang="T100">
                    <a:pos x="T12" y="T13"/>
                  </a:cxn>
                  <a:cxn ang="T101">
                    <a:pos x="T14" y="T15"/>
                  </a:cxn>
                  <a:cxn ang="T102">
                    <a:pos x="T16" y="T17"/>
                  </a:cxn>
                  <a:cxn ang="T103">
                    <a:pos x="T18" y="T19"/>
                  </a:cxn>
                  <a:cxn ang="T104">
                    <a:pos x="T20" y="T21"/>
                  </a:cxn>
                  <a:cxn ang="T105">
                    <a:pos x="T22" y="T23"/>
                  </a:cxn>
                  <a:cxn ang="T106">
                    <a:pos x="T24" y="T25"/>
                  </a:cxn>
                  <a:cxn ang="T107">
                    <a:pos x="T26" y="T27"/>
                  </a:cxn>
                  <a:cxn ang="T108">
                    <a:pos x="T28" y="T29"/>
                  </a:cxn>
                  <a:cxn ang="T109">
                    <a:pos x="T30" y="T31"/>
                  </a:cxn>
                  <a:cxn ang="T110">
                    <a:pos x="T32" y="T33"/>
                  </a:cxn>
                  <a:cxn ang="T111">
                    <a:pos x="T34" y="T35"/>
                  </a:cxn>
                  <a:cxn ang="T112">
                    <a:pos x="T36" y="T37"/>
                  </a:cxn>
                  <a:cxn ang="T113">
                    <a:pos x="T38" y="T39"/>
                  </a:cxn>
                  <a:cxn ang="T114">
                    <a:pos x="T40" y="T41"/>
                  </a:cxn>
                  <a:cxn ang="T115">
                    <a:pos x="T42" y="T43"/>
                  </a:cxn>
                  <a:cxn ang="T116">
                    <a:pos x="T44" y="T45"/>
                  </a:cxn>
                  <a:cxn ang="T117">
                    <a:pos x="T46" y="T47"/>
                  </a:cxn>
                  <a:cxn ang="T118">
                    <a:pos x="T48" y="T49"/>
                  </a:cxn>
                  <a:cxn ang="T119">
                    <a:pos x="T50" y="T51"/>
                  </a:cxn>
                  <a:cxn ang="T120">
                    <a:pos x="T52" y="T53"/>
                  </a:cxn>
                  <a:cxn ang="T121">
                    <a:pos x="T54" y="T55"/>
                  </a:cxn>
                  <a:cxn ang="T122">
                    <a:pos x="T56" y="T57"/>
                  </a:cxn>
                  <a:cxn ang="T123">
                    <a:pos x="T58" y="T59"/>
                  </a:cxn>
                  <a:cxn ang="T124">
                    <a:pos x="T60" y="T61"/>
                  </a:cxn>
                  <a:cxn ang="T125">
                    <a:pos x="T62" y="T63"/>
                  </a:cxn>
                  <a:cxn ang="T126">
                    <a:pos x="T64" y="T65"/>
                  </a:cxn>
                  <a:cxn ang="T127">
                    <a:pos x="T66" y="T67"/>
                  </a:cxn>
                  <a:cxn ang="T128">
                    <a:pos x="T68" y="T69"/>
                  </a:cxn>
                  <a:cxn ang="T129">
                    <a:pos x="T70" y="T71"/>
                  </a:cxn>
                  <a:cxn ang="T130">
                    <a:pos x="T72" y="T73"/>
                  </a:cxn>
                  <a:cxn ang="T131">
                    <a:pos x="T74" y="T75"/>
                  </a:cxn>
                  <a:cxn ang="T132">
                    <a:pos x="T76" y="T77"/>
                  </a:cxn>
                  <a:cxn ang="T133">
                    <a:pos x="T78" y="T79"/>
                  </a:cxn>
                  <a:cxn ang="T134">
                    <a:pos x="T80" y="T81"/>
                  </a:cxn>
                  <a:cxn ang="T135">
                    <a:pos x="T82" y="T83"/>
                  </a:cxn>
                  <a:cxn ang="T136">
                    <a:pos x="T84" y="T85"/>
                  </a:cxn>
                  <a:cxn ang="T137">
                    <a:pos x="T86" y="T87"/>
                  </a:cxn>
                  <a:cxn ang="T138">
                    <a:pos x="T88" y="T89"/>
                  </a:cxn>
                  <a:cxn ang="T139">
                    <a:pos x="T90" y="T91"/>
                  </a:cxn>
                  <a:cxn ang="T140">
                    <a:pos x="T92" y="T93"/>
                  </a:cxn>
                </a:cxnLst>
                <a:rect l="T141" t="T142" r="T143" b="T144"/>
                <a:pathLst>
                  <a:path w="186" h="434">
                    <a:moveTo>
                      <a:pt x="56" y="0"/>
                    </a:moveTo>
                    <a:lnTo>
                      <a:pt x="42" y="10"/>
                    </a:lnTo>
                    <a:lnTo>
                      <a:pt x="31" y="20"/>
                    </a:lnTo>
                    <a:lnTo>
                      <a:pt x="21" y="31"/>
                    </a:lnTo>
                    <a:lnTo>
                      <a:pt x="14" y="42"/>
                    </a:lnTo>
                    <a:lnTo>
                      <a:pt x="8" y="55"/>
                    </a:lnTo>
                    <a:lnTo>
                      <a:pt x="4" y="68"/>
                    </a:lnTo>
                    <a:lnTo>
                      <a:pt x="1" y="82"/>
                    </a:lnTo>
                    <a:lnTo>
                      <a:pt x="0" y="96"/>
                    </a:lnTo>
                    <a:lnTo>
                      <a:pt x="1" y="111"/>
                    </a:lnTo>
                    <a:lnTo>
                      <a:pt x="2" y="125"/>
                    </a:lnTo>
                    <a:lnTo>
                      <a:pt x="5" y="141"/>
                    </a:lnTo>
                    <a:lnTo>
                      <a:pt x="9" y="156"/>
                    </a:lnTo>
                    <a:lnTo>
                      <a:pt x="14" y="172"/>
                    </a:lnTo>
                    <a:lnTo>
                      <a:pt x="19" y="188"/>
                    </a:lnTo>
                    <a:lnTo>
                      <a:pt x="27" y="204"/>
                    </a:lnTo>
                    <a:lnTo>
                      <a:pt x="34" y="220"/>
                    </a:lnTo>
                    <a:lnTo>
                      <a:pt x="50" y="252"/>
                    </a:lnTo>
                    <a:lnTo>
                      <a:pt x="69" y="283"/>
                    </a:lnTo>
                    <a:lnTo>
                      <a:pt x="88" y="314"/>
                    </a:lnTo>
                    <a:lnTo>
                      <a:pt x="107" y="343"/>
                    </a:lnTo>
                    <a:lnTo>
                      <a:pt x="144" y="395"/>
                    </a:lnTo>
                    <a:lnTo>
                      <a:pt x="172" y="434"/>
                    </a:lnTo>
                    <a:lnTo>
                      <a:pt x="179" y="423"/>
                    </a:lnTo>
                    <a:lnTo>
                      <a:pt x="182" y="410"/>
                    </a:lnTo>
                    <a:lnTo>
                      <a:pt x="185" y="396"/>
                    </a:lnTo>
                    <a:lnTo>
                      <a:pt x="186" y="382"/>
                    </a:lnTo>
                    <a:lnTo>
                      <a:pt x="186" y="366"/>
                    </a:lnTo>
                    <a:lnTo>
                      <a:pt x="185" y="352"/>
                    </a:lnTo>
                    <a:lnTo>
                      <a:pt x="183" y="335"/>
                    </a:lnTo>
                    <a:lnTo>
                      <a:pt x="180" y="320"/>
                    </a:lnTo>
                    <a:lnTo>
                      <a:pt x="173" y="289"/>
                    </a:lnTo>
                    <a:lnTo>
                      <a:pt x="166" y="259"/>
                    </a:lnTo>
                    <a:lnTo>
                      <a:pt x="160" y="231"/>
                    </a:lnTo>
                    <a:lnTo>
                      <a:pt x="155" y="206"/>
                    </a:lnTo>
                    <a:lnTo>
                      <a:pt x="153" y="190"/>
                    </a:lnTo>
                    <a:lnTo>
                      <a:pt x="150" y="176"/>
                    </a:lnTo>
                    <a:lnTo>
                      <a:pt x="145" y="161"/>
                    </a:lnTo>
                    <a:lnTo>
                      <a:pt x="141" y="148"/>
                    </a:lnTo>
                    <a:lnTo>
                      <a:pt x="137" y="135"/>
                    </a:lnTo>
                    <a:lnTo>
                      <a:pt x="132" y="121"/>
                    </a:lnTo>
                    <a:lnTo>
                      <a:pt x="127" y="109"/>
                    </a:lnTo>
                    <a:lnTo>
                      <a:pt x="121" y="96"/>
                    </a:lnTo>
                    <a:lnTo>
                      <a:pt x="107" y="72"/>
                    </a:lnTo>
                    <a:lnTo>
                      <a:pt x="92" y="49"/>
                    </a:lnTo>
                    <a:lnTo>
                      <a:pt x="75" y="25"/>
                    </a:lnTo>
                    <a:lnTo>
                      <a:pt x="56" y="0"/>
                    </a:lnTo>
                    <a:close/>
                  </a:path>
                </a:pathLst>
              </a:custGeom>
              <a:solidFill>
                <a:srgbClr val="F1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67" name="Freeform 143"/>
              <p:cNvSpPr>
                <a:spLocks/>
              </p:cNvSpPr>
              <p:nvPr/>
            </p:nvSpPr>
            <p:spPr bwMode="auto">
              <a:xfrm>
                <a:off x="3828" y="1791"/>
                <a:ext cx="103" cy="80"/>
              </a:xfrm>
              <a:custGeom>
                <a:avLst/>
                <a:gdLst>
                  <a:gd name="T0" fmla="*/ 0 w 719"/>
                  <a:gd name="T1" fmla="*/ 0 h 566"/>
                  <a:gd name="T2" fmla="*/ 0 w 719"/>
                  <a:gd name="T3" fmla="*/ 0 h 566"/>
                  <a:gd name="T4" fmla="*/ 0 w 719"/>
                  <a:gd name="T5" fmla="*/ 0 h 566"/>
                  <a:gd name="T6" fmla="*/ 0 w 719"/>
                  <a:gd name="T7" fmla="*/ 0 h 566"/>
                  <a:gd name="T8" fmla="*/ 0 w 719"/>
                  <a:gd name="T9" fmla="*/ 0 h 566"/>
                  <a:gd name="T10" fmla="*/ 0 w 719"/>
                  <a:gd name="T11" fmla="*/ 0 h 566"/>
                  <a:gd name="T12" fmla="*/ 0 w 719"/>
                  <a:gd name="T13" fmla="*/ 0 h 566"/>
                  <a:gd name="T14" fmla="*/ 0 w 719"/>
                  <a:gd name="T15" fmla="*/ 0 h 566"/>
                  <a:gd name="T16" fmla="*/ 0 w 719"/>
                  <a:gd name="T17" fmla="*/ 0 h 566"/>
                  <a:gd name="T18" fmla="*/ 0 w 719"/>
                  <a:gd name="T19" fmla="*/ 0 h 566"/>
                  <a:gd name="T20" fmla="*/ 0 w 719"/>
                  <a:gd name="T21" fmla="*/ 0 h 566"/>
                  <a:gd name="T22" fmla="*/ 0 w 719"/>
                  <a:gd name="T23" fmla="*/ 0 h 566"/>
                  <a:gd name="T24" fmla="*/ 0 w 719"/>
                  <a:gd name="T25" fmla="*/ 0 h 566"/>
                  <a:gd name="T26" fmla="*/ 0 w 719"/>
                  <a:gd name="T27" fmla="*/ 0 h 566"/>
                  <a:gd name="T28" fmla="*/ 0 w 719"/>
                  <a:gd name="T29" fmla="*/ 0 h 566"/>
                  <a:gd name="T30" fmla="*/ 0 w 719"/>
                  <a:gd name="T31" fmla="*/ 0 h 566"/>
                  <a:gd name="T32" fmla="*/ 0 w 719"/>
                  <a:gd name="T33" fmla="*/ 0 h 566"/>
                  <a:gd name="T34" fmla="*/ 0 w 719"/>
                  <a:gd name="T35" fmla="*/ 0 h 566"/>
                  <a:gd name="T36" fmla="*/ 0 w 719"/>
                  <a:gd name="T37" fmla="*/ 0 h 566"/>
                  <a:gd name="T38" fmla="*/ 0 w 719"/>
                  <a:gd name="T39" fmla="*/ 0 h 566"/>
                  <a:gd name="T40" fmla="*/ 0 w 719"/>
                  <a:gd name="T41" fmla="*/ 0 h 566"/>
                  <a:gd name="T42" fmla="*/ 0 w 719"/>
                  <a:gd name="T43" fmla="*/ 0 h 566"/>
                  <a:gd name="T44" fmla="*/ 0 w 719"/>
                  <a:gd name="T45" fmla="*/ 0 h 566"/>
                  <a:gd name="T46" fmla="*/ 0 w 719"/>
                  <a:gd name="T47" fmla="*/ 0 h 566"/>
                  <a:gd name="T48" fmla="*/ 0 w 719"/>
                  <a:gd name="T49" fmla="*/ 0 h 566"/>
                  <a:gd name="T50" fmla="*/ 0 w 719"/>
                  <a:gd name="T51" fmla="*/ 0 h 566"/>
                  <a:gd name="T52" fmla="*/ 0 w 719"/>
                  <a:gd name="T53" fmla="*/ 0 h 566"/>
                  <a:gd name="T54" fmla="*/ 0 w 719"/>
                  <a:gd name="T55" fmla="*/ 0 h 566"/>
                  <a:gd name="T56" fmla="*/ 0 w 719"/>
                  <a:gd name="T57" fmla="*/ 0 h 566"/>
                  <a:gd name="T58" fmla="*/ 0 w 719"/>
                  <a:gd name="T59" fmla="*/ 0 h 566"/>
                  <a:gd name="T60" fmla="*/ 0 w 719"/>
                  <a:gd name="T61" fmla="*/ 0 h 566"/>
                  <a:gd name="T62" fmla="*/ 0 w 719"/>
                  <a:gd name="T63" fmla="*/ 0 h 566"/>
                  <a:gd name="T64" fmla="*/ 0 w 719"/>
                  <a:gd name="T65" fmla="*/ 0 h 566"/>
                  <a:gd name="T66" fmla="*/ 0 w 719"/>
                  <a:gd name="T67" fmla="*/ 0 h 566"/>
                  <a:gd name="T68" fmla="*/ 0 w 719"/>
                  <a:gd name="T69" fmla="*/ 0 h 566"/>
                  <a:gd name="T70" fmla="*/ 0 w 719"/>
                  <a:gd name="T71" fmla="*/ 0 h 566"/>
                  <a:gd name="T72" fmla="*/ 0 w 719"/>
                  <a:gd name="T73" fmla="*/ 0 h 566"/>
                  <a:gd name="T74" fmla="*/ 0 w 719"/>
                  <a:gd name="T75" fmla="*/ 0 h 566"/>
                  <a:gd name="T76" fmla="*/ 0 w 719"/>
                  <a:gd name="T77" fmla="*/ 0 h 566"/>
                  <a:gd name="T78" fmla="*/ 0 w 719"/>
                  <a:gd name="T79" fmla="*/ 0 h 566"/>
                  <a:gd name="T80" fmla="*/ 0 w 719"/>
                  <a:gd name="T81" fmla="*/ 0 h 566"/>
                  <a:gd name="T82" fmla="*/ 0 w 719"/>
                  <a:gd name="T83" fmla="*/ 0 h 566"/>
                  <a:gd name="T84" fmla="*/ 0 w 719"/>
                  <a:gd name="T85" fmla="*/ 0 h 566"/>
                  <a:gd name="T86" fmla="*/ 0 w 719"/>
                  <a:gd name="T87" fmla="*/ 0 h 566"/>
                  <a:gd name="T88" fmla="*/ 0 w 719"/>
                  <a:gd name="T89" fmla="*/ 0 h 566"/>
                  <a:gd name="T90" fmla="*/ 0 w 719"/>
                  <a:gd name="T91" fmla="*/ 0 h 566"/>
                  <a:gd name="T92" fmla="*/ 0 w 719"/>
                  <a:gd name="T93" fmla="*/ 0 h 566"/>
                  <a:gd name="T94" fmla="*/ 0 w 719"/>
                  <a:gd name="T95" fmla="*/ 0 h 56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719"/>
                  <a:gd name="T145" fmla="*/ 0 h 566"/>
                  <a:gd name="T146" fmla="*/ 719 w 719"/>
                  <a:gd name="T147" fmla="*/ 566 h 56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719" h="566">
                    <a:moveTo>
                      <a:pt x="584" y="19"/>
                    </a:moveTo>
                    <a:lnTo>
                      <a:pt x="574" y="25"/>
                    </a:lnTo>
                    <a:lnTo>
                      <a:pt x="563" y="31"/>
                    </a:lnTo>
                    <a:lnTo>
                      <a:pt x="553" y="37"/>
                    </a:lnTo>
                    <a:lnTo>
                      <a:pt x="544" y="45"/>
                    </a:lnTo>
                    <a:lnTo>
                      <a:pt x="535" y="53"/>
                    </a:lnTo>
                    <a:lnTo>
                      <a:pt x="527" y="61"/>
                    </a:lnTo>
                    <a:lnTo>
                      <a:pt x="519" y="71"/>
                    </a:lnTo>
                    <a:lnTo>
                      <a:pt x="512" y="79"/>
                    </a:lnTo>
                    <a:lnTo>
                      <a:pt x="506" y="88"/>
                    </a:lnTo>
                    <a:lnTo>
                      <a:pt x="500" y="98"/>
                    </a:lnTo>
                    <a:lnTo>
                      <a:pt x="494" y="108"/>
                    </a:lnTo>
                    <a:lnTo>
                      <a:pt x="490" y="117"/>
                    </a:lnTo>
                    <a:lnTo>
                      <a:pt x="482" y="137"/>
                    </a:lnTo>
                    <a:lnTo>
                      <a:pt x="476" y="156"/>
                    </a:lnTo>
                    <a:lnTo>
                      <a:pt x="474" y="167"/>
                    </a:lnTo>
                    <a:lnTo>
                      <a:pt x="473" y="180"/>
                    </a:lnTo>
                    <a:lnTo>
                      <a:pt x="473" y="195"/>
                    </a:lnTo>
                    <a:lnTo>
                      <a:pt x="474" y="212"/>
                    </a:lnTo>
                    <a:lnTo>
                      <a:pt x="478" y="249"/>
                    </a:lnTo>
                    <a:lnTo>
                      <a:pt x="484" y="290"/>
                    </a:lnTo>
                    <a:lnTo>
                      <a:pt x="490" y="330"/>
                    </a:lnTo>
                    <a:lnTo>
                      <a:pt x="497" y="366"/>
                    </a:lnTo>
                    <a:lnTo>
                      <a:pt x="505" y="396"/>
                    </a:lnTo>
                    <a:lnTo>
                      <a:pt x="509" y="418"/>
                    </a:lnTo>
                    <a:lnTo>
                      <a:pt x="513" y="431"/>
                    </a:lnTo>
                    <a:lnTo>
                      <a:pt x="515" y="443"/>
                    </a:lnTo>
                    <a:lnTo>
                      <a:pt x="517" y="453"/>
                    </a:lnTo>
                    <a:lnTo>
                      <a:pt x="519" y="463"/>
                    </a:lnTo>
                    <a:lnTo>
                      <a:pt x="518" y="474"/>
                    </a:lnTo>
                    <a:lnTo>
                      <a:pt x="516" y="485"/>
                    </a:lnTo>
                    <a:lnTo>
                      <a:pt x="512" y="498"/>
                    </a:lnTo>
                    <a:lnTo>
                      <a:pt x="505" y="512"/>
                    </a:lnTo>
                    <a:lnTo>
                      <a:pt x="501" y="518"/>
                    </a:lnTo>
                    <a:lnTo>
                      <a:pt x="496" y="523"/>
                    </a:lnTo>
                    <a:lnTo>
                      <a:pt x="491" y="527"/>
                    </a:lnTo>
                    <a:lnTo>
                      <a:pt x="485" y="530"/>
                    </a:lnTo>
                    <a:lnTo>
                      <a:pt x="479" y="533"/>
                    </a:lnTo>
                    <a:lnTo>
                      <a:pt x="472" y="534"/>
                    </a:lnTo>
                    <a:lnTo>
                      <a:pt x="464" y="535"/>
                    </a:lnTo>
                    <a:lnTo>
                      <a:pt x="457" y="535"/>
                    </a:lnTo>
                    <a:lnTo>
                      <a:pt x="450" y="534"/>
                    </a:lnTo>
                    <a:lnTo>
                      <a:pt x="442" y="532"/>
                    </a:lnTo>
                    <a:lnTo>
                      <a:pt x="434" y="530"/>
                    </a:lnTo>
                    <a:lnTo>
                      <a:pt x="428" y="528"/>
                    </a:lnTo>
                    <a:lnTo>
                      <a:pt x="421" y="523"/>
                    </a:lnTo>
                    <a:lnTo>
                      <a:pt x="415" y="520"/>
                    </a:lnTo>
                    <a:lnTo>
                      <a:pt x="410" y="515"/>
                    </a:lnTo>
                    <a:lnTo>
                      <a:pt x="404" y="511"/>
                    </a:lnTo>
                    <a:lnTo>
                      <a:pt x="396" y="499"/>
                    </a:lnTo>
                    <a:lnTo>
                      <a:pt x="389" y="485"/>
                    </a:lnTo>
                    <a:lnTo>
                      <a:pt x="383" y="472"/>
                    </a:lnTo>
                    <a:lnTo>
                      <a:pt x="378" y="457"/>
                    </a:lnTo>
                    <a:lnTo>
                      <a:pt x="369" y="427"/>
                    </a:lnTo>
                    <a:lnTo>
                      <a:pt x="361" y="398"/>
                    </a:lnTo>
                    <a:lnTo>
                      <a:pt x="355" y="381"/>
                    </a:lnTo>
                    <a:lnTo>
                      <a:pt x="349" y="364"/>
                    </a:lnTo>
                    <a:lnTo>
                      <a:pt x="342" y="349"/>
                    </a:lnTo>
                    <a:lnTo>
                      <a:pt x="335" y="333"/>
                    </a:lnTo>
                    <a:lnTo>
                      <a:pt x="327" y="318"/>
                    </a:lnTo>
                    <a:lnTo>
                      <a:pt x="318" y="302"/>
                    </a:lnTo>
                    <a:lnTo>
                      <a:pt x="307" y="288"/>
                    </a:lnTo>
                    <a:lnTo>
                      <a:pt x="295" y="273"/>
                    </a:lnTo>
                    <a:lnTo>
                      <a:pt x="277" y="254"/>
                    </a:lnTo>
                    <a:lnTo>
                      <a:pt x="259" y="236"/>
                    </a:lnTo>
                    <a:lnTo>
                      <a:pt x="248" y="228"/>
                    </a:lnTo>
                    <a:lnTo>
                      <a:pt x="238" y="220"/>
                    </a:lnTo>
                    <a:lnTo>
                      <a:pt x="228" y="213"/>
                    </a:lnTo>
                    <a:lnTo>
                      <a:pt x="216" y="207"/>
                    </a:lnTo>
                    <a:lnTo>
                      <a:pt x="204" y="201"/>
                    </a:lnTo>
                    <a:lnTo>
                      <a:pt x="193" y="196"/>
                    </a:lnTo>
                    <a:lnTo>
                      <a:pt x="179" y="190"/>
                    </a:lnTo>
                    <a:lnTo>
                      <a:pt x="167" y="187"/>
                    </a:lnTo>
                    <a:lnTo>
                      <a:pt x="152" y="183"/>
                    </a:lnTo>
                    <a:lnTo>
                      <a:pt x="139" y="181"/>
                    </a:lnTo>
                    <a:lnTo>
                      <a:pt x="123" y="179"/>
                    </a:lnTo>
                    <a:lnTo>
                      <a:pt x="108" y="179"/>
                    </a:lnTo>
                    <a:lnTo>
                      <a:pt x="96" y="179"/>
                    </a:lnTo>
                    <a:lnTo>
                      <a:pt x="84" y="180"/>
                    </a:lnTo>
                    <a:lnTo>
                      <a:pt x="73" y="182"/>
                    </a:lnTo>
                    <a:lnTo>
                      <a:pt x="61" y="186"/>
                    </a:lnTo>
                    <a:lnTo>
                      <a:pt x="52" y="190"/>
                    </a:lnTo>
                    <a:lnTo>
                      <a:pt x="42" y="195"/>
                    </a:lnTo>
                    <a:lnTo>
                      <a:pt x="34" y="201"/>
                    </a:lnTo>
                    <a:lnTo>
                      <a:pt x="26" y="207"/>
                    </a:lnTo>
                    <a:lnTo>
                      <a:pt x="19" y="214"/>
                    </a:lnTo>
                    <a:lnTo>
                      <a:pt x="13" y="223"/>
                    </a:lnTo>
                    <a:lnTo>
                      <a:pt x="8" y="231"/>
                    </a:lnTo>
                    <a:lnTo>
                      <a:pt x="5" y="240"/>
                    </a:lnTo>
                    <a:lnTo>
                      <a:pt x="1" y="249"/>
                    </a:lnTo>
                    <a:lnTo>
                      <a:pt x="0" y="259"/>
                    </a:lnTo>
                    <a:lnTo>
                      <a:pt x="0" y="269"/>
                    </a:lnTo>
                    <a:lnTo>
                      <a:pt x="3" y="279"/>
                    </a:lnTo>
                    <a:lnTo>
                      <a:pt x="5" y="276"/>
                    </a:lnTo>
                    <a:lnTo>
                      <a:pt x="9" y="270"/>
                    </a:lnTo>
                    <a:lnTo>
                      <a:pt x="17" y="261"/>
                    </a:lnTo>
                    <a:lnTo>
                      <a:pt x="28" y="250"/>
                    </a:lnTo>
                    <a:lnTo>
                      <a:pt x="35" y="245"/>
                    </a:lnTo>
                    <a:lnTo>
                      <a:pt x="43" y="240"/>
                    </a:lnTo>
                    <a:lnTo>
                      <a:pt x="51" y="235"/>
                    </a:lnTo>
                    <a:lnTo>
                      <a:pt x="59" y="231"/>
                    </a:lnTo>
                    <a:lnTo>
                      <a:pt x="70" y="227"/>
                    </a:lnTo>
                    <a:lnTo>
                      <a:pt x="80" y="225"/>
                    </a:lnTo>
                    <a:lnTo>
                      <a:pt x="91" y="223"/>
                    </a:lnTo>
                    <a:lnTo>
                      <a:pt x="104" y="223"/>
                    </a:lnTo>
                    <a:lnTo>
                      <a:pt x="116" y="224"/>
                    </a:lnTo>
                    <a:lnTo>
                      <a:pt x="130" y="227"/>
                    </a:lnTo>
                    <a:lnTo>
                      <a:pt x="144" y="231"/>
                    </a:lnTo>
                    <a:lnTo>
                      <a:pt x="160" y="237"/>
                    </a:lnTo>
                    <a:lnTo>
                      <a:pt x="175" y="245"/>
                    </a:lnTo>
                    <a:lnTo>
                      <a:pt x="192" y="257"/>
                    </a:lnTo>
                    <a:lnTo>
                      <a:pt x="208" y="270"/>
                    </a:lnTo>
                    <a:lnTo>
                      <a:pt x="226" y="286"/>
                    </a:lnTo>
                    <a:lnTo>
                      <a:pt x="244" y="304"/>
                    </a:lnTo>
                    <a:lnTo>
                      <a:pt x="264" y="326"/>
                    </a:lnTo>
                    <a:lnTo>
                      <a:pt x="284" y="352"/>
                    </a:lnTo>
                    <a:lnTo>
                      <a:pt x="304" y="380"/>
                    </a:lnTo>
                    <a:lnTo>
                      <a:pt x="326" y="412"/>
                    </a:lnTo>
                    <a:lnTo>
                      <a:pt x="348" y="447"/>
                    </a:lnTo>
                    <a:lnTo>
                      <a:pt x="370" y="486"/>
                    </a:lnTo>
                    <a:lnTo>
                      <a:pt x="393" y="530"/>
                    </a:lnTo>
                    <a:lnTo>
                      <a:pt x="397" y="537"/>
                    </a:lnTo>
                    <a:lnTo>
                      <a:pt x="401" y="542"/>
                    </a:lnTo>
                    <a:lnTo>
                      <a:pt x="407" y="547"/>
                    </a:lnTo>
                    <a:lnTo>
                      <a:pt x="412" y="551"/>
                    </a:lnTo>
                    <a:lnTo>
                      <a:pt x="417" y="555"/>
                    </a:lnTo>
                    <a:lnTo>
                      <a:pt x="422" y="559"/>
                    </a:lnTo>
                    <a:lnTo>
                      <a:pt x="428" y="561"/>
                    </a:lnTo>
                    <a:lnTo>
                      <a:pt x="434" y="563"/>
                    </a:lnTo>
                    <a:lnTo>
                      <a:pt x="441" y="564"/>
                    </a:lnTo>
                    <a:lnTo>
                      <a:pt x="447" y="565"/>
                    </a:lnTo>
                    <a:lnTo>
                      <a:pt x="454" y="566"/>
                    </a:lnTo>
                    <a:lnTo>
                      <a:pt x="460" y="565"/>
                    </a:lnTo>
                    <a:lnTo>
                      <a:pt x="474" y="564"/>
                    </a:lnTo>
                    <a:lnTo>
                      <a:pt x="487" y="560"/>
                    </a:lnTo>
                    <a:lnTo>
                      <a:pt x="500" y="555"/>
                    </a:lnTo>
                    <a:lnTo>
                      <a:pt x="512" y="549"/>
                    </a:lnTo>
                    <a:lnTo>
                      <a:pt x="522" y="542"/>
                    </a:lnTo>
                    <a:lnTo>
                      <a:pt x="532" y="535"/>
                    </a:lnTo>
                    <a:lnTo>
                      <a:pt x="539" y="527"/>
                    </a:lnTo>
                    <a:lnTo>
                      <a:pt x="544" y="517"/>
                    </a:lnTo>
                    <a:lnTo>
                      <a:pt x="545" y="513"/>
                    </a:lnTo>
                    <a:lnTo>
                      <a:pt x="546" y="508"/>
                    </a:lnTo>
                    <a:lnTo>
                      <a:pt x="547" y="504"/>
                    </a:lnTo>
                    <a:lnTo>
                      <a:pt x="546" y="500"/>
                    </a:lnTo>
                    <a:lnTo>
                      <a:pt x="540" y="458"/>
                    </a:lnTo>
                    <a:lnTo>
                      <a:pt x="535" y="420"/>
                    </a:lnTo>
                    <a:lnTo>
                      <a:pt x="531" y="383"/>
                    </a:lnTo>
                    <a:lnTo>
                      <a:pt x="530" y="349"/>
                    </a:lnTo>
                    <a:lnTo>
                      <a:pt x="528" y="317"/>
                    </a:lnTo>
                    <a:lnTo>
                      <a:pt x="530" y="288"/>
                    </a:lnTo>
                    <a:lnTo>
                      <a:pt x="531" y="260"/>
                    </a:lnTo>
                    <a:lnTo>
                      <a:pt x="534" y="234"/>
                    </a:lnTo>
                    <a:lnTo>
                      <a:pt x="538" y="210"/>
                    </a:lnTo>
                    <a:lnTo>
                      <a:pt x="543" y="188"/>
                    </a:lnTo>
                    <a:lnTo>
                      <a:pt x="549" y="168"/>
                    </a:lnTo>
                    <a:lnTo>
                      <a:pt x="555" y="149"/>
                    </a:lnTo>
                    <a:lnTo>
                      <a:pt x="563" y="133"/>
                    </a:lnTo>
                    <a:lnTo>
                      <a:pt x="571" y="118"/>
                    </a:lnTo>
                    <a:lnTo>
                      <a:pt x="579" y="104"/>
                    </a:lnTo>
                    <a:lnTo>
                      <a:pt x="588" y="92"/>
                    </a:lnTo>
                    <a:lnTo>
                      <a:pt x="598" y="81"/>
                    </a:lnTo>
                    <a:lnTo>
                      <a:pt x="607" y="72"/>
                    </a:lnTo>
                    <a:lnTo>
                      <a:pt x="616" y="64"/>
                    </a:lnTo>
                    <a:lnTo>
                      <a:pt x="627" y="57"/>
                    </a:lnTo>
                    <a:lnTo>
                      <a:pt x="636" y="52"/>
                    </a:lnTo>
                    <a:lnTo>
                      <a:pt x="646" y="47"/>
                    </a:lnTo>
                    <a:lnTo>
                      <a:pt x="656" y="44"/>
                    </a:lnTo>
                    <a:lnTo>
                      <a:pt x="665" y="41"/>
                    </a:lnTo>
                    <a:lnTo>
                      <a:pt x="673" y="38"/>
                    </a:lnTo>
                    <a:lnTo>
                      <a:pt x="681" y="37"/>
                    </a:lnTo>
                    <a:lnTo>
                      <a:pt x="690" y="37"/>
                    </a:lnTo>
                    <a:lnTo>
                      <a:pt x="697" y="38"/>
                    </a:lnTo>
                    <a:lnTo>
                      <a:pt x="703" y="40"/>
                    </a:lnTo>
                    <a:lnTo>
                      <a:pt x="709" y="42"/>
                    </a:lnTo>
                    <a:lnTo>
                      <a:pt x="714" y="44"/>
                    </a:lnTo>
                    <a:lnTo>
                      <a:pt x="719" y="46"/>
                    </a:lnTo>
                    <a:lnTo>
                      <a:pt x="718" y="35"/>
                    </a:lnTo>
                    <a:lnTo>
                      <a:pt x="716" y="26"/>
                    </a:lnTo>
                    <a:lnTo>
                      <a:pt x="711" y="19"/>
                    </a:lnTo>
                    <a:lnTo>
                      <a:pt x="706" y="13"/>
                    </a:lnTo>
                    <a:lnTo>
                      <a:pt x="699" y="7"/>
                    </a:lnTo>
                    <a:lnTo>
                      <a:pt x="692" y="3"/>
                    </a:lnTo>
                    <a:lnTo>
                      <a:pt x="682" y="1"/>
                    </a:lnTo>
                    <a:lnTo>
                      <a:pt x="673" y="0"/>
                    </a:lnTo>
                    <a:lnTo>
                      <a:pt x="663" y="0"/>
                    </a:lnTo>
                    <a:lnTo>
                      <a:pt x="652" y="0"/>
                    </a:lnTo>
                    <a:lnTo>
                      <a:pt x="641" y="2"/>
                    </a:lnTo>
                    <a:lnTo>
                      <a:pt x="630" y="4"/>
                    </a:lnTo>
                    <a:lnTo>
                      <a:pt x="618" y="7"/>
                    </a:lnTo>
                    <a:lnTo>
                      <a:pt x="607" y="11"/>
                    </a:lnTo>
                    <a:lnTo>
                      <a:pt x="596" y="15"/>
                    </a:lnTo>
                    <a:lnTo>
                      <a:pt x="584" y="19"/>
                    </a:lnTo>
                    <a:close/>
                  </a:path>
                </a:pathLst>
              </a:custGeom>
              <a:solidFill>
                <a:srgbClr val="F1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368" name="Freeform 144"/>
              <p:cNvSpPr>
                <a:spLocks/>
              </p:cNvSpPr>
              <p:nvPr/>
            </p:nvSpPr>
            <p:spPr bwMode="auto">
              <a:xfrm>
                <a:off x="3840" y="1822"/>
                <a:ext cx="104" cy="61"/>
              </a:xfrm>
              <a:custGeom>
                <a:avLst/>
                <a:gdLst>
                  <a:gd name="T0" fmla="*/ 0 w 728"/>
                  <a:gd name="T1" fmla="*/ 0 h 427"/>
                  <a:gd name="T2" fmla="*/ 0 w 728"/>
                  <a:gd name="T3" fmla="*/ 0 h 427"/>
                  <a:gd name="T4" fmla="*/ 0 w 728"/>
                  <a:gd name="T5" fmla="*/ 0 h 427"/>
                  <a:gd name="T6" fmla="*/ 0 w 728"/>
                  <a:gd name="T7" fmla="*/ 0 h 427"/>
                  <a:gd name="T8" fmla="*/ 0 w 728"/>
                  <a:gd name="T9" fmla="*/ 0 h 427"/>
                  <a:gd name="T10" fmla="*/ 0 w 728"/>
                  <a:gd name="T11" fmla="*/ 0 h 427"/>
                  <a:gd name="T12" fmla="*/ 0 w 728"/>
                  <a:gd name="T13" fmla="*/ 0 h 427"/>
                  <a:gd name="T14" fmla="*/ 0 w 728"/>
                  <a:gd name="T15" fmla="*/ 0 h 427"/>
                  <a:gd name="T16" fmla="*/ 0 w 728"/>
                  <a:gd name="T17" fmla="*/ 0 h 427"/>
                  <a:gd name="T18" fmla="*/ 0 w 728"/>
                  <a:gd name="T19" fmla="*/ 0 h 427"/>
                  <a:gd name="T20" fmla="*/ 0 w 728"/>
                  <a:gd name="T21" fmla="*/ 0 h 427"/>
                  <a:gd name="T22" fmla="*/ 0 w 728"/>
                  <a:gd name="T23" fmla="*/ 0 h 427"/>
                  <a:gd name="T24" fmla="*/ 0 w 728"/>
                  <a:gd name="T25" fmla="*/ 0 h 427"/>
                  <a:gd name="T26" fmla="*/ 0 w 728"/>
                  <a:gd name="T27" fmla="*/ 0 h 427"/>
                  <a:gd name="T28" fmla="*/ 0 w 728"/>
                  <a:gd name="T29" fmla="*/ 0 h 427"/>
                  <a:gd name="T30" fmla="*/ 0 w 728"/>
                  <a:gd name="T31" fmla="*/ 0 h 427"/>
                  <a:gd name="T32" fmla="*/ 0 w 728"/>
                  <a:gd name="T33" fmla="*/ 0 h 427"/>
                  <a:gd name="T34" fmla="*/ 0 w 728"/>
                  <a:gd name="T35" fmla="*/ 0 h 427"/>
                  <a:gd name="T36" fmla="*/ 0 w 728"/>
                  <a:gd name="T37" fmla="*/ 0 h 427"/>
                  <a:gd name="T38" fmla="*/ 0 w 728"/>
                  <a:gd name="T39" fmla="*/ 0 h 427"/>
                  <a:gd name="T40" fmla="*/ 0 w 728"/>
                  <a:gd name="T41" fmla="*/ 0 h 427"/>
                  <a:gd name="T42" fmla="*/ 0 w 728"/>
                  <a:gd name="T43" fmla="*/ 0 h 427"/>
                  <a:gd name="T44" fmla="*/ 0 w 728"/>
                  <a:gd name="T45" fmla="*/ 0 h 427"/>
                  <a:gd name="T46" fmla="*/ 0 w 728"/>
                  <a:gd name="T47" fmla="*/ 0 h 427"/>
                  <a:gd name="T48" fmla="*/ 0 w 728"/>
                  <a:gd name="T49" fmla="*/ 0 h 427"/>
                  <a:gd name="T50" fmla="*/ 0 w 728"/>
                  <a:gd name="T51" fmla="*/ 0 h 427"/>
                  <a:gd name="T52" fmla="*/ 0 w 728"/>
                  <a:gd name="T53" fmla="*/ 0 h 427"/>
                  <a:gd name="T54" fmla="*/ 0 w 728"/>
                  <a:gd name="T55" fmla="*/ 0 h 427"/>
                  <a:gd name="T56" fmla="*/ 0 w 728"/>
                  <a:gd name="T57" fmla="*/ 0 h 427"/>
                  <a:gd name="T58" fmla="*/ 0 w 728"/>
                  <a:gd name="T59" fmla="*/ 0 h 427"/>
                  <a:gd name="T60" fmla="*/ 0 w 728"/>
                  <a:gd name="T61" fmla="*/ 0 h 427"/>
                  <a:gd name="T62" fmla="*/ 0 w 728"/>
                  <a:gd name="T63" fmla="*/ 0 h 427"/>
                  <a:gd name="T64" fmla="*/ 0 w 728"/>
                  <a:gd name="T65" fmla="*/ 0 h 427"/>
                  <a:gd name="T66" fmla="*/ 0 w 728"/>
                  <a:gd name="T67" fmla="*/ 0 h 427"/>
                  <a:gd name="T68" fmla="*/ 0 w 728"/>
                  <a:gd name="T69" fmla="*/ 0 h 427"/>
                  <a:gd name="T70" fmla="*/ 0 w 728"/>
                  <a:gd name="T71" fmla="*/ 0 h 427"/>
                  <a:gd name="T72" fmla="*/ 0 w 728"/>
                  <a:gd name="T73" fmla="*/ 0 h 427"/>
                  <a:gd name="T74" fmla="*/ 0 w 728"/>
                  <a:gd name="T75" fmla="*/ 0 h 427"/>
                  <a:gd name="T76" fmla="*/ 0 w 728"/>
                  <a:gd name="T77" fmla="*/ 0 h 427"/>
                  <a:gd name="T78" fmla="*/ 0 w 728"/>
                  <a:gd name="T79" fmla="*/ 0 h 427"/>
                  <a:gd name="T80" fmla="*/ 0 w 728"/>
                  <a:gd name="T81" fmla="*/ 0 h 427"/>
                  <a:gd name="T82" fmla="*/ 0 w 728"/>
                  <a:gd name="T83" fmla="*/ 0 h 427"/>
                  <a:gd name="T84" fmla="*/ 0 w 728"/>
                  <a:gd name="T85" fmla="*/ 0 h 427"/>
                  <a:gd name="T86" fmla="*/ 0 w 728"/>
                  <a:gd name="T87" fmla="*/ 0 h 427"/>
                  <a:gd name="T88" fmla="*/ 0 w 728"/>
                  <a:gd name="T89" fmla="*/ 0 h 427"/>
                  <a:gd name="T90" fmla="*/ 0 w 728"/>
                  <a:gd name="T91" fmla="*/ 0 h 427"/>
                  <a:gd name="T92" fmla="*/ 0 w 728"/>
                  <a:gd name="T93" fmla="*/ 0 h 427"/>
                  <a:gd name="T94" fmla="*/ 0 w 728"/>
                  <a:gd name="T95" fmla="*/ 0 h 427"/>
                  <a:gd name="T96" fmla="*/ 0 w 728"/>
                  <a:gd name="T97" fmla="*/ 0 h 427"/>
                  <a:gd name="T98" fmla="*/ 0 w 728"/>
                  <a:gd name="T99" fmla="*/ 0 h 427"/>
                  <a:gd name="T100" fmla="*/ 0 w 728"/>
                  <a:gd name="T101" fmla="*/ 0 h 427"/>
                  <a:gd name="T102" fmla="*/ 0 w 728"/>
                  <a:gd name="T103" fmla="*/ 0 h 427"/>
                  <a:gd name="T104" fmla="*/ 0 w 728"/>
                  <a:gd name="T105" fmla="*/ 0 h 427"/>
                  <a:gd name="T106" fmla="*/ 0 w 728"/>
                  <a:gd name="T107" fmla="*/ 0 h 427"/>
                  <a:gd name="T108" fmla="*/ 0 w 728"/>
                  <a:gd name="T109" fmla="*/ 0 h 427"/>
                  <a:gd name="T110" fmla="*/ 0 w 728"/>
                  <a:gd name="T111" fmla="*/ 0 h 427"/>
                  <a:gd name="T112" fmla="*/ 0 w 728"/>
                  <a:gd name="T113" fmla="*/ 0 h 427"/>
                  <a:gd name="T114" fmla="*/ 0 w 728"/>
                  <a:gd name="T115" fmla="*/ 0 h 427"/>
                  <a:gd name="T116" fmla="*/ 0 w 728"/>
                  <a:gd name="T117" fmla="*/ 0 h 427"/>
                  <a:gd name="T118" fmla="*/ 0 w 728"/>
                  <a:gd name="T119" fmla="*/ 0 h 427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w 728"/>
                  <a:gd name="T181" fmla="*/ 0 h 427"/>
                  <a:gd name="T182" fmla="*/ 728 w 728"/>
                  <a:gd name="T183" fmla="*/ 427 h 427"/>
                </a:gdLst>
                <a:ahLst/>
                <a:cxnLst>
                  <a:cxn ang="T120">
                    <a:pos x="T0" y="T1"/>
                  </a:cxn>
                  <a:cxn ang="T121">
                    <a:pos x="T2" y="T3"/>
                  </a:cxn>
                  <a:cxn ang="T122">
                    <a:pos x="T4" y="T5"/>
                  </a:cxn>
                  <a:cxn ang="T123">
                    <a:pos x="T6" y="T7"/>
                  </a:cxn>
                  <a:cxn ang="T124">
                    <a:pos x="T8" y="T9"/>
                  </a:cxn>
                  <a:cxn ang="T125">
                    <a:pos x="T10" y="T11"/>
                  </a:cxn>
                  <a:cxn ang="T126">
                    <a:pos x="T12" y="T13"/>
                  </a:cxn>
                  <a:cxn ang="T127">
                    <a:pos x="T14" y="T15"/>
                  </a:cxn>
                  <a:cxn ang="T128">
                    <a:pos x="T16" y="T17"/>
                  </a:cxn>
                  <a:cxn ang="T129">
                    <a:pos x="T18" y="T19"/>
                  </a:cxn>
                  <a:cxn ang="T130">
                    <a:pos x="T20" y="T21"/>
                  </a:cxn>
                  <a:cxn ang="T131">
                    <a:pos x="T22" y="T23"/>
                  </a:cxn>
                  <a:cxn ang="T132">
                    <a:pos x="T24" y="T25"/>
                  </a:cxn>
                  <a:cxn ang="T133">
                    <a:pos x="T26" y="T27"/>
                  </a:cxn>
                  <a:cxn ang="T134">
                    <a:pos x="T28" y="T29"/>
                  </a:cxn>
                  <a:cxn ang="T135">
                    <a:pos x="T30" y="T31"/>
                  </a:cxn>
                  <a:cxn ang="T136">
                    <a:pos x="T32" y="T33"/>
                  </a:cxn>
                  <a:cxn ang="T137">
                    <a:pos x="T34" y="T35"/>
                  </a:cxn>
                  <a:cxn ang="T138">
                    <a:pos x="T36" y="T37"/>
                  </a:cxn>
                  <a:cxn ang="T139">
                    <a:pos x="T38" y="T39"/>
                  </a:cxn>
                  <a:cxn ang="T140">
                    <a:pos x="T40" y="T41"/>
                  </a:cxn>
                  <a:cxn ang="T141">
                    <a:pos x="T42" y="T43"/>
                  </a:cxn>
                  <a:cxn ang="T142">
                    <a:pos x="T44" y="T45"/>
                  </a:cxn>
                  <a:cxn ang="T143">
                    <a:pos x="T46" y="T47"/>
                  </a:cxn>
                  <a:cxn ang="T144">
                    <a:pos x="T48" y="T49"/>
                  </a:cxn>
                  <a:cxn ang="T145">
                    <a:pos x="T50" y="T51"/>
                  </a:cxn>
                  <a:cxn ang="T146">
                    <a:pos x="T52" y="T53"/>
                  </a:cxn>
                  <a:cxn ang="T147">
                    <a:pos x="T54" y="T55"/>
                  </a:cxn>
                  <a:cxn ang="T148">
                    <a:pos x="T56" y="T57"/>
                  </a:cxn>
                  <a:cxn ang="T149">
                    <a:pos x="T58" y="T59"/>
                  </a:cxn>
                  <a:cxn ang="T150">
                    <a:pos x="T60" y="T61"/>
                  </a:cxn>
                  <a:cxn ang="T151">
                    <a:pos x="T62" y="T63"/>
                  </a:cxn>
                  <a:cxn ang="T152">
                    <a:pos x="T64" y="T65"/>
                  </a:cxn>
                  <a:cxn ang="T153">
                    <a:pos x="T66" y="T67"/>
                  </a:cxn>
                  <a:cxn ang="T154">
                    <a:pos x="T68" y="T69"/>
                  </a:cxn>
                  <a:cxn ang="T155">
                    <a:pos x="T70" y="T71"/>
                  </a:cxn>
                  <a:cxn ang="T156">
                    <a:pos x="T72" y="T73"/>
                  </a:cxn>
                  <a:cxn ang="T157">
                    <a:pos x="T74" y="T75"/>
                  </a:cxn>
                  <a:cxn ang="T158">
                    <a:pos x="T76" y="T77"/>
                  </a:cxn>
                  <a:cxn ang="T159">
                    <a:pos x="T78" y="T79"/>
                  </a:cxn>
                  <a:cxn ang="T160">
                    <a:pos x="T80" y="T81"/>
                  </a:cxn>
                  <a:cxn ang="T161">
                    <a:pos x="T82" y="T83"/>
                  </a:cxn>
                  <a:cxn ang="T162">
                    <a:pos x="T84" y="T85"/>
                  </a:cxn>
                  <a:cxn ang="T163">
                    <a:pos x="T86" y="T87"/>
                  </a:cxn>
                  <a:cxn ang="T164">
                    <a:pos x="T88" y="T89"/>
                  </a:cxn>
                  <a:cxn ang="T165">
                    <a:pos x="T90" y="T91"/>
                  </a:cxn>
                  <a:cxn ang="T166">
                    <a:pos x="T92" y="T93"/>
                  </a:cxn>
                  <a:cxn ang="T167">
                    <a:pos x="T94" y="T95"/>
                  </a:cxn>
                  <a:cxn ang="T168">
                    <a:pos x="T96" y="T97"/>
                  </a:cxn>
                  <a:cxn ang="T169">
                    <a:pos x="T98" y="T99"/>
                  </a:cxn>
                  <a:cxn ang="T170">
                    <a:pos x="T100" y="T101"/>
                  </a:cxn>
                  <a:cxn ang="T171">
                    <a:pos x="T102" y="T103"/>
                  </a:cxn>
                  <a:cxn ang="T172">
                    <a:pos x="T104" y="T105"/>
                  </a:cxn>
                  <a:cxn ang="T173">
                    <a:pos x="T106" y="T107"/>
                  </a:cxn>
                  <a:cxn ang="T174">
                    <a:pos x="T108" y="T109"/>
                  </a:cxn>
                  <a:cxn ang="T175">
                    <a:pos x="T110" y="T111"/>
                  </a:cxn>
                  <a:cxn ang="T176">
                    <a:pos x="T112" y="T113"/>
                  </a:cxn>
                  <a:cxn ang="T177">
                    <a:pos x="T114" y="T115"/>
                  </a:cxn>
                  <a:cxn ang="T178">
                    <a:pos x="T116" y="T117"/>
                  </a:cxn>
                  <a:cxn ang="T179">
                    <a:pos x="T118" y="T119"/>
                  </a:cxn>
                </a:cxnLst>
                <a:rect l="T180" t="T181" r="T182" b="T183"/>
                <a:pathLst>
                  <a:path w="728" h="427">
                    <a:moveTo>
                      <a:pt x="515" y="55"/>
                    </a:moveTo>
                    <a:lnTo>
                      <a:pt x="509" y="61"/>
                    </a:lnTo>
                    <a:lnTo>
                      <a:pt x="503" y="68"/>
                    </a:lnTo>
                    <a:lnTo>
                      <a:pt x="498" y="76"/>
                    </a:lnTo>
                    <a:lnTo>
                      <a:pt x="493" y="84"/>
                    </a:lnTo>
                    <a:lnTo>
                      <a:pt x="490" y="94"/>
                    </a:lnTo>
                    <a:lnTo>
                      <a:pt x="487" y="103"/>
                    </a:lnTo>
                    <a:lnTo>
                      <a:pt x="486" y="112"/>
                    </a:lnTo>
                    <a:lnTo>
                      <a:pt x="486" y="122"/>
                    </a:lnTo>
                    <a:lnTo>
                      <a:pt x="486" y="130"/>
                    </a:lnTo>
                    <a:lnTo>
                      <a:pt x="488" y="137"/>
                    </a:lnTo>
                    <a:lnTo>
                      <a:pt x="490" y="143"/>
                    </a:lnTo>
                    <a:lnTo>
                      <a:pt x="493" y="149"/>
                    </a:lnTo>
                    <a:lnTo>
                      <a:pt x="497" y="155"/>
                    </a:lnTo>
                    <a:lnTo>
                      <a:pt x="501" y="160"/>
                    </a:lnTo>
                    <a:lnTo>
                      <a:pt x="506" y="164"/>
                    </a:lnTo>
                    <a:lnTo>
                      <a:pt x="513" y="167"/>
                    </a:lnTo>
                    <a:lnTo>
                      <a:pt x="519" y="170"/>
                    </a:lnTo>
                    <a:lnTo>
                      <a:pt x="528" y="172"/>
                    </a:lnTo>
                    <a:lnTo>
                      <a:pt x="537" y="174"/>
                    </a:lnTo>
                    <a:lnTo>
                      <a:pt x="548" y="174"/>
                    </a:lnTo>
                    <a:lnTo>
                      <a:pt x="558" y="172"/>
                    </a:lnTo>
                    <a:lnTo>
                      <a:pt x="568" y="170"/>
                    </a:lnTo>
                    <a:lnTo>
                      <a:pt x="579" y="167"/>
                    </a:lnTo>
                    <a:lnTo>
                      <a:pt x="589" y="162"/>
                    </a:lnTo>
                    <a:lnTo>
                      <a:pt x="598" y="157"/>
                    </a:lnTo>
                    <a:lnTo>
                      <a:pt x="605" y="152"/>
                    </a:lnTo>
                    <a:lnTo>
                      <a:pt x="611" y="146"/>
                    </a:lnTo>
                    <a:lnTo>
                      <a:pt x="615" y="141"/>
                    </a:lnTo>
                    <a:lnTo>
                      <a:pt x="619" y="135"/>
                    </a:lnTo>
                    <a:lnTo>
                      <a:pt x="621" y="129"/>
                    </a:lnTo>
                    <a:lnTo>
                      <a:pt x="622" y="123"/>
                    </a:lnTo>
                    <a:lnTo>
                      <a:pt x="623" y="116"/>
                    </a:lnTo>
                    <a:lnTo>
                      <a:pt x="622" y="109"/>
                    </a:lnTo>
                    <a:lnTo>
                      <a:pt x="620" y="104"/>
                    </a:lnTo>
                    <a:lnTo>
                      <a:pt x="617" y="99"/>
                    </a:lnTo>
                    <a:lnTo>
                      <a:pt x="614" y="95"/>
                    </a:lnTo>
                    <a:lnTo>
                      <a:pt x="610" y="91"/>
                    </a:lnTo>
                    <a:lnTo>
                      <a:pt x="605" y="87"/>
                    </a:lnTo>
                    <a:lnTo>
                      <a:pt x="599" y="85"/>
                    </a:lnTo>
                    <a:lnTo>
                      <a:pt x="593" y="83"/>
                    </a:lnTo>
                    <a:lnTo>
                      <a:pt x="586" y="82"/>
                    </a:lnTo>
                    <a:lnTo>
                      <a:pt x="580" y="82"/>
                    </a:lnTo>
                    <a:lnTo>
                      <a:pt x="574" y="83"/>
                    </a:lnTo>
                    <a:lnTo>
                      <a:pt x="567" y="84"/>
                    </a:lnTo>
                    <a:lnTo>
                      <a:pt x="561" y="85"/>
                    </a:lnTo>
                    <a:lnTo>
                      <a:pt x="556" y="87"/>
                    </a:lnTo>
                    <a:lnTo>
                      <a:pt x="551" y="91"/>
                    </a:lnTo>
                    <a:lnTo>
                      <a:pt x="546" y="94"/>
                    </a:lnTo>
                    <a:lnTo>
                      <a:pt x="543" y="97"/>
                    </a:lnTo>
                    <a:lnTo>
                      <a:pt x="539" y="100"/>
                    </a:lnTo>
                    <a:lnTo>
                      <a:pt x="537" y="103"/>
                    </a:lnTo>
                    <a:lnTo>
                      <a:pt x="536" y="107"/>
                    </a:lnTo>
                    <a:lnTo>
                      <a:pt x="535" y="110"/>
                    </a:lnTo>
                    <a:lnTo>
                      <a:pt x="535" y="114"/>
                    </a:lnTo>
                    <a:lnTo>
                      <a:pt x="535" y="117"/>
                    </a:lnTo>
                    <a:lnTo>
                      <a:pt x="536" y="122"/>
                    </a:lnTo>
                    <a:lnTo>
                      <a:pt x="538" y="126"/>
                    </a:lnTo>
                    <a:lnTo>
                      <a:pt x="557" y="116"/>
                    </a:lnTo>
                    <a:lnTo>
                      <a:pt x="556" y="113"/>
                    </a:lnTo>
                    <a:lnTo>
                      <a:pt x="556" y="110"/>
                    </a:lnTo>
                    <a:lnTo>
                      <a:pt x="556" y="108"/>
                    </a:lnTo>
                    <a:lnTo>
                      <a:pt x="558" y="106"/>
                    </a:lnTo>
                    <a:lnTo>
                      <a:pt x="562" y="103"/>
                    </a:lnTo>
                    <a:lnTo>
                      <a:pt x="567" y="101"/>
                    </a:lnTo>
                    <a:lnTo>
                      <a:pt x="574" y="100"/>
                    </a:lnTo>
                    <a:lnTo>
                      <a:pt x="581" y="100"/>
                    </a:lnTo>
                    <a:lnTo>
                      <a:pt x="586" y="101"/>
                    </a:lnTo>
                    <a:lnTo>
                      <a:pt x="592" y="103"/>
                    </a:lnTo>
                    <a:lnTo>
                      <a:pt x="595" y="105"/>
                    </a:lnTo>
                    <a:lnTo>
                      <a:pt x="597" y="107"/>
                    </a:lnTo>
                    <a:lnTo>
                      <a:pt x="599" y="111"/>
                    </a:lnTo>
                    <a:lnTo>
                      <a:pt x="601" y="115"/>
                    </a:lnTo>
                    <a:lnTo>
                      <a:pt x="602" y="119"/>
                    </a:lnTo>
                    <a:lnTo>
                      <a:pt x="601" y="125"/>
                    </a:lnTo>
                    <a:lnTo>
                      <a:pt x="600" y="129"/>
                    </a:lnTo>
                    <a:lnTo>
                      <a:pt x="598" y="133"/>
                    </a:lnTo>
                    <a:lnTo>
                      <a:pt x="593" y="139"/>
                    </a:lnTo>
                    <a:lnTo>
                      <a:pt x="587" y="144"/>
                    </a:lnTo>
                    <a:lnTo>
                      <a:pt x="580" y="148"/>
                    </a:lnTo>
                    <a:lnTo>
                      <a:pt x="573" y="152"/>
                    </a:lnTo>
                    <a:lnTo>
                      <a:pt x="565" y="155"/>
                    </a:lnTo>
                    <a:lnTo>
                      <a:pt x="558" y="156"/>
                    </a:lnTo>
                    <a:lnTo>
                      <a:pt x="550" y="157"/>
                    </a:lnTo>
                    <a:lnTo>
                      <a:pt x="543" y="157"/>
                    </a:lnTo>
                    <a:lnTo>
                      <a:pt x="536" y="156"/>
                    </a:lnTo>
                    <a:lnTo>
                      <a:pt x="530" y="155"/>
                    </a:lnTo>
                    <a:lnTo>
                      <a:pt x="524" y="152"/>
                    </a:lnTo>
                    <a:lnTo>
                      <a:pt x="520" y="148"/>
                    </a:lnTo>
                    <a:lnTo>
                      <a:pt x="516" y="145"/>
                    </a:lnTo>
                    <a:lnTo>
                      <a:pt x="513" y="141"/>
                    </a:lnTo>
                    <a:lnTo>
                      <a:pt x="508" y="133"/>
                    </a:lnTo>
                    <a:lnTo>
                      <a:pt x="506" y="126"/>
                    </a:lnTo>
                    <a:lnTo>
                      <a:pt x="505" y="118"/>
                    </a:lnTo>
                    <a:lnTo>
                      <a:pt x="506" y="111"/>
                    </a:lnTo>
                    <a:lnTo>
                      <a:pt x="507" y="104"/>
                    </a:lnTo>
                    <a:lnTo>
                      <a:pt x="509" y="96"/>
                    </a:lnTo>
                    <a:lnTo>
                      <a:pt x="512" y="88"/>
                    </a:lnTo>
                    <a:lnTo>
                      <a:pt x="516" y="82"/>
                    </a:lnTo>
                    <a:lnTo>
                      <a:pt x="520" y="76"/>
                    </a:lnTo>
                    <a:lnTo>
                      <a:pt x="524" y="71"/>
                    </a:lnTo>
                    <a:lnTo>
                      <a:pt x="530" y="65"/>
                    </a:lnTo>
                    <a:lnTo>
                      <a:pt x="539" y="55"/>
                    </a:lnTo>
                    <a:lnTo>
                      <a:pt x="549" y="47"/>
                    </a:lnTo>
                    <a:lnTo>
                      <a:pt x="557" y="40"/>
                    </a:lnTo>
                    <a:lnTo>
                      <a:pt x="566" y="33"/>
                    </a:lnTo>
                    <a:lnTo>
                      <a:pt x="576" y="27"/>
                    </a:lnTo>
                    <a:lnTo>
                      <a:pt x="586" y="23"/>
                    </a:lnTo>
                    <a:lnTo>
                      <a:pt x="597" y="19"/>
                    </a:lnTo>
                    <a:lnTo>
                      <a:pt x="610" y="17"/>
                    </a:lnTo>
                    <a:lnTo>
                      <a:pt x="620" y="16"/>
                    </a:lnTo>
                    <a:lnTo>
                      <a:pt x="629" y="17"/>
                    </a:lnTo>
                    <a:lnTo>
                      <a:pt x="639" y="18"/>
                    </a:lnTo>
                    <a:lnTo>
                      <a:pt x="648" y="20"/>
                    </a:lnTo>
                    <a:lnTo>
                      <a:pt x="656" y="22"/>
                    </a:lnTo>
                    <a:lnTo>
                      <a:pt x="663" y="26"/>
                    </a:lnTo>
                    <a:lnTo>
                      <a:pt x="671" y="32"/>
                    </a:lnTo>
                    <a:lnTo>
                      <a:pt x="678" y="37"/>
                    </a:lnTo>
                    <a:lnTo>
                      <a:pt x="682" y="42"/>
                    </a:lnTo>
                    <a:lnTo>
                      <a:pt x="687" y="47"/>
                    </a:lnTo>
                    <a:lnTo>
                      <a:pt x="691" y="53"/>
                    </a:lnTo>
                    <a:lnTo>
                      <a:pt x="694" y="61"/>
                    </a:lnTo>
                    <a:lnTo>
                      <a:pt x="699" y="67"/>
                    </a:lnTo>
                    <a:lnTo>
                      <a:pt x="701" y="74"/>
                    </a:lnTo>
                    <a:lnTo>
                      <a:pt x="703" y="82"/>
                    </a:lnTo>
                    <a:lnTo>
                      <a:pt x="705" y="89"/>
                    </a:lnTo>
                    <a:lnTo>
                      <a:pt x="707" y="106"/>
                    </a:lnTo>
                    <a:lnTo>
                      <a:pt x="707" y="123"/>
                    </a:lnTo>
                    <a:lnTo>
                      <a:pt x="706" y="131"/>
                    </a:lnTo>
                    <a:lnTo>
                      <a:pt x="705" y="139"/>
                    </a:lnTo>
                    <a:lnTo>
                      <a:pt x="703" y="147"/>
                    </a:lnTo>
                    <a:lnTo>
                      <a:pt x="701" y="156"/>
                    </a:lnTo>
                    <a:lnTo>
                      <a:pt x="697" y="167"/>
                    </a:lnTo>
                    <a:lnTo>
                      <a:pt x="691" y="178"/>
                    </a:lnTo>
                    <a:lnTo>
                      <a:pt x="686" y="190"/>
                    </a:lnTo>
                    <a:lnTo>
                      <a:pt x="679" y="202"/>
                    </a:lnTo>
                    <a:lnTo>
                      <a:pt x="672" y="214"/>
                    </a:lnTo>
                    <a:lnTo>
                      <a:pt x="664" y="225"/>
                    </a:lnTo>
                    <a:lnTo>
                      <a:pt x="656" y="235"/>
                    </a:lnTo>
                    <a:lnTo>
                      <a:pt x="647" y="247"/>
                    </a:lnTo>
                    <a:lnTo>
                      <a:pt x="638" y="257"/>
                    </a:lnTo>
                    <a:lnTo>
                      <a:pt x="627" y="267"/>
                    </a:lnTo>
                    <a:lnTo>
                      <a:pt x="617" y="277"/>
                    </a:lnTo>
                    <a:lnTo>
                      <a:pt x="607" y="286"/>
                    </a:lnTo>
                    <a:lnTo>
                      <a:pt x="595" y="294"/>
                    </a:lnTo>
                    <a:lnTo>
                      <a:pt x="585" y="303"/>
                    </a:lnTo>
                    <a:lnTo>
                      <a:pt x="573" y="310"/>
                    </a:lnTo>
                    <a:lnTo>
                      <a:pt x="561" y="316"/>
                    </a:lnTo>
                    <a:lnTo>
                      <a:pt x="539" y="328"/>
                    </a:lnTo>
                    <a:lnTo>
                      <a:pt x="518" y="339"/>
                    </a:lnTo>
                    <a:lnTo>
                      <a:pt x="498" y="349"/>
                    </a:lnTo>
                    <a:lnTo>
                      <a:pt x="478" y="357"/>
                    </a:lnTo>
                    <a:lnTo>
                      <a:pt x="460" y="365"/>
                    </a:lnTo>
                    <a:lnTo>
                      <a:pt x="441" y="372"/>
                    </a:lnTo>
                    <a:lnTo>
                      <a:pt x="424" y="378"/>
                    </a:lnTo>
                    <a:lnTo>
                      <a:pt x="405" y="383"/>
                    </a:lnTo>
                    <a:lnTo>
                      <a:pt x="388" y="388"/>
                    </a:lnTo>
                    <a:lnTo>
                      <a:pt x="369" y="392"/>
                    </a:lnTo>
                    <a:lnTo>
                      <a:pt x="350" y="396"/>
                    </a:lnTo>
                    <a:lnTo>
                      <a:pt x="332" y="400"/>
                    </a:lnTo>
                    <a:lnTo>
                      <a:pt x="290" y="405"/>
                    </a:lnTo>
                    <a:lnTo>
                      <a:pt x="244" y="409"/>
                    </a:lnTo>
                    <a:lnTo>
                      <a:pt x="233" y="410"/>
                    </a:lnTo>
                    <a:lnTo>
                      <a:pt x="220" y="410"/>
                    </a:lnTo>
                    <a:lnTo>
                      <a:pt x="208" y="409"/>
                    </a:lnTo>
                    <a:lnTo>
                      <a:pt x="194" y="408"/>
                    </a:lnTo>
                    <a:lnTo>
                      <a:pt x="181" y="406"/>
                    </a:lnTo>
                    <a:lnTo>
                      <a:pt x="167" y="403"/>
                    </a:lnTo>
                    <a:lnTo>
                      <a:pt x="154" y="400"/>
                    </a:lnTo>
                    <a:lnTo>
                      <a:pt x="141" y="396"/>
                    </a:lnTo>
                    <a:lnTo>
                      <a:pt x="127" y="391"/>
                    </a:lnTo>
                    <a:lnTo>
                      <a:pt x="115" y="386"/>
                    </a:lnTo>
                    <a:lnTo>
                      <a:pt x="102" y="381"/>
                    </a:lnTo>
                    <a:lnTo>
                      <a:pt x="91" y="375"/>
                    </a:lnTo>
                    <a:lnTo>
                      <a:pt x="80" y="369"/>
                    </a:lnTo>
                    <a:lnTo>
                      <a:pt x="70" y="361"/>
                    </a:lnTo>
                    <a:lnTo>
                      <a:pt x="61" y="354"/>
                    </a:lnTo>
                    <a:lnTo>
                      <a:pt x="54" y="347"/>
                    </a:lnTo>
                    <a:lnTo>
                      <a:pt x="43" y="334"/>
                    </a:lnTo>
                    <a:lnTo>
                      <a:pt x="34" y="319"/>
                    </a:lnTo>
                    <a:lnTo>
                      <a:pt x="30" y="312"/>
                    </a:lnTo>
                    <a:lnTo>
                      <a:pt x="27" y="304"/>
                    </a:lnTo>
                    <a:lnTo>
                      <a:pt x="24" y="296"/>
                    </a:lnTo>
                    <a:lnTo>
                      <a:pt x="22" y="288"/>
                    </a:lnTo>
                    <a:lnTo>
                      <a:pt x="21" y="280"/>
                    </a:lnTo>
                    <a:lnTo>
                      <a:pt x="20" y="271"/>
                    </a:lnTo>
                    <a:lnTo>
                      <a:pt x="20" y="263"/>
                    </a:lnTo>
                    <a:lnTo>
                      <a:pt x="22" y="255"/>
                    </a:lnTo>
                    <a:lnTo>
                      <a:pt x="24" y="247"/>
                    </a:lnTo>
                    <a:lnTo>
                      <a:pt x="27" y="239"/>
                    </a:lnTo>
                    <a:lnTo>
                      <a:pt x="31" y="231"/>
                    </a:lnTo>
                    <a:lnTo>
                      <a:pt x="36" y="224"/>
                    </a:lnTo>
                    <a:lnTo>
                      <a:pt x="44" y="216"/>
                    </a:lnTo>
                    <a:lnTo>
                      <a:pt x="55" y="208"/>
                    </a:lnTo>
                    <a:lnTo>
                      <a:pt x="66" y="201"/>
                    </a:lnTo>
                    <a:lnTo>
                      <a:pt x="79" y="195"/>
                    </a:lnTo>
                    <a:lnTo>
                      <a:pt x="91" y="190"/>
                    </a:lnTo>
                    <a:lnTo>
                      <a:pt x="104" y="187"/>
                    </a:lnTo>
                    <a:lnTo>
                      <a:pt x="118" y="184"/>
                    </a:lnTo>
                    <a:lnTo>
                      <a:pt x="131" y="183"/>
                    </a:lnTo>
                    <a:lnTo>
                      <a:pt x="137" y="183"/>
                    </a:lnTo>
                    <a:lnTo>
                      <a:pt x="144" y="183"/>
                    </a:lnTo>
                    <a:lnTo>
                      <a:pt x="151" y="184"/>
                    </a:lnTo>
                    <a:lnTo>
                      <a:pt x="157" y="186"/>
                    </a:lnTo>
                    <a:lnTo>
                      <a:pt x="164" y="189"/>
                    </a:lnTo>
                    <a:lnTo>
                      <a:pt x="171" y="193"/>
                    </a:lnTo>
                    <a:lnTo>
                      <a:pt x="176" y="197"/>
                    </a:lnTo>
                    <a:lnTo>
                      <a:pt x="181" y="204"/>
                    </a:lnTo>
                    <a:lnTo>
                      <a:pt x="184" y="210"/>
                    </a:lnTo>
                    <a:lnTo>
                      <a:pt x="186" y="217"/>
                    </a:lnTo>
                    <a:lnTo>
                      <a:pt x="187" y="224"/>
                    </a:lnTo>
                    <a:lnTo>
                      <a:pt x="187" y="230"/>
                    </a:lnTo>
                    <a:lnTo>
                      <a:pt x="185" y="237"/>
                    </a:lnTo>
                    <a:lnTo>
                      <a:pt x="183" y="244"/>
                    </a:lnTo>
                    <a:lnTo>
                      <a:pt x="179" y="250"/>
                    </a:lnTo>
                    <a:lnTo>
                      <a:pt x="175" y="256"/>
                    </a:lnTo>
                    <a:lnTo>
                      <a:pt x="170" y="261"/>
                    </a:lnTo>
                    <a:lnTo>
                      <a:pt x="164" y="265"/>
                    </a:lnTo>
                    <a:lnTo>
                      <a:pt x="159" y="268"/>
                    </a:lnTo>
                    <a:lnTo>
                      <a:pt x="153" y="271"/>
                    </a:lnTo>
                    <a:lnTo>
                      <a:pt x="147" y="274"/>
                    </a:lnTo>
                    <a:lnTo>
                      <a:pt x="142" y="276"/>
                    </a:lnTo>
                    <a:lnTo>
                      <a:pt x="135" y="277"/>
                    </a:lnTo>
                    <a:lnTo>
                      <a:pt x="130" y="277"/>
                    </a:lnTo>
                    <a:lnTo>
                      <a:pt x="126" y="276"/>
                    </a:lnTo>
                    <a:lnTo>
                      <a:pt x="122" y="275"/>
                    </a:lnTo>
                    <a:lnTo>
                      <a:pt x="119" y="273"/>
                    </a:lnTo>
                    <a:lnTo>
                      <a:pt x="117" y="270"/>
                    </a:lnTo>
                    <a:lnTo>
                      <a:pt x="113" y="265"/>
                    </a:lnTo>
                    <a:lnTo>
                      <a:pt x="111" y="259"/>
                    </a:lnTo>
                    <a:lnTo>
                      <a:pt x="90" y="265"/>
                    </a:lnTo>
                    <a:lnTo>
                      <a:pt x="92" y="270"/>
                    </a:lnTo>
                    <a:lnTo>
                      <a:pt x="95" y="277"/>
                    </a:lnTo>
                    <a:lnTo>
                      <a:pt x="98" y="281"/>
                    </a:lnTo>
                    <a:lnTo>
                      <a:pt x="102" y="285"/>
                    </a:lnTo>
                    <a:lnTo>
                      <a:pt x="108" y="288"/>
                    </a:lnTo>
                    <a:lnTo>
                      <a:pt x="113" y="290"/>
                    </a:lnTo>
                    <a:lnTo>
                      <a:pt x="119" y="292"/>
                    </a:lnTo>
                    <a:lnTo>
                      <a:pt x="125" y="293"/>
                    </a:lnTo>
                    <a:lnTo>
                      <a:pt x="133" y="293"/>
                    </a:lnTo>
                    <a:lnTo>
                      <a:pt x="142" y="292"/>
                    </a:lnTo>
                    <a:lnTo>
                      <a:pt x="151" y="290"/>
                    </a:lnTo>
                    <a:lnTo>
                      <a:pt x="159" y="286"/>
                    </a:lnTo>
                    <a:lnTo>
                      <a:pt x="167" y="282"/>
                    </a:lnTo>
                    <a:lnTo>
                      <a:pt x="176" y="278"/>
                    </a:lnTo>
                    <a:lnTo>
                      <a:pt x="183" y="271"/>
                    </a:lnTo>
                    <a:lnTo>
                      <a:pt x="190" y="264"/>
                    </a:lnTo>
                    <a:lnTo>
                      <a:pt x="196" y="256"/>
                    </a:lnTo>
                    <a:lnTo>
                      <a:pt x="202" y="248"/>
                    </a:lnTo>
                    <a:lnTo>
                      <a:pt x="206" y="239"/>
                    </a:lnTo>
                    <a:lnTo>
                      <a:pt x="208" y="230"/>
                    </a:lnTo>
                    <a:lnTo>
                      <a:pt x="208" y="221"/>
                    </a:lnTo>
                    <a:lnTo>
                      <a:pt x="207" y="212"/>
                    </a:lnTo>
                    <a:lnTo>
                      <a:pt x="204" y="203"/>
                    </a:lnTo>
                    <a:lnTo>
                      <a:pt x="199" y="194"/>
                    </a:lnTo>
                    <a:lnTo>
                      <a:pt x="194" y="188"/>
                    </a:lnTo>
                    <a:lnTo>
                      <a:pt x="188" y="182"/>
                    </a:lnTo>
                    <a:lnTo>
                      <a:pt x="181" y="176"/>
                    </a:lnTo>
                    <a:lnTo>
                      <a:pt x="173" y="172"/>
                    </a:lnTo>
                    <a:lnTo>
                      <a:pt x="164" y="169"/>
                    </a:lnTo>
                    <a:lnTo>
                      <a:pt x="155" y="167"/>
                    </a:lnTo>
                    <a:lnTo>
                      <a:pt x="145" y="166"/>
                    </a:lnTo>
                    <a:lnTo>
                      <a:pt x="133" y="165"/>
                    </a:lnTo>
                    <a:lnTo>
                      <a:pt x="118" y="167"/>
                    </a:lnTo>
                    <a:lnTo>
                      <a:pt x="102" y="170"/>
                    </a:lnTo>
                    <a:lnTo>
                      <a:pt x="86" y="174"/>
                    </a:lnTo>
                    <a:lnTo>
                      <a:pt x="70" y="180"/>
                    </a:lnTo>
                    <a:lnTo>
                      <a:pt x="56" y="189"/>
                    </a:lnTo>
                    <a:lnTo>
                      <a:pt x="42" y="197"/>
                    </a:lnTo>
                    <a:lnTo>
                      <a:pt x="30" y="206"/>
                    </a:lnTo>
                    <a:lnTo>
                      <a:pt x="21" y="216"/>
                    </a:lnTo>
                    <a:lnTo>
                      <a:pt x="13" y="225"/>
                    </a:lnTo>
                    <a:lnTo>
                      <a:pt x="8" y="234"/>
                    </a:lnTo>
                    <a:lnTo>
                      <a:pt x="4" y="244"/>
                    </a:lnTo>
                    <a:lnTo>
                      <a:pt x="2" y="253"/>
                    </a:lnTo>
                    <a:lnTo>
                      <a:pt x="0" y="262"/>
                    </a:lnTo>
                    <a:lnTo>
                      <a:pt x="0" y="271"/>
                    </a:lnTo>
                    <a:lnTo>
                      <a:pt x="0" y="281"/>
                    </a:lnTo>
                    <a:lnTo>
                      <a:pt x="1" y="290"/>
                    </a:lnTo>
                    <a:lnTo>
                      <a:pt x="3" y="300"/>
                    </a:lnTo>
                    <a:lnTo>
                      <a:pt x="6" y="309"/>
                    </a:lnTo>
                    <a:lnTo>
                      <a:pt x="10" y="318"/>
                    </a:lnTo>
                    <a:lnTo>
                      <a:pt x="15" y="326"/>
                    </a:lnTo>
                    <a:lnTo>
                      <a:pt x="20" y="336"/>
                    </a:lnTo>
                    <a:lnTo>
                      <a:pt x="25" y="343"/>
                    </a:lnTo>
                    <a:lnTo>
                      <a:pt x="30" y="351"/>
                    </a:lnTo>
                    <a:lnTo>
                      <a:pt x="36" y="357"/>
                    </a:lnTo>
                    <a:lnTo>
                      <a:pt x="44" y="367"/>
                    </a:lnTo>
                    <a:lnTo>
                      <a:pt x="54" y="374"/>
                    </a:lnTo>
                    <a:lnTo>
                      <a:pt x="65" y="382"/>
                    </a:lnTo>
                    <a:lnTo>
                      <a:pt x="77" y="388"/>
                    </a:lnTo>
                    <a:lnTo>
                      <a:pt x="89" y="396"/>
                    </a:lnTo>
                    <a:lnTo>
                      <a:pt x="102" y="401"/>
                    </a:lnTo>
                    <a:lnTo>
                      <a:pt x="116" y="407"/>
                    </a:lnTo>
                    <a:lnTo>
                      <a:pt x="130" y="411"/>
                    </a:lnTo>
                    <a:lnTo>
                      <a:pt x="145" y="415"/>
                    </a:lnTo>
                    <a:lnTo>
                      <a:pt x="160" y="419"/>
                    </a:lnTo>
                    <a:lnTo>
                      <a:pt x="175" y="422"/>
                    </a:lnTo>
                    <a:lnTo>
                      <a:pt x="189" y="425"/>
                    </a:lnTo>
                    <a:lnTo>
                      <a:pt x="204" y="426"/>
                    </a:lnTo>
                    <a:lnTo>
                      <a:pt x="217" y="427"/>
                    </a:lnTo>
                    <a:lnTo>
                      <a:pt x="230" y="427"/>
                    </a:lnTo>
                    <a:lnTo>
                      <a:pt x="243" y="426"/>
                    </a:lnTo>
                    <a:lnTo>
                      <a:pt x="290" y="421"/>
                    </a:lnTo>
                    <a:lnTo>
                      <a:pt x="334" y="415"/>
                    </a:lnTo>
                    <a:lnTo>
                      <a:pt x="353" y="412"/>
                    </a:lnTo>
                    <a:lnTo>
                      <a:pt x="372" y="408"/>
                    </a:lnTo>
                    <a:lnTo>
                      <a:pt x="392" y="404"/>
                    </a:lnTo>
                    <a:lnTo>
                      <a:pt x="410" y="400"/>
                    </a:lnTo>
                    <a:lnTo>
                      <a:pt x="428" y="393"/>
                    </a:lnTo>
                    <a:lnTo>
                      <a:pt x="446" y="387"/>
                    </a:lnTo>
                    <a:lnTo>
                      <a:pt x="466" y="380"/>
                    </a:lnTo>
                    <a:lnTo>
                      <a:pt x="485" y="372"/>
                    </a:lnTo>
                    <a:lnTo>
                      <a:pt x="505" y="364"/>
                    </a:lnTo>
                    <a:lnTo>
                      <a:pt x="526" y="353"/>
                    </a:lnTo>
                    <a:lnTo>
                      <a:pt x="548" y="342"/>
                    </a:lnTo>
                    <a:lnTo>
                      <a:pt x="571" y="330"/>
                    </a:lnTo>
                    <a:lnTo>
                      <a:pt x="584" y="323"/>
                    </a:lnTo>
                    <a:lnTo>
                      <a:pt x="596" y="315"/>
                    </a:lnTo>
                    <a:lnTo>
                      <a:pt x="608" y="307"/>
                    </a:lnTo>
                    <a:lnTo>
                      <a:pt x="620" y="297"/>
                    </a:lnTo>
                    <a:lnTo>
                      <a:pt x="631" y="287"/>
                    </a:lnTo>
                    <a:lnTo>
                      <a:pt x="642" y="277"/>
                    </a:lnTo>
                    <a:lnTo>
                      <a:pt x="653" y="266"/>
                    </a:lnTo>
                    <a:lnTo>
                      <a:pt x="663" y="255"/>
                    </a:lnTo>
                    <a:lnTo>
                      <a:pt x="673" y="244"/>
                    </a:lnTo>
                    <a:lnTo>
                      <a:pt x="682" y="231"/>
                    </a:lnTo>
                    <a:lnTo>
                      <a:pt x="690" y="219"/>
                    </a:lnTo>
                    <a:lnTo>
                      <a:pt x="698" y="207"/>
                    </a:lnTo>
                    <a:lnTo>
                      <a:pt x="705" y="195"/>
                    </a:lnTo>
                    <a:lnTo>
                      <a:pt x="711" y="183"/>
                    </a:lnTo>
                    <a:lnTo>
                      <a:pt x="716" y="170"/>
                    </a:lnTo>
                    <a:lnTo>
                      <a:pt x="720" y="158"/>
                    </a:lnTo>
                    <a:lnTo>
                      <a:pt x="723" y="148"/>
                    </a:lnTo>
                    <a:lnTo>
                      <a:pt x="725" y="139"/>
                    </a:lnTo>
                    <a:lnTo>
                      <a:pt x="727" y="130"/>
                    </a:lnTo>
                    <a:lnTo>
                      <a:pt x="728" y="121"/>
                    </a:lnTo>
                    <a:lnTo>
                      <a:pt x="728" y="111"/>
                    </a:lnTo>
                    <a:lnTo>
                      <a:pt x="728" y="102"/>
                    </a:lnTo>
                    <a:lnTo>
                      <a:pt x="727" y="93"/>
                    </a:lnTo>
                    <a:lnTo>
                      <a:pt x="725" y="83"/>
                    </a:lnTo>
                    <a:lnTo>
                      <a:pt x="723" y="75"/>
                    </a:lnTo>
                    <a:lnTo>
                      <a:pt x="720" y="67"/>
                    </a:lnTo>
                    <a:lnTo>
                      <a:pt x="717" y="58"/>
                    </a:lnTo>
                    <a:lnTo>
                      <a:pt x="714" y="51"/>
                    </a:lnTo>
                    <a:lnTo>
                      <a:pt x="709" y="44"/>
                    </a:lnTo>
                    <a:lnTo>
                      <a:pt x="705" y="37"/>
                    </a:lnTo>
                    <a:lnTo>
                      <a:pt x="700" y="31"/>
                    </a:lnTo>
                    <a:lnTo>
                      <a:pt x="694" y="24"/>
                    </a:lnTo>
                    <a:lnTo>
                      <a:pt x="685" y="18"/>
                    </a:lnTo>
                    <a:lnTo>
                      <a:pt x="677" y="12"/>
                    </a:lnTo>
                    <a:lnTo>
                      <a:pt x="667" y="8"/>
                    </a:lnTo>
                    <a:lnTo>
                      <a:pt x="656" y="4"/>
                    </a:lnTo>
                    <a:lnTo>
                      <a:pt x="646" y="2"/>
                    </a:lnTo>
                    <a:lnTo>
                      <a:pt x="635" y="0"/>
                    </a:lnTo>
                    <a:lnTo>
                      <a:pt x="622" y="0"/>
                    </a:lnTo>
                    <a:lnTo>
                      <a:pt x="610" y="1"/>
                    </a:lnTo>
                    <a:lnTo>
                      <a:pt x="594" y="4"/>
                    </a:lnTo>
                    <a:lnTo>
                      <a:pt x="580" y="8"/>
                    </a:lnTo>
                    <a:lnTo>
                      <a:pt x="567" y="14"/>
                    </a:lnTo>
                    <a:lnTo>
                      <a:pt x="555" y="20"/>
                    </a:lnTo>
                    <a:lnTo>
                      <a:pt x="545" y="28"/>
                    </a:lnTo>
                    <a:lnTo>
                      <a:pt x="534" y="37"/>
                    </a:lnTo>
                    <a:lnTo>
                      <a:pt x="525" y="46"/>
                    </a:lnTo>
                    <a:lnTo>
                      <a:pt x="515" y="55"/>
                    </a:lnTo>
                    <a:close/>
                  </a:path>
                </a:pathLst>
              </a:custGeom>
              <a:solidFill>
                <a:srgbClr val="F1B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</p:grpSp>
        <p:grpSp>
          <p:nvGrpSpPr>
            <p:cNvPr id="137265" name="Group 145"/>
            <p:cNvGrpSpPr>
              <a:grpSpLocks/>
            </p:cNvGrpSpPr>
            <p:nvPr/>
          </p:nvGrpSpPr>
          <p:grpSpPr bwMode="auto">
            <a:xfrm>
              <a:off x="2016" y="480"/>
              <a:ext cx="318" cy="363"/>
              <a:chOff x="3431" y="240"/>
              <a:chExt cx="318" cy="363"/>
            </a:xfrm>
          </p:grpSpPr>
          <p:sp>
            <p:nvSpPr>
              <p:cNvPr id="137266" name="Freeform 146"/>
              <p:cNvSpPr>
                <a:spLocks/>
              </p:cNvSpPr>
              <p:nvPr/>
            </p:nvSpPr>
            <p:spPr bwMode="auto">
              <a:xfrm>
                <a:off x="3740" y="354"/>
                <a:ext cx="9" cy="4"/>
              </a:xfrm>
              <a:custGeom>
                <a:avLst/>
                <a:gdLst>
                  <a:gd name="T0" fmla="*/ 0 w 65"/>
                  <a:gd name="T1" fmla="*/ 0 h 32"/>
                  <a:gd name="T2" fmla="*/ 0 w 65"/>
                  <a:gd name="T3" fmla="*/ 0 h 32"/>
                  <a:gd name="T4" fmla="*/ 0 w 65"/>
                  <a:gd name="T5" fmla="*/ 0 h 32"/>
                  <a:gd name="T6" fmla="*/ 0 w 65"/>
                  <a:gd name="T7" fmla="*/ 0 h 32"/>
                  <a:gd name="T8" fmla="*/ 0 w 65"/>
                  <a:gd name="T9" fmla="*/ 0 h 32"/>
                  <a:gd name="T10" fmla="*/ 0 w 65"/>
                  <a:gd name="T11" fmla="*/ 0 h 32"/>
                  <a:gd name="T12" fmla="*/ 0 w 65"/>
                  <a:gd name="T13" fmla="*/ 0 h 32"/>
                  <a:gd name="T14" fmla="*/ 0 w 65"/>
                  <a:gd name="T15" fmla="*/ 0 h 32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w 65"/>
                  <a:gd name="T25" fmla="*/ 0 h 32"/>
                  <a:gd name="T26" fmla="*/ 65 w 65"/>
                  <a:gd name="T27" fmla="*/ 32 h 32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T24" t="T25" r="T26" b="T27"/>
                <a:pathLst>
                  <a:path w="65" h="32">
                    <a:moveTo>
                      <a:pt x="0" y="0"/>
                    </a:moveTo>
                    <a:lnTo>
                      <a:pt x="16" y="7"/>
                    </a:lnTo>
                    <a:lnTo>
                      <a:pt x="31" y="16"/>
                    </a:lnTo>
                    <a:lnTo>
                      <a:pt x="47" y="24"/>
                    </a:lnTo>
                    <a:lnTo>
                      <a:pt x="63" y="31"/>
                    </a:lnTo>
                    <a:lnTo>
                      <a:pt x="65" y="3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806245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267" name="Freeform 147"/>
              <p:cNvSpPr>
                <a:spLocks/>
              </p:cNvSpPr>
              <p:nvPr/>
            </p:nvSpPr>
            <p:spPr bwMode="auto">
              <a:xfrm>
                <a:off x="3437" y="324"/>
                <a:ext cx="280" cy="134"/>
              </a:xfrm>
              <a:custGeom>
                <a:avLst/>
                <a:gdLst>
                  <a:gd name="T0" fmla="*/ 0 w 1960"/>
                  <a:gd name="T1" fmla="*/ 0 h 938"/>
                  <a:gd name="T2" fmla="*/ 0 w 1960"/>
                  <a:gd name="T3" fmla="*/ 0 h 938"/>
                  <a:gd name="T4" fmla="*/ 0 w 1960"/>
                  <a:gd name="T5" fmla="*/ 0 h 938"/>
                  <a:gd name="T6" fmla="*/ 0 w 1960"/>
                  <a:gd name="T7" fmla="*/ 0 h 938"/>
                  <a:gd name="T8" fmla="*/ 0 w 1960"/>
                  <a:gd name="T9" fmla="*/ 0 h 938"/>
                  <a:gd name="T10" fmla="*/ 0 w 1960"/>
                  <a:gd name="T11" fmla="*/ 0 h 938"/>
                  <a:gd name="T12" fmla="*/ 0 w 1960"/>
                  <a:gd name="T13" fmla="*/ 0 h 938"/>
                  <a:gd name="T14" fmla="*/ 0 w 1960"/>
                  <a:gd name="T15" fmla="*/ 0 h 938"/>
                  <a:gd name="T16" fmla="*/ 0 w 1960"/>
                  <a:gd name="T17" fmla="*/ 0 h 938"/>
                  <a:gd name="T18" fmla="*/ 0 w 1960"/>
                  <a:gd name="T19" fmla="*/ 0 h 938"/>
                  <a:gd name="T20" fmla="*/ 0 w 1960"/>
                  <a:gd name="T21" fmla="*/ 0 h 938"/>
                  <a:gd name="T22" fmla="*/ 0 w 1960"/>
                  <a:gd name="T23" fmla="*/ 0 h 938"/>
                  <a:gd name="T24" fmla="*/ 0 w 1960"/>
                  <a:gd name="T25" fmla="*/ 0 h 938"/>
                  <a:gd name="T26" fmla="*/ 0 w 1960"/>
                  <a:gd name="T27" fmla="*/ 0 h 938"/>
                  <a:gd name="T28" fmla="*/ 0 w 1960"/>
                  <a:gd name="T29" fmla="*/ 0 h 938"/>
                  <a:gd name="T30" fmla="*/ 0 w 1960"/>
                  <a:gd name="T31" fmla="*/ 0 h 938"/>
                  <a:gd name="T32" fmla="*/ 0 w 1960"/>
                  <a:gd name="T33" fmla="*/ 0 h 938"/>
                  <a:gd name="T34" fmla="*/ 0 w 1960"/>
                  <a:gd name="T35" fmla="*/ 0 h 938"/>
                  <a:gd name="T36" fmla="*/ 0 w 1960"/>
                  <a:gd name="T37" fmla="*/ 0 h 938"/>
                  <a:gd name="T38" fmla="*/ 0 w 1960"/>
                  <a:gd name="T39" fmla="*/ 0 h 938"/>
                  <a:gd name="T40" fmla="*/ 0 w 1960"/>
                  <a:gd name="T41" fmla="*/ 0 h 938"/>
                  <a:gd name="T42" fmla="*/ 0 w 1960"/>
                  <a:gd name="T43" fmla="*/ 0 h 938"/>
                  <a:gd name="T44" fmla="*/ 0 w 1960"/>
                  <a:gd name="T45" fmla="*/ 0 h 938"/>
                  <a:gd name="T46" fmla="*/ 0 w 1960"/>
                  <a:gd name="T47" fmla="*/ 0 h 938"/>
                  <a:gd name="T48" fmla="*/ 0 w 1960"/>
                  <a:gd name="T49" fmla="*/ 0 h 938"/>
                  <a:gd name="T50" fmla="*/ 0 w 1960"/>
                  <a:gd name="T51" fmla="*/ 0 h 938"/>
                  <a:gd name="T52" fmla="*/ 0 w 1960"/>
                  <a:gd name="T53" fmla="*/ 0 h 938"/>
                  <a:gd name="T54" fmla="*/ 0 w 1960"/>
                  <a:gd name="T55" fmla="*/ 0 h 938"/>
                  <a:gd name="T56" fmla="*/ 0 w 1960"/>
                  <a:gd name="T57" fmla="*/ 0 h 938"/>
                  <a:gd name="T58" fmla="*/ 0 w 1960"/>
                  <a:gd name="T59" fmla="*/ 0 h 938"/>
                  <a:gd name="T60" fmla="*/ 0 w 1960"/>
                  <a:gd name="T61" fmla="*/ 0 h 938"/>
                  <a:gd name="T62" fmla="*/ 0 w 1960"/>
                  <a:gd name="T63" fmla="*/ 0 h 938"/>
                  <a:gd name="T64" fmla="*/ 0 w 1960"/>
                  <a:gd name="T65" fmla="*/ 0 h 938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1960"/>
                  <a:gd name="T100" fmla="*/ 0 h 938"/>
                  <a:gd name="T101" fmla="*/ 1960 w 1960"/>
                  <a:gd name="T102" fmla="*/ 938 h 938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1960" h="938">
                    <a:moveTo>
                      <a:pt x="0" y="0"/>
                    </a:moveTo>
                    <a:lnTo>
                      <a:pt x="8" y="26"/>
                    </a:lnTo>
                    <a:lnTo>
                      <a:pt x="20" y="54"/>
                    </a:lnTo>
                    <a:lnTo>
                      <a:pt x="33" y="85"/>
                    </a:lnTo>
                    <a:lnTo>
                      <a:pt x="47" y="116"/>
                    </a:lnTo>
                    <a:lnTo>
                      <a:pt x="64" y="150"/>
                    </a:lnTo>
                    <a:lnTo>
                      <a:pt x="83" y="184"/>
                    </a:lnTo>
                    <a:lnTo>
                      <a:pt x="103" y="221"/>
                    </a:lnTo>
                    <a:lnTo>
                      <a:pt x="125" y="258"/>
                    </a:lnTo>
                    <a:lnTo>
                      <a:pt x="149" y="296"/>
                    </a:lnTo>
                    <a:lnTo>
                      <a:pt x="174" y="334"/>
                    </a:lnTo>
                    <a:lnTo>
                      <a:pt x="199" y="374"/>
                    </a:lnTo>
                    <a:lnTo>
                      <a:pt x="226" y="412"/>
                    </a:lnTo>
                    <a:lnTo>
                      <a:pt x="254" y="451"/>
                    </a:lnTo>
                    <a:lnTo>
                      <a:pt x="284" y="490"/>
                    </a:lnTo>
                    <a:lnTo>
                      <a:pt x="314" y="529"/>
                    </a:lnTo>
                    <a:lnTo>
                      <a:pt x="345" y="567"/>
                    </a:lnTo>
                    <a:lnTo>
                      <a:pt x="377" y="604"/>
                    </a:lnTo>
                    <a:lnTo>
                      <a:pt x="409" y="640"/>
                    </a:lnTo>
                    <a:lnTo>
                      <a:pt x="442" y="676"/>
                    </a:lnTo>
                    <a:lnTo>
                      <a:pt x="476" y="709"/>
                    </a:lnTo>
                    <a:lnTo>
                      <a:pt x="509" y="742"/>
                    </a:lnTo>
                    <a:lnTo>
                      <a:pt x="544" y="772"/>
                    </a:lnTo>
                    <a:lnTo>
                      <a:pt x="579" y="801"/>
                    </a:lnTo>
                    <a:lnTo>
                      <a:pt x="613" y="827"/>
                    </a:lnTo>
                    <a:lnTo>
                      <a:pt x="647" y="851"/>
                    </a:lnTo>
                    <a:lnTo>
                      <a:pt x="681" y="872"/>
                    </a:lnTo>
                    <a:lnTo>
                      <a:pt x="715" y="892"/>
                    </a:lnTo>
                    <a:lnTo>
                      <a:pt x="749" y="907"/>
                    </a:lnTo>
                    <a:lnTo>
                      <a:pt x="782" y="921"/>
                    </a:lnTo>
                    <a:lnTo>
                      <a:pt x="815" y="930"/>
                    </a:lnTo>
                    <a:lnTo>
                      <a:pt x="847" y="936"/>
                    </a:lnTo>
                    <a:lnTo>
                      <a:pt x="879" y="938"/>
                    </a:lnTo>
                    <a:lnTo>
                      <a:pt x="918" y="937"/>
                    </a:lnTo>
                    <a:lnTo>
                      <a:pt x="957" y="933"/>
                    </a:lnTo>
                    <a:lnTo>
                      <a:pt x="996" y="925"/>
                    </a:lnTo>
                    <a:lnTo>
                      <a:pt x="1035" y="914"/>
                    </a:lnTo>
                    <a:lnTo>
                      <a:pt x="1076" y="901"/>
                    </a:lnTo>
                    <a:lnTo>
                      <a:pt x="1116" y="884"/>
                    </a:lnTo>
                    <a:lnTo>
                      <a:pt x="1156" y="865"/>
                    </a:lnTo>
                    <a:lnTo>
                      <a:pt x="1198" y="844"/>
                    </a:lnTo>
                    <a:lnTo>
                      <a:pt x="1238" y="820"/>
                    </a:lnTo>
                    <a:lnTo>
                      <a:pt x="1278" y="794"/>
                    </a:lnTo>
                    <a:lnTo>
                      <a:pt x="1318" y="767"/>
                    </a:lnTo>
                    <a:lnTo>
                      <a:pt x="1358" y="738"/>
                    </a:lnTo>
                    <a:lnTo>
                      <a:pt x="1397" y="707"/>
                    </a:lnTo>
                    <a:lnTo>
                      <a:pt x="1436" y="675"/>
                    </a:lnTo>
                    <a:lnTo>
                      <a:pt x="1475" y="641"/>
                    </a:lnTo>
                    <a:lnTo>
                      <a:pt x="1513" y="607"/>
                    </a:lnTo>
                    <a:lnTo>
                      <a:pt x="1549" y="572"/>
                    </a:lnTo>
                    <a:lnTo>
                      <a:pt x="1585" y="536"/>
                    </a:lnTo>
                    <a:lnTo>
                      <a:pt x="1621" y="500"/>
                    </a:lnTo>
                    <a:lnTo>
                      <a:pt x="1655" y="463"/>
                    </a:lnTo>
                    <a:lnTo>
                      <a:pt x="1688" y="425"/>
                    </a:lnTo>
                    <a:lnTo>
                      <a:pt x="1721" y="388"/>
                    </a:lnTo>
                    <a:lnTo>
                      <a:pt x="1752" y="352"/>
                    </a:lnTo>
                    <a:lnTo>
                      <a:pt x="1781" y="315"/>
                    </a:lnTo>
                    <a:lnTo>
                      <a:pt x="1809" y="278"/>
                    </a:lnTo>
                    <a:lnTo>
                      <a:pt x="1836" y="243"/>
                    </a:lnTo>
                    <a:lnTo>
                      <a:pt x="1861" y="209"/>
                    </a:lnTo>
                    <a:lnTo>
                      <a:pt x="1885" y="175"/>
                    </a:lnTo>
                    <a:lnTo>
                      <a:pt x="1907" y="143"/>
                    </a:lnTo>
                    <a:lnTo>
                      <a:pt x="1926" y="112"/>
                    </a:lnTo>
                    <a:lnTo>
                      <a:pt x="1945" y="82"/>
                    </a:lnTo>
                    <a:lnTo>
                      <a:pt x="1960" y="54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1F1A1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268" name="Freeform 148"/>
              <p:cNvSpPr>
                <a:spLocks/>
              </p:cNvSpPr>
              <p:nvPr/>
            </p:nvSpPr>
            <p:spPr bwMode="auto">
              <a:xfrm>
                <a:off x="3434" y="324"/>
                <a:ext cx="189" cy="134"/>
              </a:xfrm>
              <a:custGeom>
                <a:avLst/>
                <a:gdLst>
                  <a:gd name="T0" fmla="*/ 0 w 1319"/>
                  <a:gd name="T1" fmla="*/ 0 h 938"/>
                  <a:gd name="T2" fmla="*/ 0 w 1319"/>
                  <a:gd name="T3" fmla="*/ 0 h 938"/>
                  <a:gd name="T4" fmla="*/ 0 w 1319"/>
                  <a:gd name="T5" fmla="*/ 0 h 938"/>
                  <a:gd name="T6" fmla="*/ 0 w 1319"/>
                  <a:gd name="T7" fmla="*/ 0 h 938"/>
                  <a:gd name="T8" fmla="*/ 0 w 1319"/>
                  <a:gd name="T9" fmla="*/ 0 h 938"/>
                  <a:gd name="T10" fmla="*/ 0 w 1319"/>
                  <a:gd name="T11" fmla="*/ 0 h 938"/>
                  <a:gd name="T12" fmla="*/ 0 w 1319"/>
                  <a:gd name="T13" fmla="*/ 0 h 938"/>
                  <a:gd name="T14" fmla="*/ 0 w 1319"/>
                  <a:gd name="T15" fmla="*/ 0 h 938"/>
                  <a:gd name="T16" fmla="*/ 0 w 1319"/>
                  <a:gd name="T17" fmla="*/ 0 h 938"/>
                  <a:gd name="T18" fmla="*/ 0 w 1319"/>
                  <a:gd name="T19" fmla="*/ 0 h 938"/>
                  <a:gd name="T20" fmla="*/ 0 w 1319"/>
                  <a:gd name="T21" fmla="*/ 0 h 938"/>
                  <a:gd name="T22" fmla="*/ 0 w 1319"/>
                  <a:gd name="T23" fmla="*/ 0 h 938"/>
                  <a:gd name="T24" fmla="*/ 0 w 1319"/>
                  <a:gd name="T25" fmla="*/ 0 h 938"/>
                  <a:gd name="T26" fmla="*/ 0 w 1319"/>
                  <a:gd name="T27" fmla="*/ 0 h 938"/>
                  <a:gd name="T28" fmla="*/ 0 w 1319"/>
                  <a:gd name="T29" fmla="*/ 0 h 938"/>
                  <a:gd name="T30" fmla="*/ 0 w 1319"/>
                  <a:gd name="T31" fmla="*/ 0 h 938"/>
                  <a:gd name="T32" fmla="*/ 0 w 1319"/>
                  <a:gd name="T33" fmla="*/ 0 h 938"/>
                  <a:gd name="T34" fmla="*/ 0 w 1319"/>
                  <a:gd name="T35" fmla="*/ 0 h 938"/>
                  <a:gd name="T36" fmla="*/ 0 w 1319"/>
                  <a:gd name="T37" fmla="*/ 0 h 938"/>
                  <a:gd name="T38" fmla="*/ 0 w 1319"/>
                  <a:gd name="T39" fmla="*/ 0 h 938"/>
                  <a:gd name="T40" fmla="*/ 0 w 1319"/>
                  <a:gd name="T41" fmla="*/ 0 h 938"/>
                  <a:gd name="T42" fmla="*/ 0 w 1319"/>
                  <a:gd name="T43" fmla="*/ 0 h 938"/>
                  <a:gd name="T44" fmla="*/ 0 w 1319"/>
                  <a:gd name="T45" fmla="*/ 0 h 938"/>
                  <a:gd name="T46" fmla="*/ 0 w 1319"/>
                  <a:gd name="T47" fmla="*/ 0 h 938"/>
                  <a:gd name="T48" fmla="*/ 0 w 1319"/>
                  <a:gd name="T49" fmla="*/ 0 h 938"/>
                  <a:gd name="T50" fmla="*/ 0 w 1319"/>
                  <a:gd name="T51" fmla="*/ 0 h 938"/>
                  <a:gd name="T52" fmla="*/ 0 w 1319"/>
                  <a:gd name="T53" fmla="*/ 0 h 938"/>
                  <a:gd name="T54" fmla="*/ 0 w 1319"/>
                  <a:gd name="T55" fmla="*/ 0 h 938"/>
                  <a:gd name="T56" fmla="*/ 0 w 1319"/>
                  <a:gd name="T57" fmla="*/ 0 h 938"/>
                  <a:gd name="T58" fmla="*/ 0 w 1319"/>
                  <a:gd name="T59" fmla="*/ 0 h 938"/>
                  <a:gd name="T60" fmla="*/ 0 w 1319"/>
                  <a:gd name="T61" fmla="*/ 0 h 938"/>
                  <a:gd name="T62" fmla="*/ 0 w 1319"/>
                  <a:gd name="T63" fmla="*/ 0 h 938"/>
                  <a:gd name="T64" fmla="*/ 0 w 1319"/>
                  <a:gd name="T65" fmla="*/ 0 h 938"/>
                  <a:gd name="T66" fmla="*/ 0 w 1319"/>
                  <a:gd name="T67" fmla="*/ 0 h 938"/>
                  <a:gd name="T68" fmla="*/ 0 w 1319"/>
                  <a:gd name="T69" fmla="*/ 0 h 938"/>
                  <a:gd name="T70" fmla="*/ 0 w 1319"/>
                  <a:gd name="T71" fmla="*/ 0 h 938"/>
                  <a:gd name="T72" fmla="*/ 0 w 1319"/>
                  <a:gd name="T73" fmla="*/ 0 h 938"/>
                  <a:gd name="T74" fmla="*/ 0 w 1319"/>
                  <a:gd name="T75" fmla="*/ 0 h 938"/>
                  <a:gd name="T76" fmla="*/ 0 w 1319"/>
                  <a:gd name="T77" fmla="*/ 0 h 938"/>
                  <a:gd name="T78" fmla="*/ 0 w 1319"/>
                  <a:gd name="T79" fmla="*/ 0 h 938"/>
                  <a:gd name="T80" fmla="*/ 0 w 1319"/>
                  <a:gd name="T81" fmla="*/ 0 h 938"/>
                  <a:gd name="T82" fmla="*/ 0 w 1319"/>
                  <a:gd name="T83" fmla="*/ 0 h 938"/>
                  <a:gd name="T84" fmla="*/ 0 w 1319"/>
                  <a:gd name="T85" fmla="*/ 0 h 938"/>
                  <a:gd name="T86" fmla="*/ 0 w 1319"/>
                  <a:gd name="T87" fmla="*/ 0 h 938"/>
                  <a:gd name="T88" fmla="*/ 0 w 1319"/>
                  <a:gd name="T89" fmla="*/ 0 h 938"/>
                  <a:gd name="T90" fmla="*/ 0 w 1319"/>
                  <a:gd name="T91" fmla="*/ 0 h 938"/>
                  <a:gd name="T92" fmla="*/ 0 w 1319"/>
                  <a:gd name="T93" fmla="*/ 0 h 938"/>
                  <a:gd name="T94" fmla="*/ 0 w 1319"/>
                  <a:gd name="T95" fmla="*/ 0 h 938"/>
                  <a:gd name="T96" fmla="*/ 0 w 1319"/>
                  <a:gd name="T97" fmla="*/ 0 h 938"/>
                  <a:gd name="T98" fmla="*/ 0 w 1319"/>
                  <a:gd name="T99" fmla="*/ 0 h 938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1319"/>
                  <a:gd name="T151" fmla="*/ 0 h 938"/>
                  <a:gd name="T152" fmla="*/ 1319 w 1319"/>
                  <a:gd name="T153" fmla="*/ 938 h 938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1319" h="938">
                    <a:moveTo>
                      <a:pt x="1319" y="746"/>
                    </a:moveTo>
                    <a:lnTo>
                      <a:pt x="1286" y="761"/>
                    </a:lnTo>
                    <a:lnTo>
                      <a:pt x="1254" y="775"/>
                    </a:lnTo>
                    <a:lnTo>
                      <a:pt x="1222" y="787"/>
                    </a:lnTo>
                    <a:lnTo>
                      <a:pt x="1190" y="798"/>
                    </a:lnTo>
                    <a:lnTo>
                      <a:pt x="1158" y="807"/>
                    </a:lnTo>
                    <a:lnTo>
                      <a:pt x="1127" y="814"/>
                    </a:lnTo>
                    <a:lnTo>
                      <a:pt x="1096" y="819"/>
                    </a:lnTo>
                    <a:lnTo>
                      <a:pt x="1066" y="823"/>
                    </a:lnTo>
                    <a:lnTo>
                      <a:pt x="1036" y="827"/>
                    </a:lnTo>
                    <a:lnTo>
                      <a:pt x="1006" y="828"/>
                    </a:lnTo>
                    <a:lnTo>
                      <a:pt x="977" y="828"/>
                    </a:lnTo>
                    <a:lnTo>
                      <a:pt x="948" y="825"/>
                    </a:lnTo>
                    <a:lnTo>
                      <a:pt x="920" y="822"/>
                    </a:lnTo>
                    <a:lnTo>
                      <a:pt x="891" y="818"/>
                    </a:lnTo>
                    <a:lnTo>
                      <a:pt x="864" y="812"/>
                    </a:lnTo>
                    <a:lnTo>
                      <a:pt x="836" y="806"/>
                    </a:lnTo>
                    <a:lnTo>
                      <a:pt x="809" y="798"/>
                    </a:lnTo>
                    <a:lnTo>
                      <a:pt x="784" y="788"/>
                    </a:lnTo>
                    <a:lnTo>
                      <a:pt x="758" y="778"/>
                    </a:lnTo>
                    <a:lnTo>
                      <a:pt x="732" y="768"/>
                    </a:lnTo>
                    <a:lnTo>
                      <a:pt x="707" y="755"/>
                    </a:lnTo>
                    <a:lnTo>
                      <a:pt x="682" y="742"/>
                    </a:lnTo>
                    <a:lnTo>
                      <a:pt x="659" y="727"/>
                    </a:lnTo>
                    <a:lnTo>
                      <a:pt x="636" y="713"/>
                    </a:lnTo>
                    <a:lnTo>
                      <a:pt x="612" y="696"/>
                    </a:lnTo>
                    <a:lnTo>
                      <a:pt x="590" y="680"/>
                    </a:lnTo>
                    <a:lnTo>
                      <a:pt x="568" y="662"/>
                    </a:lnTo>
                    <a:lnTo>
                      <a:pt x="547" y="645"/>
                    </a:lnTo>
                    <a:lnTo>
                      <a:pt x="525" y="625"/>
                    </a:lnTo>
                    <a:lnTo>
                      <a:pt x="506" y="605"/>
                    </a:lnTo>
                    <a:lnTo>
                      <a:pt x="486" y="586"/>
                    </a:lnTo>
                    <a:lnTo>
                      <a:pt x="466" y="565"/>
                    </a:lnTo>
                    <a:lnTo>
                      <a:pt x="477" y="575"/>
                    </a:lnTo>
                    <a:lnTo>
                      <a:pt x="488" y="585"/>
                    </a:lnTo>
                    <a:lnTo>
                      <a:pt x="501" y="593"/>
                    </a:lnTo>
                    <a:lnTo>
                      <a:pt x="514" y="600"/>
                    </a:lnTo>
                    <a:lnTo>
                      <a:pt x="527" y="605"/>
                    </a:lnTo>
                    <a:lnTo>
                      <a:pt x="542" y="610"/>
                    </a:lnTo>
                    <a:lnTo>
                      <a:pt x="556" y="615"/>
                    </a:lnTo>
                    <a:lnTo>
                      <a:pt x="572" y="618"/>
                    </a:lnTo>
                    <a:lnTo>
                      <a:pt x="586" y="620"/>
                    </a:lnTo>
                    <a:lnTo>
                      <a:pt x="602" y="621"/>
                    </a:lnTo>
                    <a:lnTo>
                      <a:pt x="615" y="621"/>
                    </a:lnTo>
                    <a:lnTo>
                      <a:pt x="630" y="621"/>
                    </a:lnTo>
                    <a:lnTo>
                      <a:pt x="643" y="620"/>
                    </a:lnTo>
                    <a:lnTo>
                      <a:pt x="656" y="618"/>
                    </a:lnTo>
                    <a:lnTo>
                      <a:pt x="668" y="616"/>
                    </a:lnTo>
                    <a:lnTo>
                      <a:pt x="678" y="612"/>
                    </a:lnTo>
                    <a:lnTo>
                      <a:pt x="663" y="606"/>
                    </a:lnTo>
                    <a:lnTo>
                      <a:pt x="646" y="598"/>
                    </a:lnTo>
                    <a:lnTo>
                      <a:pt x="630" y="588"/>
                    </a:lnTo>
                    <a:lnTo>
                      <a:pt x="611" y="576"/>
                    </a:lnTo>
                    <a:lnTo>
                      <a:pt x="592" y="563"/>
                    </a:lnTo>
                    <a:lnTo>
                      <a:pt x="574" y="548"/>
                    </a:lnTo>
                    <a:lnTo>
                      <a:pt x="555" y="534"/>
                    </a:lnTo>
                    <a:lnTo>
                      <a:pt x="537" y="517"/>
                    </a:lnTo>
                    <a:lnTo>
                      <a:pt x="519" y="502"/>
                    </a:lnTo>
                    <a:lnTo>
                      <a:pt x="502" y="485"/>
                    </a:lnTo>
                    <a:lnTo>
                      <a:pt x="485" y="469"/>
                    </a:lnTo>
                    <a:lnTo>
                      <a:pt x="470" y="452"/>
                    </a:lnTo>
                    <a:lnTo>
                      <a:pt x="455" y="436"/>
                    </a:lnTo>
                    <a:lnTo>
                      <a:pt x="443" y="420"/>
                    </a:lnTo>
                    <a:lnTo>
                      <a:pt x="431" y="406"/>
                    </a:lnTo>
                    <a:lnTo>
                      <a:pt x="423" y="392"/>
                    </a:lnTo>
                    <a:lnTo>
                      <a:pt x="434" y="399"/>
                    </a:lnTo>
                    <a:lnTo>
                      <a:pt x="447" y="405"/>
                    </a:lnTo>
                    <a:lnTo>
                      <a:pt x="458" y="410"/>
                    </a:lnTo>
                    <a:lnTo>
                      <a:pt x="470" y="415"/>
                    </a:lnTo>
                    <a:lnTo>
                      <a:pt x="482" y="418"/>
                    </a:lnTo>
                    <a:lnTo>
                      <a:pt x="493" y="421"/>
                    </a:lnTo>
                    <a:lnTo>
                      <a:pt x="506" y="423"/>
                    </a:lnTo>
                    <a:lnTo>
                      <a:pt x="518" y="425"/>
                    </a:lnTo>
                    <a:lnTo>
                      <a:pt x="530" y="425"/>
                    </a:lnTo>
                    <a:lnTo>
                      <a:pt x="544" y="425"/>
                    </a:lnTo>
                    <a:lnTo>
                      <a:pt x="557" y="423"/>
                    </a:lnTo>
                    <a:lnTo>
                      <a:pt x="572" y="421"/>
                    </a:lnTo>
                    <a:lnTo>
                      <a:pt x="586" y="418"/>
                    </a:lnTo>
                    <a:lnTo>
                      <a:pt x="602" y="413"/>
                    </a:lnTo>
                    <a:lnTo>
                      <a:pt x="617" y="408"/>
                    </a:lnTo>
                    <a:lnTo>
                      <a:pt x="635" y="400"/>
                    </a:lnTo>
                    <a:lnTo>
                      <a:pt x="616" y="396"/>
                    </a:lnTo>
                    <a:lnTo>
                      <a:pt x="599" y="391"/>
                    </a:lnTo>
                    <a:lnTo>
                      <a:pt x="580" y="386"/>
                    </a:lnTo>
                    <a:lnTo>
                      <a:pt x="563" y="380"/>
                    </a:lnTo>
                    <a:lnTo>
                      <a:pt x="546" y="373"/>
                    </a:lnTo>
                    <a:lnTo>
                      <a:pt x="528" y="365"/>
                    </a:lnTo>
                    <a:lnTo>
                      <a:pt x="511" y="358"/>
                    </a:lnTo>
                    <a:lnTo>
                      <a:pt x="494" y="350"/>
                    </a:lnTo>
                    <a:lnTo>
                      <a:pt x="460" y="331"/>
                    </a:lnTo>
                    <a:lnTo>
                      <a:pt x="425" y="311"/>
                    </a:lnTo>
                    <a:lnTo>
                      <a:pt x="391" y="289"/>
                    </a:lnTo>
                    <a:lnTo>
                      <a:pt x="356" y="264"/>
                    </a:lnTo>
                    <a:lnTo>
                      <a:pt x="320" y="238"/>
                    </a:lnTo>
                    <a:lnTo>
                      <a:pt x="282" y="209"/>
                    </a:lnTo>
                    <a:lnTo>
                      <a:pt x="243" y="179"/>
                    </a:lnTo>
                    <a:lnTo>
                      <a:pt x="203" y="147"/>
                    </a:lnTo>
                    <a:lnTo>
                      <a:pt x="117" y="78"/>
                    </a:lnTo>
                    <a:lnTo>
                      <a:pt x="22" y="1"/>
                    </a:lnTo>
                    <a:lnTo>
                      <a:pt x="0" y="0"/>
                    </a:lnTo>
                    <a:lnTo>
                      <a:pt x="10" y="26"/>
                    </a:lnTo>
                    <a:lnTo>
                      <a:pt x="21" y="54"/>
                    </a:lnTo>
                    <a:lnTo>
                      <a:pt x="33" y="85"/>
                    </a:lnTo>
                    <a:lnTo>
                      <a:pt x="49" y="116"/>
                    </a:lnTo>
                    <a:lnTo>
                      <a:pt x="65" y="150"/>
                    </a:lnTo>
                    <a:lnTo>
                      <a:pt x="84" y="184"/>
                    </a:lnTo>
                    <a:lnTo>
                      <a:pt x="105" y="221"/>
                    </a:lnTo>
                    <a:lnTo>
                      <a:pt x="126" y="258"/>
                    </a:lnTo>
                    <a:lnTo>
                      <a:pt x="149" y="296"/>
                    </a:lnTo>
                    <a:lnTo>
                      <a:pt x="174" y="334"/>
                    </a:lnTo>
                    <a:lnTo>
                      <a:pt x="200" y="374"/>
                    </a:lnTo>
                    <a:lnTo>
                      <a:pt x="228" y="412"/>
                    </a:lnTo>
                    <a:lnTo>
                      <a:pt x="256" y="451"/>
                    </a:lnTo>
                    <a:lnTo>
                      <a:pt x="286" y="490"/>
                    </a:lnTo>
                    <a:lnTo>
                      <a:pt x="316" y="529"/>
                    </a:lnTo>
                    <a:lnTo>
                      <a:pt x="347" y="567"/>
                    </a:lnTo>
                    <a:lnTo>
                      <a:pt x="379" y="604"/>
                    </a:lnTo>
                    <a:lnTo>
                      <a:pt x="411" y="640"/>
                    </a:lnTo>
                    <a:lnTo>
                      <a:pt x="444" y="676"/>
                    </a:lnTo>
                    <a:lnTo>
                      <a:pt x="477" y="709"/>
                    </a:lnTo>
                    <a:lnTo>
                      <a:pt x="511" y="742"/>
                    </a:lnTo>
                    <a:lnTo>
                      <a:pt x="545" y="772"/>
                    </a:lnTo>
                    <a:lnTo>
                      <a:pt x="579" y="801"/>
                    </a:lnTo>
                    <a:lnTo>
                      <a:pt x="613" y="827"/>
                    </a:lnTo>
                    <a:lnTo>
                      <a:pt x="648" y="851"/>
                    </a:lnTo>
                    <a:lnTo>
                      <a:pt x="682" y="872"/>
                    </a:lnTo>
                    <a:lnTo>
                      <a:pt x="716" y="892"/>
                    </a:lnTo>
                    <a:lnTo>
                      <a:pt x="750" y="907"/>
                    </a:lnTo>
                    <a:lnTo>
                      <a:pt x="784" y="921"/>
                    </a:lnTo>
                    <a:lnTo>
                      <a:pt x="816" y="930"/>
                    </a:lnTo>
                    <a:lnTo>
                      <a:pt x="849" y="936"/>
                    </a:lnTo>
                    <a:lnTo>
                      <a:pt x="880" y="938"/>
                    </a:lnTo>
                    <a:lnTo>
                      <a:pt x="902" y="938"/>
                    </a:lnTo>
                    <a:lnTo>
                      <a:pt x="925" y="937"/>
                    </a:lnTo>
                    <a:lnTo>
                      <a:pt x="948" y="934"/>
                    </a:lnTo>
                    <a:lnTo>
                      <a:pt x="972" y="930"/>
                    </a:lnTo>
                    <a:lnTo>
                      <a:pt x="994" y="926"/>
                    </a:lnTo>
                    <a:lnTo>
                      <a:pt x="1018" y="920"/>
                    </a:lnTo>
                    <a:lnTo>
                      <a:pt x="1041" y="912"/>
                    </a:lnTo>
                    <a:lnTo>
                      <a:pt x="1065" y="905"/>
                    </a:lnTo>
                    <a:lnTo>
                      <a:pt x="1089" y="896"/>
                    </a:lnTo>
                    <a:lnTo>
                      <a:pt x="1112" y="886"/>
                    </a:lnTo>
                    <a:lnTo>
                      <a:pt x="1136" y="875"/>
                    </a:lnTo>
                    <a:lnTo>
                      <a:pt x="1160" y="864"/>
                    </a:lnTo>
                    <a:lnTo>
                      <a:pt x="1184" y="851"/>
                    </a:lnTo>
                    <a:lnTo>
                      <a:pt x="1207" y="838"/>
                    </a:lnTo>
                    <a:lnTo>
                      <a:pt x="1231" y="824"/>
                    </a:lnTo>
                    <a:lnTo>
                      <a:pt x="1255" y="810"/>
                    </a:lnTo>
                    <a:lnTo>
                      <a:pt x="1271" y="794"/>
                    </a:lnTo>
                    <a:lnTo>
                      <a:pt x="1288" y="779"/>
                    </a:lnTo>
                    <a:lnTo>
                      <a:pt x="1303" y="762"/>
                    </a:lnTo>
                    <a:lnTo>
                      <a:pt x="1319" y="746"/>
                    </a:lnTo>
                    <a:close/>
                  </a:path>
                </a:pathLst>
              </a:custGeom>
              <a:solidFill>
                <a:srgbClr val="42474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269" name="Freeform 149"/>
              <p:cNvSpPr>
                <a:spLocks/>
              </p:cNvSpPr>
              <p:nvPr/>
            </p:nvSpPr>
            <p:spPr bwMode="auto">
              <a:xfrm>
                <a:off x="3431" y="240"/>
                <a:ext cx="291" cy="138"/>
              </a:xfrm>
              <a:custGeom>
                <a:avLst/>
                <a:gdLst>
                  <a:gd name="T0" fmla="*/ 0 w 2036"/>
                  <a:gd name="T1" fmla="*/ 0 h 968"/>
                  <a:gd name="T2" fmla="*/ 0 w 2036"/>
                  <a:gd name="T3" fmla="*/ 0 h 968"/>
                  <a:gd name="T4" fmla="*/ 0 w 2036"/>
                  <a:gd name="T5" fmla="*/ 0 h 968"/>
                  <a:gd name="T6" fmla="*/ 0 w 2036"/>
                  <a:gd name="T7" fmla="*/ 0 h 968"/>
                  <a:gd name="T8" fmla="*/ 0 w 2036"/>
                  <a:gd name="T9" fmla="*/ 0 h 968"/>
                  <a:gd name="T10" fmla="*/ 0 w 2036"/>
                  <a:gd name="T11" fmla="*/ 0 h 968"/>
                  <a:gd name="T12" fmla="*/ 0 w 2036"/>
                  <a:gd name="T13" fmla="*/ 0 h 968"/>
                  <a:gd name="T14" fmla="*/ 0 w 2036"/>
                  <a:gd name="T15" fmla="*/ 0 h 968"/>
                  <a:gd name="T16" fmla="*/ 0 w 2036"/>
                  <a:gd name="T17" fmla="*/ 0 h 968"/>
                  <a:gd name="T18" fmla="*/ 0 w 2036"/>
                  <a:gd name="T19" fmla="*/ 0 h 968"/>
                  <a:gd name="T20" fmla="*/ 0 w 2036"/>
                  <a:gd name="T21" fmla="*/ 0 h 968"/>
                  <a:gd name="T22" fmla="*/ 0 w 2036"/>
                  <a:gd name="T23" fmla="*/ 0 h 968"/>
                  <a:gd name="T24" fmla="*/ 0 w 2036"/>
                  <a:gd name="T25" fmla="*/ 0 h 968"/>
                  <a:gd name="T26" fmla="*/ 0 w 2036"/>
                  <a:gd name="T27" fmla="*/ 0 h 968"/>
                  <a:gd name="T28" fmla="*/ 0 w 2036"/>
                  <a:gd name="T29" fmla="*/ 0 h 968"/>
                  <a:gd name="T30" fmla="*/ 0 w 2036"/>
                  <a:gd name="T31" fmla="*/ 0 h 968"/>
                  <a:gd name="T32" fmla="*/ 0 w 2036"/>
                  <a:gd name="T33" fmla="*/ 0 h 968"/>
                  <a:gd name="T34" fmla="*/ 0 w 2036"/>
                  <a:gd name="T35" fmla="*/ 0 h 968"/>
                  <a:gd name="T36" fmla="*/ 0 w 2036"/>
                  <a:gd name="T37" fmla="*/ 0 h 968"/>
                  <a:gd name="T38" fmla="*/ 0 w 2036"/>
                  <a:gd name="T39" fmla="*/ 0 h 968"/>
                  <a:gd name="T40" fmla="*/ 0 w 2036"/>
                  <a:gd name="T41" fmla="*/ 0 h 968"/>
                  <a:gd name="T42" fmla="*/ 0 w 2036"/>
                  <a:gd name="T43" fmla="*/ 0 h 968"/>
                  <a:gd name="T44" fmla="*/ 0 w 2036"/>
                  <a:gd name="T45" fmla="*/ 0 h 968"/>
                  <a:gd name="T46" fmla="*/ 0 w 2036"/>
                  <a:gd name="T47" fmla="*/ 0 h 968"/>
                  <a:gd name="T48" fmla="*/ 0 w 2036"/>
                  <a:gd name="T49" fmla="*/ 0 h 968"/>
                  <a:gd name="T50" fmla="*/ 0 w 2036"/>
                  <a:gd name="T51" fmla="*/ 0 h 968"/>
                  <a:gd name="T52" fmla="*/ 0 w 2036"/>
                  <a:gd name="T53" fmla="*/ 0 h 968"/>
                  <a:gd name="T54" fmla="*/ 0 w 2036"/>
                  <a:gd name="T55" fmla="*/ 0 h 968"/>
                  <a:gd name="T56" fmla="*/ 0 w 2036"/>
                  <a:gd name="T57" fmla="*/ 0 h 968"/>
                  <a:gd name="T58" fmla="*/ 0 w 2036"/>
                  <a:gd name="T59" fmla="*/ 0 h 968"/>
                  <a:gd name="T60" fmla="*/ 0 w 2036"/>
                  <a:gd name="T61" fmla="*/ 0 h 968"/>
                  <a:gd name="T62" fmla="*/ 0 w 2036"/>
                  <a:gd name="T63" fmla="*/ 0 h 968"/>
                  <a:gd name="T64" fmla="*/ 0 w 2036"/>
                  <a:gd name="T65" fmla="*/ 0 h 968"/>
                  <a:gd name="T66" fmla="*/ 0 w 2036"/>
                  <a:gd name="T67" fmla="*/ 0 h 968"/>
                  <a:gd name="T68" fmla="*/ 0 w 2036"/>
                  <a:gd name="T69" fmla="*/ 0 h 968"/>
                  <a:gd name="T70" fmla="*/ 0 w 2036"/>
                  <a:gd name="T71" fmla="*/ 0 h 968"/>
                  <a:gd name="T72" fmla="*/ 0 w 2036"/>
                  <a:gd name="T73" fmla="*/ 0 h 968"/>
                  <a:gd name="T74" fmla="*/ 0 w 2036"/>
                  <a:gd name="T75" fmla="*/ 0 h 968"/>
                  <a:gd name="T76" fmla="*/ 0 w 2036"/>
                  <a:gd name="T77" fmla="*/ 0 h 968"/>
                  <a:gd name="T78" fmla="*/ 0 w 2036"/>
                  <a:gd name="T79" fmla="*/ 0 h 968"/>
                  <a:gd name="T80" fmla="*/ 0 w 2036"/>
                  <a:gd name="T81" fmla="*/ 0 h 968"/>
                  <a:gd name="T82" fmla="*/ 0 w 2036"/>
                  <a:gd name="T83" fmla="*/ 0 h 968"/>
                  <a:gd name="T84" fmla="*/ 0 w 2036"/>
                  <a:gd name="T85" fmla="*/ 0 h 968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w 2036"/>
                  <a:gd name="T130" fmla="*/ 0 h 968"/>
                  <a:gd name="T131" fmla="*/ 2036 w 2036"/>
                  <a:gd name="T132" fmla="*/ 968 h 968"/>
                </a:gdLst>
                <a:ahLst/>
                <a:cxnLst>
                  <a:cxn ang="T86">
                    <a:pos x="T0" y="T1"/>
                  </a:cxn>
                  <a:cxn ang="T87">
                    <a:pos x="T2" y="T3"/>
                  </a:cxn>
                  <a:cxn ang="T88">
                    <a:pos x="T4" y="T5"/>
                  </a:cxn>
                  <a:cxn ang="T89">
                    <a:pos x="T6" y="T7"/>
                  </a:cxn>
                  <a:cxn ang="T90">
                    <a:pos x="T8" y="T9"/>
                  </a:cxn>
                  <a:cxn ang="T91">
                    <a:pos x="T10" y="T11"/>
                  </a:cxn>
                  <a:cxn ang="T92">
                    <a:pos x="T12" y="T13"/>
                  </a:cxn>
                  <a:cxn ang="T93">
                    <a:pos x="T14" y="T15"/>
                  </a:cxn>
                  <a:cxn ang="T94">
                    <a:pos x="T16" y="T17"/>
                  </a:cxn>
                  <a:cxn ang="T95">
                    <a:pos x="T18" y="T19"/>
                  </a:cxn>
                  <a:cxn ang="T96">
                    <a:pos x="T20" y="T21"/>
                  </a:cxn>
                  <a:cxn ang="T97">
                    <a:pos x="T22" y="T23"/>
                  </a:cxn>
                  <a:cxn ang="T98">
                    <a:pos x="T24" y="T25"/>
                  </a:cxn>
                  <a:cxn ang="T99">
                    <a:pos x="T26" y="T27"/>
                  </a:cxn>
                  <a:cxn ang="T100">
                    <a:pos x="T28" y="T29"/>
                  </a:cxn>
                  <a:cxn ang="T101">
                    <a:pos x="T30" y="T31"/>
                  </a:cxn>
                  <a:cxn ang="T102">
                    <a:pos x="T32" y="T33"/>
                  </a:cxn>
                  <a:cxn ang="T103">
                    <a:pos x="T34" y="T35"/>
                  </a:cxn>
                  <a:cxn ang="T104">
                    <a:pos x="T36" y="T37"/>
                  </a:cxn>
                  <a:cxn ang="T105">
                    <a:pos x="T38" y="T39"/>
                  </a:cxn>
                  <a:cxn ang="T106">
                    <a:pos x="T40" y="T41"/>
                  </a:cxn>
                  <a:cxn ang="T107">
                    <a:pos x="T42" y="T43"/>
                  </a:cxn>
                  <a:cxn ang="T108">
                    <a:pos x="T44" y="T45"/>
                  </a:cxn>
                  <a:cxn ang="T109">
                    <a:pos x="T46" y="T47"/>
                  </a:cxn>
                  <a:cxn ang="T110">
                    <a:pos x="T48" y="T49"/>
                  </a:cxn>
                  <a:cxn ang="T111">
                    <a:pos x="T50" y="T51"/>
                  </a:cxn>
                  <a:cxn ang="T112">
                    <a:pos x="T52" y="T53"/>
                  </a:cxn>
                  <a:cxn ang="T113">
                    <a:pos x="T54" y="T55"/>
                  </a:cxn>
                  <a:cxn ang="T114">
                    <a:pos x="T56" y="T57"/>
                  </a:cxn>
                  <a:cxn ang="T115">
                    <a:pos x="T58" y="T59"/>
                  </a:cxn>
                  <a:cxn ang="T116">
                    <a:pos x="T60" y="T61"/>
                  </a:cxn>
                  <a:cxn ang="T117">
                    <a:pos x="T62" y="T63"/>
                  </a:cxn>
                  <a:cxn ang="T118">
                    <a:pos x="T64" y="T65"/>
                  </a:cxn>
                  <a:cxn ang="T119">
                    <a:pos x="T66" y="T67"/>
                  </a:cxn>
                  <a:cxn ang="T120">
                    <a:pos x="T68" y="T69"/>
                  </a:cxn>
                  <a:cxn ang="T121">
                    <a:pos x="T70" y="T71"/>
                  </a:cxn>
                  <a:cxn ang="T122">
                    <a:pos x="T72" y="T73"/>
                  </a:cxn>
                  <a:cxn ang="T123">
                    <a:pos x="T74" y="T75"/>
                  </a:cxn>
                  <a:cxn ang="T124">
                    <a:pos x="T76" y="T77"/>
                  </a:cxn>
                  <a:cxn ang="T125">
                    <a:pos x="T78" y="T79"/>
                  </a:cxn>
                  <a:cxn ang="T126">
                    <a:pos x="T80" y="T81"/>
                  </a:cxn>
                  <a:cxn ang="T127">
                    <a:pos x="T82" y="T83"/>
                  </a:cxn>
                  <a:cxn ang="T128">
                    <a:pos x="T84" y="T85"/>
                  </a:cxn>
                </a:cxnLst>
                <a:rect l="T129" t="T130" r="T131" b="T132"/>
                <a:pathLst>
                  <a:path w="2036" h="968">
                    <a:moveTo>
                      <a:pt x="2036" y="484"/>
                    </a:moveTo>
                    <a:lnTo>
                      <a:pt x="2035" y="509"/>
                    </a:lnTo>
                    <a:lnTo>
                      <a:pt x="2031" y="534"/>
                    </a:lnTo>
                    <a:lnTo>
                      <a:pt x="2025" y="557"/>
                    </a:lnTo>
                    <a:lnTo>
                      <a:pt x="2016" y="581"/>
                    </a:lnTo>
                    <a:lnTo>
                      <a:pt x="2004" y="605"/>
                    </a:lnTo>
                    <a:lnTo>
                      <a:pt x="1991" y="628"/>
                    </a:lnTo>
                    <a:lnTo>
                      <a:pt x="1974" y="650"/>
                    </a:lnTo>
                    <a:lnTo>
                      <a:pt x="1957" y="672"/>
                    </a:lnTo>
                    <a:lnTo>
                      <a:pt x="1936" y="694"/>
                    </a:lnTo>
                    <a:lnTo>
                      <a:pt x="1913" y="715"/>
                    </a:lnTo>
                    <a:lnTo>
                      <a:pt x="1889" y="735"/>
                    </a:lnTo>
                    <a:lnTo>
                      <a:pt x="1863" y="755"/>
                    </a:lnTo>
                    <a:lnTo>
                      <a:pt x="1834" y="773"/>
                    </a:lnTo>
                    <a:lnTo>
                      <a:pt x="1804" y="792"/>
                    </a:lnTo>
                    <a:lnTo>
                      <a:pt x="1772" y="810"/>
                    </a:lnTo>
                    <a:lnTo>
                      <a:pt x="1738" y="826"/>
                    </a:lnTo>
                    <a:lnTo>
                      <a:pt x="1703" y="842"/>
                    </a:lnTo>
                    <a:lnTo>
                      <a:pt x="1665" y="857"/>
                    </a:lnTo>
                    <a:lnTo>
                      <a:pt x="1627" y="872"/>
                    </a:lnTo>
                    <a:lnTo>
                      <a:pt x="1588" y="885"/>
                    </a:lnTo>
                    <a:lnTo>
                      <a:pt x="1547" y="898"/>
                    </a:lnTo>
                    <a:lnTo>
                      <a:pt x="1503" y="909"/>
                    </a:lnTo>
                    <a:lnTo>
                      <a:pt x="1460" y="920"/>
                    </a:lnTo>
                    <a:lnTo>
                      <a:pt x="1414" y="930"/>
                    </a:lnTo>
                    <a:lnTo>
                      <a:pt x="1368" y="938"/>
                    </a:lnTo>
                    <a:lnTo>
                      <a:pt x="1321" y="946"/>
                    </a:lnTo>
                    <a:lnTo>
                      <a:pt x="1273" y="952"/>
                    </a:lnTo>
                    <a:lnTo>
                      <a:pt x="1223" y="958"/>
                    </a:lnTo>
                    <a:lnTo>
                      <a:pt x="1174" y="962"/>
                    </a:lnTo>
                    <a:lnTo>
                      <a:pt x="1122" y="965"/>
                    </a:lnTo>
                    <a:lnTo>
                      <a:pt x="1070" y="967"/>
                    </a:lnTo>
                    <a:lnTo>
                      <a:pt x="1019" y="968"/>
                    </a:lnTo>
                    <a:lnTo>
                      <a:pt x="966" y="967"/>
                    </a:lnTo>
                    <a:lnTo>
                      <a:pt x="914" y="965"/>
                    </a:lnTo>
                    <a:lnTo>
                      <a:pt x="864" y="962"/>
                    </a:lnTo>
                    <a:lnTo>
                      <a:pt x="813" y="958"/>
                    </a:lnTo>
                    <a:lnTo>
                      <a:pt x="763" y="952"/>
                    </a:lnTo>
                    <a:lnTo>
                      <a:pt x="715" y="946"/>
                    </a:lnTo>
                    <a:lnTo>
                      <a:pt x="668" y="938"/>
                    </a:lnTo>
                    <a:lnTo>
                      <a:pt x="622" y="930"/>
                    </a:lnTo>
                    <a:lnTo>
                      <a:pt x="576" y="920"/>
                    </a:lnTo>
                    <a:lnTo>
                      <a:pt x="533" y="909"/>
                    </a:lnTo>
                    <a:lnTo>
                      <a:pt x="491" y="898"/>
                    </a:lnTo>
                    <a:lnTo>
                      <a:pt x="449" y="885"/>
                    </a:lnTo>
                    <a:lnTo>
                      <a:pt x="409" y="872"/>
                    </a:lnTo>
                    <a:lnTo>
                      <a:pt x="371" y="857"/>
                    </a:lnTo>
                    <a:lnTo>
                      <a:pt x="333" y="842"/>
                    </a:lnTo>
                    <a:lnTo>
                      <a:pt x="298" y="826"/>
                    </a:lnTo>
                    <a:lnTo>
                      <a:pt x="264" y="810"/>
                    </a:lnTo>
                    <a:lnTo>
                      <a:pt x="232" y="792"/>
                    </a:lnTo>
                    <a:lnTo>
                      <a:pt x="202" y="773"/>
                    </a:lnTo>
                    <a:lnTo>
                      <a:pt x="173" y="755"/>
                    </a:lnTo>
                    <a:lnTo>
                      <a:pt x="147" y="735"/>
                    </a:lnTo>
                    <a:lnTo>
                      <a:pt x="123" y="715"/>
                    </a:lnTo>
                    <a:lnTo>
                      <a:pt x="100" y="694"/>
                    </a:lnTo>
                    <a:lnTo>
                      <a:pt x="80" y="672"/>
                    </a:lnTo>
                    <a:lnTo>
                      <a:pt x="62" y="650"/>
                    </a:lnTo>
                    <a:lnTo>
                      <a:pt x="45" y="628"/>
                    </a:lnTo>
                    <a:lnTo>
                      <a:pt x="32" y="605"/>
                    </a:lnTo>
                    <a:lnTo>
                      <a:pt x="20" y="581"/>
                    </a:lnTo>
                    <a:lnTo>
                      <a:pt x="11" y="557"/>
                    </a:lnTo>
                    <a:lnTo>
                      <a:pt x="5" y="534"/>
                    </a:lnTo>
                    <a:lnTo>
                      <a:pt x="1" y="509"/>
                    </a:lnTo>
                    <a:lnTo>
                      <a:pt x="0" y="484"/>
                    </a:lnTo>
                    <a:lnTo>
                      <a:pt x="1" y="459"/>
                    </a:lnTo>
                    <a:lnTo>
                      <a:pt x="5" y="434"/>
                    </a:lnTo>
                    <a:lnTo>
                      <a:pt x="11" y="411"/>
                    </a:lnTo>
                    <a:lnTo>
                      <a:pt x="20" y="387"/>
                    </a:lnTo>
                    <a:lnTo>
                      <a:pt x="32" y="363"/>
                    </a:lnTo>
                    <a:lnTo>
                      <a:pt x="45" y="340"/>
                    </a:lnTo>
                    <a:lnTo>
                      <a:pt x="62" y="317"/>
                    </a:lnTo>
                    <a:lnTo>
                      <a:pt x="80" y="296"/>
                    </a:lnTo>
                    <a:lnTo>
                      <a:pt x="100" y="274"/>
                    </a:lnTo>
                    <a:lnTo>
                      <a:pt x="123" y="253"/>
                    </a:lnTo>
                    <a:lnTo>
                      <a:pt x="147" y="233"/>
                    </a:lnTo>
                    <a:lnTo>
                      <a:pt x="173" y="213"/>
                    </a:lnTo>
                    <a:lnTo>
                      <a:pt x="202" y="194"/>
                    </a:lnTo>
                    <a:lnTo>
                      <a:pt x="232" y="176"/>
                    </a:lnTo>
                    <a:lnTo>
                      <a:pt x="264" y="158"/>
                    </a:lnTo>
                    <a:lnTo>
                      <a:pt x="298" y="142"/>
                    </a:lnTo>
                    <a:lnTo>
                      <a:pt x="333" y="126"/>
                    </a:lnTo>
                    <a:lnTo>
                      <a:pt x="371" y="111"/>
                    </a:lnTo>
                    <a:lnTo>
                      <a:pt x="409" y="96"/>
                    </a:lnTo>
                    <a:lnTo>
                      <a:pt x="449" y="83"/>
                    </a:lnTo>
                    <a:lnTo>
                      <a:pt x="491" y="70"/>
                    </a:lnTo>
                    <a:lnTo>
                      <a:pt x="533" y="59"/>
                    </a:lnTo>
                    <a:lnTo>
                      <a:pt x="576" y="48"/>
                    </a:lnTo>
                    <a:lnTo>
                      <a:pt x="622" y="38"/>
                    </a:lnTo>
                    <a:lnTo>
                      <a:pt x="668" y="30"/>
                    </a:lnTo>
                    <a:lnTo>
                      <a:pt x="715" y="22"/>
                    </a:lnTo>
                    <a:lnTo>
                      <a:pt x="763" y="16"/>
                    </a:lnTo>
                    <a:lnTo>
                      <a:pt x="813" y="10"/>
                    </a:lnTo>
                    <a:lnTo>
                      <a:pt x="864" y="5"/>
                    </a:lnTo>
                    <a:lnTo>
                      <a:pt x="914" y="2"/>
                    </a:lnTo>
                    <a:lnTo>
                      <a:pt x="966" y="1"/>
                    </a:lnTo>
                    <a:lnTo>
                      <a:pt x="1019" y="0"/>
                    </a:lnTo>
                    <a:lnTo>
                      <a:pt x="1070" y="1"/>
                    </a:lnTo>
                    <a:lnTo>
                      <a:pt x="1122" y="2"/>
                    </a:lnTo>
                    <a:lnTo>
                      <a:pt x="1174" y="5"/>
                    </a:lnTo>
                    <a:lnTo>
                      <a:pt x="1223" y="10"/>
                    </a:lnTo>
                    <a:lnTo>
                      <a:pt x="1273" y="16"/>
                    </a:lnTo>
                    <a:lnTo>
                      <a:pt x="1321" y="22"/>
                    </a:lnTo>
                    <a:lnTo>
                      <a:pt x="1368" y="30"/>
                    </a:lnTo>
                    <a:lnTo>
                      <a:pt x="1414" y="38"/>
                    </a:lnTo>
                    <a:lnTo>
                      <a:pt x="1460" y="48"/>
                    </a:lnTo>
                    <a:lnTo>
                      <a:pt x="1503" y="59"/>
                    </a:lnTo>
                    <a:lnTo>
                      <a:pt x="1547" y="70"/>
                    </a:lnTo>
                    <a:lnTo>
                      <a:pt x="1588" y="83"/>
                    </a:lnTo>
                    <a:lnTo>
                      <a:pt x="1627" y="96"/>
                    </a:lnTo>
                    <a:lnTo>
                      <a:pt x="1665" y="111"/>
                    </a:lnTo>
                    <a:lnTo>
                      <a:pt x="1703" y="126"/>
                    </a:lnTo>
                    <a:lnTo>
                      <a:pt x="1738" y="142"/>
                    </a:lnTo>
                    <a:lnTo>
                      <a:pt x="1772" y="158"/>
                    </a:lnTo>
                    <a:lnTo>
                      <a:pt x="1804" y="176"/>
                    </a:lnTo>
                    <a:lnTo>
                      <a:pt x="1834" y="194"/>
                    </a:lnTo>
                    <a:lnTo>
                      <a:pt x="1863" y="213"/>
                    </a:lnTo>
                    <a:lnTo>
                      <a:pt x="1889" y="233"/>
                    </a:lnTo>
                    <a:lnTo>
                      <a:pt x="1913" y="253"/>
                    </a:lnTo>
                    <a:lnTo>
                      <a:pt x="1936" y="274"/>
                    </a:lnTo>
                    <a:lnTo>
                      <a:pt x="1957" y="296"/>
                    </a:lnTo>
                    <a:lnTo>
                      <a:pt x="1974" y="317"/>
                    </a:lnTo>
                    <a:lnTo>
                      <a:pt x="1991" y="340"/>
                    </a:lnTo>
                    <a:lnTo>
                      <a:pt x="2004" y="363"/>
                    </a:lnTo>
                    <a:lnTo>
                      <a:pt x="2016" y="387"/>
                    </a:lnTo>
                    <a:lnTo>
                      <a:pt x="2025" y="411"/>
                    </a:lnTo>
                    <a:lnTo>
                      <a:pt x="2031" y="434"/>
                    </a:lnTo>
                    <a:lnTo>
                      <a:pt x="2035" y="459"/>
                    </a:lnTo>
                    <a:lnTo>
                      <a:pt x="2036" y="484"/>
                    </a:lnTo>
                    <a:close/>
                  </a:path>
                </a:pathLst>
              </a:custGeom>
              <a:solidFill>
                <a:srgbClr val="C93A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270" name="Freeform 150"/>
              <p:cNvSpPr>
                <a:spLocks/>
              </p:cNvSpPr>
              <p:nvPr/>
            </p:nvSpPr>
            <p:spPr bwMode="auto">
              <a:xfrm>
                <a:off x="3447" y="240"/>
                <a:ext cx="218" cy="54"/>
              </a:xfrm>
              <a:custGeom>
                <a:avLst/>
                <a:gdLst>
                  <a:gd name="T0" fmla="*/ 0 w 1523"/>
                  <a:gd name="T1" fmla="*/ 0 h 376"/>
                  <a:gd name="T2" fmla="*/ 0 w 1523"/>
                  <a:gd name="T3" fmla="*/ 0 h 376"/>
                  <a:gd name="T4" fmla="*/ 0 w 1523"/>
                  <a:gd name="T5" fmla="*/ 0 h 376"/>
                  <a:gd name="T6" fmla="*/ 0 w 1523"/>
                  <a:gd name="T7" fmla="*/ 0 h 376"/>
                  <a:gd name="T8" fmla="*/ 0 w 1523"/>
                  <a:gd name="T9" fmla="*/ 0 h 376"/>
                  <a:gd name="T10" fmla="*/ 0 w 1523"/>
                  <a:gd name="T11" fmla="*/ 0 h 376"/>
                  <a:gd name="T12" fmla="*/ 0 w 1523"/>
                  <a:gd name="T13" fmla="*/ 0 h 376"/>
                  <a:gd name="T14" fmla="*/ 0 w 1523"/>
                  <a:gd name="T15" fmla="*/ 0 h 376"/>
                  <a:gd name="T16" fmla="*/ 0 w 1523"/>
                  <a:gd name="T17" fmla="*/ 0 h 376"/>
                  <a:gd name="T18" fmla="*/ 0 w 1523"/>
                  <a:gd name="T19" fmla="*/ 0 h 376"/>
                  <a:gd name="T20" fmla="*/ 0 w 1523"/>
                  <a:gd name="T21" fmla="*/ 0 h 376"/>
                  <a:gd name="T22" fmla="*/ 0 w 1523"/>
                  <a:gd name="T23" fmla="*/ 0 h 376"/>
                  <a:gd name="T24" fmla="*/ 0 w 1523"/>
                  <a:gd name="T25" fmla="*/ 0 h 376"/>
                  <a:gd name="T26" fmla="*/ 0 w 1523"/>
                  <a:gd name="T27" fmla="*/ 0 h 376"/>
                  <a:gd name="T28" fmla="*/ 0 w 1523"/>
                  <a:gd name="T29" fmla="*/ 0 h 376"/>
                  <a:gd name="T30" fmla="*/ 0 w 1523"/>
                  <a:gd name="T31" fmla="*/ 0 h 376"/>
                  <a:gd name="T32" fmla="*/ 0 w 1523"/>
                  <a:gd name="T33" fmla="*/ 0 h 376"/>
                  <a:gd name="T34" fmla="*/ 0 w 1523"/>
                  <a:gd name="T35" fmla="*/ 0 h 376"/>
                  <a:gd name="T36" fmla="*/ 0 w 1523"/>
                  <a:gd name="T37" fmla="*/ 0 h 376"/>
                  <a:gd name="T38" fmla="*/ 0 w 1523"/>
                  <a:gd name="T39" fmla="*/ 0 h 376"/>
                  <a:gd name="T40" fmla="*/ 0 w 1523"/>
                  <a:gd name="T41" fmla="*/ 0 h 376"/>
                  <a:gd name="T42" fmla="*/ 0 w 1523"/>
                  <a:gd name="T43" fmla="*/ 0 h 376"/>
                  <a:gd name="T44" fmla="*/ 0 w 1523"/>
                  <a:gd name="T45" fmla="*/ 0 h 376"/>
                  <a:gd name="T46" fmla="*/ 0 w 1523"/>
                  <a:gd name="T47" fmla="*/ 0 h 376"/>
                  <a:gd name="T48" fmla="*/ 0 w 1523"/>
                  <a:gd name="T49" fmla="*/ 0 h 376"/>
                  <a:gd name="T50" fmla="*/ 0 w 1523"/>
                  <a:gd name="T51" fmla="*/ 0 h 376"/>
                  <a:gd name="T52" fmla="*/ 0 w 1523"/>
                  <a:gd name="T53" fmla="*/ 0 h 376"/>
                  <a:gd name="T54" fmla="*/ 0 w 1523"/>
                  <a:gd name="T55" fmla="*/ 0 h 376"/>
                  <a:gd name="T56" fmla="*/ 0 w 1523"/>
                  <a:gd name="T57" fmla="*/ 0 h 376"/>
                  <a:gd name="T58" fmla="*/ 0 w 1523"/>
                  <a:gd name="T59" fmla="*/ 0 h 376"/>
                  <a:gd name="T60" fmla="*/ 0 w 1523"/>
                  <a:gd name="T61" fmla="*/ 0 h 376"/>
                  <a:gd name="T62" fmla="*/ 0 w 1523"/>
                  <a:gd name="T63" fmla="*/ 0 h 376"/>
                  <a:gd name="T64" fmla="*/ 0 w 1523"/>
                  <a:gd name="T65" fmla="*/ 0 h 376"/>
                  <a:gd name="T66" fmla="*/ 0 w 1523"/>
                  <a:gd name="T67" fmla="*/ 0 h 376"/>
                  <a:gd name="T68" fmla="*/ 0 w 1523"/>
                  <a:gd name="T69" fmla="*/ 0 h 376"/>
                  <a:gd name="T70" fmla="*/ 0 w 1523"/>
                  <a:gd name="T71" fmla="*/ 0 h 376"/>
                  <a:gd name="T72" fmla="*/ 0 w 1523"/>
                  <a:gd name="T73" fmla="*/ 0 h 376"/>
                  <a:gd name="T74" fmla="*/ 0 w 1523"/>
                  <a:gd name="T75" fmla="*/ 0 h 376"/>
                  <a:gd name="T76" fmla="*/ 0 w 1523"/>
                  <a:gd name="T77" fmla="*/ 0 h 376"/>
                  <a:gd name="T78" fmla="*/ 0 w 1523"/>
                  <a:gd name="T79" fmla="*/ 0 h 376"/>
                  <a:gd name="T80" fmla="*/ 0 w 1523"/>
                  <a:gd name="T81" fmla="*/ 0 h 376"/>
                  <a:gd name="T82" fmla="*/ 0 w 1523"/>
                  <a:gd name="T83" fmla="*/ 0 h 376"/>
                  <a:gd name="T84" fmla="*/ 0 w 1523"/>
                  <a:gd name="T85" fmla="*/ 0 h 376"/>
                  <a:gd name="T86" fmla="*/ 0 w 1523"/>
                  <a:gd name="T87" fmla="*/ 0 h 376"/>
                  <a:gd name="T88" fmla="*/ 0 w 1523"/>
                  <a:gd name="T89" fmla="*/ 0 h 376"/>
                  <a:gd name="T90" fmla="*/ 0 w 1523"/>
                  <a:gd name="T91" fmla="*/ 0 h 376"/>
                  <a:gd name="T92" fmla="*/ 0 w 1523"/>
                  <a:gd name="T93" fmla="*/ 0 h 376"/>
                  <a:gd name="T94" fmla="*/ 0 w 1523"/>
                  <a:gd name="T95" fmla="*/ 0 h 37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w 1523"/>
                  <a:gd name="T145" fmla="*/ 0 h 376"/>
                  <a:gd name="T146" fmla="*/ 1523 w 1523"/>
                  <a:gd name="T147" fmla="*/ 376 h 37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T144" t="T145" r="T146" b="T147"/>
                <a:pathLst>
                  <a:path w="1523" h="376">
                    <a:moveTo>
                      <a:pt x="1523" y="92"/>
                    </a:moveTo>
                    <a:lnTo>
                      <a:pt x="1491" y="82"/>
                    </a:lnTo>
                    <a:lnTo>
                      <a:pt x="1458" y="71"/>
                    </a:lnTo>
                    <a:lnTo>
                      <a:pt x="1424" y="62"/>
                    </a:lnTo>
                    <a:lnTo>
                      <a:pt x="1390" y="54"/>
                    </a:lnTo>
                    <a:lnTo>
                      <a:pt x="1355" y="45"/>
                    </a:lnTo>
                    <a:lnTo>
                      <a:pt x="1319" y="38"/>
                    </a:lnTo>
                    <a:lnTo>
                      <a:pt x="1283" y="31"/>
                    </a:lnTo>
                    <a:lnTo>
                      <a:pt x="1245" y="25"/>
                    </a:lnTo>
                    <a:lnTo>
                      <a:pt x="1207" y="19"/>
                    </a:lnTo>
                    <a:lnTo>
                      <a:pt x="1169" y="14"/>
                    </a:lnTo>
                    <a:lnTo>
                      <a:pt x="1130" y="10"/>
                    </a:lnTo>
                    <a:lnTo>
                      <a:pt x="1090" y="6"/>
                    </a:lnTo>
                    <a:lnTo>
                      <a:pt x="1050" y="4"/>
                    </a:lnTo>
                    <a:lnTo>
                      <a:pt x="1009" y="2"/>
                    </a:lnTo>
                    <a:lnTo>
                      <a:pt x="968" y="0"/>
                    </a:lnTo>
                    <a:lnTo>
                      <a:pt x="926" y="0"/>
                    </a:lnTo>
                    <a:lnTo>
                      <a:pt x="888" y="0"/>
                    </a:lnTo>
                    <a:lnTo>
                      <a:pt x="850" y="1"/>
                    </a:lnTo>
                    <a:lnTo>
                      <a:pt x="812" y="3"/>
                    </a:lnTo>
                    <a:lnTo>
                      <a:pt x="775" y="5"/>
                    </a:lnTo>
                    <a:lnTo>
                      <a:pt x="738" y="8"/>
                    </a:lnTo>
                    <a:lnTo>
                      <a:pt x="702" y="12"/>
                    </a:lnTo>
                    <a:lnTo>
                      <a:pt x="666" y="17"/>
                    </a:lnTo>
                    <a:lnTo>
                      <a:pt x="631" y="21"/>
                    </a:lnTo>
                    <a:lnTo>
                      <a:pt x="595" y="26"/>
                    </a:lnTo>
                    <a:lnTo>
                      <a:pt x="561" y="32"/>
                    </a:lnTo>
                    <a:lnTo>
                      <a:pt x="527" y="39"/>
                    </a:lnTo>
                    <a:lnTo>
                      <a:pt x="494" y="45"/>
                    </a:lnTo>
                    <a:lnTo>
                      <a:pt x="462" y="54"/>
                    </a:lnTo>
                    <a:lnTo>
                      <a:pt x="430" y="62"/>
                    </a:lnTo>
                    <a:lnTo>
                      <a:pt x="399" y="70"/>
                    </a:lnTo>
                    <a:lnTo>
                      <a:pt x="368" y="80"/>
                    </a:lnTo>
                    <a:lnTo>
                      <a:pt x="339" y="89"/>
                    </a:lnTo>
                    <a:lnTo>
                      <a:pt x="310" y="99"/>
                    </a:lnTo>
                    <a:lnTo>
                      <a:pt x="282" y="110"/>
                    </a:lnTo>
                    <a:lnTo>
                      <a:pt x="254" y="121"/>
                    </a:lnTo>
                    <a:lnTo>
                      <a:pt x="229" y="132"/>
                    </a:lnTo>
                    <a:lnTo>
                      <a:pt x="203" y="144"/>
                    </a:lnTo>
                    <a:lnTo>
                      <a:pt x="178" y="156"/>
                    </a:lnTo>
                    <a:lnTo>
                      <a:pt x="154" y="170"/>
                    </a:lnTo>
                    <a:lnTo>
                      <a:pt x="131" y="182"/>
                    </a:lnTo>
                    <a:lnTo>
                      <a:pt x="110" y="195"/>
                    </a:lnTo>
                    <a:lnTo>
                      <a:pt x="88" y="210"/>
                    </a:lnTo>
                    <a:lnTo>
                      <a:pt x="68" y="224"/>
                    </a:lnTo>
                    <a:lnTo>
                      <a:pt x="50" y="239"/>
                    </a:lnTo>
                    <a:lnTo>
                      <a:pt x="32" y="253"/>
                    </a:lnTo>
                    <a:lnTo>
                      <a:pt x="16" y="269"/>
                    </a:lnTo>
                    <a:lnTo>
                      <a:pt x="0" y="284"/>
                    </a:lnTo>
                    <a:lnTo>
                      <a:pt x="31" y="295"/>
                    </a:lnTo>
                    <a:lnTo>
                      <a:pt x="64" y="305"/>
                    </a:lnTo>
                    <a:lnTo>
                      <a:pt x="98" y="314"/>
                    </a:lnTo>
                    <a:lnTo>
                      <a:pt x="132" y="323"/>
                    </a:lnTo>
                    <a:lnTo>
                      <a:pt x="168" y="331"/>
                    </a:lnTo>
                    <a:lnTo>
                      <a:pt x="204" y="339"/>
                    </a:lnTo>
                    <a:lnTo>
                      <a:pt x="240" y="345"/>
                    </a:lnTo>
                    <a:lnTo>
                      <a:pt x="277" y="352"/>
                    </a:lnTo>
                    <a:lnTo>
                      <a:pt x="315" y="358"/>
                    </a:lnTo>
                    <a:lnTo>
                      <a:pt x="354" y="363"/>
                    </a:lnTo>
                    <a:lnTo>
                      <a:pt x="393" y="367"/>
                    </a:lnTo>
                    <a:lnTo>
                      <a:pt x="432" y="370"/>
                    </a:lnTo>
                    <a:lnTo>
                      <a:pt x="472" y="373"/>
                    </a:lnTo>
                    <a:lnTo>
                      <a:pt x="514" y="374"/>
                    </a:lnTo>
                    <a:lnTo>
                      <a:pt x="554" y="376"/>
                    </a:lnTo>
                    <a:lnTo>
                      <a:pt x="596" y="376"/>
                    </a:lnTo>
                    <a:lnTo>
                      <a:pt x="635" y="376"/>
                    </a:lnTo>
                    <a:lnTo>
                      <a:pt x="673" y="375"/>
                    </a:lnTo>
                    <a:lnTo>
                      <a:pt x="710" y="373"/>
                    </a:lnTo>
                    <a:lnTo>
                      <a:pt x="748" y="371"/>
                    </a:lnTo>
                    <a:lnTo>
                      <a:pt x="785" y="368"/>
                    </a:lnTo>
                    <a:lnTo>
                      <a:pt x="821" y="365"/>
                    </a:lnTo>
                    <a:lnTo>
                      <a:pt x="857" y="361"/>
                    </a:lnTo>
                    <a:lnTo>
                      <a:pt x="892" y="356"/>
                    </a:lnTo>
                    <a:lnTo>
                      <a:pt x="927" y="351"/>
                    </a:lnTo>
                    <a:lnTo>
                      <a:pt x="961" y="344"/>
                    </a:lnTo>
                    <a:lnTo>
                      <a:pt x="995" y="338"/>
                    </a:lnTo>
                    <a:lnTo>
                      <a:pt x="1028" y="331"/>
                    </a:lnTo>
                    <a:lnTo>
                      <a:pt x="1060" y="323"/>
                    </a:lnTo>
                    <a:lnTo>
                      <a:pt x="1093" y="315"/>
                    </a:lnTo>
                    <a:lnTo>
                      <a:pt x="1124" y="306"/>
                    </a:lnTo>
                    <a:lnTo>
                      <a:pt x="1155" y="297"/>
                    </a:lnTo>
                    <a:lnTo>
                      <a:pt x="1183" y="287"/>
                    </a:lnTo>
                    <a:lnTo>
                      <a:pt x="1212" y="277"/>
                    </a:lnTo>
                    <a:lnTo>
                      <a:pt x="1240" y="267"/>
                    </a:lnTo>
                    <a:lnTo>
                      <a:pt x="1268" y="255"/>
                    </a:lnTo>
                    <a:lnTo>
                      <a:pt x="1294" y="244"/>
                    </a:lnTo>
                    <a:lnTo>
                      <a:pt x="1320" y="233"/>
                    </a:lnTo>
                    <a:lnTo>
                      <a:pt x="1345" y="220"/>
                    </a:lnTo>
                    <a:lnTo>
                      <a:pt x="1368" y="208"/>
                    </a:lnTo>
                    <a:lnTo>
                      <a:pt x="1391" y="194"/>
                    </a:lnTo>
                    <a:lnTo>
                      <a:pt x="1413" y="181"/>
                    </a:lnTo>
                    <a:lnTo>
                      <a:pt x="1435" y="166"/>
                    </a:lnTo>
                    <a:lnTo>
                      <a:pt x="1454" y="153"/>
                    </a:lnTo>
                    <a:lnTo>
                      <a:pt x="1473" y="139"/>
                    </a:lnTo>
                    <a:lnTo>
                      <a:pt x="1490" y="123"/>
                    </a:lnTo>
                    <a:lnTo>
                      <a:pt x="1507" y="108"/>
                    </a:lnTo>
                    <a:lnTo>
                      <a:pt x="1523" y="92"/>
                    </a:lnTo>
                    <a:close/>
                  </a:path>
                </a:pathLst>
              </a:custGeom>
              <a:solidFill>
                <a:srgbClr val="DD4F4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271" name="Freeform 151"/>
              <p:cNvSpPr>
                <a:spLocks/>
              </p:cNvSpPr>
              <p:nvPr/>
            </p:nvSpPr>
            <p:spPr bwMode="auto">
              <a:xfrm>
                <a:off x="3435" y="265"/>
                <a:ext cx="289" cy="116"/>
              </a:xfrm>
              <a:custGeom>
                <a:avLst/>
                <a:gdLst>
                  <a:gd name="T0" fmla="*/ 0 w 2022"/>
                  <a:gd name="T1" fmla="*/ 0 h 807"/>
                  <a:gd name="T2" fmla="*/ 0 w 2022"/>
                  <a:gd name="T3" fmla="*/ 0 h 807"/>
                  <a:gd name="T4" fmla="*/ 0 w 2022"/>
                  <a:gd name="T5" fmla="*/ 0 h 807"/>
                  <a:gd name="T6" fmla="*/ 0 w 2022"/>
                  <a:gd name="T7" fmla="*/ 0 h 807"/>
                  <a:gd name="T8" fmla="*/ 0 w 2022"/>
                  <a:gd name="T9" fmla="*/ 0 h 807"/>
                  <a:gd name="T10" fmla="*/ 0 w 2022"/>
                  <a:gd name="T11" fmla="*/ 0 h 807"/>
                  <a:gd name="T12" fmla="*/ 0 w 2022"/>
                  <a:gd name="T13" fmla="*/ 0 h 807"/>
                  <a:gd name="T14" fmla="*/ 0 w 2022"/>
                  <a:gd name="T15" fmla="*/ 0 h 807"/>
                  <a:gd name="T16" fmla="*/ 0 w 2022"/>
                  <a:gd name="T17" fmla="*/ 0 h 807"/>
                  <a:gd name="T18" fmla="*/ 0 w 2022"/>
                  <a:gd name="T19" fmla="*/ 0 h 807"/>
                  <a:gd name="T20" fmla="*/ 0 w 2022"/>
                  <a:gd name="T21" fmla="*/ 0 h 807"/>
                  <a:gd name="T22" fmla="*/ 0 w 2022"/>
                  <a:gd name="T23" fmla="*/ 0 h 807"/>
                  <a:gd name="T24" fmla="*/ 0 w 2022"/>
                  <a:gd name="T25" fmla="*/ 0 h 807"/>
                  <a:gd name="T26" fmla="*/ 0 w 2022"/>
                  <a:gd name="T27" fmla="*/ 0 h 807"/>
                  <a:gd name="T28" fmla="*/ 0 w 2022"/>
                  <a:gd name="T29" fmla="*/ 0 h 807"/>
                  <a:gd name="T30" fmla="*/ 0 w 2022"/>
                  <a:gd name="T31" fmla="*/ 0 h 807"/>
                  <a:gd name="T32" fmla="*/ 0 w 2022"/>
                  <a:gd name="T33" fmla="*/ 0 h 807"/>
                  <a:gd name="T34" fmla="*/ 0 w 2022"/>
                  <a:gd name="T35" fmla="*/ 0 h 807"/>
                  <a:gd name="T36" fmla="*/ 0 w 2022"/>
                  <a:gd name="T37" fmla="*/ 0 h 807"/>
                  <a:gd name="T38" fmla="*/ 0 w 2022"/>
                  <a:gd name="T39" fmla="*/ 0 h 807"/>
                  <a:gd name="T40" fmla="*/ 0 w 2022"/>
                  <a:gd name="T41" fmla="*/ 0 h 807"/>
                  <a:gd name="T42" fmla="*/ 0 w 2022"/>
                  <a:gd name="T43" fmla="*/ 0 h 807"/>
                  <a:gd name="T44" fmla="*/ 0 w 2022"/>
                  <a:gd name="T45" fmla="*/ 0 h 807"/>
                  <a:gd name="T46" fmla="*/ 0 w 2022"/>
                  <a:gd name="T47" fmla="*/ 0 h 807"/>
                  <a:gd name="T48" fmla="*/ 0 w 2022"/>
                  <a:gd name="T49" fmla="*/ 0 h 807"/>
                  <a:gd name="T50" fmla="*/ 0 w 2022"/>
                  <a:gd name="T51" fmla="*/ 0 h 807"/>
                  <a:gd name="T52" fmla="*/ 0 w 2022"/>
                  <a:gd name="T53" fmla="*/ 0 h 807"/>
                  <a:gd name="T54" fmla="*/ 0 w 2022"/>
                  <a:gd name="T55" fmla="*/ 0 h 807"/>
                  <a:gd name="T56" fmla="*/ 0 w 2022"/>
                  <a:gd name="T57" fmla="*/ 0 h 807"/>
                  <a:gd name="T58" fmla="*/ 0 w 2022"/>
                  <a:gd name="T59" fmla="*/ 0 h 807"/>
                  <a:gd name="T60" fmla="*/ 0 w 2022"/>
                  <a:gd name="T61" fmla="*/ 0 h 807"/>
                  <a:gd name="T62" fmla="*/ 0 w 2022"/>
                  <a:gd name="T63" fmla="*/ 0 h 807"/>
                  <a:gd name="T64" fmla="*/ 0 w 2022"/>
                  <a:gd name="T65" fmla="*/ 0 h 807"/>
                  <a:gd name="T66" fmla="*/ 0 w 2022"/>
                  <a:gd name="T67" fmla="*/ 0 h 807"/>
                  <a:gd name="T68" fmla="*/ 0 w 2022"/>
                  <a:gd name="T69" fmla="*/ 0 h 807"/>
                  <a:gd name="T70" fmla="*/ 0 w 2022"/>
                  <a:gd name="T71" fmla="*/ 0 h 807"/>
                  <a:gd name="T72" fmla="*/ 0 w 2022"/>
                  <a:gd name="T73" fmla="*/ 0 h 807"/>
                  <a:gd name="T74" fmla="*/ 0 w 2022"/>
                  <a:gd name="T75" fmla="*/ 0 h 807"/>
                  <a:gd name="T76" fmla="*/ 0 w 2022"/>
                  <a:gd name="T77" fmla="*/ 0 h 807"/>
                  <a:gd name="T78" fmla="*/ 0 w 2022"/>
                  <a:gd name="T79" fmla="*/ 0 h 807"/>
                  <a:gd name="T80" fmla="*/ 0 w 2022"/>
                  <a:gd name="T81" fmla="*/ 0 h 807"/>
                  <a:gd name="T82" fmla="*/ 0 w 2022"/>
                  <a:gd name="T83" fmla="*/ 0 h 807"/>
                  <a:gd name="T84" fmla="*/ 0 w 2022"/>
                  <a:gd name="T85" fmla="*/ 0 h 807"/>
                  <a:gd name="T86" fmla="*/ 0 w 2022"/>
                  <a:gd name="T87" fmla="*/ 0 h 807"/>
                  <a:gd name="T88" fmla="*/ 0 w 2022"/>
                  <a:gd name="T89" fmla="*/ 0 h 807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w 2022"/>
                  <a:gd name="T136" fmla="*/ 0 h 807"/>
                  <a:gd name="T137" fmla="*/ 2022 w 2022"/>
                  <a:gd name="T138" fmla="*/ 807 h 807"/>
                </a:gdLst>
                <a:ahLst/>
                <a:cxnLst>
                  <a:cxn ang="T90">
                    <a:pos x="T0" y="T1"/>
                  </a:cxn>
                  <a:cxn ang="T91">
                    <a:pos x="T2" y="T3"/>
                  </a:cxn>
                  <a:cxn ang="T92">
                    <a:pos x="T4" y="T5"/>
                  </a:cxn>
                  <a:cxn ang="T93">
                    <a:pos x="T6" y="T7"/>
                  </a:cxn>
                  <a:cxn ang="T94">
                    <a:pos x="T8" y="T9"/>
                  </a:cxn>
                  <a:cxn ang="T95">
                    <a:pos x="T10" y="T11"/>
                  </a:cxn>
                  <a:cxn ang="T96">
                    <a:pos x="T12" y="T13"/>
                  </a:cxn>
                  <a:cxn ang="T97">
                    <a:pos x="T14" y="T15"/>
                  </a:cxn>
                  <a:cxn ang="T98">
                    <a:pos x="T16" y="T17"/>
                  </a:cxn>
                  <a:cxn ang="T99">
                    <a:pos x="T18" y="T19"/>
                  </a:cxn>
                  <a:cxn ang="T100">
                    <a:pos x="T20" y="T21"/>
                  </a:cxn>
                  <a:cxn ang="T101">
                    <a:pos x="T22" y="T23"/>
                  </a:cxn>
                  <a:cxn ang="T102">
                    <a:pos x="T24" y="T25"/>
                  </a:cxn>
                  <a:cxn ang="T103">
                    <a:pos x="T26" y="T27"/>
                  </a:cxn>
                  <a:cxn ang="T104">
                    <a:pos x="T28" y="T29"/>
                  </a:cxn>
                  <a:cxn ang="T105">
                    <a:pos x="T30" y="T31"/>
                  </a:cxn>
                  <a:cxn ang="T106">
                    <a:pos x="T32" y="T33"/>
                  </a:cxn>
                  <a:cxn ang="T107">
                    <a:pos x="T34" y="T35"/>
                  </a:cxn>
                  <a:cxn ang="T108">
                    <a:pos x="T36" y="T37"/>
                  </a:cxn>
                  <a:cxn ang="T109">
                    <a:pos x="T38" y="T39"/>
                  </a:cxn>
                  <a:cxn ang="T110">
                    <a:pos x="T40" y="T41"/>
                  </a:cxn>
                  <a:cxn ang="T111">
                    <a:pos x="T42" y="T43"/>
                  </a:cxn>
                  <a:cxn ang="T112">
                    <a:pos x="T44" y="T45"/>
                  </a:cxn>
                  <a:cxn ang="T113">
                    <a:pos x="T46" y="T47"/>
                  </a:cxn>
                  <a:cxn ang="T114">
                    <a:pos x="T48" y="T49"/>
                  </a:cxn>
                  <a:cxn ang="T115">
                    <a:pos x="T50" y="T51"/>
                  </a:cxn>
                  <a:cxn ang="T116">
                    <a:pos x="T52" y="T53"/>
                  </a:cxn>
                  <a:cxn ang="T117">
                    <a:pos x="T54" y="T55"/>
                  </a:cxn>
                  <a:cxn ang="T118">
                    <a:pos x="T56" y="T57"/>
                  </a:cxn>
                  <a:cxn ang="T119">
                    <a:pos x="T58" y="T59"/>
                  </a:cxn>
                  <a:cxn ang="T120">
                    <a:pos x="T60" y="T61"/>
                  </a:cxn>
                  <a:cxn ang="T121">
                    <a:pos x="T62" y="T63"/>
                  </a:cxn>
                  <a:cxn ang="T122">
                    <a:pos x="T64" y="T65"/>
                  </a:cxn>
                  <a:cxn ang="T123">
                    <a:pos x="T66" y="T67"/>
                  </a:cxn>
                  <a:cxn ang="T124">
                    <a:pos x="T68" y="T69"/>
                  </a:cxn>
                  <a:cxn ang="T125">
                    <a:pos x="T70" y="T71"/>
                  </a:cxn>
                  <a:cxn ang="T126">
                    <a:pos x="T72" y="T73"/>
                  </a:cxn>
                  <a:cxn ang="T127">
                    <a:pos x="T74" y="T75"/>
                  </a:cxn>
                  <a:cxn ang="T128">
                    <a:pos x="T76" y="T77"/>
                  </a:cxn>
                  <a:cxn ang="T129">
                    <a:pos x="T78" y="T79"/>
                  </a:cxn>
                  <a:cxn ang="T130">
                    <a:pos x="T80" y="T81"/>
                  </a:cxn>
                  <a:cxn ang="T131">
                    <a:pos x="T82" y="T83"/>
                  </a:cxn>
                  <a:cxn ang="T132">
                    <a:pos x="T84" y="T85"/>
                  </a:cxn>
                  <a:cxn ang="T133">
                    <a:pos x="T86" y="T87"/>
                  </a:cxn>
                  <a:cxn ang="T134">
                    <a:pos x="T88" y="T89"/>
                  </a:cxn>
                </a:cxnLst>
                <a:rect l="T135" t="T136" r="T137" b="T138"/>
                <a:pathLst>
                  <a:path w="2022" h="807">
                    <a:moveTo>
                      <a:pt x="1758" y="0"/>
                    </a:moveTo>
                    <a:lnTo>
                      <a:pt x="1764" y="19"/>
                    </a:lnTo>
                    <a:lnTo>
                      <a:pt x="1770" y="40"/>
                    </a:lnTo>
                    <a:lnTo>
                      <a:pt x="1773" y="61"/>
                    </a:lnTo>
                    <a:lnTo>
                      <a:pt x="1774" y="82"/>
                    </a:lnTo>
                    <a:lnTo>
                      <a:pt x="1773" y="106"/>
                    </a:lnTo>
                    <a:lnTo>
                      <a:pt x="1769" y="131"/>
                    </a:lnTo>
                    <a:lnTo>
                      <a:pt x="1762" y="156"/>
                    </a:lnTo>
                    <a:lnTo>
                      <a:pt x="1753" y="180"/>
                    </a:lnTo>
                    <a:lnTo>
                      <a:pt x="1742" y="203"/>
                    </a:lnTo>
                    <a:lnTo>
                      <a:pt x="1728" y="226"/>
                    </a:lnTo>
                    <a:lnTo>
                      <a:pt x="1712" y="248"/>
                    </a:lnTo>
                    <a:lnTo>
                      <a:pt x="1694" y="270"/>
                    </a:lnTo>
                    <a:lnTo>
                      <a:pt x="1673" y="291"/>
                    </a:lnTo>
                    <a:lnTo>
                      <a:pt x="1651" y="312"/>
                    </a:lnTo>
                    <a:lnTo>
                      <a:pt x="1627" y="333"/>
                    </a:lnTo>
                    <a:lnTo>
                      <a:pt x="1600" y="352"/>
                    </a:lnTo>
                    <a:lnTo>
                      <a:pt x="1571" y="371"/>
                    </a:lnTo>
                    <a:lnTo>
                      <a:pt x="1541" y="390"/>
                    </a:lnTo>
                    <a:lnTo>
                      <a:pt x="1509" y="407"/>
                    </a:lnTo>
                    <a:lnTo>
                      <a:pt x="1476" y="424"/>
                    </a:lnTo>
                    <a:lnTo>
                      <a:pt x="1440" y="440"/>
                    </a:lnTo>
                    <a:lnTo>
                      <a:pt x="1404" y="455"/>
                    </a:lnTo>
                    <a:lnTo>
                      <a:pt x="1365" y="469"/>
                    </a:lnTo>
                    <a:lnTo>
                      <a:pt x="1325" y="483"/>
                    </a:lnTo>
                    <a:lnTo>
                      <a:pt x="1284" y="496"/>
                    </a:lnTo>
                    <a:lnTo>
                      <a:pt x="1241" y="508"/>
                    </a:lnTo>
                    <a:lnTo>
                      <a:pt x="1197" y="518"/>
                    </a:lnTo>
                    <a:lnTo>
                      <a:pt x="1152" y="527"/>
                    </a:lnTo>
                    <a:lnTo>
                      <a:pt x="1106" y="537"/>
                    </a:lnTo>
                    <a:lnTo>
                      <a:pt x="1059" y="544"/>
                    </a:lnTo>
                    <a:lnTo>
                      <a:pt x="1010" y="550"/>
                    </a:lnTo>
                    <a:lnTo>
                      <a:pt x="960" y="556"/>
                    </a:lnTo>
                    <a:lnTo>
                      <a:pt x="911" y="560"/>
                    </a:lnTo>
                    <a:lnTo>
                      <a:pt x="859" y="563"/>
                    </a:lnTo>
                    <a:lnTo>
                      <a:pt x="808" y="565"/>
                    </a:lnTo>
                    <a:lnTo>
                      <a:pt x="756" y="565"/>
                    </a:lnTo>
                    <a:lnTo>
                      <a:pt x="700" y="565"/>
                    </a:lnTo>
                    <a:lnTo>
                      <a:pt x="644" y="562"/>
                    </a:lnTo>
                    <a:lnTo>
                      <a:pt x="591" y="559"/>
                    </a:lnTo>
                    <a:lnTo>
                      <a:pt x="538" y="554"/>
                    </a:lnTo>
                    <a:lnTo>
                      <a:pt x="485" y="548"/>
                    </a:lnTo>
                    <a:lnTo>
                      <a:pt x="434" y="541"/>
                    </a:lnTo>
                    <a:lnTo>
                      <a:pt x="384" y="532"/>
                    </a:lnTo>
                    <a:lnTo>
                      <a:pt x="335" y="522"/>
                    </a:lnTo>
                    <a:lnTo>
                      <a:pt x="288" y="512"/>
                    </a:lnTo>
                    <a:lnTo>
                      <a:pt x="242" y="499"/>
                    </a:lnTo>
                    <a:lnTo>
                      <a:pt x="198" y="487"/>
                    </a:lnTo>
                    <a:lnTo>
                      <a:pt x="155" y="472"/>
                    </a:lnTo>
                    <a:lnTo>
                      <a:pt x="114" y="457"/>
                    </a:lnTo>
                    <a:lnTo>
                      <a:pt x="74" y="440"/>
                    </a:lnTo>
                    <a:lnTo>
                      <a:pt x="37" y="424"/>
                    </a:lnTo>
                    <a:lnTo>
                      <a:pt x="0" y="406"/>
                    </a:lnTo>
                    <a:lnTo>
                      <a:pt x="10" y="427"/>
                    </a:lnTo>
                    <a:lnTo>
                      <a:pt x="20" y="448"/>
                    </a:lnTo>
                    <a:lnTo>
                      <a:pt x="32" y="468"/>
                    </a:lnTo>
                    <a:lnTo>
                      <a:pt x="47" y="489"/>
                    </a:lnTo>
                    <a:lnTo>
                      <a:pt x="62" y="509"/>
                    </a:lnTo>
                    <a:lnTo>
                      <a:pt x="80" y="527"/>
                    </a:lnTo>
                    <a:lnTo>
                      <a:pt x="100" y="547"/>
                    </a:lnTo>
                    <a:lnTo>
                      <a:pt x="121" y="564"/>
                    </a:lnTo>
                    <a:lnTo>
                      <a:pt x="144" y="583"/>
                    </a:lnTo>
                    <a:lnTo>
                      <a:pt x="168" y="600"/>
                    </a:lnTo>
                    <a:lnTo>
                      <a:pt x="194" y="617"/>
                    </a:lnTo>
                    <a:lnTo>
                      <a:pt x="222" y="633"/>
                    </a:lnTo>
                    <a:lnTo>
                      <a:pt x="250" y="649"/>
                    </a:lnTo>
                    <a:lnTo>
                      <a:pt x="279" y="664"/>
                    </a:lnTo>
                    <a:lnTo>
                      <a:pt x="312" y="678"/>
                    </a:lnTo>
                    <a:lnTo>
                      <a:pt x="344" y="693"/>
                    </a:lnTo>
                    <a:lnTo>
                      <a:pt x="378" y="705"/>
                    </a:lnTo>
                    <a:lnTo>
                      <a:pt x="413" y="717"/>
                    </a:lnTo>
                    <a:lnTo>
                      <a:pt x="449" y="730"/>
                    </a:lnTo>
                    <a:lnTo>
                      <a:pt x="486" y="740"/>
                    </a:lnTo>
                    <a:lnTo>
                      <a:pt x="524" y="751"/>
                    </a:lnTo>
                    <a:lnTo>
                      <a:pt x="565" y="760"/>
                    </a:lnTo>
                    <a:lnTo>
                      <a:pt x="605" y="769"/>
                    </a:lnTo>
                    <a:lnTo>
                      <a:pt x="646" y="776"/>
                    </a:lnTo>
                    <a:lnTo>
                      <a:pt x="688" y="784"/>
                    </a:lnTo>
                    <a:lnTo>
                      <a:pt x="731" y="790"/>
                    </a:lnTo>
                    <a:lnTo>
                      <a:pt x="774" y="795"/>
                    </a:lnTo>
                    <a:lnTo>
                      <a:pt x="819" y="799"/>
                    </a:lnTo>
                    <a:lnTo>
                      <a:pt x="864" y="803"/>
                    </a:lnTo>
                    <a:lnTo>
                      <a:pt x="910" y="805"/>
                    </a:lnTo>
                    <a:lnTo>
                      <a:pt x="956" y="807"/>
                    </a:lnTo>
                    <a:lnTo>
                      <a:pt x="1004" y="807"/>
                    </a:lnTo>
                    <a:lnTo>
                      <a:pt x="1056" y="807"/>
                    </a:lnTo>
                    <a:lnTo>
                      <a:pt x="1107" y="805"/>
                    </a:lnTo>
                    <a:lnTo>
                      <a:pt x="1159" y="802"/>
                    </a:lnTo>
                    <a:lnTo>
                      <a:pt x="1208" y="798"/>
                    </a:lnTo>
                    <a:lnTo>
                      <a:pt x="1258" y="792"/>
                    </a:lnTo>
                    <a:lnTo>
                      <a:pt x="1307" y="786"/>
                    </a:lnTo>
                    <a:lnTo>
                      <a:pt x="1353" y="778"/>
                    </a:lnTo>
                    <a:lnTo>
                      <a:pt x="1400" y="769"/>
                    </a:lnTo>
                    <a:lnTo>
                      <a:pt x="1445" y="760"/>
                    </a:lnTo>
                    <a:lnTo>
                      <a:pt x="1489" y="750"/>
                    </a:lnTo>
                    <a:lnTo>
                      <a:pt x="1531" y="737"/>
                    </a:lnTo>
                    <a:lnTo>
                      <a:pt x="1572" y="725"/>
                    </a:lnTo>
                    <a:lnTo>
                      <a:pt x="1613" y="711"/>
                    </a:lnTo>
                    <a:lnTo>
                      <a:pt x="1651" y="697"/>
                    </a:lnTo>
                    <a:lnTo>
                      <a:pt x="1688" y="682"/>
                    </a:lnTo>
                    <a:lnTo>
                      <a:pt x="1723" y="666"/>
                    </a:lnTo>
                    <a:lnTo>
                      <a:pt x="1757" y="649"/>
                    </a:lnTo>
                    <a:lnTo>
                      <a:pt x="1789" y="632"/>
                    </a:lnTo>
                    <a:lnTo>
                      <a:pt x="1819" y="613"/>
                    </a:lnTo>
                    <a:lnTo>
                      <a:pt x="1848" y="594"/>
                    </a:lnTo>
                    <a:lnTo>
                      <a:pt x="1874" y="575"/>
                    </a:lnTo>
                    <a:lnTo>
                      <a:pt x="1899" y="554"/>
                    </a:lnTo>
                    <a:lnTo>
                      <a:pt x="1922" y="533"/>
                    </a:lnTo>
                    <a:lnTo>
                      <a:pt x="1941" y="512"/>
                    </a:lnTo>
                    <a:lnTo>
                      <a:pt x="1960" y="490"/>
                    </a:lnTo>
                    <a:lnTo>
                      <a:pt x="1976" y="467"/>
                    </a:lnTo>
                    <a:lnTo>
                      <a:pt x="1990" y="444"/>
                    </a:lnTo>
                    <a:lnTo>
                      <a:pt x="2001" y="422"/>
                    </a:lnTo>
                    <a:lnTo>
                      <a:pt x="2010" y="398"/>
                    </a:lnTo>
                    <a:lnTo>
                      <a:pt x="2017" y="373"/>
                    </a:lnTo>
                    <a:lnTo>
                      <a:pt x="2021" y="348"/>
                    </a:lnTo>
                    <a:lnTo>
                      <a:pt x="2022" y="324"/>
                    </a:lnTo>
                    <a:lnTo>
                      <a:pt x="2022" y="312"/>
                    </a:lnTo>
                    <a:lnTo>
                      <a:pt x="2021" y="301"/>
                    </a:lnTo>
                    <a:lnTo>
                      <a:pt x="2019" y="289"/>
                    </a:lnTo>
                    <a:lnTo>
                      <a:pt x="2017" y="278"/>
                    </a:lnTo>
                    <a:lnTo>
                      <a:pt x="2015" y="267"/>
                    </a:lnTo>
                    <a:lnTo>
                      <a:pt x="2011" y="255"/>
                    </a:lnTo>
                    <a:lnTo>
                      <a:pt x="2007" y="244"/>
                    </a:lnTo>
                    <a:lnTo>
                      <a:pt x="2003" y="233"/>
                    </a:lnTo>
                    <a:lnTo>
                      <a:pt x="1994" y="211"/>
                    </a:lnTo>
                    <a:lnTo>
                      <a:pt x="1981" y="189"/>
                    </a:lnTo>
                    <a:lnTo>
                      <a:pt x="1967" y="168"/>
                    </a:lnTo>
                    <a:lnTo>
                      <a:pt x="1951" y="147"/>
                    </a:lnTo>
                    <a:lnTo>
                      <a:pt x="1933" y="127"/>
                    </a:lnTo>
                    <a:lnTo>
                      <a:pt x="1913" y="107"/>
                    </a:lnTo>
                    <a:lnTo>
                      <a:pt x="1892" y="88"/>
                    </a:lnTo>
                    <a:lnTo>
                      <a:pt x="1868" y="69"/>
                    </a:lnTo>
                    <a:lnTo>
                      <a:pt x="1843" y="51"/>
                    </a:lnTo>
                    <a:lnTo>
                      <a:pt x="1816" y="33"/>
                    </a:lnTo>
                    <a:lnTo>
                      <a:pt x="1788" y="16"/>
                    </a:lnTo>
                    <a:lnTo>
                      <a:pt x="1758" y="0"/>
                    </a:lnTo>
                    <a:close/>
                  </a:path>
                </a:pathLst>
              </a:custGeom>
              <a:solidFill>
                <a:srgbClr val="A42B2C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272" name="Freeform 152"/>
              <p:cNvSpPr>
                <a:spLocks/>
              </p:cNvSpPr>
              <p:nvPr/>
            </p:nvSpPr>
            <p:spPr bwMode="auto">
              <a:xfrm>
                <a:off x="3570" y="358"/>
                <a:ext cx="11" cy="12"/>
              </a:xfrm>
              <a:custGeom>
                <a:avLst/>
                <a:gdLst>
                  <a:gd name="T0" fmla="*/ 0 w 80"/>
                  <a:gd name="T1" fmla="*/ 0 h 81"/>
                  <a:gd name="T2" fmla="*/ 0 w 80"/>
                  <a:gd name="T3" fmla="*/ 0 h 81"/>
                  <a:gd name="T4" fmla="*/ 0 w 80"/>
                  <a:gd name="T5" fmla="*/ 0 h 81"/>
                  <a:gd name="T6" fmla="*/ 0 w 80"/>
                  <a:gd name="T7" fmla="*/ 0 h 81"/>
                  <a:gd name="T8" fmla="*/ 0 w 80"/>
                  <a:gd name="T9" fmla="*/ 0 h 81"/>
                  <a:gd name="T10" fmla="*/ 0 w 80"/>
                  <a:gd name="T11" fmla="*/ 0 h 81"/>
                  <a:gd name="T12" fmla="*/ 0 w 80"/>
                  <a:gd name="T13" fmla="*/ 0 h 81"/>
                  <a:gd name="T14" fmla="*/ 0 w 80"/>
                  <a:gd name="T15" fmla="*/ 0 h 81"/>
                  <a:gd name="T16" fmla="*/ 0 w 80"/>
                  <a:gd name="T17" fmla="*/ 0 h 81"/>
                  <a:gd name="T18" fmla="*/ 0 w 80"/>
                  <a:gd name="T19" fmla="*/ 0 h 81"/>
                  <a:gd name="T20" fmla="*/ 0 w 80"/>
                  <a:gd name="T21" fmla="*/ 0 h 81"/>
                  <a:gd name="T22" fmla="*/ 0 w 80"/>
                  <a:gd name="T23" fmla="*/ 0 h 81"/>
                  <a:gd name="T24" fmla="*/ 0 w 80"/>
                  <a:gd name="T25" fmla="*/ 0 h 81"/>
                  <a:gd name="T26" fmla="*/ 0 w 80"/>
                  <a:gd name="T27" fmla="*/ 0 h 81"/>
                  <a:gd name="T28" fmla="*/ 0 w 80"/>
                  <a:gd name="T29" fmla="*/ 0 h 81"/>
                  <a:gd name="T30" fmla="*/ 0 w 80"/>
                  <a:gd name="T31" fmla="*/ 0 h 81"/>
                  <a:gd name="T32" fmla="*/ 0 w 80"/>
                  <a:gd name="T33" fmla="*/ 0 h 81"/>
                  <a:gd name="T34" fmla="*/ 0 w 80"/>
                  <a:gd name="T35" fmla="*/ 0 h 81"/>
                  <a:gd name="T36" fmla="*/ 0 w 80"/>
                  <a:gd name="T37" fmla="*/ 0 h 81"/>
                  <a:gd name="T38" fmla="*/ 0 w 80"/>
                  <a:gd name="T39" fmla="*/ 0 h 81"/>
                  <a:gd name="T40" fmla="*/ 0 w 80"/>
                  <a:gd name="T41" fmla="*/ 0 h 81"/>
                  <a:gd name="T42" fmla="*/ 0 w 80"/>
                  <a:gd name="T43" fmla="*/ 0 h 81"/>
                  <a:gd name="T44" fmla="*/ 0 w 80"/>
                  <a:gd name="T45" fmla="*/ 0 h 81"/>
                  <a:gd name="T46" fmla="*/ 0 w 80"/>
                  <a:gd name="T47" fmla="*/ 0 h 81"/>
                  <a:gd name="T48" fmla="*/ 0 w 80"/>
                  <a:gd name="T49" fmla="*/ 0 h 81"/>
                  <a:gd name="T50" fmla="*/ 0 w 80"/>
                  <a:gd name="T51" fmla="*/ 0 h 81"/>
                  <a:gd name="T52" fmla="*/ 0 w 80"/>
                  <a:gd name="T53" fmla="*/ 0 h 81"/>
                  <a:gd name="T54" fmla="*/ 0 w 80"/>
                  <a:gd name="T55" fmla="*/ 0 h 81"/>
                  <a:gd name="T56" fmla="*/ 0 w 80"/>
                  <a:gd name="T57" fmla="*/ 0 h 81"/>
                  <a:gd name="T58" fmla="*/ 0 w 80"/>
                  <a:gd name="T59" fmla="*/ 0 h 81"/>
                  <a:gd name="T60" fmla="*/ 0 w 80"/>
                  <a:gd name="T61" fmla="*/ 0 h 81"/>
                  <a:gd name="T62" fmla="*/ 0 w 80"/>
                  <a:gd name="T63" fmla="*/ 0 h 81"/>
                  <a:gd name="T64" fmla="*/ 0 w 80"/>
                  <a:gd name="T65" fmla="*/ 0 h 8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80"/>
                  <a:gd name="T100" fmla="*/ 0 h 81"/>
                  <a:gd name="T101" fmla="*/ 80 w 80"/>
                  <a:gd name="T102" fmla="*/ 81 h 81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80" h="81">
                    <a:moveTo>
                      <a:pt x="80" y="41"/>
                    </a:moveTo>
                    <a:lnTo>
                      <a:pt x="79" y="49"/>
                    </a:lnTo>
                    <a:lnTo>
                      <a:pt x="76" y="56"/>
                    </a:lnTo>
                    <a:lnTo>
                      <a:pt x="73" y="63"/>
                    </a:lnTo>
                    <a:lnTo>
                      <a:pt x="68" y="70"/>
                    </a:lnTo>
                    <a:lnTo>
                      <a:pt x="62" y="74"/>
                    </a:lnTo>
                    <a:lnTo>
                      <a:pt x="56" y="78"/>
                    </a:lnTo>
                    <a:lnTo>
                      <a:pt x="47" y="80"/>
                    </a:lnTo>
                    <a:lnTo>
                      <a:pt x="40" y="81"/>
                    </a:lnTo>
                    <a:lnTo>
                      <a:pt x="32" y="80"/>
                    </a:lnTo>
                    <a:lnTo>
                      <a:pt x="24" y="78"/>
                    </a:lnTo>
                    <a:lnTo>
                      <a:pt x="17" y="74"/>
                    </a:lnTo>
                    <a:lnTo>
                      <a:pt x="11" y="70"/>
                    </a:lnTo>
                    <a:lnTo>
                      <a:pt x="6" y="63"/>
                    </a:lnTo>
                    <a:lnTo>
                      <a:pt x="3" y="56"/>
                    </a:lnTo>
                    <a:lnTo>
                      <a:pt x="0" y="49"/>
                    </a:lnTo>
                    <a:lnTo>
                      <a:pt x="0" y="41"/>
                    </a:lnTo>
                    <a:lnTo>
                      <a:pt x="0" y="32"/>
                    </a:lnTo>
                    <a:lnTo>
                      <a:pt x="3" y="25"/>
                    </a:lnTo>
                    <a:lnTo>
                      <a:pt x="6" y="18"/>
                    </a:lnTo>
                    <a:lnTo>
                      <a:pt x="11" y="12"/>
                    </a:lnTo>
                    <a:lnTo>
                      <a:pt x="17" y="8"/>
                    </a:lnTo>
                    <a:lnTo>
                      <a:pt x="24" y="3"/>
                    </a:lnTo>
                    <a:lnTo>
                      <a:pt x="32" y="1"/>
                    </a:lnTo>
                    <a:lnTo>
                      <a:pt x="40" y="0"/>
                    </a:lnTo>
                    <a:lnTo>
                      <a:pt x="47" y="1"/>
                    </a:lnTo>
                    <a:lnTo>
                      <a:pt x="56" y="3"/>
                    </a:lnTo>
                    <a:lnTo>
                      <a:pt x="62" y="8"/>
                    </a:lnTo>
                    <a:lnTo>
                      <a:pt x="68" y="12"/>
                    </a:lnTo>
                    <a:lnTo>
                      <a:pt x="73" y="18"/>
                    </a:lnTo>
                    <a:lnTo>
                      <a:pt x="76" y="25"/>
                    </a:lnTo>
                    <a:lnTo>
                      <a:pt x="79" y="32"/>
                    </a:lnTo>
                    <a:lnTo>
                      <a:pt x="80" y="41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273" name="Freeform 153"/>
              <p:cNvSpPr>
                <a:spLocks/>
              </p:cNvSpPr>
              <p:nvPr/>
            </p:nvSpPr>
            <p:spPr bwMode="auto">
              <a:xfrm>
                <a:off x="3624" y="353"/>
                <a:ext cx="11" cy="11"/>
              </a:xfrm>
              <a:custGeom>
                <a:avLst/>
                <a:gdLst>
                  <a:gd name="T0" fmla="*/ 0 w 81"/>
                  <a:gd name="T1" fmla="*/ 0 h 81"/>
                  <a:gd name="T2" fmla="*/ 0 w 81"/>
                  <a:gd name="T3" fmla="*/ 0 h 81"/>
                  <a:gd name="T4" fmla="*/ 0 w 81"/>
                  <a:gd name="T5" fmla="*/ 0 h 81"/>
                  <a:gd name="T6" fmla="*/ 0 w 81"/>
                  <a:gd name="T7" fmla="*/ 0 h 81"/>
                  <a:gd name="T8" fmla="*/ 0 w 81"/>
                  <a:gd name="T9" fmla="*/ 0 h 81"/>
                  <a:gd name="T10" fmla="*/ 0 w 81"/>
                  <a:gd name="T11" fmla="*/ 0 h 81"/>
                  <a:gd name="T12" fmla="*/ 0 w 81"/>
                  <a:gd name="T13" fmla="*/ 0 h 81"/>
                  <a:gd name="T14" fmla="*/ 0 w 81"/>
                  <a:gd name="T15" fmla="*/ 0 h 81"/>
                  <a:gd name="T16" fmla="*/ 0 w 81"/>
                  <a:gd name="T17" fmla="*/ 0 h 81"/>
                  <a:gd name="T18" fmla="*/ 0 w 81"/>
                  <a:gd name="T19" fmla="*/ 0 h 81"/>
                  <a:gd name="T20" fmla="*/ 0 w 81"/>
                  <a:gd name="T21" fmla="*/ 0 h 81"/>
                  <a:gd name="T22" fmla="*/ 0 w 81"/>
                  <a:gd name="T23" fmla="*/ 0 h 81"/>
                  <a:gd name="T24" fmla="*/ 0 w 81"/>
                  <a:gd name="T25" fmla="*/ 0 h 81"/>
                  <a:gd name="T26" fmla="*/ 0 w 81"/>
                  <a:gd name="T27" fmla="*/ 0 h 81"/>
                  <a:gd name="T28" fmla="*/ 0 w 81"/>
                  <a:gd name="T29" fmla="*/ 0 h 81"/>
                  <a:gd name="T30" fmla="*/ 0 w 81"/>
                  <a:gd name="T31" fmla="*/ 0 h 81"/>
                  <a:gd name="T32" fmla="*/ 0 w 81"/>
                  <a:gd name="T33" fmla="*/ 0 h 81"/>
                  <a:gd name="T34" fmla="*/ 0 w 81"/>
                  <a:gd name="T35" fmla="*/ 0 h 81"/>
                  <a:gd name="T36" fmla="*/ 0 w 81"/>
                  <a:gd name="T37" fmla="*/ 0 h 81"/>
                  <a:gd name="T38" fmla="*/ 0 w 81"/>
                  <a:gd name="T39" fmla="*/ 0 h 81"/>
                  <a:gd name="T40" fmla="*/ 0 w 81"/>
                  <a:gd name="T41" fmla="*/ 0 h 81"/>
                  <a:gd name="T42" fmla="*/ 0 w 81"/>
                  <a:gd name="T43" fmla="*/ 0 h 81"/>
                  <a:gd name="T44" fmla="*/ 0 w 81"/>
                  <a:gd name="T45" fmla="*/ 0 h 81"/>
                  <a:gd name="T46" fmla="*/ 0 w 81"/>
                  <a:gd name="T47" fmla="*/ 0 h 81"/>
                  <a:gd name="T48" fmla="*/ 0 w 81"/>
                  <a:gd name="T49" fmla="*/ 0 h 81"/>
                  <a:gd name="T50" fmla="*/ 0 w 81"/>
                  <a:gd name="T51" fmla="*/ 0 h 81"/>
                  <a:gd name="T52" fmla="*/ 0 w 81"/>
                  <a:gd name="T53" fmla="*/ 0 h 81"/>
                  <a:gd name="T54" fmla="*/ 0 w 81"/>
                  <a:gd name="T55" fmla="*/ 0 h 81"/>
                  <a:gd name="T56" fmla="*/ 0 w 81"/>
                  <a:gd name="T57" fmla="*/ 0 h 81"/>
                  <a:gd name="T58" fmla="*/ 0 w 81"/>
                  <a:gd name="T59" fmla="*/ 0 h 81"/>
                  <a:gd name="T60" fmla="*/ 0 w 81"/>
                  <a:gd name="T61" fmla="*/ 0 h 81"/>
                  <a:gd name="T62" fmla="*/ 0 w 81"/>
                  <a:gd name="T63" fmla="*/ 0 h 81"/>
                  <a:gd name="T64" fmla="*/ 0 w 81"/>
                  <a:gd name="T65" fmla="*/ 0 h 8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81"/>
                  <a:gd name="T100" fmla="*/ 0 h 81"/>
                  <a:gd name="T101" fmla="*/ 81 w 81"/>
                  <a:gd name="T102" fmla="*/ 81 h 81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81" h="81">
                    <a:moveTo>
                      <a:pt x="81" y="40"/>
                    </a:moveTo>
                    <a:lnTo>
                      <a:pt x="80" y="49"/>
                    </a:lnTo>
                    <a:lnTo>
                      <a:pt x="78" y="56"/>
                    </a:lnTo>
                    <a:lnTo>
                      <a:pt x="74" y="63"/>
                    </a:lnTo>
                    <a:lnTo>
                      <a:pt x="69" y="68"/>
                    </a:lnTo>
                    <a:lnTo>
                      <a:pt x="63" y="73"/>
                    </a:lnTo>
                    <a:lnTo>
                      <a:pt x="56" y="78"/>
                    </a:lnTo>
                    <a:lnTo>
                      <a:pt x="49" y="80"/>
                    </a:lnTo>
                    <a:lnTo>
                      <a:pt x="40" y="81"/>
                    </a:lnTo>
                    <a:lnTo>
                      <a:pt x="32" y="80"/>
                    </a:lnTo>
                    <a:lnTo>
                      <a:pt x="25" y="78"/>
                    </a:lnTo>
                    <a:lnTo>
                      <a:pt x="18" y="73"/>
                    </a:lnTo>
                    <a:lnTo>
                      <a:pt x="13" y="68"/>
                    </a:lnTo>
                    <a:lnTo>
                      <a:pt x="7" y="63"/>
                    </a:lnTo>
                    <a:lnTo>
                      <a:pt x="3" y="56"/>
                    </a:lnTo>
                    <a:lnTo>
                      <a:pt x="1" y="49"/>
                    </a:lnTo>
                    <a:lnTo>
                      <a:pt x="0" y="40"/>
                    </a:lnTo>
                    <a:lnTo>
                      <a:pt x="1" y="32"/>
                    </a:lnTo>
                    <a:lnTo>
                      <a:pt x="3" y="25"/>
                    </a:lnTo>
                    <a:lnTo>
                      <a:pt x="7" y="18"/>
                    </a:lnTo>
                    <a:lnTo>
                      <a:pt x="13" y="11"/>
                    </a:lnTo>
                    <a:lnTo>
                      <a:pt x="18" y="6"/>
                    </a:lnTo>
                    <a:lnTo>
                      <a:pt x="25" y="3"/>
                    </a:lnTo>
                    <a:lnTo>
                      <a:pt x="32" y="0"/>
                    </a:lnTo>
                    <a:lnTo>
                      <a:pt x="40" y="0"/>
                    </a:lnTo>
                    <a:lnTo>
                      <a:pt x="49" y="0"/>
                    </a:lnTo>
                    <a:lnTo>
                      <a:pt x="56" y="3"/>
                    </a:lnTo>
                    <a:lnTo>
                      <a:pt x="63" y="6"/>
                    </a:lnTo>
                    <a:lnTo>
                      <a:pt x="69" y="11"/>
                    </a:lnTo>
                    <a:lnTo>
                      <a:pt x="74" y="18"/>
                    </a:lnTo>
                    <a:lnTo>
                      <a:pt x="78" y="25"/>
                    </a:lnTo>
                    <a:lnTo>
                      <a:pt x="80" y="32"/>
                    </a:lnTo>
                    <a:lnTo>
                      <a:pt x="81" y="40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274" name="Freeform 154"/>
              <p:cNvSpPr>
                <a:spLocks/>
              </p:cNvSpPr>
              <p:nvPr/>
            </p:nvSpPr>
            <p:spPr bwMode="auto">
              <a:xfrm>
                <a:off x="3666" y="337"/>
                <a:ext cx="12" cy="11"/>
              </a:xfrm>
              <a:custGeom>
                <a:avLst/>
                <a:gdLst>
                  <a:gd name="T0" fmla="*/ 0 w 80"/>
                  <a:gd name="T1" fmla="*/ 0 h 81"/>
                  <a:gd name="T2" fmla="*/ 0 w 80"/>
                  <a:gd name="T3" fmla="*/ 0 h 81"/>
                  <a:gd name="T4" fmla="*/ 0 w 80"/>
                  <a:gd name="T5" fmla="*/ 0 h 81"/>
                  <a:gd name="T6" fmla="*/ 0 w 80"/>
                  <a:gd name="T7" fmla="*/ 0 h 81"/>
                  <a:gd name="T8" fmla="*/ 0 w 80"/>
                  <a:gd name="T9" fmla="*/ 0 h 81"/>
                  <a:gd name="T10" fmla="*/ 0 w 80"/>
                  <a:gd name="T11" fmla="*/ 0 h 81"/>
                  <a:gd name="T12" fmla="*/ 0 w 80"/>
                  <a:gd name="T13" fmla="*/ 0 h 81"/>
                  <a:gd name="T14" fmla="*/ 0 w 80"/>
                  <a:gd name="T15" fmla="*/ 0 h 81"/>
                  <a:gd name="T16" fmla="*/ 0 w 80"/>
                  <a:gd name="T17" fmla="*/ 0 h 81"/>
                  <a:gd name="T18" fmla="*/ 0 w 80"/>
                  <a:gd name="T19" fmla="*/ 0 h 81"/>
                  <a:gd name="T20" fmla="*/ 0 w 80"/>
                  <a:gd name="T21" fmla="*/ 0 h 81"/>
                  <a:gd name="T22" fmla="*/ 0 w 80"/>
                  <a:gd name="T23" fmla="*/ 0 h 81"/>
                  <a:gd name="T24" fmla="*/ 0 w 80"/>
                  <a:gd name="T25" fmla="*/ 0 h 81"/>
                  <a:gd name="T26" fmla="*/ 0 w 80"/>
                  <a:gd name="T27" fmla="*/ 0 h 81"/>
                  <a:gd name="T28" fmla="*/ 0 w 80"/>
                  <a:gd name="T29" fmla="*/ 0 h 81"/>
                  <a:gd name="T30" fmla="*/ 0 w 80"/>
                  <a:gd name="T31" fmla="*/ 0 h 81"/>
                  <a:gd name="T32" fmla="*/ 0 w 80"/>
                  <a:gd name="T33" fmla="*/ 0 h 81"/>
                  <a:gd name="T34" fmla="*/ 0 w 80"/>
                  <a:gd name="T35" fmla="*/ 0 h 81"/>
                  <a:gd name="T36" fmla="*/ 0 w 80"/>
                  <a:gd name="T37" fmla="*/ 0 h 81"/>
                  <a:gd name="T38" fmla="*/ 0 w 80"/>
                  <a:gd name="T39" fmla="*/ 0 h 81"/>
                  <a:gd name="T40" fmla="*/ 0 w 80"/>
                  <a:gd name="T41" fmla="*/ 0 h 81"/>
                  <a:gd name="T42" fmla="*/ 0 w 80"/>
                  <a:gd name="T43" fmla="*/ 0 h 81"/>
                  <a:gd name="T44" fmla="*/ 0 w 80"/>
                  <a:gd name="T45" fmla="*/ 0 h 81"/>
                  <a:gd name="T46" fmla="*/ 0 w 80"/>
                  <a:gd name="T47" fmla="*/ 0 h 81"/>
                  <a:gd name="T48" fmla="*/ 0 w 80"/>
                  <a:gd name="T49" fmla="*/ 0 h 81"/>
                  <a:gd name="T50" fmla="*/ 0 w 80"/>
                  <a:gd name="T51" fmla="*/ 0 h 81"/>
                  <a:gd name="T52" fmla="*/ 0 w 80"/>
                  <a:gd name="T53" fmla="*/ 0 h 81"/>
                  <a:gd name="T54" fmla="*/ 0 w 80"/>
                  <a:gd name="T55" fmla="*/ 0 h 81"/>
                  <a:gd name="T56" fmla="*/ 0 w 80"/>
                  <a:gd name="T57" fmla="*/ 0 h 81"/>
                  <a:gd name="T58" fmla="*/ 0 w 80"/>
                  <a:gd name="T59" fmla="*/ 0 h 81"/>
                  <a:gd name="T60" fmla="*/ 0 w 80"/>
                  <a:gd name="T61" fmla="*/ 0 h 81"/>
                  <a:gd name="T62" fmla="*/ 0 w 80"/>
                  <a:gd name="T63" fmla="*/ 0 h 81"/>
                  <a:gd name="T64" fmla="*/ 0 w 80"/>
                  <a:gd name="T65" fmla="*/ 0 h 8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80"/>
                  <a:gd name="T100" fmla="*/ 0 h 81"/>
                  <a:gd name="T101" fmla="*/ 80 w 80"/>
                  <a:gd name="T102" fmla="*/ 81 h 81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80" h="81">
                    <a:moveTo>
                      <a:pt x="80" y="41"/>
                    </a:moveTo>
                    <a:lnTo>
                      <a:pt x="79" y="49"/>
                    </a:lnTo>
                    <a:lnTo>
                      <a:pt x="77" y="56"/>
                    </a:lnTo>
                    <a:lnTo>
                      <a:pt x="74" y="63"/>
                    </a:lnTo>
                    <a:lnTo>
                      <a:pt x="69" y="69"/>
                    </a:lnTo>
                    <a:lnTo>
                      <a:pt x="63" y="74"/>
                    </a:lnTo>
                    <a:lnTo>
                      <a:pt x="56" y="78"/>
                    </a:lnTo>
                    <a:lnTo>
                      <a:pt x="48" y="80"/>
                    </a:lnTo>
                    <a:lnTo>
                      <a:pt x="40" y="81"/>
                    </a:lnTo>
                    <a:lnTo>
                      <a:pt x="32" y="80"/>
                    </a:lnTo>
                    <a:lnTo>
                      <a:pt x="25" y="78"/>
                    </a:lnTo>
                    <a:lnTo>
                      <a:pt x="17" y="74"/>
                    </a:lnTo>
                    <a:lnTo>
                      <a:pt x="12" y="69"/>
                    </a:lnTo>
                    <a:lnTo>
                      <a:pt x="7" y="63"/>
                    </a:lnTo>
                    <a:lnTo>
                      <a:pt x="3" y="56"/>
                    </a:lnTo>
                    <a:lnTo>
                      <a:pt x="1" y="49"/>
                    </a:lnTo>
                    <a:lnTo>
                      <a:pt x="0" y="41"/>
                    </a:lnTo>
                    <a:lnTo>
                      <a:pt x="1" y="32"/>
                    </a:lnTo>
                    <a:lnTo>
                      <a:pt x="3" y="25"/>
                    </a:lnTo>
                    <a:lnTo>
                      <a:pt x="7" y="18"/>
                    </a:lnTo>
                    <a:lnTo>
                      <a:pt x="12" y="12"/>
                    </a:lnTo>
                    <a:lnTo>
                      <a:pt x="17" y="6"/>
                    </a:lnTo>
                    <a:lnTo>
                      <a:pt x="25" y="3"/>
                    </a:lnTo>
                    <a:lnTo>
                      <a:pt x="32" y="1"/>
                    </a:lnTo>
                    <a:lnTo>
                      <a:pt x="40" y="0"/>
                    </a:lnTo>
                    <a:lnTo>
                      <a:pt x="48" y="1"/>
                    </a:lnTo>
                    <a:lnTo>
                      <a:pt x="56" y="3"/>
                    </a:lnTo>
                    <a:lnTo>
                      <a:pt x="63" y="6"/>
                    </a:lnTo>
                    <a:lnTo>
                      <a:pt x="69" y="12"/>
                    </a:lnTo>
                    <a:lnTo>
                      <a:pt x="74" y="18"/>
                    </a:lnTo>
                    <a:lnTo>
                      <a:pt x="77" y="25"/>
                    </a:lnTo>
                    <a:lnTo>
                      <a:pt x="79" y="32"/>
                    </a:lnTo>
                    <a:lnTo>
                      <a:pt x="80" y="41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275" name="Freeform 155"/>
              <p:cNvSpPr>
                <a:spLocks/>
              </p:cNvSpPr>
              <p:nvPr/>
            </p:nvSpPr>
            <p:spPr bwMode="auto">
              <a:xfrm>
                <a:off x="3699" y="313"/>
                <a:ext cx="11" cy="11"/>
              </a:xfrm>
              <a:custGeom>
                <a:avLst/>
                <a:gdLst>
                  <a:gd name="T0" fmla="*/ 0 w 81"/>
                  <a:gd name="T1" fmla="*/ 0 h 80"/>
                  <a:gd name="T2" fmla="*/ 0 w 81"/>
                  <a:gd name="T3" fmla="*/ 0 h 80"/>
                  <a:gd name="T4" fmla="*/ 0 w 81"/>
                  <a:gd name="T5" fmla="*/ 0 h 80"/>
                  <a:gd name="T6" fmla="*/ 0 w 81"/>
                  <a:gd name="T7" fmla="*/ 0 h 80"/>
                  <a:gd name="T8" fmla="*/ 0 w 81"/>
                  <a:gd name="T9" fmla="*/ 0 h 80"/>
                  <a:gd name="T10" fmla="*/ 0 w 81"/>
                  <a:gd name="T11" fmla="*/ 0 h 80"/>
                  <a:gd name="T12" fmla="*/ 0 w 81"/>
                  <a:gd name="T13" fmla="*/ 0 h 80"/>
                  <a:gd name="T14" fmla="*/ 0 w 81"/>
                  <a:gd name="T15" fmla="*/ 0 h 80"/>
                  <a:gd name="T16" fmla="*/ 0 w 81"/>
                  <a:gd name="T17" fmla="*/ 0 h 80"/>
                  <a:gd name="T18" fmla="*/ 0 w 81"/>
                  <a:gd name="T19" fmla="*/ 0 h 80"/>
                  <a:gd name="T20" fmla="*/ 0 w 81"/>
                  <a:gd name="T21" fmla="*/ 0 h 80"/>
                  <a:gd name="T22" fmla="*/ 0 w 81"/>
                  <a:gd name="T23" fmla="*/ 0 h 80"/>
                  <a:gd name="T24" fmla="*/ 0 w 81"/>
                  <a:gd name="T25" fmla="*/ 0 h 80"/>
                  <a:gd name="T26" fmla="*/ 0 w 81"/>
                  <a:gd name="T27" fmla="*/ 0 h 80"/>
                  <a:gd name="T28" fmla="*/ 0 w 81"/>
                  <a:gd name="T29" fmla="*/ 0 h 80"/>
                  <a:gd name="T30" fmla="*/ 0 w 81"/>
                  <a:gd name="T31" fmla="*/ 0 h 80"/>
                  <a:gd name="T32" fmla="*/ 0 w 81"/>
                  <a:gd name="T33" fmla="*/ 0 h 80"/>
                  <a:gd name="T34" fmla="*/ 0 w 81"/>
                  <a:gd name="T35" fmla="*/ 0 h 80"/>
                  <a:gd name="T36" fmla="*/ 0 w 81"/>
                  <a:gd name="T37" fmla="*/ 0 h 80"/>
                  <a:gd name="T38" fmla="*/ 0 w 81"/>
                  <a:gd name="T39" fmla="*/ 0 h 80"/>
                  <a:gd name="T40" fmla="*/ 0 w 81"/>
                  <a:gd name="T41" fmla="*/ 0 h 80"/>
                  <a:gd name="T42" fmla="*/ 0 w 81"/>
                  <a:gd name="T43" fmla="*/ 0 h 80"/>
                  <a:gd name="T44" fmla="*/ 0 w 81"/>
                  <a:gd name="T45" fmla="*/ 0 h 80"/>
                  <a:gd name="T46" fmla="*/ 0 w 81"/>
                  <a:gd name="T47" fmla="*/ 0 h 80"/>
                  <a:gd name="T48" fmla="*/ 0 w 81"/>
                  <a:gd name="T49" fmla="*/ 0 h 80"/>
                  <a:gd name="T50" fmla="*/ 0 w 81"/>
                  <a:gd name="T51" fmla="*/ 0 h 80"/>
                  <a:gd name="T52" fmla="*/ 0 w 81"/>
                  <a:gd name="T53" fmla="*/ 0 h 80"/>
                  <a:gd name="T54" fmla="*/ 0 w 81"/>
                  <a:gd name="T55" fmla="*/ 0 h 80"/>
                  <a:gd name="T56" fmla="*/ 0 w 81"/>
                  <a:gd name="T57" fmla="*/ 0 h 80"/>
                  <a:gd name="T58" fmla="*/ 0 w 81"/>
                  <a:gd name="T59" fmla="*/ 0 h 80"/>
                  <a:gd name="T60" fmla="*/ 0 w 81"/>
                  <a:gd name="T61" fmla="*/ 0 h 80"/>
                  <a:gd name="T62" fmla="*/ 0 w 81"/>
                  <a:gd name="T63" fmla="*/ 0 h 80"/>
                  <a:gd name="T64" fmla="*/ 0 w 81"/>
                  <a:gd name="T65" fmla="*/ 0 h 80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81"/>
                  <a:gd name="T100" fmla="*/ 0 h 80"/>
                  <a:gd name="T101" fmla="*/ 81 w 81"/>
                  <a:gd name="T102" fmla="*/ 80 h 80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81" h="80">
                    <a:moveTo>
                      <a:pt x="81" y="40"/>
                    </a:moveTo>
                    <a:lnTo>
                      <a:pt x="81" y="48"/>
                    </a:lnTo>
                    <a:lnTo>
                      <a:pt x="78" y="56"/>
                    </a:lnTo>
                    <a:lnTo>
                      <a:pt x="75" y="63"/>
                    </a:lnTo>
                    <a:lnTo>
                      <a:pt x="69" y="69"/>
                    </a:lnTo>
                    <a:lnTo>
                      <a:pt x="63" y="74"/>
                    </a:lnTo>
                    <a:lnTo>
                      <a:pt x="56" y="77"/>
                    </a:lnTo>
                    <a:lnTo>
                      <a:pt x="49" y="79"/>
                    </a:lnTo>
                    <a:lnTo>
                      <a:pt x="40" y="80"/>
                    </a:lnTo>
                    <a:lnTo>
                      <a:pt x="32" y="79"/>
                    </a:lnTo>
                    <a:lnTo>
                      <a:pt x="25" y="77"/>
                    </a:lnTo>
                    <a:lnTo>
                      <a:pt x="19" y="74"/>
                    </a:lnTo>
                    <a:lnTo>
                      <a:pt x="12" y="69"/>
                    </a:lnTo>
                    <a:lnTo>
                      <a:pt x="7" y="63"/>
                    </a:lnTo>
                    <a:lnTo>
                      <a:pt x="3" y="56"/>
                    </a:lnTo>
                    <a:lnTo>
                      <a:pt x="1" y="48"/>
                    </a:lnTo>
                    <a:lnTo>
                      <a:pt x="0" y="40"/>
                    </a:lnTo>
                    <a:lnTo>
                      <a:pt x="1" y="32"/>
                    </a:lnTo>
                    <a:lnTo>
                      <a:pt x="3" y="25"/>
                    </a:lnTo>
                    <a:lnTo>
                      <a:pt x="7" y="17"/>
                    </a:lnTo>
                    <a:lnTo>
                      <a:pt x="12" y="12"/>
                    </a:lnTo>
                    <a:lnTo>
                      <a:pt x="19" y="7"/>
                    </a:lnTo>
                    <a:lnTo>
                      <a:pt x="25" y="3"/>
                    </a:lnTo>
                    <a:lnTo>
                      <a:pt x="32" y="1"/>
                    </a:lnTo>
                    <a:lnTo>
                      <a:pt x="40" y="0"/>
                    </a:lnTo>
                    <a:lnTo>
                      <a:pt x="49" y="1"/>
                    </a:lnTo>
                    <a:lnTo>
                      <a:pt x="56" y="3"/>
                    </a:lnTo>
                    <a:lnTo>
                      <a:pt x="63" y="7"/>
                    </a:lnTo>
                    <a:lnTo>
                      <a:pt x="69" y="12"/>
                    </a:lnTo>
                    <a:lnTo>
                      <a:pt x="75" y="17"/>
                    </a:lnTo>
                    <a:lnTo>
                      <a:pt x="78" y="25"/>
                    </a:lnTo>
                    <a:lnTo>
                      <a:pt x="81" y="32"/>
                    </a:lnTo>
                    <a:lnTo>
                      <a:pt x="81" y="40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276" name="Freeform 156"/>
              <p:cNvSpPr>
                <a:spLocks/>
              </p:cNvSpPr>
              <p:nvPr/>
            </p:nvSpPr>
            <p:spPr bwMode="auto">
              <a:xfrm>
                <a:off x="3511" y="354"/>
                <a:ext cx="11" cy="11"/>
              </a:xfrm>
              <a:custGeom>
                <a:avLst/>
                <a:gdLst>
                  <a:gd name="T0" fmla="*/ 0 w 80"/>
                  <a:gd name="T1" fmla="*/ 0 h 81"/>
                  <a:gd name="T2" fmla="*/ 0 w 80"/>
                  <a:gd name="T3" fmla="*/ 0 h 81"/>
                  <a:gd name="T4" fmla="*/ 0 w 80"/>
                  <a:gd name="T5" fmla="*/ 0 h 81"/>
                  <a:gd name="T6" fmla="*/ 0 w 80"/>
                  <a:gd name="T7" fmla="*/ 0 h 81"/>
                  <a:gd name="T8" fmla="*/ 0 w 80"/>
                  <a:gd name="T9" fmla="*/ 0 h 81"/>
                  <a:gd name="T10" fmla="*/ 0 w 80"/>
                  <a:gd name="T11" fmla="*/ 0 h 81"/>
                  <a:gd name="T12" fmla="*/ 0 w 80"/>
                  <a:gd name="T13" fmla="*/ 0 h 81"/>
                  <a:gd name="T14" fmla="*/ 0 w 80"/>
                  <a:gd name="T15" fmla="*/ 0 h 81"/>
                  <a:gd name="T16" fmla="*/ 0 w 80"/>
                  <a:gd name="T17" fmla="*/ 0 h 81"/>
                  <a:gd name="T18" fmla="*/ 0 w 80"/>
                  <a:gd name="T19" fmla="*/ 0 h 81"/>
                  <a:gd name="T20" fmla="*/ 0 w 80"/>
                  <a:gd name="T21" fmla="*/ 0 h 81"/>
                  <a:gd name="T22" fmla="*/ 0 w 80"/>
                  <a:gd name="T23" fmla="*/ 0 h 81"/>
                  <a:gd name="T24" fmla="*/ 0 w 80"/>
                  <a:gd name="T25" fmla="*/ 0 h 81"/>
                  <a:gd name="T26" fmla="*/ 0 w 80"/>
                  <a:gd name="T27" fmla="*/ 0 h 81"/>
                  <a:gd name="T28" fmla="*/ 0 w 80"/>
                  <a:gd name="T29" fmla="*/ 0 h 81"/>
                  <a:gd name="T30" fmla="*/ 0 w 80"/>
                  <a:gd name="T31" fmla="*/ 0 h 81"/>
                  <a:gd name="T32" fmla="*/ 0 w 80"/>
                  <a:gd name="T33" fmla="*/ 0 h 81"/>
                  <a:gd name="T34" fmla="*/ 0 w 80"/>
                  <a:gd name="T35" fmla="*/ 0 h 81"/>
                  <a:gd name="T36" fmla="*/ 0 w 80"/>
                  <a:gd name="T37" fmla="*/ 0 h 81"/>
                  <a:gd name="T38" fmla="*/ 0 w 80"/>
                  <a:gd name="T39" fmla="*/ 0 h 81"/>
                  <a:gd name="T40" fmla="*/ 0 w 80"/>
                  <a:gd name="T41" fmla="*/ 0 h 81"/>
                  <a:gd name="T42" fmla="*/ 0 w 80"/>
                  <a:gd name="T43" fmla="*/ 0 h 81"/>
                  <a:gd name="T44" fmla="*/ 0 w 80"/>
                  <a:gd name="T45" fmla="*/ 0 h 81"/>
                  <a:gd name="T46" fmla="*/ 0 w 80"/>
                  <a:gd name="T47" fmla="*/ 0 h 81"/>
                  <a:gd name="T48" fmla="*/ 0 w 80"/>
                  <a:gd name="T49" fmla="*/ 0 h 81"/>
                  <a:gd name="T50" fmla="*/ 0 w 80"/>
                  <a:gd name="T51" fmla="*/ 0 h 81"/>
                  <a:gd name="T52" fmla="*/ 0 w 80"/>
                  <a:gd name="T53" fmla="*/ 0 h 81"/>
                  <a:gd name="T54" fmla="*/ 0 w 80"/>
                  <a:gd name="T55" fmla="*/ 0 h 81"/>
                  <a:gd name="T56" fmla="*/ 0 w 80"/>
                  <a:gd name="T57" fmla="*/ 0 h 81"/>
                  <a:gd name="T58" fmla="*/ 0 w 80"/>
                  <a:gd name="T59" fmla="*/ 0 h 81"/>
                  <a:gd name="T60" fmla="*/ 0 w 80"/>
                  <a:gd name="T61" fmla="*/ 0 h 81"/>
                  <a:gd name="T62" fmla="*/ 0 w 80"/>
                  <a:gd name="T63" fmla="*/ 0 h 81"/>
                  <a:gd name="T64" fmla="*/ 0 w 80"/>
                  <a:gd name="T65" fmla="*/ 0 h 8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80"/>
                  <a:gd name="T100" fmla="*/ 0 h 81"/>
                  <a:gd name="T101" fmla="*/ 80 w 80"/>
                  <a:gd name="T102" fmla="*/ 81 h 81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80" h="81">
                    <a:moveTo>
                      <a:pt x="80" y="41"/>
                    </a:moveTo>
                    <a:lnTo>
                      <a:pt x="79" y="49"/>
                    </a:lnTo>
                    <a:lnTo>
                      <a:pt x="77" y="56"/>
                    </a:lnTo>
                    <a:lnTo>
                      <a:pt x="73" y="63"/>
                    </a:lnTo>
                    <a:lnTo>
                      <a:pt x="68" y="69"/>
                    </a:lnTo>
                    <a:lnTo>
                      <a:pt x="63" y="75"/>
                    </a:lnTo>
                    <a:lnTo>
                      <a:pt x="55" y="78"/>
                    </a:lnTo>
                    <a:lnTo>
                      <a:pt x="48" y="80"/>
                    </a:lnTo>
                    <a:lnTo>
                      <a:pt x="40" y="81"/>
                    </a:lnTo>
                    <a:lnTo>
                      <a:pt x="32" y="80"/>
                    </a:lnTo>
                    <a:lnTo>
                      <a:pt x="24" y="78"/>
                    </a:lnTo>
                    <a:lnTo>
                      <a:pt x="17" y="75"/>
                    </a:lnTo>
                    <a:lnTo>
                      <a:pt x="11" y="69"/>
                    </a:lnTo>
                    <a:lnTo>
                      <a:pt x="6" y="63"/>
                    </a:lnTo>
                    <a:lnTo>
                      <a:pt x="3" y="56"/>
                    </a:lnTo>
                    <a:lnTo>
                      <a:pt x="1" y="49"/>
                    </a:lnTo>
                    <a:lnTo>
                      <a:pt x="0" y="41"/>
                    </a:lnTo>
                    <a:lnTo>
                      <a:pt x="1" y="32"/>
                    </a:lnTo>
                    <a:lnTo>
                      <a:pt x="3" y="25"/>
                    </a:lnTo>
                    <a:lnTo>
                      <a:pt x="6" y="19"/>
                    </a:lnTo>
                    <a:lnTo>
                      <a:pt x="11" y="13"/>
                    </a:lnTo>
                    <a:lnTo>
                      <a:pt x="17" y="7"/>
                    </a:lnTo>
                    <a:lnTo>
                      <a:pt x="24" y="3"/>
                    </a:lnTo>
                    <a:lnTo>
                      <a:pt x="32" y="1"/>
                    </a:lnTo>
                    <a:lnTo>
                      <a:pt x="40" y="0"/>
                    </a:lnTo>
                    <a:lnTo>
                      <a:pt x="48" y="1"/>
                    </a:lnTo>
                    <a:lnTo>
                      <a:pt x="55" y="3"/>
                    </a:lnTo>
                    <a:lnTo>
                      <a:pt x="63" y="7"/>
                    </a:lnTo>
                    <a:lnTo>
                      <a:pt x="68" y="13"/>
                    </a:lnTo>
                    <a:lnTo>
                      <a:pt x="73" y="19"/>
                    </a:lnTo>
                    <a:lnTo>
                      <a:pt x="77" y="25"/>
                    </a:lnTo>
                    <a:lnTo>
                      <a:pt x="79" y="32"/>
                    </a:lnTo>
                    <a:lnTo>
                      <a:pt x="80" y="41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277" name="Freeform 157"/>
              <p:cNvSpPr>
                <a:spLocks/>
              </p:cNvSpPr>
              <p:nvPr/>
            </p:nvSpPr>
            <p:spPr bwMode="auto">
              <a:xfrm>
                <a:off x="3464" y="341"/>
                <a:ext cx="12" cy="11"/>
              </a:xfrm>
              <a:custGeom>
                <a:avLst/>
                <a:gdLst>
                  <a:gd name="T0" fmla="*/ 0 w 81"/>
                  <a:gd name="T1" fmla="*/ 0 h 81"/>
                  <a:gd name="T2" fmla="*/ 0 w 81"/>
                  <a:gd name="T3" fmla="*/ 0 h 81"/>
                  <a:gd name="T4" fmla="*/ 0 w 81"/>
                  <a:gd name="T5" fmla="*/ 0 h 81"/>
                  <a:gd name="T6" fmla="*/ 0 w 81"/>
                  <a:gd name="T7" fmla="*/ 0 h 81"/>
                  <a:gd name="T8" fmla="*/ 0 w 81"/>
                  <a:gd name="T9" fmla="*/ 0 h 81"/>
                  <a:gd name="T10" fmla="*/ 0 w 81"/>
                  <a:gd name="T11" fmla="*/ 0 h 81"/>
                  <a:gd name="T12" fmla="*/ 0 w 81"/>
                  <a:gd name="T13" fmla="*/ 0 h 81"/>
                  <a:gd name="T14" fmla="*/ 0 w 81"/>
                  <a:gd name="T15" fmla="*/ 0 h 81"/>
                  <a:gd name="T16" fmla="*/ 0 w 81"/>
                  <a:gd name="T17" fmla="*/ 0 h 81"/>
                  <a:gd name="T18" fmla="*/ 0 w 81"/>
                  <a:gd name="T19" fmla="*/ 0 h 81"/>
                  <a:gd name="T20" fmla="*/ 0 w 81"/>
                  <a:gd name="T21" fmla="*/ 0 h 81"/>
                  <a:gd name="T22" fmla="*/ 0 w 81"/>
                  <a:gd name="T23" fmla="*/ 0 h 81"/>
                  <a:gd name="T24" fmla="*/ 0 w 81"/>
                  <a:gd name="T25" fmla="*/ 0 h 81"/>
                  <a:gd name="T26" fmla="*/ 0 w 81"/>
                  <a:gd name="T27" fmla="*/ 0 h 81"/>
                  <a:gd name="T28" fmla="*/ 0 w 81"/>
                  <a:gd name="T29" fmla="*/ 0 h 81"/>
                  <a:gd name="T30" fmla="*/ 0 w 81"/>
                  <a:gd name="T31" fmla="*/ 0 h 81"/>
                  <a:gd name="T32" fmla="*/ 0 w 81"/>
                  <a:gd name="T33" fmla="*/ 0 h 81"/>
                  <a:gd name="T34" fmla="*/ 0 w 81"/>
                  <a:gd name="T35" fmla="*/ 0 h 81"/>
                  <a:gd name="T36" fmla="*/ 0 w 81"/>
                  <a:gd name="T37" fmla="*/ 0 h 81"/>
                  <a:gd name="T38" fmla="*/ 0 w 81"/>
                  <a:gd name="T39" fmla="*/ 0 h 81"/>
                  <a:gd name="T40" fmla="*/ 0 w 81"/>
                  <a:gd name="T41" fmla="*/ 0 h 81"/>
                  <a:gd name="T42" fmla="*/ 0 w 81"/>
                  <a:gd name="T43" fmla="*/ 0 h 81"/>
                  <a:gd name="T44" fmla="*/ 0 w 81"/>
                  <a:gd name="T45" fmla="*/ 0 h 81"/>
                  <a:gd name="T46" fmla="*/ 0 w 81"/>
                  <a:gd name="T47" fmla="*/ 0 h 81"/>
                  <a:gd name="T48" fmla="*/ 0 w 81"/>
                  <a:gd name="T49" fmla="*/ 0 h 81"/>
                  <a:gd name="T50" fmla="*/ 0 w 81"/>
                  <a:gd name="T51" fmla="*/ 0 h 81"/>
                  <a:gd name="T52" fmla="*/ 0 w 81"/>
                  <a:gd name="T53" fmla="*/ 0 h 81"/>
                  <a:gd name="T54" fmla="*/ 0 w 81"/>
                  <a:gd name="T55" fmla="*/ 0 h 81"/>
                  <a:gd name="T56" fmla="*/ 0 w 81"/>
                  <a:gd name="T57" fmla="*/ 0 h 81"/>
                  <a:gd name="T58" fmla="*/ 0 w 81"/>
                  <a:gd name="T59" fmla="*/ 0 h 81"/>
                  <a:gd name="T60" fmla="*/ 0 w 81"/>
                  <a:gd name="T61" fmla="*/ 0 h 81"/>
                  <a:gd name="T62" fmla="*/ 0 w 81"/>
                  <a:gd name="T63" fmla="*/ 0 h 81"/>
                  <a:gd name="T64" fmla="*/ 0 w 81"/>
                  <a:gd name="T65" fmla="*/ 0 h 81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81"/>
                  <a:gd name="T100" fmla="*/ 0 h 81"/>
                  <a:gd name="T101" fmla="*/ 81 w 81"/>
                  <a:gd name="T102" fmla="*/ 81 h 81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81" h="81">
                    <a:moveTo>
                      <a:pt x="81" y="41"/>
                    </a:moveTo>
                    <a:lnTo>
                      <a:pt x="80" y="49"/>
                    </a:lnTo>
                    <a:lnTo>
                      <a:pt x="78" y="56"/>
                    </a:lnTo>
                    <a:lnTo>
                      <a:pt x="73" y="63"/>
                    </a:lnTo>
                    <a:lnTo>
                      <a:pt x="69" y="69"/>
                    </a:lnTo>
                    <a:lnTo>
                      <a:pt x="63" y="74"/>
                    </a:lnTo>
                    <a:lnTo>
                      <a:pt x="56" y="78"/>
                    </a:lnTo>
                    <a:lnTo>
                      <a:pt x="49" y="80"/>
                    </a:lnTo>
                    <a:lnTo>
                      <a:pt x="40" y="81"/>
                    </a:lnTo>
                    <a:lnTo>
                      <a:pt x="32" y="80"/>
                    </a:lnTo>
                    <a:lnTo>
                      <a:pt x="25" y="78"/>
                    </a:lnTo>
                    <a:lnTo>
                      <a:pt x="18" y="74"/>
                    </a:lnTo>
                    <a:lnTo>
                      <a:pt x="12" y="69"/>
                    </a:lnTo>
                    <a:lnTo>
                      <a:pt x="7" y="63"/>
                    </a:lnTo>
                    <a:lnTo>
                      <a:pt x="3" y="56"/>
                    </a:lnTo>
                    <a:lnTo>
                      <a:pt x="1" y="49"/>
                    </a:lnTo>
                    <a:lnTo>
                      <a:pt x="0" y="41"/>
                    </a:lnTo>
                    <a:lnTo>
                      <a:pt x="1" y="32"/>
                    </a:lnTo>
                    <a:lnTo>
                      <a:pt x="3" y="25"/>
                    </a:lnTo>
                    <a:lnTo>
                      <a:pt x="7" y="18"/>
                    </a:lnTo>
                    <a:lnTo>
                      <a:pt x="12" y="13"/>
                    </a:lnTo>
                    <a:lnTo>
                      <a:pt x="18" y="7"/>
                    </a:lnTo>
                    <a:lnTo>
                      <a:pt x="25" y="3"/>
                    </a:lnTo>
                    <a:lnTo>
                      <a:pt x="32" y="1"/>
                    </a:lnTo>
                    <a:lnTo>
                      <a:pt x="40" y="0"/>
                    </a:lnTo>
                    <a:lnTo>
                      <a:pt x="49" y="1"/>
                    </a:lnTo>
                    <a:lnTo>
                      <a:pt x="56" y="3"/>
                    </a:lnTo>
                    <a:lnTo>
                      <a:pt x="63" y="7"/>
                    </a:lnTo>
                    <a:lnTo>
                      <a:pt x="69" y="13"/>
                    </a:lnTo>
                    <a:lnTo>
                      <a:pt x="73" y="18"/>
                    </a:lnTo>
                    <a:lnTo>
                      <a:pt x="78" y="25"/>
                    </a:lnTo>
                    <a:lnTo>
                      <a:pt x="80" y="32"/>
                    </a:lnTo>
                    <a:lnTo>
                      <a:pt x="81" y="41"/>
                    </a:lnTo>
                    <a:close/>
                  </a:path>
                </a:pathLst>
              </a:custGeom>
              <a:solidFill>
                <a:srgbClr val="FAEC00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278" name="Freeform 158"/>
              <p:cNvSpPr>
                <a:spLocks/>
              </p:cNvSpPr>
              <p:nvPr/>
            </p:nvSpPr>
            <p:spPr bwMode="auto">
              <a:xfrm>
                <a:off x="3559" y="460"/>
                <a:ext cx="51" cy="141"/>
              </a:xfrm>
              <a:custGeom>
                <a:avLst/>
                <a:gdLst>
                  <a:gd name="T0" fmla="*/ 0 w 357"/>
                  <a:gd name="T1" fmla="*/ 0 h 991"/>
                  <a:gd name="T2" fmla="*/ 0 w 357"/>
                  <a:gd name="T3" fmla="*/ 0 h 991"/>
                  <a:gd name="T4" fmla="*/ 0 w 357"/>
                  <a:gd name="T5" fmla="*/ 0 h 991"/>
                  <a:gd name="T6" fmla="*/ 0 w 357"/>
                  <a:gd name="T7" fmla="*/ 0 h 991"/>
                  <a:gd name="T8" fmla="*/ 0 w 357"/>
                  <a:gd name="T9" fmla="*/ 0 h 991"/>
                  <a:gd name="T10" fmla="*/ 0 w 357"/>
                  <a:gd name="T11" fmla="*/ 0 h 991"/>
                  <a:gd name="T12" fmla="*/ 0 w 357"/>
                  <a:gd name="T13" fmla="*/ 0 h 991"/>
                  <a:gd name="T14" fmla="*/ 0 w 357"/>
                  <a:gd name="T15" fmla="*/ 0 h 991"/>
                  <a:gd name="T16" fmla="*/ 0 w 357"/>
                  <a:gd name="T17" fmla="*/ 0 h 991"/>
                  <a:gd name="T18" fmla="*/ 0 w 357"/>
                  <a:gd name="T19" fmla="*/ 0 h 991"/>
                  <a:gd name="T20" fmla="*/ 0 w 357"/>
                  <a:gd name="T21" fmla="*/ 0 h 991"/>
                  <a:gd name="T22" fmla="*/ 0 w 357"/>
                  <a:gd name="T23" fmla="*/ 0 h 991"/>
                  <a:gd name="T24" fmla="*/ 0 w 357"/>
                  <a:gd name="T25" fmla="*/ 0 h 991"/>
                  <a:gd name="T26" fmla="*/ 0 w 357"/>
                  <a:gd name="T27" fmla="*/ 0 h 991"/>
                  <a:gd name="T28" fmla="*/ 0 w 357"/>
                  <a:gd name="T29" fmla="*/ 0 h 991"/>
                  <a:gd name="T30" fmla="*/ 0 w 357"/>
                  <a:gd name="T31" fmla="*/ 0 h 991"/>
                  <a:gd name="T32" fmla="*/ 0 w 357"/>
                  <a:gd name="T33" fmla="*/ 0 h 991"/>
                  <a:gd name="T34" fmla="*/ 0 w 357"/>
                  <a:gd name="T35" fmla="*/ 0 h 991"/>
                  <a:gd name="T36" fmla="*/ 0 w 357"/>
                  <a:gd name="T37" fmla="*/ 0 h 991"/>
                  <a:gd name="T38" fmla="*/ 0 w 357"/>
                  <a:gd name="T39" fmla="*/ 0 h 991"/>
                  <a:gd name="T40" fmla="*/ 0 w 357"/>
                  <a:gd name="T41" fmla="*/ 0 h 991"/>
                  <a:gd name="T42" fmla="*/ 0 w 357"/>
                  <a:gd name="T43" fmla="*/ 0 h 991"/>
                  <a:gd name="T44" fmla="*/ 0 w 357"/>
                  <a:gd name="T45" fmla="*/ 0 h 991"/>
                  <a:gd name="T46" fmla="*/ 0 w 357"/>
                  <a:gd name="T47" fmla="*/ 0 h 991"/>
                  <a:gd name="T48" fmla="*/ 0 w 357"/>
                  <a:gd name="T49" fmla="*/ 0 h 991"/>
                  <a:gd name="T50" fmla="*/ 0 w 357"/>
                  <a:gd name="T51" fmla="*/ 0 h 991"/>
                  <a:gd name="T52" fmla="*/ 0 w 357"/>
                  <a:gd name="T53" fmla="*/ 0 h 991"/>
                  <a:gd name="T54" fmla="*/ 0 w 357"/>
                  <a:gd name="T55" fmla="*/ 0 h 991"/>
                  <a:gd name="T56" fmla="*/ 0 w 357"/>
                  <a:gd name="T57" fmla="*/ 0 h 991"/>
                  <a:gd name="T58" fmla="*/ 0 w 357"/>
                  <a:gd name="T59" fmla="*/ 0 h 991"/>
                  <a:gd name="T60" fmla="*/ 0 w 357"/>
                  <a:gd name="T61" fmla="*/ 0 h 991"/>
                  <a:gd name="T62" fmla="*/ 0 w 357"/>
                  <a:gd name="T63" fmla="*/ 0 h 991"/>
                  <a:gd name="T64" fmla="*/ 0 w 357"/>
                  <a:gd name="T65" fmla="*/ 0 h 991"/>
                  <a:gd name="T66" fmla="*/ 0 w 357"/>
                  <a:gd name="T67" fmla="*/ 0 h 991"/>
                  <a:gd name="T68" fmla="*/ 0 w 357"/>
                  <a:gd name="T69" fmla="*/ 0 h 991"/>
                  <a:gd name="T70" fmla="*/ 0 w 357"/>
                  <a:gd name="T71" fmla="*/ 0 h 991"/>
                  <a:gd name="T72" fmla="*/ 0 w 357"/>
                  <a:gd name="T73" fmla="*/ 0 h 991"/>
                  <a:gd name="T74" fmla="*/ 0 w 357"/>
                  <a:gd name="T75" fmla="*/ 0 h 991"/>
                  <a:gd name="T76" fmla="*/ 0 w 357"/>
                  <a:gd name="T77" fmla="*/ 0 h 991"/>
                  <a:gd name="T78" fmla="*/ 0 w 357"/>
                  <a:gd name="T79" fmla="*/ 0 h 991"/>
                  <a:gd name="T80" fmla="*/ 0 w 357"/>
                  <a:gd name="T81" fmla="*/ 0 h 991"/>
                  <a:gd name="T82" fmla="*/ 0 w 357"/>
                  <a:gd name="T83" fmla="*/ 0 h 991"/>
                  <a:gd name="T84" fmla="*/ 0 w 357"/>
                  <a:gd name="T85" fmla="*/ 0 h 991"/>
                  <a:gd name="T86" fmla="*/ 0 w 357"/>
                  <a:gd name="T87" fmla="*/ 0 h 991"/>
                  <a:gd name="T88" fmla="*/ 0 w 357"/>
                  <a:gd name="T89" fmla="*/ 0 h 991"/>
                  <a:gd name="T90" fmla="*/ 0 w 357"/>
                  <a:gd name="T91" fmla="*/ 0 h 991"/>
                  <a:gd name="T92" fmla="*/ 0 w 357"/>
                  <a:gd name="T93" fmla="*/ 0 h 991"/>
                  <a:gd name="T94" fmla="*/ 0 w 357"/>
                  <a:gd name="T95" fmla="*/ 0 h 991"/>
                  <a:gd name="T96" fmla="*/ 0 w 357"/>
                  <a:gd name="T97" fmla="*/ 0 h 991"/>
                  <a:gd name="T98" fmla="*/ 0 w 357"/>
                  <a:gd name="T99" fmla="*/ 0 h 991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357"/>
                  <a:gd name="T151" fmla="*/ 0 h 991"/>
                  <a:gd name="T152" fmla="*/ 357 w 357"/>
                  <a:gd name="T153" fmla="*/ 991 h 991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357" h="991">
                    <a:moveTo>
                      <a:pt x="229" y="415"/>
                    </a:moveTo>
                    <a:lnTo>
                      <a:pt x="223" y="385"/>
                    </a:lnTo>
                    <a:lnTo>
                      <a:pt x="217" y="353"/>
                    </a:lnTo>
                    <a:lnTo>
                      <a:pt x="214" y="320"/>
                    </a:lnTo>
                    <a:lnTo>
                      <a:pt x="210" y="286"/>
                    </a:lnTo>
                    <a:lnTo>
                      <a:pt x="206" y="252"/>
                    </a:lnTo>
                    <a:lnTo>
                      <a:pt x="202" y="218"/>
                    </a:lnTo>
                    <a:lnTo>
                      <a:pt x="197" y="185"/>
                    </a:lnTo>
                    <a:lnTo>
                      <a:pt x="190" y="153"/>
                    </a:lnTo>
                    <a:lnTo>
                      <a:pt x="184" y="137"/>
                    </a:lnTo>
                    <a:lnTo>
                      <a:pt x="180" y="122"/>
                    </a:lnTo>
                    <a:lnTo>
                      <a:pt x="174" y="107"/>
                    </a:lnTo>
                    <a:lnTo>
                      <a:pt x="168" y="94"/>
                    </a:lnTo>
                    <a:lnTo>
                      <a:pt x="161" y="80"/>
                    </a:lnTo>
                    <a:lnTo>
                      <a:pt x="153" y="68"/>
                    </a:lnTo>
                    <a:lnTo>
                      <a:pt x="145" y="56"/>
                    </a:lnTo>
                    <a:lnTo>
                      <a:pt x="135" y="46"/>
                    </a:lnTo>
                    <a:lnTo>
                      <a:pt x="124" y="36"/>
                    </a:lnTo>
                    <a:lnTo>
                      <a:pt x="113" y="28"/>
                    </a:lnTo>
                    <a:lnTo>
                      <a:pt x="101" y="19"/>
                    </a:lnTo>
                    <a:lnTo>
                      <a:pt x="86" y="13"/>
                    </a:lnTo>
                    <a:lnTo>
                      <a:pt x="72" y="8"/>
                    </a:lnTo>
                    <a:lnTo>
                      <a:pt x="55" y="4"/>
                    </a:lnTo>
                    <a:lnTo>
                      <a:pt x="38" y="1"/>
                    </a:lnTo>
                    <a:lnTo>
                      <a:pt x="18" y="0"/>
                    </a:lnTo>
                    <a:lnTo>
                      <a:pt x="18" y="17"/>
                    </a:lnTo>
                    <a:lnTo>
                      <a:pt x="17" y="73"/>
                    </a:lnTo>
                    <a:lnTo>
                      <a:pt x="16" y="132"/>
                    </a:lnTo>
                    <a:lnTo>
                      <a:pt x="13" y="192"/>
                    </a:lnTo>
                    <a:lnTo>
                      <a:pt x="10" y="254"/>
                    </a:lnTo>
                    <a:lnTo>
                      <a:pt x="7" y="317"/>
                    </a:lnTo>
                    <a:lnTo>
                      <a:pt x="4" y="380"/>
                    </a:lnTo>
                    <a:lnTo>
                      <a:pt x="1" y="444"/>
                    </a:lnTo>
                    <a:lnTo>
                      <a:pt x="0" y="508"/>
                    </a:lnTo>
                    <a:lnTo>
                      <a:pt x="1" y="540"/>
                    </a:lnTo>
                    <a:lnTo>
                      <a:pt x="1" y="571"/>
                    </a:lnTo>
                    <a:lnTo>
                      <a:pt x="4" y="603"/>
                    </a:lnTo>
                    <a:lnTo>
                      <a:pt x="5" y="634"/>
                    </a:lnTo>
                    <a:lnTo>
                      <a:pt x="8" y="666"/>
                    </a:lnTo>
                    <a:lnTo>
                      <a:pt x="11" y="696"/>
                    </a:lnTo>
                    <a:lnTo>
                      <a:pt x="15" y="727"/>
                    </a:lnTo>
                    <a:lnTo>
                      <a:pt x="19" y="755"/>
                    </a:lnTo>
                    <a:lnTo>
                      <a:pt x="25" y="785"/>
                    </a:lnTo>
                    <a:lnTo>
                      <a:pt x="31" y="814"/>
                    </a:lnTo>
                    <a:lnTo>
                      <a:pt x="39" y="842"/>
                    </a:lnTo>
                    <a:lnTo>
                      <a:pt x="47" y="869"/>
                    </a:lnTo>
                    <a:lnTo>
                      <a:pt x="56" y="897"/>
                    </a:lnTo>
                    <a:lnTo>
                      <a:pt x="67" y="923"/>
                    </a:lnTo>
                    <a:lnTo>
                      <a:pt x="79" y="948"/>
                    </a:lnTo>
                    <a:lnTo>
                      <a:pt x="91" y="973"/>
                    </a:lnTo>
                    <a:lnTo>
                      <a:pt x="89" y="942"/>
                    </a:lnTo>
                    <a:lnTo>
                      <a:pt x="86" y="911"/>
                    </a:lnTo>
                    <a:lnTo>
                      <a:pt x="82" y="880"/>
                    </a:lnTo>
                    <a:lnTo>
                      <a:pt x="78" y="849"/>
                    </a:lnTo>
                    <a:lnTo>
                      <a:pt x="75" y="818"/>
                    </a:lnTo>
                    <a:lnTo>
                      <a:pt x="72" y="787"/>
                    </a:lnTo>
                    <a:lnTo>
                      <a:pt x="71" y="754"/>
                    </a:lnTo>
                    <a:lnTo>
                      <a:pt x="71" y="723"/>
                    </a:lnTo>
                    <a:lnTo>
                      <a:pt x="86" y="758"/>
                    </a:lnTo>
                    <a:lnTo>
                      <a:pt x="103" y="792"/>
                    </a:lnTo>
                    <a:lnTo>
                      <a:pt x="120" y="826"/>
                    </a:lnTo>
                    <a:lnTo>
                      <a:pt x="138" y="860"/>
                    </a:lnTo>
                    <a:lnTo>
                      <a:pt x="155" y="893"/>
                    </a:lnTo>
                    <a:lnTo>
                      <a:pt x="174" y="926"/>
                    </a:lnTo>
                    <a:lnTo>
                      <a:pt x="194" y="959"/>
                    </a:lnTo>
                    <a:lnTo>
                      <a:pt x="213" y="991"/>
                    </a:lnTo>
                    <a:lnTo>
                      <a:pt x="209" y="964"/>
                    </a:lnTo>
                    <a:lnTo>
                      <a:pt x="205" y="937"/>
                    </a:lnTo>
                    <a:lnTo>
                      <a:pt x="201" y="911"/>
                    </a:lnTo>
                    <a:lnTo>
                      <a:pt x="198" y="884"/>
                    </a:lnTo>
                    <a:lnTo>
                      <a:pt x="195" y="857"/>
                    </a:lnTo>
                    <a:lnTo>
                      <a:pt x="192" y="830"/>
                    </a:lnTo>
                    <a:lnTo>
                      <a:pt x="188" y="803"/>
                    </a:lnTo>
                    <a:lnTo>
                      <a:pt x="185" y="776"/>
                    </a:lnTo>
                    <a:lnTo>
                      <a:pt x="192" y="793"/>
                    </a:lnTo>
                    <a:lnTo>
                      <a:pt x="199" y="808"/>
                    </a:lnTo>
                    <a:lnTo>
                      <a:pt x="207" y="824"/>
                    </a:lnTo>
                    <a:lnTo>
                      <a:pt x="216" y="838"/>
                    </a:lnTo>
                    <a:lnTo>
                      <a:pt x="226" y="852"/>
                    </a:lnTo>
                    <a:lnTo>
                      <a:pt x="237" y="865"/>
                    </a:lnTo>
                    <a:lnTo>
                      <a:pt x="247" y="879"/>
                    </a:lnTo>
                    <a:lnTo>
                      <a:pt x="259" y="891"/>
                    </a:lnTo>
                    <a:lnTo>
                      <a:pt x="284" y="916"/>
                    </a:lnTo>
                    <a:lnTo>
                      <a:pt x="308" y="940"/>
                    </a:lnTo>
                    <a:lnTo>
                      <a:pt x="332" y="962"/>
                    </a:lnTo>
                    <a:lnTo>
                      <a:pt x="357" y="987"/>
                    </a:lnTo>
                    <a:lnTo>
                      <a:pt x="356" y="952"/>
                    </a:lnTo>
                    <a:lnTo>
                      <a:pt x="353" y="917"/>
                    </a:lnTo>
                    <a:lnTo>
                      <a:pt x="349" y="881"/>
                    </a:lnTo>
                    <a:lnTo>
                      <a:pt x="342" y="845"/>
                    </a:lnTo>
                    <a:lnTo>
                      <a:pt x="335" y="809"/>
                    </a:lnTo>
                    <a:lnTo>
                      <a:pt x="327" y="773"/>
                    </a:lnTo>
                    <a:lnTo>
                      <a:pt x="318" y="737"/>
                    </a:lnTo>
                    <a:lnTo>
                      <a:pt x="308" y="700"/>
                    </a:lnTo>
                    <a:lnTo>
                      <a:pt x="287" y="627"/>
                    </a:lnTo>
                    <a:lnTo>
                      <a:pt x="266" y="556"/>
                    </a:lnTo>
                    <a:lnTo>
                      <a:pt x="256" y="520"/>
                    </a:lnTo>
                    <a:lnTo>
                      <a:pt x="245" y="485"/>
                    </a:lnTo>
                    <a:lnTo>
                      <a:pt x="236" y="449"/>
                    </a:lnTo>
                    <a:lnTo>
                      <a:pt x="229" y="415"/>
                    </a:lnTo>
                    <a:close/>
                  </a:path>
                </a:pathLst>
              </a:custGeom>
              <a:solidFill>
                <a:srgbClr val="C93A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279" name="Freeform 159"/>
              <p:cNvSpPr>
                <a:spLocks/>
              </p:cNvSpPr>
              <p:nvPr/>
            </p:nvSpPr>
            <p:spPr bwMode="auto">
              <a:xfrm>
                <a:off x="3561" y="460"/>
                <a:ext cx="49" cy="141"/>
              </a:xfrm>
              <a:custGeom>
                <a:avLst/>
                <a:gdLst>
                  <a:gd name="T0" fmla="*/ 0 w 340"/>
                  <a:gd name="T1" fmla="*/ 0 h 987"/>
                  <a:gd name="T2" fmla="*/ 0 w 340"/>
                  <a:gd name="T3" fmla="*/ 0 h 987"/>
                  <a:gd name="T4" fmla="*/ 0 w 340"/>
                  <a:gd name="T5" fmla="*/ 0 h 987"/>
                  <a:gd name="T6" fmla="*/ 0 w 340"/>
                  <a:gd name="T7" fmla="*/ 0 h 987"/>
                  <a:gd name="T8" fmla="*/ 0 w 340"/>
                  <a:gd name="T9" fmla="*/ 0 h 987"/>
                  <a:gd name="T10" fmla="*/ 0 w 340"/>
                  <a:gd name="T11" fmla="*/ 0 h 987"/>
                  <a:gd name="T12" fmla="*/ 0 w 340"/>
                  <a:gd name="T13" fmla="*/ 0 h 987"/>
                  <a:gd name="T14" fmla="*/ 0 w 340"/>
                  <a:gd name="T15" fmla="*/ 0 h 987"/>
                  <a:gd name="T16" fmla="*/ 0 w 340"/>
                  <a:gd name="T17" fmla="*/ 0 h 987"/>
                  <a:gd name="T18" fmla="*/ 0 w 340"/>
                  <a:gd name="T19" fmla="*/ 0 h 987"/>
                  <a:gd name="T20" fmla="*/ 0 w 340"/>
                  <a:gd name="T21" fmla="*/ 0 h 987"/>
                  <a:gd name="T22" fmla="*/ 0 w 340"/>
                  <a:gd name="T23" fmla="*/ 0 h 987"/>
                  <a:gd name="T24" fmla="*/ 0 w 340"/>
                  <a:gd name="T25" fmla="*/ 0 h 987"/>
                  <a:gd name="T26" fmla="*/ 0 w 340"/>
                  <a:gd name="T27" fmla="*/ 0 h 987"/>
                  <a:gd name="T28" fmla="*/ 0 w 340"/>
                  <a:gd name="T29" fmla="*/ 0 h 987"/>
                  <a:gd name="T30" fmla="*/ 0 w 340"/>
                  <a:gd name="T31" fmla="*/ 0 h 987"/>
                  <a:gd name="T32" fmla="*/ 0 w 340"/>
                  <a:gd name="T33" fmla="*/ 0 h 987"/>
                  <a:gd name="T34" fmla="*/ 0 w 340"/>
                  <a:gd name="T35" fmla="*/ 0 h 987"/>
                  <a:gd name="T36" fmla="*/ 0 w 340"/>
                  <a:gd name="T37" fmla="*/ 0 h 987"/>
                  <a:gd name="T38" fmla="*/ 0 w 340"/>
                  <a:gd name="T39" fmla="*/ 0 h 987"/>
                  <a:gd name="T40" fmla="*/ 0 w 340"/>
                  <a:gd name="T41" fmla="*/ 0 h 987"/>
                  <a:gd name="T42" fmla="*/ 0 w 340"/>
                  <a:gd name="T43" fmla="*/ 0 h 987"/>
                  <a:gd name="T44" fmla="*/ 0 w 340"/>
                  <a:gd name="T45" fmla="*/ 0 h 987"/>
                  <a:gd name="T46" fmla="*/ 0 w 340"/>
                  <a:gd name="T47" fmla="*/ 0 h 987"/>
                  <a:gd name="T48" fmla="*/ 0 w 340"/>
                  <a:gd name="T49" fmla="*/ 0 h 987"/>
                  <a:gd name="T50" fmla="*/ 0 w 340"/>
                  <a:gd name="T51" fmla="*/ 0 h 987"/>
                  <a:gd name="T52" fmla="*/ 0 w 340"/>
                  <a:gd name="T53" fmla="*/ 0 h 987"/>
                  <a:gd name="T54" fmla="*/ 0 w 340"/>
                  <a:gd name="T55" fmla="*/ 0 h 987"/>
                  <a:gd name="T56" fmla="*/ 0 w 340"/>
                  <a:gd name="T57" fmla="*/ 0 h 987"/>
                  <a:gd name="T58" fmla="*/ 0 w 340"/>
                  <a:gd name="T59" fmla="*/ 0 h 987"/>
                  <a:gd name="T60" fmla="*/ 0 w 340"/>
                  <a:gd name="T61" fmla="*/ 0 h 987"/>
                  <a:gd name="T62" fmla="*/ 0 w 340"/>
                  <a:gd name="T63" fmla="*/ 0 h 987"/>
                  <a:gd name="T64" fmla="*/ 0 w 340"/>
                  <a:gd name="T65" fmla="*/ 0 h 987"/>
                  <a:gd name="T66" fmla="*/ 0 w 340"/>
                  <a:gd name="T67" fmla="*/ 0 h 987"/>
                  <a:gd name="T68" fmla="*/ 0 w 340"/>
                  <a:gd name="T69" fmla="*/ 0 h 987"/>
                  <a:gd name="T70" fmla="*/ 0 w 340"/>
                  <a:gd name="T71" fmla="*/ 0 h 987"/>
                  <a:gd name="T72" fmla="*/ 0 w 340"/>
                  <a:gd name="T73" fmla="*/ 0 h 987"/>
                  <a:gd name="T74" fmla="*/ 0 w 340"/>
                  <a:gd name="T75" fmla="*/ 0 h 987"/>
                  <a:gd name="T76" fmla="*/ 0 w 340"/>
                  <a:gd name="T77" fmla="*/ 0 h 987"/>
                  <a:gd name="T78" fmla="*/ 0 w 340"/>
                  <a:gd name="T79" fmla="*/ 0 h 987"/>
                  <a:gd name="T80" fmla="*/ 0 w 340"/>
                  <a:gd name="T81" fmla="*/ 0 h 987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340"/>
                  <a:gd name="T124" fmla="*/ 0 h 987"/>
                  <a:gd name="T125" fmla="*/ 340 w 340"/>
                  <a:gd name="T126" fmla="*/ 987 h 987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340" h="987">
                    <a:moveTo>
                      <a:pt x="212" y="415"/>
                    </a:moveTo>
                    <a:lnTo>
                      <a:pt x="206" y="385"/>
                    </a:lnTo>
                    <a:lnTo>
                      <a:pt x="200" y="353"/>
                    </a:lnTo>
                    <a:lnTo>
                      <a:pt x="197" y="320"/>
                    </a:lnTo>
                    <a:lnTo>
                      <a:pt x="193" y="286"/>
                    </a:lnTo>
                    <a:lnTo>
                      <a:pt x="189" y="252"/>
                    </a:lnTo>
                    <a:lnTo>
                      <a:pt x="185" y="218"/>
                    </a:lnTo>
                    <a:lnTo>
                      <a:pt x="180" y="185"/>
                    </a:lnTo>
                    <a:lnTo>
                      <a:pt x="173" y="153"/>
                    </a:lnTo>
                    <a:lnTo>
                      <a:pt x="167" y="137"/>
                    </a:lnTo>
                    <a:lnTo>
                      <a:pt x="163" y="122"/>
                    </a:lnTo>
                    <a:lnTo>
                      <a:pt x="157" y="107"/>
                    </a:lnTo>
                    <a:lnTo>
                      <a:pt x="151" y="94"/>
                    </a:lnTo>
                    <a:lnTo>
                      <a:pt x="144" y="80"/>
                    </a:lnTo>
                    <a:lnTo>
                      <a:pt x="136" y="68"/>
                    </a:lnTo>
                    <a:lnTo>
                      <a:pt x="128" y="56"/>
                    </a:lnTo>
                    <a:lnTo>
                      <a:pt x="118" y="46"/>
                    </a:lnTo>
                    <a:lnTo>
                      <a:pt x="107" y="36"/>
                    </a:lnTo>
                    <a:lnTo>
                      <a:pt x="96" y="28"/>
                    </a:lnTo>
                    <a:lnTo>
                      <a:pt x="84" y="19"/>
                    </a:lnTo>
                    <a:lnTo>
                      <a:pt x="69" y="13"/>
                    </a:lnTo>
                    <a:lnTo>
                      <a:pt x="55" y="8"/>
                    </a:lnTo>
                    <a:lnTo>
                      <a:pt x="38" y="4"/>
                    </a:lnTo>
                    <a:lnTo>
                      <a:pt x="21" y="1"/>
                    </a:lnTo>
                    <a:lnTo>
                      <a:pt x="1" y="0"/>
                    </a:lnTo>
                    <a:lnTo>
                      <a:pt x="1" y="4"/>
                    </a:lnTo>
                    <a:lnTo>
                      <a:pt x="0" y="16"/>
                    </a:lnTo>
                    <a:lnTo>
                      <a:pt x="14" y="20"/>
                    </a:lnTo>
                    <a:lnTo>
                      <a:pt x="28" y="26"/>
                    </a:lnTo>
                    <a:lnTo>
                      <a:pt x="40" y="33"/>
                    </a:lnTo>
                    <a:lnTo>
                      <a:pt x="52" y="40"/>
                    </a:lnTo>
                    <a:lnTo>
                      <a:pt x="62" y="48"/>
                    </a:lnTo>
                    <a:lnTo>
                      <a:pt x="70" y="59"/>
                    </a:lnTo>
                    <a:lnTo>
                      <a:pt x="80" y="68"/>
                    </a:lnTo>
                    <a:lnTo>
                      <a:pt x="87" y="79"/>
                    </a:lnTo>
                    <a:lnTo>
                      <a:pt x="93" y="92"/>
                    </a:lnTo>
                    <a:lnTo>
                      <a:pt x="99" y="104"/>
                    </a:lnTo>
                    <a:lnTo>
                      <a:pt x="104" y="117"/>
                    </a:lnTo>
                    <a:lnTo>
                      <a:pt x="108" y="131"/>
                    </a:lnTo>
                    <a:lnTo>
                      <a:pt x="113" y="145"/>
                    </a:lnTo>
                    <a:lnTo>
                      <a:pt x="116" y="160"/>
                    </a:lnTo>
                    <a:lnTo>
                      <a:pt x="119" y="175"/>
                    </a:lnTo>
                    <a:lnTo>
                      <a:pt x="122" y="191"/>
                    </a:lnTo>
                    <a:lnTo>
                      <a:pt x="125" y="222"/>
                    </a:lnTo>
                    <a:lnTo>
                      <a:pt x="128" y="255"/>
                    </a:lnTo>
                    <a:lnTo>
                      <a:pt x="130" y="288"/>
                    </a:lnTo>
                    <a:lnTo>
                      <a:pt x="132" y="321"/>
                    </a:lnTo>
                    <a:lnTo>
                      <a:pt x="134" y="353"/>
                    </a:lnTo>
                    <a:lnTo>
                      <a:pt x="136" y="384"/>
                    </a:lnTo>
                    <a:lnTo>
                      <a:pt x="140" y="414"/>
                    </a:lnTo>
                    <a:lnTo>
                      <a:pt x="146" y="442"/>
                    </a:lnTo>
                    <a:lnTo>
                      <a:pt x="153" y="473"/>
                    </a:lnTo>
                    <a:lnTo>
                      <a:pt x="162" y="503"/>
                    </a:lnTo>
                    <a:lnTo>
                      <a:pt x="171" y="534"/>
                    </a:lnTo>
                    <a:lnTo>
                      <a:pt x="182" y="565"/>
                    </a:lnTo>
                    <a:lnTo>
                      <a:pt x="205" y="627"/>
                    </a:lnTo>
                    <a:lnTo>
                      <a:pt x="227" y="689"/>
                    </a:lnTo>
                    <a:lnTo>
                      <a:pt x="239" y="720"/>
                    </a:lnTo>
                    <a:lnTo>
                      <a:pt x="249" y="751"/>
                    </a:lnTo>
                    <a:lnTo>
                      <a:pt x="259" y="782"/>
                    </a:lnTo>
                    <a:lnTo>
                      <a:pt x="269" y="814"/>
                    </a:lnTo>
                    <a:lnTo>
                      <a:pt x="276" y="845"/>
                    </a:lnTo>
                    <a:lnTo>
                      <a:pt x="283" y="876"/>
                    </a:lnTo>
                    <a:lnTo>
                      <a:pt x="288" y="909"/>
                    </a:lnTo>
                    <a:lnTo>
                      <a:pt x="292" y="941"/>
                    </a:lnTo>
                    <a:lnTo>
                      <a:pt x="304" y="952"/>
                    </a:lnTo>
                    <a:lnTo>
                      <a:pt x="316" y="963"/>
                    </a:lnTo>
                    <a:lnTo>
                      <a:pt x="328" y="975"/>
                    </a:lnTo>
                    <a:lnTo>
                      <a:pt x="340" y="987"/>
                    </a:lnTo>
                    <a:lnTo>
                      <a:pt x="339" y="952"/>
                    </a:lnTo>
                    <a:lnTo>
                      <a:pt x="336" y="917"/>
                    </a:lnTo>
                    <a:lnTo>
                      <a:pt x="332" y="881"/>
                    </a:lnTo>
                    <a:lnTo>
                      <a:pt x="325" y="845"/>
                    </a:lnTo>
                    <a:lnTo>
                      <a:pt x="318" y="809"/>
                    </a:lnTo>
                    <a:lnTo>
                      <a:pt x="310" y="773"/>
                    </a:lnTo>
                    <a:lnTo>
                      <a:pt x="301" y="737"/>
                    </a:lnTo>
                    <a:lnTo>
                      <a:pt x="291" y="700"/>
                    </a:lnTo>
                    <a:lnTo>
                      <a:pt x="270" y="627"/>
                    </a:lnTo>
                    <a:lnTo>
                      <a:pt x="249" y="556"/>
                    </a:lnTo>
                    <a:lnTo>
                      <a:pt x="239" y="520"/>
                    </a:lnTo>
                    <a:lnTo>
                      <a:pt x="228" y="485"/>
                    </a:lnTo>
                    <a:lnTo>
                      <a:pt x="219" y="449"/>
                    </a:lnTo>
                    <a:lnTo>
                      <a:pt x="212" y="415"/>
                    </a:lnTo>
                    <a:close/>
                  </a:path>
                </a:pathLst>
              </a:custGeom>
              <a:solidFill>
                <a:srgbClr val="AF34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280" name="Freeform 160"/>
              <p:cNvSpPr>
                <a:spLocks/>
              </p:cNvSpPr>
              <p:nvPr/>
            </p:nvSpPr>
            <p:spPr bwMode="auto">
              <a:xfrm>
                <a:off x="3515" y="461"/>
                <a:ext cx="51" cy="142"/>
              </a:xfrm>
              <a:custGeom>
                <a:avLst/>
                <a:gdLst>
                  <a:gd name="T0" fmla="*/ 0 w 355"/>
                  <a:gd name="T1" fmla="*/ 0 h 992"/>
                  <a:gd name="T2" fmla="*/ 0 w 355"/>
                  <a:gd name="T3" fmla="*/ 0 h 992"/>
                  <a:gd name="T4" fmla="*/ 0 w 355"/>
                  <a:gd name="T5" fmla="*/ 0 h 992"/>
                  <a:gd name="T6" fmla="*/ 0 w 355"/>
                  <a:gd name="T7" fmla="*/ 0 h 992"/>
                  <a:gd name="T8" fmla="*/ 0 w 355"/>
                  <a:gd name="T9" fmla="*/ 0 h 992"/>
                  <a:gd name="T10" fmla="*/ 0 w 355"/>
                  <a:gd name="T11" fmla="*/ 0 h 992"/>
                  <a:gd name="T12" fmla="*/ 0 w 355"/>
                  <a:gd name="T13" fmla="*/ 0 h 992"/>
                  <a:gd name="T14" fmla="*/ 0 w 355"/>
                  <a:gd name="T15" fmla="*/ 0 h 992"/>
                  <a:gd name="T16" fmla="*/ 0 w 355"/>
                  <a:gd name="T17" fmla="*/ 0 h 992"/>
                  <a:gd name="T18" fmla="*/ 0 w 355"/>
                  <a:gd name="T19" fmla="*/ 0 h 992"/>
                  <a:gd name="T20" fmla="*/ 0 w 355"/>
                  <a:gd name="T21" fmla="*/ 0 h 992"/>
                  <a:gd name="T22" fmla="*/ 0 w 355"/>
                  <a:gd name="T23" fmla="*/ 0 h 992"/>
                  <a:gd name="T24" fmla="*/ 0 w 355"/>
                  <a:gd name="T25" fmla="*/ 0 h 992"/>
                  <a:gd name="T26" fmla="*/ 0 w 355"/>
                  <a:gd name="T27" fmla="*/ 0 h 992"/>
                  <a:gd name="T28" fmla="*/ 0 w 355"/>
                  <a:gd name="T29" fmla="*/ 0 h 992"/>
                  <a:gd name="T30" fmla="*/ 0 w 355"/>
                  <a:gd name="T31" fmla="*/ 0 h 992"/>
                  <a:gd name="T32" fmla="*/ 0 w 355"/>
                  <a:gd name="T33" fmla="*/ 0 h 992"/>
                  <a:gd name="T34" fmla="*/ 0 w 355"/>
                  <a:gd name="T35" fmla="*/ 0 h 992"/>
                  <a:gd name="T36" fmla="*/ 0 w 355"/>
                  <a:gd name="T37" fmla="*/ 0 h 992"/>
                  <a:gd name="T38" fmla="*/ 0 w 355"/>
                  <a:gd name="T39" fmla="*/ 0 h 992"/>
                  <a:gd name="T40" fmla="*/ 0 w 355"/>
                  <a:gd name="T41" fmla="*/ 0 h 992"/>
                  <a:gd name="T42" fmla="*/ 0 w 355"/>
                  <a:gd name="T43" fmla="*/ 0 h 992"/>
                  <a:gd name="T44" fmla="*/ 0 w 355"/>
                  <a:gd name="T45" fmla="*/ 0 h 992"/>
                  <a:gd name="T46" fmla="*/ 0 w 355"/>
                  <a:gd name="T47" fmla="*/ 0 h 992"/>
                  <a:gd name="T48" fmla="*/ 0 w 355"/>
                  <a:gd name="T49" fmla="*/ 0 h 992"/>
                  <a:gd name="T50" fmla="*/ 0 w 355"/>
                  <a:gd name="T51" fmla="*/ 0 h 992"/>
                  <a:gd name="T52" fmla="*/ 0 w 355"/>
                  <a:gd name="T53" fmla="*/ 0 h 992"/>
                  <a:gd name="T54" fmla="*/ 0 w 355"/>
                  <a:gd name="T55" fmla="*/ 0 h 992"/>
                  <a:gd name="T56" fmla="*/ 0 w 355"/>
                  <a:gd name="T57" fmla="*/ 0 h 992"/>
                  <a:gd name="T58" fmla="*/ 0 w 355"/>
                  <a:gd name="T59" fmla="*/ 0 h 992"/>
                  <a:gd name="T60" fmla="*/ 0 w 355"/>
                  <a:gd name="T61" fmla="*/ 0 h 992"/>
                  <a:gd name="T62" fmla="*/ 0 w 355"/>
                  <a:gd name="T63" fmla="*/ 0 h 992"/>
                  <a:gd name="T64" fmla="*/ 0 w 355"/>
                  <a:gd name="T65" fmla="*/ 0 h 992"/>
                  <a:gd name="T66" fmla="*/ 0 w 355"/>
                  <a:gd name="T67" fmla="*/ 0 h 992"/>
                  <a:gd name="T68" fmla="*/ 0 w 355"/>
                  <a:gd name="T69" fmla="*/ 0 h 992"/>
                  <a:gd name="T70" fmla="*/ 0 w 355"/>
                  <a:gd name="T71" fmla="*/ 0 h 992"/>
                  <a:gd name="T72" fmla="*/ 0 w 355"/>
                  <a:gd name="T73" fmla="*/ 0 h 992"/>
                  <a:gd name="T74" fmla="*/ 0 w 355"/>
                  <a:gd name="T75" fmla="*/ 0 h 992"/>
                  <a:gd name="T76" fmla="*/ 0 w 355"/>
                  <a:gd name="T77" fmla="*/ 0 h 992"/>
                  <a:gd name="T78" fmla="*/ 0 w 355"/>
                  <a:gd name="T79" fmla="*/ 0 h 992"/>
                  <a:gd name="T80" fmla="*/ 0 w 355"/>
                  <a:gd name="T81" fmla="*/ 0 h 992"/>
                  <a:gd name="T82" fmla="*/ 0 w 355"/>
                  <a:gd name="T83" fmla="*/ 0 h 992"/>
                  <a:gd name="T84" fmla="*/ 0 w 355"/>
                  <a:gd name="T85" fmla="*/ 0 h 992"/>
                  <a:gd name="T86" fmla="*/ 0 w 355"/>
                  <a:gd name="T87" fmla="*/ 0 h 992"/>
                  <a:gd name="T88" fmla="*/ 0 w 355"/>
                  <a:gd name="T89" fmla="*/ 0 h 992"/>
                  <a:gd name="T90" fmla="*/ 0 w 355"/>
                  <a:gd name="T91" fmla="*/ 0 h 992"/>
                  <a:gd name="T92" fmla="*/ 0 w 355"/>
                  <a:gd name="T93" fmla="*/ 0 h 992"/>
                  <a:gd name="T94" fmla="*/ 0 w 355"/>
                  <a:gd name="T95" fmla="*/ 0 h 992"/>
                  <a:gd name="T96" fmla="*/ 0 w 355"/>
                  <a:gd name="T97" fmla="*/ 0 h 992"/>
                  <a:gd name="T98" fmla="*/ 0 w 355"/>
                  <a:gd name="T99" fmla="*/ 0 h 992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w 355"/>
                  <a:gd name="T151" fmla="*/ 0 h 992"/>
                  <a:gd name="T152" fmla="*/ 355 w 355"/>
                  <a:gd name="T153" fmla="*/ 992 h 992"/>
                </a:gdLst>
                <a:ahLst/>
                <a:cxnLst>
                  <a:cxn ang="T100">
                    <a:pos x="T0" y="T1"/>
                  </a:cxn>
                  <a:cxn ang="T101">
                    <a:pos x="T2" y="T3"/>
                  </a:cxn>
                  <a:cxn ang="T102">
                    <a:pos x="T4" y="T5"/>
                  </a:cxn>
                  <a:cxn ang="T103">
                    <a:pos x="T6" y="T7"/>
                  </a:cxn>
                  <a:cxn ang="T104">
                    <a:pos x="T8" y="T9"/>
                  </a:cxn>
                  <a:cxn ang="T105">
                    <a:pos x="T10" y="T11"/>
                  </a:cxn>
                  <a:cxn ang="T106">
                    <a:pos x="T12" y="T13"/>
                  </a:cxn>
                  <a:cxn ang="T107">
                    <a:pos x="T14" y="T15"/>
                  </a:cxn>
                  <a:cxn ang="T108">
                    <a:pos x="T16" y="T17"/>
                  </a:cxn>
                  <a:cxn ang="T109">
                    <a:pos x="T18" y="T19"/>
                  </a:cxn>
                  <a:cxn ang="T110">
                    <a:pos x="T20" y="T21"/>
                  </a:cxn>
                  <a:cxn ang="T111">
                    <a:pos x="T22" y="T23"/>
                  </a:cxn>
                  <a:cxn ang="T112">
                    <a:pos x="T24" y="T25"/>
                  </a:cxn>
                  <a:cxn ang="T113">
                    <a:pos x="T26" y="T27"/>
                  </a:cxn>
                  <a:cxn ang="T114">
                    <a:pos x="T28" y="T29"/>
                  </a:cxn>
                  <a:cxn ang="T115">
                    <a:pos x="T30" y="T31"/>
                  </a:cxn>
                  <a:cxn ang="T116">
                    <a:pos x="T32" y="T33"/>
                  </a:cxn>
                  <a:cxn ang="T117">
                    <a:pos x="T34" y="T35"/>
                  </a:cxn>
                  <a:cxn ang="T118">
                    <a:pos x="T36" y="T37"/>
                  </a:cxn>
                  <a:cxn ang="T119">
                    <a:pos x="T38" y="T39"/>
                  </a:cxn>
                  <a:cxn ang="T120">
                    <a:pos x="T40" y="T41"/>
                  </a:cxn>
                  <a:cxn ang="T121">
                    <a:pos x="T42" y="T43"/>
                  </a:cxn>
                  <a:cxn ang="T122">
                    <a:pos x="T44" y="T45"/>
                  </a:cxn>
                  <a:cxn ang="T123">
                    <a:pos x="T46" y="T47"/>
                  </a:cxn>
                  <a:cxn ang="T124">
                    <a:pos x="T48" y="T49"/>
                  </a:cxn>
                  <a:cxn ang="T125">
                    <a:pos x="T50" y="T51"/>
                  </a:cxn>
                  <a:cxn ang="T126">
                    <a:pos x="T52" y="T53"/>
                  </a:cxn>
                  <a:cxn ang="T127">
                    <a:pos x="T54" y="T55"/>
                  </a:cxn>
                  <a:cxn ang="T128">
                    <a:pos x="T56" y="T57"/>
                  </a:cxn>
                  <a:cxn ang="T129">
                    <a:pos x="T58" y="T59"/>
                  </a:cxn>
                  <a:cxn ang="T130">
                    <a:pos x="T60" y="T61"/>
                  </a:cxn>
                  <a:cxn ang="T131">
                    <a:pos x="T62" y="T63"/>
                  </a:cxn>
                  <a:cxn ang="T132">
                    <a:pos x="T64" y="T65"/>
                  </a:cxn>
                  <a:cxn ang="T133">
                    <a:pos x="T66" y="T67"/>
                  </a:cxn>
                  <a:cxn ang="T134">
                    <a:pos x="T68" y="T69"/>
                  </a:cxn>
                  <a:cxn ang="T135">
                    <a:pos x="T70" y="T71"/>
                  </a:cxn>
                  <a:cxn ang="T136">
                    <a:pos x="T72" y="T73"/>
                  </a:cxn>
                  <a:cxn ang="T137">
                    <a:pos x="T74" y="T75"/>
                  </a:cxn>
                  <a:cxn ang="T138">
                    <a:pos x="T76" y="T77"/>
                  </a:cxn>
                  <a:cxn ang="T139">
                    <a:pos x="T78" y="T79"/>
                  </a:cxn>
                  <a:cxn ang="T140">
                    <a:pos x="T80" y="T81"/>
                  </a:cxn>
                  <a:cxn ang="T141">
                    <a:pos x="T82" y="T83"/>
                  </a:cxn>
                  <a:cxn ang="T142">
                    <a:pos x="T84" y="T85"/>
                  </a:cxn>
                  <a:cxn ang="T143">
                    <a:pos x="T86" y="T87"/>
                  </a:cxn>
                  <a:cxn ang="T144">
                    <a:pos x="T88" y="T89"/>
                  </a:cxn>
                  <a:cxn ang="T145">
                    <a:pos x="T90" y="T91"/>
                  </a:cxn>
                  <a:cxn ang="T146">
                    <a:pos x="T92" y="T93"/>
                  </a:cxn>
                  <a:cxn ang="T147">
                    <a:pos x="T94" y="T95"/>
                  </a:cxn>
                  <a:cxn ang="T148">
                    <a:pos x="T96" y="T97"/>
                  </a:cxn>
                  <a:cxn ang="T149">
                    <a:pos x="T98" y="T99"/>
                  </a:cxn>
                </a:cxnLst>
                <a:rect l="T150" t="T151" r="T152" b="T153"/>
                <a:pathLst>
                  <a:path w="355" h="992">
                    <a:moveTo>
                      <a:pt x="338" y="17"/>
                    </a:moveTo>
                    <a:lnTo>
                      <a:pt x="338" y="0"/>
                    </a:lnTo>
                    <a:lnTo>
                      <a:pt x="319" y="2"/>
                    </a:lnTo>
                    <a:lnTo>
                      <a:pt x="300" y="4"/>
                    </a:lnTo>
                    <a:lnTo>
                      <a:pt x="285" y="8"/>
                    </a:lnTo>
                    <a:lnTo>
                      <a:pt x="269" y="14"/>
                    </a:lnTo>
                    <a:lnTo>
                      <a:pt x="256" y="21"/>
                    </a:lnTo>
                    <a:lnTo>
                      <a:pt x="242" y="28"/>
                    </a:lnTo>
                    <a:lnTo>
                      <a:pt x="231" y="37"/>
                    </a:lnTo>
                    <a:lnTo>
                      <a:pt x="221" y="46"/>
                    </a:lnTo>
                    <a:lnTo>
                      <a:pt x="211" y="58"/>
                    </a:lnTo>
                    <a:lnTo>
                      <a:pt x="202" y="69"/>
                    </a:lnTo>
                    <a:lnTo>
                      <a:pt x="195" y="82"/>
                    </a:lnTo>
                    <a:lnTo>
                      <a:pt x="188" y="95"/>
                    </a:lnTo>
                    <a:lnTo>
                      <a:pt x="181" y="108"/>
                    </a:lnTo>
                    <a:lnTo>
                      <a:pt x="176" y="123"/>
                    </a:lnTo>
                    <a:lnTo>
                      <a:pt x="171" y="137"/>
                    </a:lnTo>
                    <a:lnTo>
                      <a:pt x="167" y="153"/>
                    </a:lnTo>
                    <a:lnTo>
                      <a:pt x="160" y="185"/>
                    </a:lnTo>
                    <a:lnTo>
                      <a:pt x="154" y="219"/>
                    </a:lnTo>
                    <a:lnTo>
                      <a:pt x="149" y="253"/>
                    </a:lnTo>
                    <a:lnTo>
                      <a:pt x="145" y="287"/>
                    </a:lnTo>
                    <a:lnTo>
                      <a:pt x="142" y="321"/>
                    </a:lnTo>
                    <a:lnTo>
                      <a:pt x="138" y="355"/>
                    </a:lnTo>
                    <a:lnTo>
                      <a:pt x="133" y="387"/>
                    </a:lnTo>
                    <a:lnTo>
                      <a:pt x="128" y="417"/>
                    </a:lnTo>
                    <a:lnTo>
                      <a:pt x="119" y="451"/>
                    </a:lnTo>
                    <a:lnTo>
                      <a:pt x="110" y="486"/>
                    </a:lnTo>
                    <a:lnTo>
                      <a:pt x="101" y="521"/>
                    </a:lnTo>
                    <a:lnTo>
                      <a:pt x="91" y="556"/>
                    </a:lnTo>
                    <a:lnTo>
                      <a:pt x="69" y="629"/>
                    </a:lnTo>
                    <a:lnTo>
                      <a:pt x="48" y="701"/>
                    </a:lnTo>
                    <a:lnTo>
                      <a:pt x="38" y="737"/>
                    </a:lnTo>
                    <a:lnTo>
                      <a:pt x="29" y="773"/>
                    </a:lnTo>
                    <a:lnTo>
                      <a:pt x="20" y="811"/>
                    </a:lnTo>
                    <a:lnTo>
                      <a:pt x="13" y="846"/>
                    </a:lnTo>
                    <a:lnTo>
                      <a:pt x="8" y="882"/>
                    </a:lnTo>
                    <a:lnTo>
                      <a:pt x="3" y="918"/>
                    </a:lnTo>
                    <a:lnTo>
                      <a:pt x="1" y="953"/>
                    </a:lnTo>
                    <a:lnTo>
                      <a:pt x="0" y="988"/>
                    </a:lnTo>
                    <a:lnTo>
                      <a:pt x="23" y="964"/>
                    </a:lnTo>
                    <a:lnTo>
                      <a:pt x="48" y="940"/>
                    </a:lnTo>
                    <a:lnTo>
                      <a:pt x="73" y="916"/>
                    </a:lnTo>
                    <a:lnTo>
                      <a:pt x="97" y="892"/>
                    </a:lnTo>
                    <a:lnTo>
                      <a:pt x="108" y="880"/>
                    </a:lnTo>
                    <a:lnTo>
                      <a:pt x="119" y="866"/>
                    </a:lnTo>
                    <a:lnTo>
                      <a:pt x="130" y="853"/>
                    </a:lnTo>
                    <a:lnTo>
                      <a:pt x="139" y="840"/>
                    </a:lnTo>
                    <a:lnTo>
                      <a:pt x="148" y="825"/>
                    </a:lnTo>
                    <a:lnTo>
                      <a:pt x="157" y="810"/>
                    </a:lnTo>
                    <a:lnTo>
                      <a:pt x="164" y="794"/>
                    </a:lnTo>
                    <a:lnTo>
                      <a:pt x="170" y="776"/>
                    </a:lnTo>
                    <a:lnTo>
                      <a:pt x="167" y="803"/>
                    </a:lnTo>
                    <a:lnTo>
                      <a:pt x="164" y="830"/>
                    </a:lnTo>
                    <a:lnTo>
                      <a:pt x="161" y="857"/>
                    </a:lnTo>
                    <a:lnTo>
                      <a:pt x="158" y="884"/>
                    </a:lnTo>
                    <a:lnTo>
                      <a:pt x="155" y="912"/>
                    </a:lnTo>
                    <a:lnTo>
                      <a:pt x="150" y="939"/>
                    </a:lnTo>
                    <a:lnTo>
                      <a:pt x="147" y="965"/>
                    </a:lnTo>
                    <a:lnTo>
                      <a:pt x="143" y="992"/>
                    </a:lnTo>
                    <a:lnTo>
                      <a:pt x="162" y="960"/>
                    </a:lnTo>
                    <a:lnTo>
                      <a:pt x="181" y="927"/>
                    </a:lnTo>
                    <a:lnTo>
                      <a:pt x="200" y="894"/>
                    </a:lnTo>
                    <a:lnTo>
                      <a:pt x="218" y="860"/>
                    </a:lnTo>
                    <a:lnTo>
                      <a:pt x="235" y="826"/>
                    </a:lnTo>
                    <a:lnTo>
                      <a:pt x="253" y="792"/>
                    </a:lnTo>
                    <a:lnTo>
                      <a:pt x="269" y="758"/>
                    </a:lnTo>
                    <a:lnTo>
                      <a:pt x="285" y="724"/>
                    </a:lnTo>
                    <a:lnTo>
                      <a:pt x="286" y="756"/>
                    </a:lnTo>
                    <a:lnTo>
                      <a:pt x="284" y="787"/>
                    </a:lnTo>
                    <a:lnTo>
                      <a:pt x="282" y="818"/>
                    </a:lnTo>
                    <a:lnTo>
                      <a:pt x="278" y="849"/>
                    </a:lnTo>
                    <a:lnTo>
                      <a:pt x="273" y="880"/>
                    </a:lnTo>
                    <a:lnTo>
                      <a:pt x="269" y="911"/>
                    </a:lnTo>
                    <a:lnTo>
                      <a:pt x="266" y="942"/>
                    </a:lnTo>
                    <a:lnTo>
                      <a:pt x="264" y="974"/>
                    </a:lnTo>
                    <a:lnTo>
                      <a:pt x="278" y="949"/>
                    </a:lnTo>
                    <a:lnTo>
                      <a:pt x="289" y="924"/>
                    </a:lnTo>
                    <a:lnTo>
                      <a:pt x="299" y="897"/>
                    </a:lnTo>
                    <a:lnTo>
                      <a:pt x="309" y="871"/>
                    </a:lnTo>
                    <a:lnTo>
                      <a:pt x="317" y="844"/>
                    </a:lnTo>
                    <a:lnTo>
                      <a:pt x="324" y="815"/>
                    </a:lnTo>
                    <a:lnTo>
                      <a:pt x="331" y="787"/>
                    </a:lnTo>
                    <a:lnTo>
                      <a:pt x="336" y="757"/>
                    </a:lnTo>
                    <a:lnTo>
                      <a:pt x="342" y="727"/>
                    </a:lnTo>
                    <a:lnTo>
                      <a:pt x="345" y="697"/>
                    </a:lnTo>
                    <a:lnTo>
                      <a:pt x="349" y="667"/>
                    </a:lnTo>
                    <a:lnTo>
                      <a:pt x="351" y="636"/>
                    </a:lnTo>
                    <a:lnTo>
                      <a:pt x="353" y="605"/>
                    </a:lnTo>
                    <a:lnTo>
                      <a:pt x="354" y="573"/>
                    </a:lnTo>
                    <a:lnTo>
                      <a:pt x="355" y="541"/>
                    </a:lnTo>
                    <a:lnTo>
                      <a:pt x="355" y="510"/>
                    </a:lnTo>
                    <a:lnTo>
                      <a:pt x="354" y="446"/>
                    </a:lnTo>
                    <a:lnTo>
                      <a:pt x="352" y="381"/>
                    </a:lnTo>
                    <a:lnTo>
                      <a:pt x="350" y="317"/>
                    </a:lnTo>
                    <a:lnTo>
                      <a:pt x="347" y="255"/>
                    </a:lnTo>
                    <a:lnTo>
                      <a:pt x="343" y="193"/>
                    </a:lnTo>
                    <a:lnTo>
                      <a:pt x="341" y="132"/>
                    </a:lnTo>
                    <a:lnTo>
                      <a:pt x="339" y="74"/>
                    </a:lnTo>
                    <a:lnTo>
                      <a:pt x="338" y="17"/>
                    </a:lnTo>
                    <a:close/>
                  </a:path>
                </a:pathLst>
              </a:custGeom>
              <a:solidFill>
                <a:srgbClr val="C93A27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281" name="Freeform 161"/>
              <p:cNvSpPr>
                <a:spLocks/>
              </p:cNvSpPr>
              <p:nvPr/>
            </p:nvSpPr>
            <p:spPr bwMode="auto">
              <a:xfrm>
                <a:off x="3515" y="461"/>
                <a:ext cx="49" cy="141"/>
              </a:xfrm>
              <a:custGeom>
                <a:avLst/>
                <a:gdLst>
                  <a:gd name="T0" fmla="*/ 0 w 340"/>
                  <a:gd name="T1" fmla="*/ 0 h 988"/>
                  <a:gd name="T2" fmla="*/ 0 w 340"/>
                  <a:gd name="T3" fmla="*/ 0 h 988"/>
                  <a:gd name="T4" fmla="*/ 0 w 340"/>
                  <a:gd name="T5" fmla="*/ 0 h 988"/>
                  <a:gd name="T6" fmla="*/ 0 w 340"/>
                  <a:gd name="T7" fmla="*/ 0 h 988"/>
                  <a:gd name="T8" fmla="*/ 0 w 340"/>
                  <a:gd name="T9" fmla="*/ 0 h 988"/>
                  <a:gd name="T10" fmla="*/ 0 w 340"/>
                  <a:gd name="T11" fmla="*/ 0 h 988"/>
                  <a:gd name="T12" fmla="*/ 0 w 340"/>
                  <a:gd name="T13" fmla="*/ 0 h 988"/>
                  <a:gd name="T14" fmla="*/ 0 w 340"/>
                  <a:gd name="T15" fmla="*/ 0 h 988"/>
                  <a:gd name="T16" fmla="*/ 0 w 340"/>
                  <a:gd name="T17" fmla="*/ 0 h 988"/>
                  <a:gd name="T18" fmla="*/ 0 w 340"/>
                  <a:gd name="T19" fmla="*/ 0 h 988"/>
                  <a:gd name="T20" fmla="*/ 0 w 340"/>
                  <a:gd name="T21" fmla="*/ 0 h 988"/>
                  <a:gd name="T22" fmla="*/ 0 w 340"/>
                  <a:gd name="T23" fmla="*/ 0 h 988"/>
                  <a:gd name="T24" fmla="*/ 0 w 340"/>
                  <a:gd name="T25" fmla="*/ 0 h 988"/>
                  <a:gd name="T26" fmla="*/ 0 w 340"/>
                  <a:gd name="T27" fmla="*/ 0 h 988"/>
                  <a:gd name="T28" fmla="*/ 0 w 340"/>
                  <a:gd name="T29" fmla="*/ 0 h 988"/>
                  <a:gd name="T30" fmla="*/ 0 w 340"/>
                  <a:gd name="T31" fmla="*/ 0 h 988"/>
                  <a:gd name="T32" fmla="*/ 0 w 340"/>
                  <a:gd name="T33" fmla="*/ 0 h 988"/>
                  <a:gd name="T34" fmla="*/ 0 w 340"/>
                  <a:gd name="T35" fmla="*/ 0 h 988"/>
                  <a:gd name="T36" fmla="*/ 0 w 340"/>
                  <a:gd name="T37" fmla="*/ 0 h 988"/>
                  <a:gd name="T38" fmla="*/ 0 w 340"/>
                  <a:gd name="T39" fmla="*/ 0 h 988"/>
                  <a:gd name="T40" fmla="*/ 0 w 340"/>
                  <a:gd name="T41" fmla="*/ 0 h 988"/>
                  <a:gd name="T42" fmla="*/ 0 w 340"/>
                  <a:gd name="T43" fmla="*/ 0 h 988"/>
                  <a:gd name="T44" fmla="*/ 0 w 340"/>
                  <a:gd name="T45" fmla="*/ 0 h 988"/>
                  <a:gd name="T46" fmla="*/ 0 w 340"/>
                  <a:gd name="T47" fmla="*/ 0 h 988"/>
                  <a:gd name="T48" fmla="*/ 0 w 340"/>
                  <a:gd name="T49" fmla="*/ 0 h 988"/>
                  <a:gd name="T50" fmla="*/ 0 w 340"/>
                  <a:gd name="T51" fmla="*/ 0 h 988"/>
                  <a:gd name="T52" fmla="*/ 0 w 340"/>
                  <a:gd name="T53" fmla="*/ 0 h 988"/>
                  <a:gd name="T54" fmla="*/ 0 w 340"/>
                  <a:gd name="T55" fmla="*/ 0 h 988"/>
                  <a:gd name="T56" fmla="*/ 0 w 340"/>
                  <a:gd name="T57" fmla="*/ 0 h 988"/>
                  <a:gd name="T58" fmla="*/ 0 w 340"/>
                  <a:gd name="T59" fmla="*/ 0 h 988"/>
                  <a:gd name="T60" fmla="*/ 0 w 340"/>
                  <a:gd name="T61" fmla="*/ 0 h 988"/>
                  <a:gd name="T62" fmla="*/ 0 w 340"/>
                  <a:gd name="T63" fmla="*/ 0 h 988"/>
                  <a:gd name="T64" fmla="*/ 0 w 340"/>
                  <a:gd name="T65" fmla="*/ 0 h 988"/>
                  <a:gd name="T66" fmla="*/ 0 w 340"/>
                  <a:gd name="T67" fmla="*/ 0 h 988"/>
                  <a:gd name="T68" fmla="*/ 0 w 340"/>
                  <a:gd name="T69" fmla="*/ 0 h 988"/>
                  <a:gd name="T70" fmla="*/ 0 w 340"/>
                  <a:gd name="T71" fmla="*/ 0 h 988"/>
                  <a:gd name="T72" fmla="*/ 0 w 340"/>
                  <a:gd name="T73" fmla="*/ 0 h 988"/>
                  <a:gd name="T74" fmla="*/ 0 w 340"/>
                  <a:gd name="T75" fmla="*/ 0 h 988"/>
                  <a:gd name="T76" fmla="*/ 0 w 340"/>
                  <a:gd name="T77" fmla="*/ 0 h 988"/>
                  <a:gd name="T78" fmla="*/ 0 w 340"/>
                  <a:gd name="T79" fmla="*/ 0 h 988"/>
                  <a:gd name="T80" fmla="*/ 0 w 340"/>
                  <a:gd name="T81" fmla="*/ 0 h 988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w 340"/>
                  <a:gd name="T124" fmla="*/ 0 h 988"/>
                  <a:gd name="T125" fmla="*/ 340 w 340"/>
                  <a:gd name="T126" fmla="*/ 988 h 988"/>
                </a:gdLst>
                <a:ahLst/>
                <a:cxnLst>
                  <a:cxn ang="T82">
                    <a:pos x="T0" y="T1"/>
                  </a:cxn>
                  <a:cxn ang="T83">
                    <a:pos x="T2" y="T3"/>
                  </a:cxn>
                  <a:cxn ang="T84">
                    <a:pos x="T4" y="T5"/>
                  </a:cxn>
                  <a:cxn ang="T85">
                    <a:pos x="T6" y="T7"/>
                  </a:cxn>
                  <a:cxn ang="T86">
                    <a:pos x="T8" y="T9"/>
                  </a:cxn>
                  <a:cxn ang="T87">
                    <a:pos x="T10" y="T11"/>
                  </a:cxn>
                  <a:cxn ang="T88">
                    <a:pos x="T12" y="T13"/>
                  </a:cxn>
                  <a:cxn ang="T89">
                    <a:pos x="T14" y="T15"/>
                  </a:cxn>
                  <a:cxn ang="T90">
                    <a:pos x="T16" y="T17"/>
                  </a:cxn>
                  <a:cxn ang="T91">
                    <a:pos x="T18" y="T19"/>
                  </a:cxn>
                  <a:cxn ang="T92">
                    <a:pos x="T20" y="T21"/>
                  </a:cxn>
                  <a:cxn ang="T93">
                    <a:pos x="T22" y="T23"/>
                  </a:cxn>
                  <a:cxn ang="T94">
                    <a:pos x="T24" y="T25"/>
                  </a:cxn>
                  <a:cxn ang="T95">
                    <a:pos x="T26" y="T27"/>
                  </a:cxn>
                  <a:cxn ang="T96">
                    <a:pos x="T28" y="T29"/>
                  </a:cxn>
                  <a:cxn ang="T97">
                    <a:pos x="T30" y="T31"/>
                  </a:cxn>
                  <a:cxn ang="T98">
                    <a:pos x="T32" y="T33"/>
                  </a:cxn>
                  <a:cxn ang="T99">
                    <a:pos x="T34" y="T35"/>
                  </a:cxn>
                  <a:cxn ang="T100">
                    <a:pos x="T36" y="T37"/>
                  </a:cxn>
                  <a:cxn ang="T101">
                    <a:pos x="T38" y="T39"/>
                  </a:cxn>
                  <a:cxn ang="T102">
                    <a:pos x="T40" y="T41"/>
                  </a:cxn>
                  <a:cxn ang="T103">
                    <a:pos x="T42" y="T43"/>
                  </a:cxn>
                  <a:cxn ang="T104">
                    <a:pos x="T44" y="T45"/>
                  </a:cxn>
                  <a:cxn ang="T105">
                    <a:pos x="T46" y="T47"/>
                  </a:cxn>
                  <a:cxn ang="T106">
                    <a:pos x="T48" y="T49"/>
                  </a:cxn>
                  <a:cxn ang="T107">
                    <a:pos x="T50" y="T51"/>
                  </a:cxn>
                  <a:cxn ang="T108">
                    <a:pos x="T52" y="T53"/>
                  </a:cxn>
                  <a:cxn ang="T109">
                    <a:pos x="T54" y="T55"/>
                  </a:cxn>
                  <a:cxn ang="T110">
                    <a:pos x="T56" y="T57"/>
                  </a:cxn>
                  <a:cxn ang="T111">
                    <a:pos x="T58" y="T59"/>
                  </a:cxn>
                  <a:cxn ang="T112">
                    <a:pos x="T60" y="T61"/>
                  </a:cxn>
                  <a:cxn ang="T113">
                    <a:pos x="T62" y="T63"/>
                  </a:cxn>
                  <a:cxn ang="T114">
                    <a:pos x="T64" y="T65"/>
                  </a:cxn>
                  <a:cxn ang="T115">
                    <a:pos x="T66" y="T67"/>
                  </a:cxn>
                  <a:cxn ang="T116">
                    <a:pos x="T68" y="T69"/>
                  </a:cxn>
                  <a:cxn ang="T117">
                    <a:pos x="T70" y="T71"/>
                  </a:cxn>
                  <a:cxn ang="T118">
                    <a:pos x="T72" y="T73"/>
                  </a:cxn>
                  <a:cxn ang="T119">
                    <a:pos x="T74" y="T75"/>
                  </a:cxn>
                  <a:cxn ang="T120">
                    <a:pos x="T76" y="T77"/>
                  </a:cxn>
                  <a:cxn ang="T121">
                    <a:pos x="T78" y="T79"/>
                  </a:cxn>
                  <a:cxn ang="T122">
                    <a:pos x="T80" y="T81"/>
                  </a:cxn>
                </a:cxnLst>
                <a:rect l="T123" t="T124" r="T125" b="T126"/>
                <a:pathLst>
                  <a:path w="340" h="988">
                    <a:moveTo>
                      <a:pt x="338" y="0"/>
                    </a:moveTo>
                    <a:lnTo>
                      <a:pt x="319" y="2"/>
                    </a:lnTo>
                    <a:lnTo>
                      <a:pt x="300" y="4"/>
                    </a:lnTo>
                    <a:lnTo>
                      <a:pt x="285" y="8"/>
                    </a:lnTo>
                    <a:lnTo>
                      <a:pt x="269" y="14"/>
                    </a:lnTo>
                    <a:lnTo>
                      <a:pt x="256" y="21"/>
                    </a:lnTo>
                    <a:lnTo>
                      <a:pt x="242" y="28"/>
                    </a:lnTo>
                    <a:lnTo>
                      <a:pt x="231" y="37"/>
                    </a:lnTo>
                    <a:lnTo>
                      <a:pt x="221" y="46"/>
                    </a:lnTo>
                    <a:lnTo>
                      <a:pt x="211" y="58"/>
                    </a:lnTo>
                    <a:lnTo>
                      <a:pt x="202" y="69"/>
                    </a:lnTo>
                    <a:lnTo>
                      <a:pt x="195" y="82"/>
                    </a:lnTo>
                    <a:lnTo>
                      <a:pt x="188" y="95"/>
                    </a:lnTo>
                    <a:lnTo>
                      <a:pt x="181" y="108"/>
                    </a:lnTo>
                    <a:lnTo>
                      <a:pt x="176" y="123"/>
                    </a:lnTo>
                    <a:lnTo>
                      <a:pt x="171" y="137"/>
                    </a:lnTo>
                    <a:lnTo>
                      <a:pt x="167" y="153"/>
                    </a:lnTo>
                    <a:lnTo>
                      <a:pt x="160" y="185"/>
                    </a:lnTo>
                    <a:lnTo>
                      <a:pt x="154" y="219"/>
                    </a:lnTo>
                    <a:lnTo>
                      <a:pt x="149" y="253"/>
                    </a:lnTo>
                    <a:lnTo>
                      <a:pt x="145" y="287"/>
                    </a:lnTo>
                    <a:lnTo>
                      <a:pt x="142" y="321"/>
                    </a:lnTo>
                    <a:lnTo>
                      <a:pt x="138" y="355"/>
                    </a:lnTo>
                    <a:lnTo>
                      <a:pt x="133" y="387"/>
                    </a:lnTo>
                    <a:lnTo>
                      <a:pt x="128" y="417"/>
                    </a:lnTo>
                    <a:lnTo>
                      <a:pt x="119" y="451"/>
                    </a:lnTo>
                    <a:lnTo>
                      <a:pt x="110" y="486"/>
                    </a:lnTo>
                    <a:lnTo>
                      <a:pt x="101" y="521"/>
                    </a:lnTo>
                    <a:lnTo>
                      <a:pt x="91" y="556"/>
                    </a:lnTo>
                    <a:lnTo>
                      <a:pt x="69" y="629"/>
                    </a:lnTo>
                    <a:lnTo>
                      <a:pt x="48" y="701"/>
                    </a:lnTo>
                    <a:lnTo>
                      <a:pt x="38" y="737"/>
                    </a:lnTo>
                    <a:lnTo>
                      <a:pt x="29" y="773"/>
                    </a:lnTo>
                    <a:lnTo>
                      <a:pt x="20" y="811"/>
                    </a:lnTo>
                    <a:lnTo>
                      <a:pt x="13" y="846"/>
                    </a:lnTo>
                    <a:lnTo>
                      <a:pt x="8" y="882"/>
                    </a:lnTo>
                    <a:lnTo>
                      <a:pt x="3" y="918"/>
                    </a:lnTo>
                    <a:lnTo>
                      <a:pt x="1" y="953"/>
                    </a:lnTo>
                    <a:lnTo>
                      <a:pt x="0" y="988"/>
                    </a:lnTo>
                    <a:lnTo>
                      <a:pt x="11" y="976"/>
                    </a:lnTo>
                    <a:lnTo>
                      <a:pt x="22" y="965"/>
                    </a:lnTo>
                    <a:lnTo>
                      <a:pt x="35" y="952"/>
                    </a:lnTo>
                    <a:lnTo>
                      <a:pt x="47" y="941"/>
                    </a:lnTo>
                    <a:lnTo>
                      <a:pt x="50" y="910"/>
                    </a:lnTo>
                    <a:lnTo>
                      <a:pt x="55" y="878"/>
                    </a:lnTo>
                    <a:lnTo>
                      <a:pt x="63" y="847"/>
                    </a:lnTo>
                    <a:lnTo>
                      <a:pt x="71" y="815"/>
                    </a:lnTo>
                    <a:lnTo>
                      <a:pt x="80" y="784"/>
                    </a:lnTo>
                    <a:lnTo>
                      <a:pt x="90" y="753"/>
                    </a:lnTo>
                    <a:lnTo>
                      <a:pt x="101" y="721"/>
                    </a:lnTo>
                    <a:lnTo>
                      <a:pt x="111" y="690"/>
                    </a:lnTo>
                    <a:lnTo>
                      <a:pt x="134" y="628"/>
                    </a:lnTo>
                    <a:lnTo>
                      <a:pt x="157" y="567"/>
                    </a:lnTo>
                    <a:lnTo>
                      <a:pt x="167" y="536"/>
                    </a:lnTo>
                    <a:lnTo>
                      <a:pt x="176" y="504"/>
                    </a:lnTo>
                    <a:lnTo>
                      <a:pt x="186" y="473"/>
                    </a:lnTo>
                    <a:lnTo>
                      <a:pt x="193" y="443"/>
                    </a:lnTo>
                    <a:lnTo>
                      <a:pt x="198" y="416"/>
                    </a:lnTo>
                    <a:lnTo>
                      <a:pt x="202" y="386"/>
                    </a:lnTo>
                    <a:lnTo>
                      <a:pt x="204" y="355"/>
                    </a:lnTo>
                    <a:lnTo>
                      <a:pt x="206" y="321"/>
                    </a:lnTo>
                    <a:lnTo>
                      <a:pt x="208" y="289"/>
                    </a:lnTo>
                    <a:lnTo>
                      <a:pt x="210" y="256"/>
                    </a:lnTo>
                    <a:lnTo>
                      <a:pt x="214" y="223"/>
                    </a:lnTo>
                    <a:lnTo>
                      <a:pt x="218" y="191"/>
                    </a:lnTo>
                    <a:lnTo>
                      <a:pt x="220" y="176"/>
                    </a:lnTo>
                    <a:lnTo>
                      <a:pt x="223" y="161"/>
                    </a:lnTo>
                    <a:lnTo>
                      <a:pt x="226" y="146"/>
                    </a:lnTo>
                    <a:lnTo>
                      <a:pt x="230" y="131"/>
                    </a:lnTo>
                    <a:lnTo>
                      <a:pt x="234" y="118"/>
                    </a:lnTo>
                    <a:lnTo>
                      <a:pt x="239" y="104"/>
                    </a:lnTo>
                    <a:lnTo>
                      <a:pt x="246" y="92"/>
                    </a:lnTo>
                    <a:lnTo>
                      <a:pt x="252" y="81"/>
                    </a:lnTo>
                    <a:lnTo>
                      <a:pt x="260" y="69"/>
                    </a:lnTo>
                    <a:lnTo>
                      <a:pt x="268" y="59"/>
                    </a:lnTo>
                    <a:lnTo>
                      <a:pt x="278" y="50"/>
                    </a:lnTo>
                    <a:lnTo>
                      <a:pt x="288" y="41"/>
                    </a:lnTo>
                    <a:lnTo>
                      <a:pt x="298" y="34"/>
                    </a:lnTo>
                    <a:lnTo>
                      <a:pt x="311" y="27"/>
                    </a:lnTo>
                    <a:lnTo>
                      <a:pt x="324" y="22"/>
                    </a:lnTo>
                    <a:lnTo>
                      <a:pt x="340" y="17"/>
                    </a:lnTo>
                    <a:lnTo>
                      <a:pt x="338" y="5"/>
                    </a:lnTo>
                    <a:lnTo>
                      <a:pt x="338" y="0"/>
                    </a:lnTo>
                    <a:close/>
                  </a:path>
                </a:pathLst>
              </a:custGeom>
              <a:solidFill>
                <a:srgbClr val="AF342B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282" name="Freeform 162"/>
              <p:cNvSpPr>
                <a:spLocks/>
              </p:cNvSpPr>
              <p:nvPr/>
            </p:nvSpPr>
            <p:spPr bwMode="auto">
              <a:xfrm>
                <a:off x="3549" y="447"/>
                <a:ext cx="29" cy="28"/>
              </a:xfrm>
              <a:custGeom>
                <a:avLst/>
                <a:gdLst>
                  <a:gd name="T0" fmla="*/ 0 w 197"/>
                  <a:gd name="T1" fmla="*/ 0 h 196"/>
                  <a:gd name="T2" fmla="*/ 0 w 197"/>
                  <a:gd name="T3" fmla="*/ 0 h 196"/>
                  <a:gd name="T4" fmla="*/ 0 w 197"/>
                  <a:gd name="T5" fmla="*/ 0 h 196"/>
                  <a:gd name="T6" fmla="*/ 0 w 197"/>
                  <a:gd name="T7" fmla="*/ 0 h 196"/>
                  <a:gd name="T8" fmla="*/ 0 w 197"/>
                  <a:gd name="T9" fmla="*/ 0 h 196"/>
                  <a:gd name="T10" fmla="*/ 0 w 197"/>
                  <a:gd name="T11" fmla="*/ 0 h 196"/>
                  <a:gd name="T12" fmla="*/ 0 w 197"/>
                  <a:gd name="T13" fmla="*/ 0 h 196"/>
                  <a:gd name="T14" fmla="*/ 0 w 197"/>
                  <a:gd name="T15" fmla="*/ 0 h 196"/>
                  <a:gd name="T16" fmla="*/ 0 w 197"/>
                  <a:gd name="T17" fmla="*/ 0 h 196"/>
                  <a:gd name="T18" fmla="*/ 0 w 197"/>
                  <a:gd name="T19" fmla="*/ 0 h 196"/>
                  <a:gd name="T20" fmla="*/ 0 w 197"/>
                  <a:gd name="T21" fmla="*/ 0 h 196"/>
                  <a:gd name="T22" fmla="*/ 0 w 197"/>
                  <a:gd name="T23" fmla="*/ 0 h 196"/>
                  <a:gd name="T24" fmla="*/ 0 w 197"/>
                  <a:gd name="T25" fmla="*/ 0 h 196"/>
                  <a:gd name="T26" fmla="*/ 0 w 197"/>
                  <a:gd name="T27" fmla="*/ 0 h 196"/>
                  <a:gd name="T28" fmla="*/ 0 w 197"/>
                  <a:gd name="T29" fmla="*/ 0 h 196"/>
                  <a:gd name="T30" fmla="*/ 0 w 197"/>
                  <a:gd name="T31" fmla="*/ 0 h 196"/>
                  <a:gd name="T32" fmla="*/ 0 w 197"/>
                  <a:gd name="T33" fmla="*/ 0 h 196"/>
                  <a:gd name="T34" fmla="*/ 0 w 197"/>
                  <a:gd name="T35" fmla="*/ 0 h 196"/>
                  <a:gd name="T36" fmla="*/ 0 w 197"/>
                  <a:gd name="T37" fmla="*/ 0 h 196"/>
                  <a:gd name="T38" fmla="*/ 0 w 197"/>
                  <a:gd name="T39" fmla="*/ 0 h 196"/>
                  <a:gd name="T40" fmla="*/ 0 w 197"/>
                  <a:gd name="T41" fmla="*/ 0 h 196"/>
                  <a:gd name="T42" fmla="*/ 0 w 197"/>
                  <a:gd name="T43" fmla="*/ 0 h 196"/>
                  <a:gd name="T44" fmla="*/ 0 w 197"/>
                  <a:gd name="T45" fmla="*/ 0 h 196"/>
                  <a:gd name="T46" fmla="*/ 0 w 197"/>
                  <a:gd name="T47" fmla="*/ 0 h 196"/>
                  <a:gd name="T48" fmla="*/ 0 w 197"/>
                  <a:gd name="T49" fmla="*/ 0 h 196"/>
                  <a:gd name="T50" fmla="*/ 0 w 197"/>
                  <a:gd name="T51" fmla="*/ 0 h 196"/>
                  <a:gd name="T52" fmla="*/ 0 w 197"/>
                  <a:gd name="T53" fmla="*/ 0 h 196"/>
                  <a:gd name="T54" fmla="*/ 0 w 197"/>
                  <a:gd name="T55" fmla="*/ 0 h 196"/>
                  <a:gd name="T56" fmla="*/ 0 w 197"/>
                  <a:gd name="T57" fmla="*/ 0 h 196"/>
                  <a:gd name="T58" fmla="*/ 0 w 197"/>
                  <a:gd name="T59" fmla="*/ 0 h 196"/>
                  <a:gd name="T60" fmla="*/ 0 w 197"/>
                  <a:gd name="T61" fmla="*/ 0 h 196"/>
                  <a:gd name="T62" fmla="*/ 0 w 197"/>
                  <a:gd name="T63" fmla="*/ 0 h 19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w 197"/>
                  <a:gd name="T97" fmla="*/ 0 h 196"/>
                  <a:gd name="T98" fmla="*/ 197 w 197"/>
                  <a:gd name="T99" fmla="*/ 196 h 19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T96" t="T97" r="T98" b="T99"/>
                <a:pathLst>
                  <a:path w="197" h="196">
                    <a:moveTo>
                      <a:pt x="197" y="98"/>
                    </a:moveTo>
                    <a:lnTo>
                      <a:pt x="197" y="108"/>
                    </a:lnTo>
                    <a:lnTo>
                      <a:pt x="195" y="118"/>
                    </a:lnTo>
                    <a:lnTo>
                      <a:pt x="193" y="128"/>
                    </a:lnTo>
                    <a:lnTo>
                      <a:pt x="189" y="136"/>
                    </a:lnTo>
                    <a:lnTo>
                      <a:pt x="185" y="145"/>
                    </a:lnTo>
                    <a:lnTo>
                      <a:pt x="180" y="153"/>
                    </a:lnTo>
                    <a:lnTo>
                      <a:pt x="175" y="161"/>
                    </a:lnTo>
                    <a:lnTo>
                      <a:pt x="168" y="168"/>
                    </a:lnTo>
                    <a:lnTo>
                      <a:pt x="162" y="174"/>
                    </a:lnTo>
                    <a:lnTo>
                      <a:pt x="153" y="180"/>
                    </a:lnTo>
                    <a:lnTo>
                      <a:pt x="145" y="185"/>
                    </a:lnTo>
                    <a:lnTo>
                      <a:pt x="137" y="189"/>
                    </a:lnTo>
                    <a:lnTo>
                      <a:pt x="127" y="192"/>
                    </a:lnTo>
                    <a:lnTo>
                      <a:pt x="118" y="195"/>
                    </a:lnTo>
                    <a:lnTo>
                      <a:pt x="109" y="196"/>
                    </a:lnTo>
                    <a:lnTo>
                      <a:pt x="99" y="196"/>
                    </a:lnTo>
                    <a:lnTo>
                      <a:pt x="88" y="196"/>
                    </a:lnTo>
                    <a:lnTo>
                      <a:pt x="79" y="195"/>
                    </a:lnTo>
                    <a:lnTo>
                      <a:pt x="70" y="192"/>
                    </a:lnTo>
                    <a:lnTo>
                      <a:pt x="60" y="189"/>
                    </a:lnTo>
                    <a:lnTo>
                      <a:pt x="52" y="185"/>
                    </a:lnTo>
                    <a:lnTo>
                      <a:pt x="44" y="180"/>
                    </a:lnTo>
                    <a:lnTo>
                      <a:pt x="35" y="174"/>
                    </a:lnTo>
                    <a:lnTo>
                      <a:pt x="29" y="168"/>
                    </a:lnTo>
                    <a:lnTo>
                      <a:pt x="22" y="161"/>
                    </a:lnTo>
                    <a:lnTo>
                      <a:pt x="17" y="153"/>
                    </a:lnTo>
                    <a:lnTo>
                      <a:pt x="12" y="145"/>
                    </a:lnTo>
                    <a:lnTo>
                      <a:pt x="8" y="136"/>
                    </a:lnTo>
                    <a:lnTo>
                      <a:pt x="4" y="128"/>
                    </a:lnTo>
                    <a:lnTo>
                      <a:pt x="2" y="118"/>
                    </a:lnTo>
                    <a:lnTo>
                      <a:pt x="0" y="108"/>
                    </a:lnTo>
                    <a:lnTo>
                      <a:pt x="0" y="98"/>
                    </a:lnTo>
                    <a:lnTo>
                      <a:pt x="0" y="89"/>
                    </a:lnTo>
                    <a:lnTo>
                      <a:pt x="2" y="78"/>
                    </a:lnTo>
                    <a:lnTo>
                      <a:pt x="4" y="69"/>
                    </a:lnTo>
                    <a:lnTo>
                      <a:pt x="8" y="60"/>
                    </a:lnTo>
                    <a:lnTo>
                      <a:pt x="12" y="51"/>
                    </a:lnTo>
                    <a:lnTo>
                      <a:pt x="17" y="43"/>
                    </a:lnTo>
                    <a:lnTo>
                      <a:pt x="22" y="36"/>
                    </a:lnTo>
                    <a:lnTo>
                      <a:pt x="29" y="29"/>
                    </a:lnTo>
                    <a:lnTo>
                      <a:pt x="35" y="22"/>
                    </a:lnTo>
                    <a:lnTo>
                      <a:pt x="44" y="16"/>
                    </a:lnTo>
                    <a:lnTo>
                      <a:pt x="52" y="11"/>
                    </a:lnTo>
                    <a:lnTo>
                      <a:pt x="60" y="7"/>
                    </a:lnTo>
                    <a:lnTo>
                      <a:pt x="70" y="4"/>
                    </a:lnTo>
                    <a:lnTo>
                      <a:pt x="79" y="2"/>
                    </a:lnTo>
                    <a:lnTo>
                      <a:pt x="88" y="0"/>
                    </a:lnTo>
                    <a:lnTo>
                      <a:pt x="99" y="0"/>
                    </a:lnTo>
                    <a:lnTo>
                      <a:pt x="109" y="0"/>
                    </a:lnTo>
                    <a:lnTo>
                      <a:pt x="118" y="2"/>
                    </a:lnTo>
                    <a:lnTo>
                      <a:pt x="127" y="4"/>
                    </a:lnTo>
                    <a:lnTo>
                      <a:pt x="137" y="7"/>
                    </a:lnTo>
                    <a:lnTo>
                      <a:pt x="145" y="11"/>
                    </a:lnTo>
                    <a:lnTo>
                      <a:pt x="153" y="16"/>
                    </a:lnTo>
                    <a:lnTo>
                      <a:pt x="162" y="22"/>
                    </a:lnTo>
                    <a:lnTo>
                      <a:pt x="168" y="29"/>
                    </a:lnTo>
                    <a:lnTo>
                      <a:pt x="175" y="36"/>
                    </a:lnTo>
                    <a:lnTo>
                      <a:pt x="180" y="43"/>
                    </a:lnTo>
                    <a:lnTo>
                      <a:pt x="185" y="51"/>
                    </a:lnTo>
                    <a:lnTo>
                      <a:pt x="189" y="60"/>
                    </a:lnTo>
                    <a:lnTo>
                      <a:pt x="193" y="69"/>
                    </a:lnTo>
                    <a:lnTo>
                      <a:pt x="195" y="78"/>
                    </a:lnTo>
                    <a:lnTo>
                      <a:pt x="197" y="89"/>
                    </a:lnTo>
                    <a:lnTo>
                      <a:pt x="197" y="98"/>
                    </a:lnTo>
                    <a:close/>
                  </a:path>
                </a:pathLst>
              </a:custGeom>
              <a:solidFill>
                <a:srgbClr val="00A13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  <p:sp>
            <p:nvSpPr>
              <p:cNvPr id="137283" name="Freeform 163"/>
              <p:cNvSpPr>
                <a:spLocks/>
              </p:cNvSpPr>
              <p:nvPr/>
            </p:nvSpPr>
            <p:spPr bwMode="auto">
              <a:xfrm>
                <a:off x="3552" y="448"/>
                <a:ext cx="14" cy="14"/>
              </a:xfrm>
              <a:custGeom>
                <a:avLst/>
                <a:gdLst>
                  <a:gd name="T0" fmla="*/ 0 w 98"/>
                  <a:gd name="T1" fmla="*/ 0 h 99"/>
                  <a:gd name="T2" fmla="*/ 0 w 98"/>
                  <a:gd name="T3" fmla="*/ 0 h 99"/>
                  <a:gd name="T4" fmla="*/ 0 w 98"/>
                  <a:gd name="T5" fmla="*/ 0 h 99"/>
                  <a:gd name="T6" fmla="*/ 0 w 98"/>
                  <a:gd name="T7" fmla="*/ 0 h 99"/>
                  <a:gd name="T8" fmla="*/ 0 w 98"/>
                  <a:gd name="T9" fmla="*/ 0 h 99"/>
                  <a:gd name="T10" fmla="*/ 0 w 98"/>
                  <a:gd name="T11" fmla="*/ 0 h 99"/>
                  <a:gd name="T12" fmla="*/ 0 w 98"/>
                  <a:gd name="T13" fmla="*/ 0 h 99"/>
                  <a:gd name="T14" fmla="*/ 0 w 98"/>
                  <a:gd name="T15" fmla="*/ 0 h 99"/>
                  <a:gd name="T16" fmla="*/ 0 w 98"/>
                  <a:gd name="T17" fmla="*/ 0 h 99"/>
                  <a:gd name="T18" fmla="*/ 0 w 98"/>
                  <a:gd name="T19" fmla="*/ 0 h 99"/>
                  <a:gd name="T20" fmla="*/ 0 w 98"/>
                  <a:gd name="T21" fmla="*/ 0 h 99"/>
                  <a:gd name="T22" fmla="*/ 0 w 98"/>
                  <a:gd name="T23" fmla="*/ 0 h 99"/>
                  <a:gd name="T24" fmla="*/ 0 w 98"/>
                  <a:gd name="T25" fmla="*/ 0 h 99"/>
                  <a:gd name="T26" fmla="*/ 0 w 98"/>
                  <a:gd name="T27" fmla="*/ 0 h 99"/>
                  <a:gd name="T28" fmla="*/ 0 w 98"/>
                  <a:gd name="T29" fmla="*/ 0 h 99"/>
                  <a:gd name="T30" fmla="*/ 0 w 98"/>
                  <a:gd name="T31" fmla="*/ 0 h 99"/>
                  <a:gd name="T32" fmla="*/ 0 w 98"/>
                  <a:gd name="T33" fmla="*/ 0 h 99"/>
                  <a:gd name="T34" fmla="*/ 0 w 98"/>
                  <a:gd name="T35" fmla="*/ 0 h 99"/>
                  <a:gd name="T36" fmla="*/ 0 w 98"/>
                  <a:gd name="T37" fmla="*/ 0 h 99"/>
                  <a:gd name="T38" fmla="*/ 0 w 98"/>
                  <a:gd name="T39" fmla="*/ 0 h 99"/>
                  <a:gd name="T40" fmla="*/ 0 w 98"/>
                  <a:gd name="T41" fmla="*/ 0 h 99"/>
                  <a:gd name="T42" fmla="*/ 0 w 98"/>
                  <a:gd name="T43" fmla="*/ 0 h 99"/>
                  <a:gd name="T44" fmla="*/ 0 w 98"/>
                  <a:gd name="T45" fmla="*/ 0 h 99"/>
                  <a:gd name="T46" fmla="*/ 0 w 98"/>
                  <a:gd name="T47" fmla="*/ 0 h 99"/>
                  <a:gd name="T48" fmla="*/ 0 w 98"/>
                  <a:gd name="T49" fmla="*/ 0 h 99"/>
                  <a:gd name="T50" fmla="*/ 0 w 98"/>
                  <a:gd name="T51" fmla="*/ 0 h 99"/>
                  <a:gd name="T52" fmla="*/ 0 w 98"/>
                  <a:gd name="T53" fmla="*/ 0 h 99"/>
                  <a:gd name="T54" fmla="*/ 0 w 98"/>
                  <a:gd name="T55" fmla="*/ 0 h 99"/>
                  <a:gd name="T56" fmla="*/ 0 w 98"/>
                  <a:gd name="T57" fmla="*/ 0 h 99"/>
                  <a:gd name="T58" fmla="*/ 0 w 98"/>
                  <a:gd name="T59" fmla="*/ 0 h 99"/>
                  <a:gd name="T60" fmla="*/ 0 w 98"/>
                  <a:gd name="T61" fmla="*/ 0 h 99"/>
                  <a:gd name="T62" fmla="*/ 0 w 98"/>
                  <a:gd name="T63" fmla="*/ 0 h 99"/>
                  <a:gd name="T64" fmla="*/ 0 w 98"/>
                  <a:gd name="T65" fmla="*/ 0 h 99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w 98"/>
                  <a:gd name="T100" fmla="*/ 0 h 99"/>
                  <a:gd name="T101" fmla="*/ 98 w 98"/>
                  <a:gd name="T102" fmla="*/ 99 h 99"/>
                </a:gdLst>
                <a:ahLst/>
                <a:cxnLst>
                  <a:cxn ang="T66">
                    <a:pos x="T0" y="T1"/>
                  </a:cxn>
                  <a:cxn ang="T67">
                    <a:pos x="T2" y="T3"/>
                  </a:cxn>
                  <a:cxn ang="T68">
                    <a:pos x="T4" y="T5"/>
                  </a:cxn>
                  <a:cxn ang="T69">
                    <a:pos x="T6" y="T7"/>
                  </a:cxn>
                  <a:cxn ang="T70">
                    <a:pos x="T8" y="T9"/>
                  </a:cxn>
                  <a:cxn ang="T71">
                    <a:pos x="T10" y="T11"/>
                  </a:cxn>
                  <a:cxn ang="T72">
                    <a:pos x="T12" y="T13"/>
                  </a:cxn>
                  <a:cxn ang="T73">
                    <a:pos x="T14" y="T15"/>
                  </a:cxn>
                  <a:cxn ang="T74">
                    <a:pos x="T16" y="T17"/>
                  </a:cxn>
                  <a:cxn ang="T75">
                    <a:pos x="T18" y="T19"/>
                  </a:cxn>
                  <a:cxn ang="T76">
                    <a:pos x="T20" y="T21"/>
                  </a:cxn>
                  <a:cxn ang="T77">
                    <a:pos x="T22" y="T23"/>
                  </a:cxn>
                  <a:cxn ang="T78">
                    <a:pos x="T24" y="T25"/>
                  </a:cxn>
                  <a:cxn ang="T79">
                    <a:pos x="T26" y="T27"/>
                  </a:cxn>
                  <a:cxn ang="T80">
                    <a:pos x="T28" y="T29"/>
                  </a:cxn>
                  <a:cxn ang="T81">
                    <a:pos x="T30" y="T31"/>
                  </a:cxn>
                  <a:cxn ang="T82">
                    <a:pos x="T32" y="T33"/>
                  </a:cxn>
                  <a:cxn ang="T83">
                    <a:pos x="T34" y="T35"/>
                  </a:cxn>
                  <a:cxn ang="T84">
                    <a:pos x="T36" y="T37"/>
                  </a:cxn>
                  <a:cxn ang="T85">
                    <a:pos x="T38" y="T39"/>
                  </a:cxn>
                  <a:cxn ang="T86">
                    <a:pos x="T40" y="T41"/>
                  </a:cxn>
                  <a:cxn ang="T87">
                    <a:pos x="T42" y="T43"/>
                  </a:cxn>
                  <a:cxn ang="T88">
                    <a:pos x="T44" y="T45"/>
                  </a:cxn>
                  <a:cxn ang="T89">
                    <a:pos x="T46" y="T47"/>
                  </a:cxn>
                  <a:cxn ang="T90">
                    <a:pos x="T48" y="T49"/>
                  </a:cxn>
                  <a:cxn ang="T91">
                    <a:pos x="T50" y="T51"/>
                  </a:cxn>
                  <a:cxn ang="T92">
                    <a:pos x="T52" y="T53"/>
                  </a:cxn>
                  <a:cxn ang="T93">
                    <a:pos x="T54" y="T55"/>
                  </a:cxn>
                  <a:cxn ang="T94">
                    <a:pos x="T56" y="T57"/>
                  </a:cxn>
                  <a:cxn ang="T95">
                    <a:pos x="T58" y="T59"/>
                  </a:cxn>
                  <a:cxn ang="T96">
                    <a:pos x="T60" y="T61"/>
                  </a:cxn>
                  <a:cxn ang="T97">
                    <a:pos x="T62" y="T63"/>
                  </a:cxn>
                  <a:cxn ang="T98">
                    <a:pos x="T64" y="T65"/>
                  </a:cxn>
                </a:cxnLst>
                <a:rect l="T99" t="T100" r="T101" b="T102"/>
                <a:pathLst>
                  <a:path w="98" h="99">
                    <a:moveTo>
                      <a:pt x="98" y="50"/>
                    </a:moveTo>
                    <a:lnTo>
                      <a:pt x="97" y="60"/>
                    </a:lnTo>
                    <a:lnTo>
                      <a:pt x="95" y="69"/>
                    </a:lnTo>
                    <a:lnTo>
                      <a:pt x="90" y="77"/>
                    </a:lnTo>
                    <a:lnTo>
                      <a:pt x="84" y="85"/>
                    </a:lnTo>
                    <a:lnTo>
                      <a:pt x="76" y="91"/>
                    </a:lnTo>
                    <a:lnTo>
                      <a:pt x="68" y="95"/>
                    </a:lnTo>
                    <a:lnTo>
                      <a:pt x="59" y="98"/>
                    </a:lnTo>
                    <a:lnTo>
                      <a:pt x="50" y="99"/>
                    </a:lnTo>
                    <a:lnTo>
                      <a:pt x="39" y="98"/>
                    </a:lnTo>
                    <a:lnTo>
                      <a:pt x="30" y="95"/>
                    </a:lnTo>
                    <a:lnTo>
                      <a:pt x="22" y="91"/>
                    </a:lnTo>
                    <a:lnTo>
                      <a:pt x="14" y="85"/>
                    </a:lnTo>
                    <a:lnTo>
                      <a:pt x="8" y="77"/>
                    </a:lnTo>
                    <a:lnTo>
                      <a:pt x="4" y="69"/>
                    </a:lnTo>
                    <a:lnTo>
                      <a:pt x="1" y="60"/>
                    </a:lnTo>
                    <a:lnTo>
                      <a:pt x="0" y="50"/>
                    </a:lnTo>
                    <a:lnTo>
                      <a:pt x="1" y="40"/>
                    </a:lnTo>
                    <a:lnTo>
                      <a:pt x="4" y="31"/>
                    </a:lnTo>
                    <a:lnTo>
                      <a:pt x="8" y="23"/>
                    </a:lnTo>
                    <a:lnTo>
                      <a:pt x="14" y="14"/>
                    </a:lnTo>
                    <a:lnTo>
                      <a:pt x="22" y="9"/>
                    </a:lnTo>
                    <a:lnTo>
                      <a:pt x="30" y="4"/>
                    </a:lnTo>
                    <a:lnTo>
                      <a:pt x="39" y="1"/>
                    </a:lnTo>
                    <a:lnTo>
                      <a:pt x="50" y="0"/>
                    </a:lnTo>
                    <a:lnTo>
                      <a:pt x="59" y="1"/>
                    </a:lnTo>
                    <a:lnTo>
                      <a:pt x="68" y="4"/>
                    </a:lnTo>
                    <a:lnTo>
                      <a:pt x="76" y="9"/>
                    </a:lnTo>
                    <a:lnTo>
                      <a:pt x="84" y="14"/>
                    </a:lnTo>
                    <a:lnTo>
                      <a:pt x="90" y="23"/>
                    </a:lnTo>
                    <a:lnTo>
                      <a:pt x="95" y="31"/>
                    </a:lnTo>
                    <a:lnTo>
                      <a:pt x="97" y="40"/>
                    </a:lnTo>
                    <a:lnTo>
                      <a:pt x="98" y="50"/>
                    </a:lnTo>
                    <a:close/>
                  </a:path>
                </a:pathLst>
              </a:custGeom>
              <a:solidFill>
                <a:srgbClr val="ABD32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ko-KR" altLang="en-US"/>
              </a:p>
            </p:txBody>
          </p:sp>
        </p:grpSp>
      </p:grpSp>
      <p:sp>
        <p:nvSpPr>
          <p:cNvPr id="137250" name="Text Box 44"/>
          <p:cNvSpPr txBox="1">
            <a:spLocks noChangeArrowheads="1"/>
          </p:cNvSpPr>
          <p:nvPr/>
        </p:nvSpPr>
        <p:spPr bwMode="auto">
          <a:xfrm>
            <a:off x="4481455" y="6861189"/>
            <a:ext cx="1713058" cy="415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08" tIns="45505" rIns="91008" bIns="45505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2100" b="1">
                <a:solidFill>
                  <a:srgbClr val="C00000"/>
                </a:solidFill>
                <a:latin typeface="HY헤드라인M" pitchFamily="18" charset="-127"/>
                <a:ea typeface="HY헤드라인M" pitchFamily="18" charset="-127"/>
              </a:rPr>
              <a:t>차이 </a:t>
            </a:r>
            <a:r>
              <a:rPr lang="en-US" altLang="ko-KR" sz="2100" b="1">
                <a:solidFill>
                  <a:srgbClr val="C00000"/>
                </a:solidFill>
                <a:latin typeface="HY헤드라인M" pitchFamily="18" charset="-127"/>
                <a:ea typeface="HY헤드라인M" pitchFamily="18" charset="-127"/>
              </a:rPr>
              <a:t>: -24kg</a:t>
            </a:r>
          </a:p>
        </p:txBody>
      </p:sp>
      <p:sp>
        <p:nvSpPr>
          <p:cNvPr id="137251" name="AutoShape 67"/>
          <p:cNvSpPr>
            <a:spLocks noChangeArrowheads="1"/>
          </p:cNvSpPr>
          <p:nvPr/>
        </p:nvSpPr>
        <p:spPr bwMode="auto">
          <a:xfrm>
            <a:off x="4551392" y="6757990"/>
            <a:ext cx="1571625" cy="533400"/>
          </a:xfrm>
          <a:prstGeom prst="roundRect">
            <a:avLst>
              <a:gd name="adj" fmla="val 16667"/>
            </a:avLst>
          </a:prstGeom>
          <a:noFill/>
          <a:ln w="28575">
            <a:solidFill>
              <a:srgbClr val="FF0066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91008" tIns="45505" rIns="91008" bIns="45505" anchor="ctr"/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ko-KR" altLang="en-US" sz="800">
              <a:solidFill>
                <a:schemeClr val="tx1"/>
              </a:solidFill>
              <a:latin typeface="Trebuchet MS" pitchFamily="34" charset="0"/>
            </a:endParaRPr>
          </a:p>
        </p:txBody>
      </p:sp>
      <p:sp>
        <p:nvSpPr>
          <p:cNvPr id="358" name="오른쪽 화살표 357"/>
          <p:cNvSpPr/>
          <p:nvPr/>
        </p:nvSpPr>
        <p:spPr bwMode="auto">
          <a:xfrm>
            <a:off x="6126299" y="6872229"/>
            <a:ext cx="216024" cy="288033"/>
          </a:xfrm>
          <a:prstGeom prst="rightArrow">
            <a:avLst/>
          </a:prstGeom>
          <a:solidFill>
            <a:srgbClr val="FF0000"/>
          </a:solidFill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008" tIns="45505" rIns="91008" bIns="45505"/>
          <a:lstStyle/>
          <a:p>
            <a:pPr>
              <a:defRPr/>
            </a:pPr>
            <a:endParaRPr lang="ko-KR" altLang="en-US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359" name="오른쪽 화살표 358"/>
          <p:cNvSpPr/>
          <p:nvPr/>
        </p:nvSpPr>
        <p:spPr bwMode="auto">
          <a:xfrm flipH="1">
            <a:off x="4327562" y="6878248"/>
            <a:ext cx="216024" cy="288033"/>
          </a:xfrm>
          <a:prstGeom prst="rightArrow">
            <a:avLst/>
          </a:prstGeom>
          <a:solidFill>
            <a:srgbClr val="FF0000"/>
          </a:solidFill>
          <a:ln>
            <a:headEnd type="none" w="med" len="med"/>
            <a:tailEnd type="none" w="med" len="med"/>
          </a:ln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91008" tIns="45505" rIns="91008" bIns="45505"/>
          <a:lstStyle/>
          <a:p>
            <a:pPr>
              <a:defRPr/>
            </a:pPr>
            <a:endParaRPr lang="ko-KR" altLang="en-US">
              <a:solidFill>
                <a:schemeClr val="tx1"/>
              </a:solidFill>
              <a:latin typeface="Times New Roman" pitchFamily="18" charset="0"/>
            </a:endParaRPr>
          </a:p>
        </p:txBody>
      </p:sp>
      <p:sp>
        <p:nvSpPr>
          <p:cNvPr id="360" name="Rectangle 3"/>
          <p:cNvSpPr>
            <a:spLocks noChangeArrowheads="1"/>
          </p:cNvSpPr>
          <p:nvPr/>
        </p:nvSpPr>
        <p:spPr bwMode="auto">
          <a:xfrm>
            <a:off x="1468124" y="1046965"/>
            <a:ext cx="7273925" cy="649287"/>
          </a:xfrm>
          <a:prstGeom prst="rect">
            <a:avLst/>
          </a:prstGeom>
          <a:solidFill>
            <a:srgbClr val="92D050"/>
          </a:solidFill>
          <a:ln>
            <a:headEnd/>
            <a:tailEnd/>
          </a:ln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none" lIns="91008" tIns="45505" rIns="91008" bIns="45505" anchor="ctr"/>
          <a:lstStyle/>
          <a:p>
            <a:pPr>
              <a:defRPr/>
            </a:pPr>
            <a:endParaRPr lang="ko-KR" altLang="en-US"/>
          </a:p>
        </p:txBody>
      </p:sp>
      <p:sp>
        <p:nvSpPr>
          <p:cNvPr id="361" name="Rectangle 4"/>
          <p:cNvSpPr txBox="1">
            <a:spLocks noChangeArrowheads="1"/>
          </p:cNvSpPr>
          <p:nvPr/>
        </p:nvSpPr>
        <p:spPr bwMode="auto">
          <a:xfrm>
            <a:off x="1683997" y="1026325"/>
            <a:ext cx="7633468" cy="633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7961" dir="2700000" algn="ctr" rotWithShape="0">
              <a:srgbClr val="FFFFFF"/>
            </a:outerShdw>
          </a:effectLst>
        </p:spPr>
        <p:txBody>
          <a:bodyPr lIns="91008" tIns="45505" rIns="91008" bIns="45505" anchor="ctr"/>
          <a:lstStyle/>
          <a:p>
            <a:pPr>
              <a:defRPr/>
            </a:pPr>
            <a:r>
              <a:rPr kumimoji="0" lang="ko-KR" altLang="en-US" sz="3200" b="1" kern="0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HY헤드라인M" pitchFamily="18" charset="-127"/>
                <a:ea typeface="HY헤드라인M" pitchFamily="18" charset="-127"/>
                <a:cs typeface="+mj-cs"/>
              </a:rPr>
              <a:t>친자부정에 따른 </a:t>
            </a:r>
            <a:r>
              <a:rPr kumimoji="0" lang="ko-KR" altLang="en-US" sz="3200" b="1" kern="0" dirty="0" err="1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HY헤드라인M" pitchFamily="18" charset="-127"/>
                <a:ea typeface="HY헤드라인M" pitchFamily="18" charset="-127"/>
                <a:cs typeface="+mj-cs"/>
              </a:rPr>
              <a:t>육종가차이</a:t>
            </a:r>
            <a:r>
              <a:rPr kumimoji="0" lang="en-US" altLang="ko-KR" sz="3200" b="1" kern="0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HY헤드라인M" pitchFamily="18" charset="-127"/>
                <a:ea typeface="HY헤드라인M" pitchFamily="18" charset="-127"/>
                <a:cs typeface="+mj-cs"/>
              </a:rPr>
              <a:t>(</a:t>
            </a:r>
            <a:r>
              <a:rPr lang="ko-KR" altLang="en-US" sz="3200" b="1" kern="0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HY헤드라인M" pitchFamily="18" charset="-127"/>
                <a:ea typeface="HY헤드라인M" pitchFamily="18" charset="-127"/>
                <a:cs typeface="+mj-cs"/>
              </a:rPr>
              <a:t>예시</a:t>
            </a:r>
            <a:r>
              <a:rPr lang="en-US" altLang="ko-KR" sz="3200" b="1" kern="0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HY헤드라인M" pitchFamily="18" charset="-127"/>
                <a:ea typeface="HY헤드라인M" pitchFamily="18" charset="-127"/>
                <a:cs typeface="+mj-cs"/>
              </a:rPr>
              <a:t>)</a:t>
            </a:r>
            <a:endParaRPr kumimoji="0" lang="ko-KR" altLang="en-US" sz="3200" b="1" kern="0" dirty="0">
              <a:ln w="17780" cmpd="sng">
                <a:solidFill>
                  <a:srgbClr val="FFFFFF"/>
                </a:solidFill>
                <a:prstDash val="solid"/>
                <a:miter lim="800000"/>
              </a:ln>
              <a:gradFill rotWithShape="1">
                <a:gsLst>
                  <a:gs pos="0">
                    <a:srgbClr val="000000">
                      <a:tint val="92000"/>
                      <a:shade val="100000"/>
                      <a:satMod val="150000"/>
                    </a:srgbClr>
                  </a:gs>
                  <a:gs pos="49000">
                    <a:srgbClr val="000000">
                      <a:tint val="89000"/>
                      <a:shade val="90000"/>
                      <a:satMod val="150000"/>
                    </a:srgbClr>
                  </a:gs>
                  <a:gs pos="50000">
                    <a:srgbClr val="000000">
                      <a:tint val="100000"/>
                      <a:shade val="75000"/>
                      <a:satMod val="150000"/>
                    </a:srgbClr>
                  </a:gs>
                  <a:gs pos="95000">
                    <a:srgbClr val="000000">
                      <a:shade val="47000"/>
                      <a:satMod val="150000"/>
                    </a:srgbClr>
                  </a:gs>
                  <a:gs pos="100000">
                    <a:srgbClr val="000000">
                      <a:shade val="39000"/>
                      <a:satMod val="150000"/>
                    </a:srgbClr>
                  </a:gs>
                </a:gsLst>
                <a:lin ang="5400000"/>
              </a:gradFill>
              <a:effectLst>
                <a:outerShdw blurRad="50800" algn="tl" rotWithShape="0">
                  <a:srgbClr val="000000"/>
                </a:outerShdw>
              </a:effectLst>
              <a:latin typeface="HY헤드라인M" pitchFamily="18" charset="-127"/>
              <a:ea typeface="HY헤드라인M" pitchFamily="18" charset="-127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490273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0" y="0"/>
          <a:ext cx="10693400" cy="757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7238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T="45672" marB="4567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138244" name="Rectangle 1"/>
          <p:cNvSpPr>
            <a:spLocks noChangeArrowheads="1"/>
          </p:cNvSpPr>
          <p:nvPr/>
        </p:nvSpPr>
        <p:spPr bwMode="auto">
          <a:xfrm>
            <a:off x="17" y="121106"/>
            <a:ext cx="183858" cy="215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08" tIns="45505" rIns="91008" bIns="45505" anchor="ctr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ko-KR" altLang="en-US" sz="800">
              <a:solidFill>
                <a:schemeClr val="tx1"/>
              </a:solidFill>
              <a:latin typeface="Trebuchet MS" pitchFamily="34" charset="0"/>
            </a:endParaRPr>
          </a:p>
        </p:txBody>
      </p:sp>
      <p:sp>
        <p:nvSpPr>
          <p:cNvPr id="138245" name="Rectangle 2"/>
          <p:cNvSpPr>
            <a:spLocks noChangeArrowheads="1"/>
          </p:cNvSpPr>
          <p:nvPr/>
        </p:nvSpPr>
        <p:spPr bwMode="auto">
          <a:xfrm>
            <a:off x="17" y="121106"/>
            <a:ext cx="183858" cy="215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08" tIns="45505" rIns="91008" bIns="45505" anchor="ctr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ko-KR" altLang="en-US" sz="800">
              <a:solidFill>
                <a:schemeClr val="tx1"/>
              </a:solidFill>
              <a:latin typeface="Trebuchet MS" pitchFamily="34" charset="0"/>
            </a:endParaRPr>
          </a:p>
        </p:txBody>
      </p:sp>
      <p:sp>
        <p:nvSpPr>
          <p:cNvPr id="20" name="Rectangle 3"/>
          <p:cNvSpPr>
            <a:spLocks noChangeArrowheads="1"/>
          </p:cNvSpPr>
          <p:nvPr/>
        </p:nvSpPr>
        <p:spPr bwMode="auto">
          <a:xfrm>
            <a:off x="1322788" y="1020559"/>
            <a:ext cx="7273925" cy="649287"/>
          </a:xfrm>
          <a:prstGeom prst="rect">
            <a:avLst/>
          </a:prstGeom>
          <a:solidFill>
            <a:srgbClr val="92D050"/>
          </a:solidFill>
          <a:ln>
            <a:noFill/>
            <a:headEnd/>
            <a:tailEnd/>
          </a:ln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txBody>
          <a:bodyPr wrap="none" lIns="91008" tIns="45505" rIns="91008" bIns="45505" anchor="ctr"/>
          <a:lstStyle/>
          <a:p>
            <a:pPr fontAlgn="auto" latinLnBrk="0">
              <a:spcBef>
                <a:spcPts val="0"/>
              </a:spcBef>
              <a:spcAft>
                <a:spcPts val="0"/>
              </a:spcAft>
              <a:defRPr/>
            </a:pPr>
            <a:endParaRPr kumimoji="0" lang="ko-KR" altLang="en-US" sz="1800" kern="0">
              <a:solidFill>
                <a:sysClr val="window" lastClr="FFFFFF"/>
              </a:solidFill>
              <a:latin typeface="맑은 고딕"/>
              <a:ea typeface="맑은 고딕"/>
            </a:endParaRPr>
          </a:p>
        </p:txBody>
      </p:sp>
      <p:sp>
        <p:nvSpPr>
          <p:cNvPr id="21" name="Rectangle 4"/>
          <p:cNvSpPr txBox="1">
            <a:spLocks noChangeArrowheads="1"/>
          </p:cNvSpPr>
          <p:nvPr/>
        </p:nvSpPr>
        <p:spPr bwMode="auto">
          <a:xfrm>
            <a:off x="1538657" y="999921"/>
            <a:ext cx="7633468" cy="6334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>
            <a:outerShdw dist="17961" dir="2700000" algn="ctr" rotWithShape="0">
              <a:srgbClr val="FFFFFF"/>
            </a:outerShdw>
          </a:effectLst>
        </p:spPr>
        <p:txBody>
          <a:bodyPr lIns="91008" tIns="45505" rIns="91008" bIns="45505" anchor="ctr"/>
          <a:lstStyle/>
          <a:p>
            <a:pPr>
              <a:defRPr/>
            </a:pPr>
            <a:r>
              <a:rPr kumimoji="0" lang="ko-KR" altLang="en-US" sz="3200" b="1" kern="0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HY헤드라인M" pitchFamily="18" charset="-127"/>
                <a:ea typeface="HY헤드라인M" pitchFamily="18" charset="-127"/>
                <a:cs typeface="+mj-cs"/>
              </a:rPr>
              <a:t>친자부정에 따른 </a:t>
            </a:r>
            <a:r>
              <a:rPr kumimoji="0" lang="ko-KR" altLang="en-US" sz="3200" b="1" kern="0" dirty="0" err="1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HY헤드라인M" pitchFamily="18" charset="-127"/>
                <a:ea typeface="HY헤드라인M" pitchFamily="18" charset="-127"/>
                <a:cs typeface="+mj-cs"/>
              </a:rPr>
              <a:t>육종가차이</a:t>
            </a:r>
            <a:r>
              <a:rPr kumimoji="0" lang="ko-KR" altLang="en-US" sz="3200" b="1" kern="0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HY헤드라인M" pitchFamily="18" charset="-127"/>
                <a:ea typeface="HY헤드라인M" pitchFamily="18" charset="-127"/>
                <a:cs typeface="+mj-cs"/>
              </a:rPr>
              <a:t> </a:t>
            </a:r>
            <a:r>
              <a:rPr kumimoji="0" lang="en-US" altLang="ko-KR" sz="3200" b="1" kern="0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HY헤드라인M" pitchFamily="18" charset="-127"/>
                <a:ea typeface="HY헤드라인M" pitchFamily="18" charset="-127"/>
                <a:cs typeface="+mj-cs"/>
              </a:rPr>
              <a:t>(</a:t>
            </a:r>
            <a:r>
              <a:rPr lang="ko-KR" altLang="en-US" sz="3200" b="1" kern="0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HY헤드라인M" pitchFamily="18" charset="-127"/>
                <a:ea typeface="HY헤드라인M" pitchFamily="18" charset="-127"/>
                <a:cs typeface="+mj-cs"/>
              </a:rPr>
              <a:t>예시</a:t>
            </a:r>
            <a:r>
              <a:rPr lang="en-US" altLang="ko-KR" sz="3200" b="1" kern="0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gradFill rotWithShape="1">
                  <a:gsLst>
                    <a:gs pos="0">
                      <a:srgbClr val="000000">
                        <a:tint val="92000"/>
                        <a:shade val="100000"/>
                        <a:satMod val="150000"/>
                      </a:srgbClr>
                    </a:gs>
                    <a:gs pos="49000">
                      <a:srgbClr val="000000">
                        <a:tint val="89000"/>
                        <a:shade val="90000"/>
                        <a:satMod val="150000"/>
                      </a:srgbClr>
                    </a:gs>
                    <a:gs pos="50000">
                      <a:srgbClr val="000000">
                        <a:tint val="100000"/>
                        <a:shade val="75000"/>
                        <a:satMod val="150000"/>
                      </a:srgbClr>
                    </a:gs>
                    <a:gs pos="95000">
                      <a:srgbClr val="000000">
                        <a:shade val="47000"/>
                        <a:satMod val="150000"/>
                      </a:srgbClr>
                    </a:gs>
                    <a:gs pos="100000">
                      <a:srgbClr val="000000">
                        <a:shade val="39000"/>
                        <a:satMod val="150000"/>
                      </a:srgbClr>
                    </a:gs>
                  </a:gsLst>
                  <a:lin ang="5400000"/>
                </a:gradFill>
                <a:effectLst>
                  <a:outerShdw blurRad="50800" algn="tl" rotWithShape="0">
                    <a:srgbClr val="000000"/>
                  </a:outerShdw>
                </a:effectLst>
                <a:latin typeface="HY헤드라인M" pitchFamily="18" charset="-127"/>
                <a:ea typeface="HY헤드라인M" pitchFamily="18" charset="-127"/>
                <a:cs typeface="+mj-cs"/>
              </a:rPr>
              <a:t>)</a:t>
            </a:r>
            <a:endParaRPr kumimoji="0" lang="ko-KR" altLang="en-US" sz="3200" b="1" kern="0" dirty="0">
              <a:ln w="17780" cmpd="sng">
                <a:solidFill>
                  <a:srgbClr val="FFFFFF"/>
                </a:solidFill>
                <a:prstDash val="solid"/>
                <a:miter lim="800000"/>
              </a:ln>
              <a:gradFill rotWithShape="1">
                <a:gsLst>
                  <a:gs pos="0">
                    <a:srgbClr val="000000">
                      <a:tint val="92000"/>
                      <a:shade val="100000"/>
                      <a:satMod val="150000"/>
                    </a:srgbClr>
                  </a:gs>
                  <a:gs pos="49000">
                    <a:srgbClr val="000000">
                      <a:tint val="89000"/>
                      <a:shade val="90000"/>
                      <a:satMod val="150000"/>
                    </a:srgbClr>
                  </a:gs>
                  <a:gs pos="50000">
                    <a:srgbClr val="000000">
                      <a:tint val="100000"/>
                      <a:shade val="75000"/>
                      <a:satMod val="150000"/>
                    </a:srgbClr>
                  </a:gs>
                  <a:gs pos="95000">
                    <a:srgbClr val="000000">
                      <a:shade val="47000"/>
                      <a:satMod val="150000"/>
                    </a:srgbClr>
                  </a:gs>
                  <a:gs pos="100000">
                    <a:srgbClr val="000000">
                      <a:shade val="39000"/>
                      <a:satMod val="150000"/>
                    </a:srgbClr>
                  </a:gs>
                </a:gsLst>
                <a:lin ang="5400000"/>
              </a:gradFill>
              <a:effectLst>
                <a:outerShdw blurRad="50800" algn="tl" rotWithShape="0">
                  <a:srgbClr val="000000"/>
                </a:outerShdw>
              </a:effectLst>
              <a:latin typeface="HY헤드라인M" pitchFamily="18" charset="-127"/>
              <a:ea typeface="HY헤드라인M" pitchFamily="18" charset="-127"/>
              <a:cs typeface="+mj-cs"/>
            </a:endParaRPr>
          </a:p>
        </p:txBody>
      </p:sp>
      <p:sp>
        <p:nvSpPr>
          <p:cNvPr id="138250" name="TextBox 354"/>
          <p:cNvSpPr txBox="1">
            <a:spLocks noChangeArrowheads="1"/>
          </p:cNvSpPr>
          <p:nvPr/>
        </p:nvSpPr>
        <p:spPr bwMode="auto">
          <a:xfrm>
            <a:off x="306388" y="1844689"/>
            <a:ext cx="10261600" cy="5308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08" tIns="45505" rIns="91008" bIns="45505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0"/>
              </a:spcBef>
              <a:buFont typeface="Wingdings" pitchFamily="2" charset="2"/>
              <a:buChar char="§"/>
            </a:pPr>
            <a:r>
              <a:rPr lang="ko-KR" altLang="en-US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2400" dirty="0" err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육종가코드</a:t>
            </a:r>
            <a:r>
              <a:rPr lang="en-US" altLang="ko-KR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(ABCD) : </a:t>
            </a:r>
            <a:r>
              <a:rPr lang="ko-KR" altLang="en-US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평가 집단의 </a:t>
            </a:r>
            <a:r>
              <a:rPr lang="ko-KR" altLang="en-US" sz="2400" dirty="0" smtClean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유전능력에서 </a:t>
            </a:r>
            <a:r>
              <a:rPr lang="ko-KR" altLang="en-US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개체의 상대적 </a:t>
            </a:r>
            <a:endParaRPr lang="en-US" altLang="ko-KR" sz="2400" dirty="0">
              <a:solidFill>
                <a:schemeClr val="tx1"/>
              </a:solidFill>
              <a:latin typeface="HY헤드라인M" pitchFamily="18" charset="-127"/>
              <a:ea typeface="HY헤드라인M" pitchFamily="18" charset="-127"/>
            </a:endParaRP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en-US" altLang="ko-KR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                             </a:t>
            </a:r>
            <a:r>
              <a:rPr lang="ko-KR" altLang="en-US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유전능력의 위치를 뜻함</a:t>
            </a:r>
            <a:r>
              <a:rPr lang="en-US" altLang="ko-KR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.</a:t>
            </a: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Font typeface="Wingdings" pitchFamily="2" charset="2"/>
              <a:buChar char="§"/>
            </a:pPr>
            <a:r>
              <a:rPr lang="en-US" altLang="ko-KR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앞의 예시에서</a:t>
            </a:r>
            <a:r>
              <a:rPr lang="en-US" altLang="ko-KR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잘못된 혈통정보</a:t>
            </a:r>
            <a:r>
              <a:rPr lang="en-US" altLang="ko-KR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(</a:t>
            </a:r>
            <a:r>
              <a:rPr lang="ko-KR" altLang="en-US" sz="2400" dirty="0">
                <a:solidFill>
                  <a:srgbClr val="C00000"/>
                </a:solidFill>
                <a:latin typeface="HY헤드라인M" pitchFamily="18" charset="-127"/>
                <a:ea typeface="HY헤드라인M" pitchFamily="18" charset="-127"/>
              </a:rPr>
              <a:t>아비오류</a:t>
            </a:r>
            <a:r>
              <a:rPr lang="en-US" altLang="ko-KR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)</a:t>
            </a:r>
            <a:r>
              <a:rPr lang="ko-KR" altLang="en-US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에 의해 자손의 예상 </a:t>
            </a:r>
            <a:r>
              <a:rPr lang="ko-KR" altLang="en-US" sz="2400" dirty="0" err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도체중이</a:t>
            </a:r>
            <a:endParaRPr lang="en-US" altLang="ko-KR" sz="2400" dirty="0">
              <a:solidFill>
                <a:schemeClr val="tx1"/>
              </a:solidFill>
              <a:latin typeface="HY헤드라인M" pitchFamily="18" charset="-127"/>
              <a:ea typeface="HY헤드라인M" pitchFamily="18" charset="-127"/>
            </a:endParaRP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en-US" altLang="ko-KR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  </a:t>
            </a:r>
            <a:r>
              <a:rPr lang="ko-KR" altLang="en-US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en-US" altLang="ko-KR" sz="2400" u="sng" dirty="0">
                <a:solidFill>
                  <a:srgbClr val="C00000"/>
                </a:solidFill>
                <a:latin typeface="HY헤드라인M" pitchFamily="18" charset="-127"/>
                <a:ea typeface="HY헤드라인M" pitchFamily="18" charset="-127"/>
              </a:rPr>
              <a:t>-24kg</a:t>
            </a:r>
            <a:r>
              <a:rPr lang="ko-KR" altLang="en-US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 차이가 발생</a:t>
            </a:r>
            <a:r>
              <a:rPr lang="en-US" altLang="ko-KR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(</a:t>
            </a:r>
            <a:r>
              <a:rPr lang="ko-KR" altLang="en-US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경제적 손실</a:t>
            </a:r>
            <a:r>
              <a:rPr lang="en-US" altLang="ko-KR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)</a:t>
            </a: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Font typeface="Wingdings" pitchFamily="2" charset="2"/>
              <a:buChar char="§"/>
            </a:pPr>
            <a:r>
              <a:rPr lang="en-US" altLang="ko-KR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만약</a:t>
            </a:r>
            <a:r>
              <a:rPr lang="en-US" altLang="ko-KR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, </a:t>
            </a:r>
            <a:r>
              <a:rPr lang="ko-KR" altLang="en-US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평가집단</a:t>
            </a:r>
            <a:r>
              <a:rPr lang="en-US" altLang="ko-KR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(</a:t>
            </a:r>
            <a:r>
              <a:rPr lang="ko-KR" altLang="en-US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자손들</a:t>
            </a:r>
            <a:r>
              <a:rPr lang="en-US" altLang="ko-KR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)</a:t>
            </a:r>
            <a:r>
              <a:rPr lang="ko-KR" altLang="en-US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의 </a:t>
            </a:r>
            <a:r>
              <a:rPr lang="ko-KR" altLang="en-US" sz="2400" dirty="0" err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육종가</a:t>
            </a:r>
            <a:r>
              <a:rPr lang="ko-KR" altLang="en-US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 사분위수가 아래와 같다면</a:t>
            </a:r>
            <a:r>
              <a:rPr lang="en-US" altLang="ko-KR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…</a:t>
            </a: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en-US" altLang="ko-KR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     A</a:t>
            </a:r>
            <a:r>
              <a:rPr lang="ko-KR" altLang="en-US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코드 </a:t>
            </a:r>
            <a:r>
              <a:rPr lang="en-US" altLang="ko-KR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: 10 ≤ </a:t>
            </a:r>
            <a:r>
              <a:rPr lang="ko-KR" altLang="en-US" sz="2400" dirty="0" err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개체육종가</a:t>
            </a:r>
            <a:r>
              <a:rPr lang="ko-KR" altLang="en-US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        </a:t>
            </a:r>
            <a:r>
              <a:rPr lang="en-US" altLang="ko-KR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     B</a:t>
            </a:r>
            <a:r>
              <a:rPr lang="ko-KR" altLang="en-US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코드 </a:t>
            </a:r>
            <a:r>
              <a:rPr lang="en-US" altLang="ko-KR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: 10 &lt; </a:t>
            </a:r>
            <a:r>
              <a:rPr lang="ko-KR" altLang="en-US" sz="2400" dirty="0" err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개체육종가</a:t>
            </a:r>
            <a:r>
              <a:rPr lang="ko-KR" altLang="en-US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en-US" altLang="ko-KR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≤ 5</a:t>
            </a: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en-US" altLang="ko-KR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     C</a:t>
            </a:r>
            <a:r>
              <a:rPr lang="ko-KR" altLang="en-US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코드 </a:t>
            </a:r>
            <a:r>
              <a:rPr lang="en-US" altLang="ko-KR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:   5 &lt; </a:t>
            </a:r>
            <a:r>
              <a:rPr lang="ko-KR" altLang="en-US" sz="2400" dirty="0" err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개체육종가</a:t>
            </a:r>
            <a:r>
              <a:rPr lang="ko-KR" altLang="en-US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en-US" altLang="ko-KR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≤ -10    D</a:t>
            </a:r>
            <a:r>
              <a:rPr lang="ko-KR" altLang="en-US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코드 </a:t>
            </a:r>
            <a:r>
              <a:rPr lang="en-US" altLang="ko-KR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:        </a:t>
            </a:r>
            <a:r>
              <a:rPr lang="ko-KR" altLang="en-US" sz="2400" dirty="0" err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개체육종가</a:t>
            </a:r>
            <a:r>
              <a:rPr lang="ko-KR" altLang="en-US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en-US" altLang="ko-KR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&lt; -10</a:t>
            </a: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endParaRPr lang="en-US" altLang="ko-KR" sz="1000" dirty="0">
              <a:solidFill>
                <a:schemeClr val="tx1"/>
              </a:solidFill>
              <a:latin typeface="HY헤드라인M" pitchFamily="18" charset="-127"/>
              <a:ea typeface="HY헤드라인M" pitchFamily="18" charset="-127"/>
            </a:endParaRP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en-US" altLang="ko-KR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      A</a:t>
            </a:r>
            <a:r>
              <a:rPr lang="ko-KR" altLang="en-US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개체</a:t>
            </a:r>
            <a:r>
              <a:rPr lang="en-US" altLang="ko-KR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(</a:t>
            </a:r>
            <a:r>
              <a:rPr lang="ko-KR" altLang="en-US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아비</a:t>
            </a:r>
            <a:r>
              <a:rPr lang="en-US" altLang="ko-KR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(KPN757)</a:t>
            </a:r>
            <a:r>
              <a:rPr lang="ko-KR" altLang="en-US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기록 정확</a:t>
            </a:r>
            <a:r>
              <a:rPr lang="en-US" altLang="ko-KR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)</a:t>
            </a:r>
            <a:r>
              <a:rPr lang="ko-KR" altLang="en-US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의 </a:t>
            </a:r>
            <a:r>
              <a:rPr lang="ko-KR" altLang="en-US" sz="2400" dirty="0" err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육종가</a:t>
            </a:r>
            <a:r>
              <a:rPr lang="en-US" altLang="ko-KR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(+12kg)</a:t>
            </a:r>
            <a:r>
              <a:rPr lang="ko-KR" altLang="en-US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의 코드 </a:t>
            </a:r>
            <a:r>
              <a:rPr lang="en-US" altLang="ko-KR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= A</a:t>
            </a:r>
          </a:p>
          <a:p>
            <a:pPr eaLnBrk="1" hangingPunct="1">
              <a:lnSpc>
                <a:spcPct val="150000"/>
              </a:lnSpc>
              <a:spcBef>
                <a:spcPct val="0"/>
              </a:spcBef>
              <a:buFontTx/>
              <a:buNone/>
            </a:pPr>
            <a:r>
              <a:rPr lang="en-US" altLang="ko-KR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      B</a:t>
            </a:r>
            <a:r>
              <a:rPr lang="ko-KR" altLang="en-US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개체</a:t>
            </a:r>
            <a:r>
              <a:rPr lang="en-US" altLang="ko-KR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(</a:t>
            </a:r>
            <a:r>
              <a:rPr lang="ko-KR" altLang="en-US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아비</a:t>
            </a:r>
            <a:r>
              <a:rPr lang="en-US" altLang="ko-KR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(KPN700)</a:t>
            </a:r>
            <a:r>
              <a:rPr lang="ko-KR" altLang="en-US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기록 오류</a:t>
            </a:r>
            <a:r>
              <a:rPr lang="en-US" altLang="ko-KR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)</a:t>
            </a:r>
            <a:r>
              <a:rPr lang="ko-KR" altLang="en-US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의 </a:t>
            </a:r>
            <a:r>
              <a:rPr lang="ko-KR" altLang="en-US" sz="2400" dirty="0" err="1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육종가</a:t>
            </a:r>
            <a:r>
              <a:rPr lang="en-US" altLang="ko-KR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( -12kg)</a:t>
            </a:r>
            <a:r>
              <a:rPr lang="ko-KR" altLang="en-US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의</a:t>
            </a:r>
            <a:r>
              <a:rPr lang="en-US" altLang="ko-KR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코드 </a:t>
            </a:r>
            <a:r>
              <a:rPr lang="en-US" altLang="ko-KR" sz="2400" dirty="0">
                <a:solidFill>
                  <a:schemeClr val="tx1"/>
                </a:solidFill>
                <a:latin typeface="HY헤드라인M" pitchFamily="18" charset="-127"/>
                <a:ea typeface="HY헤드라인M" pitchFamily="18" charset="-127"/>
              </a:rPr>
              <a:t>= D</a:t>
            </a:r>
            <a:endParaRPr lang="ko-KR" altLang="en-US" sz="2400" dirty="0">
              <a:solidFill>
                <a:schemeClr val="tx1"/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138251" name="직사각형 355"/>
          <p:cNvSpPr>
            <a:spLocks noChangeArrowheads="1"/>
          </p:cNvSpPr>
          <p:nvPr/>
        </p:nvSpPr>
        <p:spPr bwMode="auto">
          <a:xfrm>
            <a:off x="711204" y="5938838"/>
            <a:ext cx="8821738" cy="1200150"/>
          </a:xfrm>
          <a:prstGeom prst="rect">
            <a:avLst/>
          </a:prstGeom>
          <a:noFill/>
          <a:ln w="44450" algn="ctr">
            <a:solidFill>
              <a:srgbClr val="C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008" tIns="45505" rIns="91008" bIns="45505"/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ko-KR" altLang="en-US" sz="800">
              <a:solidFill>
                <a:schemeClr val="tx1"/>
              </a:solidFill>
              <a:latin typeface="Trebuchet MS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961067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926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6529" y="1035050"/>
            <a:ext cx="7515225" cy="5087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4401624" y="2790521"/>
            <a:ext cx="1665185" cy="1107996"/>
          </a:xfrm>
          <a:prstGeom prst="rect">
            <a:avLst/>
          </a:prstGeom>
          <a:noFill/>
        </p:spPr>
        <p:txBody>
          <a:bodyPr lIns="91040" tIns="45521" rIns="91040" bIns="45521">
            <a:spAutoFit/>
          </a:bodyPr>
          <a:lstStyle/>
          <a:p>
            <a:pPr>
              <a:defRPr/>
            </a:pPr>
            <a:r>
              <a:rPr lang="en-US" altLang="ko-KR" sz="6600" b="1" i="1" spc="50" dirty="0">
                <a:ln w="13500">
                  <a:solidFill>
                    <a:schemeClr val="accent1">
                      <a:shade val="2500"/>
                      <a:alpha val="6500"/>
                    </a:schemeClr>
                  </a:solidFill>
                  <a:prstDash val="solid"/>
                </a:ln>
                <a:solidFill>
                  <a:schemeClr val="accent1">
                    <a:tint val="3000"/>
                    <a:alpha val="95000"/>
                  </a:schemeClr>
                </a:solidFill>
                <a:effectLst>
                  <a:innerShdw blurRad="114300">
                    <a:prstClr val="black"/>
                  </a:innerShdw>
                </a:effectLst>
                <a:latin typeface="HY견고딕" panose="02030600000101010101" pitchFamily="18" charset="-127"/>
                <a:ea typeface="HY견고딕" panose="02030600000101010101" pitchFamily="18" charset="-127"/>
              </a:rPr>
              <a:t>35</a:t>
            </a:r>
            <a:endParaRPr lang="ko-KR" altLang="en-US" sz="6600" b="1" i="1" spc="50" dirty="0">
              <a:ln w="13500">
                <a:solidFill>
                  <a:schemeClr val="accent1">
                    <a:shade val="2500"/>
                    <a:alpha val="6500"/>
                  </a:schemeClr>
                </a:solidFill>
                <a:prstDash val="solid"/>
              </a:ln>
              <a:solidFill>
                <a:schemeClr val="accent1">
                  <a:tint val="3000"/>
                  <a:alpha val="95000"/>
                </a:schemeClr>
              </a:solidFill>
              <a:effectLst>
                <a:innerShdw blurRad="114300">
                  <a:prstClr val="black"/>
                </a:innerShdw>
              </a:effectLst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sp>
        <p:nvSpPr>
          <p:cNvPr id="3" name="직사각형 2"/>
          <p:cNvSpPr/>
          <p:nvPr/>
        </p:nvSpPr>
        <p:spPr bwMode="auto">
          <a:xfrm>
            <a:off x="1206499" y="6345243"/>
            <a:ext cx="8595695" cy="830595"/>
          </a:xfrm>
          <a:prstGeom prst="rect">
            <a:avLst/>
          </a:prstGeom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lIns="91040" tIns="45521" rIns="91040" bIns="45521">
            <a:spAutoFit/>
          </a:bodyPr>
          <a:lstStyle/>
          <a:p>
            <a:pPr marL="455179" indent="-455179">
              <a:buFont typeface="Wingdings" panose="05000000000000000000" pitchFamily="2" charset="2"/>
              <a:buChar char="ü"/>
              <a:defRPr/>
            </a:pPr>
            <a:r>
              <a:rPr lang="ko-KR" altLang="en-US" sz="2400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송아지 </a:t>
            </a:r>
            <a:r>
              <a:rPr lang="ko-KR" altLang="en-US" sz="2400" dirty="0" err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목띠</a:t>
            </a:r>
            <a:r>
              <a:rPr lang="ko-KR" altLang="en-US" sz="2400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부착으로 </a:t>
            </a:r>
            <a:r>
              <a:rPr lang="en-US" altLang="ko-KR" sz="2400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(</a:t>
            </a:r>
            <a:r>
              <a:rPr lang="ko-KR" altLang="en-US" sz="2400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모 부정 사전예방</a:t>
            </a:r>
            <a:r>
              <a:rPr lang="en-US" altLang="ko-KR" sz="2400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)</a:t>
            </a:r>
          </a:p>
          <a:p>
            <a:pPr marL="455179" indent="-455179">
              <a:buFont typeface="Wingdings" panose="05000000000000000000" pitchFamily="2" charset="2"/>
              <a:buChar char="ü"/>
              <a:defRPr/>
            </a:pPr>
            <a:r>
              <a:rPr lang="ko-KR" altLang="en-US" sz="2400" dirty="0" smtClean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한우조합 </a:t>
            </a:r>
            <a:r>
              <a:rPr lang="ko-KR" altLang="en-US" sz="2400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직원이 </a:t>
            </a:r>
            <a:r>
              <a:rPr lang="ko-KR" altLang="en-US" sz="2400" dirty="0" err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이표를</a:t>
            </a:r>
            <a:r>
              <a:rPr lang="ko-KR" altLang="en-US" sz="2400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</a:t>
            </a:r>
            <a:r>
              <a:rPr lang="ko-KR" altLang="en-US" sz="2400" dirty="0" err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찍을때</a:t>
            </a:r>
            <a:r>
              <a:rPr lang="ko-KR" altLang="en-US" sz="2400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 어미를 확실히 </a:t>
            </a:r>
            <a:r>
              <a:rPr lang="ko-KR" altLang="en-US" sz="2400" dirty="0" err="1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알려줄것</a:t>
            </a:r>
            <a:r>
              <a:rPr lang="en-US" altLang="ko-KR" sz="2400" dirty="0">
                <a:solidFill>
                  <a:schemeClr val="tx1"/>
                </a:solidFill>
                <a:latin typeface="HY헤드라인M" panose="02030600000101010101" pitchFamily="18" charset="-127"/>
                <a:ea typeface="HY헤드라인M" panose="02030600000101010101" pitchFamily="18" charset="-127"/>
              </a:rPr>
              <a:t>.</a:t>
            </a:r>
            <a:endParaRPr lang="ko-KR" altLang="en-US" sz="2400" dirty="0">
              <a:solidFill>
                <a:schemeClr val="tx1"/>
              </a:solidFill>
              <a:latin typeface="HY헤드라인M" panose="02030600000101010101" pitchFamily="18" charset="-127"/>
              <a:ea typeface="HY헤드라인M" panose="02030600000101010101" pitchFamily="18" charset="-127"/>
            </a:endParaRPr>
          </a:p>
        </p:txBody>
      </p:sp>
      <p:sp>
        <p:nvSpPr>
          <p:cNvPr id="5" name="AutoShape 6"/>
          <p:cNvSpPr>
            <a:spLocks noChangeArrowheads="1"/>
          </p:cNvSpPr>
          <p:nvPr/>
        </p:nvSpPr>
        <p:spPr bwMode="auto">
          <a:xfrm>
            <a:off x="306141" y="315246"/>
            <a:ext cx="4095454" cy="540060"/>
          </a:xfrm>
          <a:prstGeom prst="roundRect">
            <a:avLst>
              <a:gd name="adj" fmla="val 24792"/>
            </a:avLst>
          </a:prstGeom>
          <a:solidFill>
            <a:srgbClr val="F5A70B"/>
          </a:solidFill>
          <a:ln w="9525">
            <a:noFill/>
            <a:round/>
            <a:headEnd/>
            <a:tailEnd/>
          </a:ln>
          <a:effectLst>
            <a:outerShdw dist="35921" dir="2700000" algn="ctr" rotWithShape="0">
              <a:srgbClr val="A17813"/>
            </a:outerShdw>
          </a:effectLst>
        </p:spPr>
        <p:txBody>
          <a:bodyPr wrap="none" lIns="91008" tIns="45505" rIns="91008" bIns="45505" anchor="ctr"/>
          <a:lstStyle/>
          <a:p>
            <a:pPr algn="ctr">
              <a:defRPr/>
            </a:pPr>
            <a:r>
              <a:rPr lang="ko-KR" altLang="en-US" sz="22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어미</a:t>
            </a:r>
            <a:r>
              <a:rPr lang="en-US" altLang="ko-KR" sz="22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(</a:t>
            </a:r>
            <a:r>
              <a:rPr lang="ko-KR" altLang="en-US" sz="22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모</a:t>
            </a:r>
            <a:r>
              <a:rPr lang="en-US" altLang="ko-KR" sz="22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) </a:t>
            </a:r>
            <a:r>
              <a:rPr lang="ko-KR" altLang="en-US" sz="22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부정 예방법</a:t>
            </a:r>
            <a:endParaRPr lang="ko-KR" altLang="ko-KR" sz="22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1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4" name="대각선 줄무늬 3"/>
          <p:cNvSpPr/>
          <p:nvPr/>
        </p:nvSpPr>
        <p:spPr bwMode="auto">
          <a:xfrm rot="614228">
            <a:off x="3755344" y="3126702"/>
            <a:ext cx="312100" cy="255648"/>
          </a:xfrm>
          <a:prstGeom prst="diagStripe">
            <a:avLst>
              <a:gd name="adj" fmla="val 55026"/>
            </a:avLst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ysDash"/>
            <a:round/>
            <a:headEnd type="none" w="med" len="med"/>
            <a:tailEnd type="none" w="med" len="med"/>
          </a:ln>
          <a:effectLst/>
        </p:spPr>
        <p:txBody>
          <a:bodyPr vert="horz" wrap="square" lIns="91040" tIns="45521" rIns="91040" bIns="45521" numCol="1" rtlCol="0" anchor="t" anchorCtr="0" compatLnSpc="1">
            <a:prstTxWarp prst="textNoShape">
              <a:avLst/>
            </a:prstTxWarp>
            <a:spAutoFit/>
          </a:bodyPr>
          <a:lstStyle/>
          <a:p>
            <a:pPr marL="455179" indent="-455179" defTabSz="910365"/>
            <a:endParaRPr lang="ko-KR" altLang="en-US" sz="700"/>
          </a:p>
        </p:txBody>
      </p:sp>
    </p:spTree>
    <p:extLst>
      <p:ext uri="{BB962C8B-B14F-4D97-AF65-F5344CB8AC3E}">
        <p14:creationId xmlns:p14="http://schemas.microsoft.com/office/powerpoint/2010/main" val="22087750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90" name="Rectangle 2"/>
          <p:cNvSpPr>
            <a:spLocks noChangeArrowheads="1"/>
          </p:cNvSpPr>
          <p:nvPr/>
        </p:nvSpPr>
        <p:spPr bwMode="auto">
          <a:xfrm>
            <a:off x="16" y="121088"/>
            <a:ext cx="183923" cy="2150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040" tIns="45521" rIns="91040" bIns="45521" anchor="ctr">
            <a:spAutoFit/>
          </a:bodyPr>
          <a:lstStyle/>
          <a:p>
            <a:endParaRPr lang="ko-KR" altLang="en-US"/>
          </a:p>
        </p:txBody>
      </p:sp>
      <p:grpSp>
        <p:nvGrpSpPr>
          <p:cNvPr id="140291" name="그룹 3"/>
          <p:cNvGrpSpPr>
            <a:grpSpLocks/>
          </p:cNvGrpSpPr>
          <p:nvPr/>
        </p:nvGrpSpPr>
        <p:grpSpPr bwMode="auto">
          <a:xfrm>
            <a:off x="5095875" y="436563"/>
            <a:ext cx="4768849" cy="6859587"/>
            <a:chOff x="2871425" y="315246"/>
            <a:chExt cx="4768850" cy="6859588"/>
          </a:xfrm>
        </p:grpSpPr>
        <p:pic>
          <p:nvPicPr>
            <p:cNvPr id="140296" name="_x104099760" descr="EMB00001ad44606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71425" y="315246"/>
              <a:ext cx="4768850" cy="68595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0297" name="직사각형 2"/>
            <p:cNvSpPr>
              <a:spLocks noChangeArrowheads="1"/>
            </p:cNvSpPr>
            <p:nvPr/>
          </p:nvSpPr>
          <p:spPr bwMode="auto">
            <a:xfrm>
              <a:off x="3996550" y="3195566"/>
              <a:ext cx="540060" cy="203603"/>
            </a:xfrm>
            <a:prstGeom prst="rect">
              <a:avLst/>
            </a:prstGeom>
            <a:noFill/>
            <a:ln w="28575" algn="ctr">
              <a:solidFill>
                <a:srgbClr val="FF0000"/>
              </a:solidFill>
              <a:prstDash val="sys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>
              <a:spAutoFit/>
            </a:bodyPr>
            <a:lstStyle>
              <a:lvl1pPr marL="457200" indent="-457200" eaLnBrk="0" hangingPunct="0">
                <a:spcBef>
                  <a:spcPct val="20000"/>
                </a:spcBef>
                <a:buChar char="•"/>
                <a:defRPr kumimoji="1" sz="1700">
                  <a:solidFill>
                    <a:schemeClr val="bg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1pPr>
              <a:lvl2pPr marL="806450" indent="-309563" eaLnBrk="0" hangingPunct="0">
                <a:spcBef>
                  <a:spcPct val="20000"/>
                </a:spcBef>
                <a:buChar char="–"/>
                <a:defRPr kumimoji="1" sz="3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2pPr>
              <a:lvl3pPr marL="1243013" indent="-246063" eaLnBrk="0" hangingPunct="0">
                <a:spcBef>
                  <a:spcPct val="20000"/>
                </a:spcBef>
                <a:buChar char="•"/>
                <a:defRPr kumimoji="1" sz="2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3pPr>
              <a:lvl4pPr marL="1739900" indent="-246063" eaLnBrk="0" hangingPunct="0">
                <a:spcBef>
                  <a:spcPct val="20000"/>
                </a:spcBef>
                <a:buChar char="–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4pPr>
              <a:lvl5pPr marL="2238375" indent="-246063" eaLnBrk="0" hangingPunct="0">
                <a:spcBef>
                  <a:spcPct val="20000"/>
                </a:spcBef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5pPr>
              <a:lvl6pPr marL="2695575" indent="-246063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6pPr>
              <a:lvl7pPr marL="3152775" indent="-246063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7pPr>
              <a:lvl8pPr marL="3609975" indent="-246063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8pPr>
              <a:lvl9pPr marL="4067175" indent="-246063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700">
                <a:solidFill>
                  <a:schemeClr val="tx1"/>
                </a:solidFill>
                <a:latin typeface="Trebuchet MS" pitchFamily="34" charset="0"/>
              </a:endParaRPr>
            </a:p>
          </p:txBody>
        </p:sp>
        <p:sp>
          <p:nvSpPr>
            <p:cNvPr id="140298" name="직사각형 4"/>
            <p:cNvSpPr>
              <a:spLocks noChangeArrowheads="1"/>
            </p:cNvSpPr>
            <p:nvPr/>
          </p:nvSpPr>
          <p:spPr bwMode="auto">
            <a:xfrm>
              <a:off x="3563975" y="4275686"/>
              <a:ext cx="3447910" cy="203603"/>
            </a:xfrm>
            <a:prstGeom prst="rect">
              <a:avLst/>
            </a:prstGeom>
            <a:noFill/>
            <a:ln w="28575" algn="ctr">
              <a:solidFill>
                <a:srgbClr val="FF0000"/>
              </a:solidFill>
              <a:prstDash val="sysDash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>
              <a:spAutoFit/>
            </a:bodyPr>
            <a:lstStyle>
              <a:lvl1pPr marL="457200" indent="-457200" eaLnBrk="0" hangingPunct="0">
                <a:spcBef>
                  <a:spcPct val="20000"/>
                </a:spcBef>
                <a:buChar char="•"/>
                <a:defRPr kumimoji="1" sz="1700">
                  <a:solidFill>
                    <a:schemeClr val="bg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1pPr>
              <a:lvl2pPr marL="806450" indent="-309563" eaLnBrk="0" hangingPunct="0">
                <a:spcBef>
                  <a:spcPct val="20000"/>
                </a:spcBef>
                <a:buChar char="–"/>
                <a:defRPr kumimoji="1" sz="30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2pPr>
              <a:lvl3pPr marL="1243013" indent="-246063" eaLnBrk="0" hangingPunct="0">
                <a:spcBef>
                  <a:spcPct val="20000"/>
                </a:spcBef>
                <a:buChar char="•"/>
                <a:defRPr kumimoji="1" sz="26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3pPr>
              <a:lvl4pPr marL="1739900" indent="-246063" eaLnBrk="0" hangingPunct="0">
                <a:spcBef>
                  <a:spcPct val="20000"/>
                </a:spcBef>
                <a:buChar char="–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4pPr>
              <a:lvl5pPr marL="2238375" indent="-246063" eaLnBrk="0" hangingPunct="0">
                <a:spcBef>
                  <a:spcPct val="20000"/>
                </a:spcBef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5pPr>
              <a:lvl6pPr marL="2695575" indent="-246063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6pPr>
              <a:lvl7pPr marL="3152775" indent="-246063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7pPr>
              <a:lvl8pPr marL="3609975" indent="-246063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8pPr>
              <a:lvl9pPr marL="4067175" indent="-246063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kumimoji="1" sz="2200">
                  <a:solidFill>
                    <a:schemeClr val="tx1"/>
                  </a:solidFill>
                  <a:latin typeface="굴림" pitchFamily="50" charset="-127"/>
                  <a:ea typeface="굴림" pitchFamily="50" charset="-127"/>
                  <a:cs typeface="Arial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endParaRPr lang="ko-KR" altLang="en-US" sz="700">
                <a:solidFill>
                  <a:schemeClr val="tx1"/>
                </a:solidFill>
                <a:latin typeface="Trebuchet MS" pitchFamily="34" charset="0"/>
              </a:endParaRPr>
            </a:p>
          </p:txBody>
        </p:sp>
      </p:grpSp>
      <p:pic>
        <p:nvPicPr>
          <p:cNvPr id="140292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2038" y="1284288"/>
            <a:ext cx="2990849" cy="292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7" name="직선 화살표 연결선 6"/>
          <p:cNvCxnSpPr>
            <a:endCxn id="140297" idx="1"/>
          </p:cNvCxnSpPr>
          <p:nvPr/>
        </p:nvCxnSpPr>
        <p:spPr bwMode="auto">
          <a:xfrm>
            <a:off x="3251202" y="2643188"/>
            <a:ext cx="2969799" cy="775496"/>
          </a:xfrm>
          <a:prstGeom prst="straightConnector1">
            <a:avLst/>
          </a:prstGeom>
          <a:ln>
            <a:solidFill>
              <a:srgbClr val="FF0000"/>
            </a:solidFill>
            <a:headEnd type="none" w="med" len="med"/>
            <a:tailEnd type="arrow"/>
          </a:ln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40294" name="직사각형 9"/>
          <p:cNvSpPr>
            <a:spLocks noChangeArrowheads="1"/>
          </p:cNvSpPr>
          <p:nvPr/>
        </p:nvSpPr>
        <p:spPr bwMode="auto">
          <a:xfrm>
            <a:off x="2060575" y="2428890"/>
            <a:ext cx="1185863" cy="199653"/>
          </a:xfrm>
          <a:prstGeom prst="rect">
            <a:avLst/>
          </a:prstGeom>
          <a:noFill/>
          <a:ln w="28575" algn="ctr">
            <a:solidFill>
              <a:srgbClr val="FF0000"/>
            </a:solidFill>
            <a:prstDash val="sys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91040" tIns="45521" rIns="91040" bIns="45521">
            <a:spAutoFit/>
          </a:bodyPr>
          <a:lstStyle>
            <a:lvl1pPr marL="457200" indent="-457200"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806450" indent="-309563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243013" indent="-246063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739900" indent="-246063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238375" indent="-246063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695575" indent="-2460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3152775" indent="-2460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609975" indent="-2460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4067175" indent="-246063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ko-KR" altLang="en-US" sz="700">
              <a:solidFill>
                <a:schemeClr val="tx1"/>
              </a:solidFill>
              <a:latin typeface="Trebuchet MS" pitchFamily="34" charset="0"/>
            </a:endParaRPr>
          </a:p>
        </p:txBody>
      </p:sp>
      <p:sp>
        <p:nvSpPr>
          <p:cNvPr id="10" name="AutoShape 6"/>
          <p:cNvSpPr>
            <a:spLocks noChangeArrowheads="1"/>
          </p:cNvSpPr>
          <p:nvPr/>
        </p:nvSpPr>
        <p:spPr bwMode="auto">
          <a:xfrm>
            <a:off x="306141" y="315246"/>
            <a:ext cx="4095454" cy="540060"/>
          </a:xfrm>
          <a:prstGeom prst="roundRect">
            <a:avLst>
              <a:gd name="adj" fmla="val 24792"/>
            </a:avLst>
          </a:prstGeom>
          <a:solidFill>
            <a:srgbClr val="F5A70B"/>
          </a:solidFill>
          <a:ln w="9525">
            <a:noFill/>
            <a:round/>
            <a:headEnd/>
            <a:tailEnd/>
          </a:ln>
          <a:effectLst>
            <a:outerShdw dist="35921" dir="2700000" algn="ctr" rotWithShape="0">
              <a:srgbClr val="A17813"/>
            </a:outerShdw>
          </a:effectLst>
        </p:spPr>
        <p:txBody>
          <a:bodyPr wrap="none" lIns="91008" tIns="45505" rIns="91008" bIns="45505" anchor="ctr"/>
          <a:lstStyle/>
          <a:p>
            <a:pPr algn="ctr">
              <a:defRPr/>
            </a:pPr>
            <a:r>
              <a:rPr lang="ko-KR" altLang="en-US" sz="22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아비</a:t>
            </a:r>
            <a:r>
              <a:rPr lang="en-US" altLang="ko-KR" sz="22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(</a:t>
            </a:r>
            <a:r>
              <a:rPr lang="ko-KR" altLang="en-US" sz="22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부</a:t>
            </a:r>
            <a:r>
              <a:rPr lang="en-US" altLang="ko-KR" sz="22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) </a:t>
            </a:r>
            <a:r>
              <a:rPr lang="ko-KR" altLang="en-US" sz="2200" b="1" dirty="0">
                <a:ln w="12700">
                  <a:solidFill>
                    <a:schemeClr val="tx2">
                      <a:satMod val="155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outerShdw blurRad="41275" dist="20320" dir="1800000" algn="tl" rotWithShape="0">
                    <a:srgbClr val="000000">
                      <a:alpha val="40000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부정 예방법</a:t>
            </a:r>
            <a:endParaRPr lang="ko-KR" altLang="ko-KR" sz="2200" b="1" dirty="0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1"/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  <a:latin typeface="HY견고딕" pitchFamily="18" charset="-127"/>
              <a:ea typeface="HY견고딕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427472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0" y="0"/>
          <a:ext cx="10693400" cy="757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7238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T="45672" marB="4567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136196" name="Rectangle 1"/>
          <p:cNvSpPr>
            <a:spLocks noChangeArrowheads="1"/>
          </p:cNvSpPr>
          <p:nvPr/>
        </p:nvSpPr>
        <p:spPr bwMode="auto">
          <a:xfrm>
            <a:off x="17" y="121106"/>
            <a:ext cx="183858" cy="215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08" tIns="45505" rIns="91008" bIns="45505" anchor="ctr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ko-KR" altLang="en-US" sz="800">
              <a:solidFill>
                <a:schemeClr val="tx1"/>
              </a:solidFill>
              <a:latin typeface="Trebuchet MS" pitchFamily="34" charset="0"/>
            </a:endParaRPr>
          </a:p>
        </p:txBody>
      </p:sp>
      <p:sp>
        <p:nvSpPr>
          <p:cNvPr id="136197" name="Rectangle 2"/>
          <p:cNvSpPr>
            <a:spLocks noChangeArrowheads="1"/>
          </p:cNvSpPr>
          <p:nvPr/>
        </p:nvSpPr>
        <p:spPr bwMode="auto">
          <a:xfrm>
            <a:off x="17" y="121106"/>
            <a:ext cx="183858" cy="215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08" tIns="45505" rIns="91008" bIns="45505" anchor="ctr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ko-KR" altLang="en-US" sz="800">
              <a:solidFill>
                <a:schemeClr val="tx1"/>
              </a:solidFill>
              <a:latin typeface="Trebuchet MS" pitchFamily="34" charset="0"/>
            </a:endParaRPr>
          </a:p>
        </p:txBody>
      </p:sp>
      <p:sp>
        <p:nvSpPr>
          <p:cNvPr id="6" name="Rectangle 4"/>
          <p:cNvSpPr txBox="1">
            <a:spLocks noChangeArrowheads="1"/>
          </p:cNvSpPr>
          <p:nvPr/>
        </p:nvSpPr>
        <p:spPr bwMode="auto">
          <a:xfrm>
            <a:off x="1467196" y="2970547"/>
            <a:ext cx="7794971" cy="1710086"/>
          </a:xfrm>
          <a:prstGeom prst="rect">
            <a:avLst/>
          </a:prstGeom>
          <a:solidFill>
            <a:srgbClr val="0000FF"/>
          </a:solidFill>
          <a:ln w="9525">
            <a:noFill/>
            <a:miter lim="800000"/>
            <a:headEnd/>
            <a:tailEnd/>
          </a:ln>
          <a:effectLst>
            <a:outerShdw dist="17961" dir="2700000" algn="ctr" rotWithShape="0">
              <a:srgbClr val="FFFFFF"/>
            </a:outerShdw>
          </a:effectLst>
        </p:spPr>
        <p:txBody>
          <a:bodyPr lIns="91008" tIns="45505" rIns="91008" bIns="45505" anchor="ctr"/>
          <a:lstStyle/>
          <a:p>
            <a:pPr algn="ctr">
              <a:defRPr/>
            </a:pPr>
            <a:r>
              <a:rPr kumimoji="0" lang="ko-KR" altLang="en-US" sz="4000" kern="0" dirty="0" smtClean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solidFill>
                  <a:schemeClr val="bg1"/>
                </a:solidFill>
                <a:latin typeface="HY헤드라인M" pitchFamily="18" charset="-127"/>
                <a:ea typeface="HY헤드라인M" pitchFamily="18" charset="-127"/>
                <a:cs typeface="+mj-cs"/>
              </a:rPr>
              <a:t>컨설팅 자료의 활용법</a:t>
            </a:r>
            <a:endParaRPr kumimoji="0" lang="ko-KR" altLang="en-US" sz="4000" kern="0" dirty="0">
              <a:ln w="17780" cmpd="sng">
                <a:solidFill>
                  <a:srgbClr val="FFFFFF"/>
                </a:solidFill>
                <a:prstDash val="solid"/>
                <a:miter lim="800000"/>
              </a:ln>
              <a:solidFill>
                <a:schemeClr val="bg1"/>
              </a:solidFill>
              <a:latin typeface="HY헤드라인M" pitchFamily="18" charset="-127"/>
              <a:ea typeface="HY헤드라인M" pitchFamily="18" charset="-127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9742446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0" y="0"/>
          <a:ext cx="10693400" cy="7580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8032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6" y="121088"/>
            <a:ext cx="183923" cy="215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040" tIns="45521" rIns="91040" bIns="45521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16" y="121088"/>
            <a:ext cx="183923" cy="215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040" tIns="45521" rIns="91040" bIns="45521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10" name="Rectangle 3"/>
          <p:cNvSpPr txBox="1">
            <a:spLocks noChangeArrowheads="1"/>
          </p:cNvSpPr>
          <p:nvPr/>
        </p:nvSpPr>
        <p:spPr>
          <a:xfrm>
            <a:off x="6696850" y="6973676"/>
            <a:ext cx="5326062" cy="587375"/>
          </a:xfrm>
          <a:prstGeom prst="rect">
            <a:avLst/>
          </a:prstGeom>
        </p:spPr>
        <p:txBody>
          <a:bodyPr vert="horz" lIns="91040" tIns="45521" rIns="91040" bIns="45521" rtlCol="0">
            <a:normAutofit/>
          </a:bodyPr>
          <a:lstStyle/>
          <a:p>
            <a:pPr algn="ctr" defTabSz="910365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ko-KR" altLang="en-US" sz="2100" dirty="0">
                <a:solidFill>
                  <a:sysClr val="windowText" lastClr="000000">
                    <a:tint val="75000"/>
                  </a:sysClr>
                </a:solidFill>
                <a:latin typeface="HY헤드라인M" pitchFamily="18" charset="-127"/>
                <a:ea typeface="HY헤드라인M" pitchFamily="18" charset="-127"/>
              </a:rPr>
              <a:t>한국종축개량협회</a:t>
            </a:r>
            <a:endParaRPr kumimoji="0" lang="en-US" altLang="ko-KR" sz="2100" dirty="0">
              <a:solidFill>
                <a:sysClr val="windowText" lastClr="000000">
                  <a:tint val="75000"/>
                </a:sysClr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7" name="모서리가 둥근 직사각형 33"/>
          <p:cNvSpPr>
            <a:spLocks noChangeArrowheads="1"/>
          </p:cNvSpPr>
          <p:nvPr/>
        </p:nvSpPr>
        <p:spPr bwMode="auto">
          <a:xfrm>
            <a:off x="9203" y="175816"/>
            <a:ext cx="5472608" cy="576262"/>
          </a:xfrm>
          <a:prstGeom prst="roundRect">
            <a:avLst>
              <a:gd name="adj" fmla="val 16667"/>
            </a:avLst>
          </a:prstGeom>
          <a:noFill/>
          <a:ln w="12700" cap="rnd" algn="ctr">
            <a:noFill/>
            <a:round/>
            <a:headEnd/>
            <a:tailEnd type="triangle" w="med" len="med"/>
          </a:ln>
        </p:spPr>
        <p:txBody>
          <a:bodyPr anchor="ctr"/>
          <a:lstStyle/>
          <a:p>
            <a:pPr algn="dist">
              <a:spcBef>
                <a:spcPct val="50000"/>
              </a:spcBef>
            </a:pPr>
            <a:r>
              <a:rPr lang="ko-KR" altLang="en-US" sz="2400" b="1" dirty="0" smtClean="0">
                <a:solidFill>
                  <a:schemeClr val="bg1"/>
                </a:solidFill>
                <a:latin typeface="HY그래픽M" pitchFamily="18" charset="-127"/>
                <a:ea typeface="HY그래픽M" pitchFamily="18" charset="-127"/>
              </a:rPr>
              <a:t>한우 선형심사 및 현장컨설팅 프로그램 </a:t>
            </a:r>
            <a:endParaRPr lang="en-US" altLang="ko-KR" sz="2400" b="1" dirty="0">
              <a:solidFill>
                <a:schemeClr val="bg1"/>
              </a:solidFill>
              <a:latin typeface="HY그래픽M" pitchFamily="18" charset="-127"/>
              <a:ea typeface="HY그래픽M" pitchFamily="18" charset="-127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755576" y="836712"/>
            <a:ext cx="255550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2000" dirty="0" smtClean="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</a:rPr>
              <a:t>[</a:t>
            </a:r>
            <a:r>
              <a:rPr lang="ko-KR" altLang="en-US" sz="2000" dirty="0" smtClean="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</a:rPr>
              <a:t>컨설팅보고서 표지</a:t>
            </a:r>
            <a:r>
              <a:rPr lang="en-US" altLang="ko-KR" sz="2000" dirty="0" smtClean="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</a:rPr>
              <a:t>]</a:t>
            </a:r>
            <a:endParaRPr lang="ko-KR" altLang="en-US" sz="2000" dirty="0">
              <a:latin typeface="HY견고딕" pitchFamily="18" charset="-127"/>
              <a:ea typeface="HY견고딕" pitchFamily="18" charset="-127"/>
            </a:endParaRPr>
          </a:p>
        </p:txBody>
      </p:sp>
      <p:pic>
        <p:nvPicPr>
          <p:cNvPr id="9" name="Picture 1" descr="C:\Users\jeoungyh\Desktop\컨설팅자료\컨설팅(표지)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475284" y="1268760"/>
            <a:ext cx="7747088" cy="552720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65173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0" y="0"/>
          <a:ext cx="10693400" cy="757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7238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T="45672" marB="4567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64516" name="Rectangle 1"/>
          <p:cNvSpPr>
            <a:spLocks noChangeArrowheads="1"/>
          </p:cNvSpPr>
          <p:nvPr/>
        </p:nvSpPr>
        <p:spPr bwMode="auto">
          <a:xfrm>
            <a:off x="17" y="121106"/>
            <a:ext cx="183858" cy="215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08" tIns="45505" rIns="91008" bIns="45505" anchor="ctr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ko-KR" altLang="en-US" sz="800">
              <a:solidFill>
                <a:schemeClr val="tx1"/>
              </a:solidFill>
              <a:latin typeface="Trebuchet MS" pitchFamily="34" charset="0"/>
            </a:endParaRPr>
          </a:p>
        </p:txBody>
      </p:sp>
      <p:sp>
        <p:nvSpPr>
          <p:cNvPr id="64517" name="Rectangle 2"/>
          <p:cNvSpPr>
            <a:spLocks noChangeArrowheads="1"/>
          </p:cNvSpPr>
          <p:nvPr/>
        </p:nvSpPr>
        <p:spPr bwMode="auto">
          <a:xfrm>
            <a:off x="17" y="121106"/>
            <a:ext cx="183858" cy="215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08" tIns="45505" rIns="91008" bIns="45505" anchor="ctr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ko-KR" altLang="en-US" sz="800">
              <a:solidFill>
                <a:schemeClr val="tx1"/>
              </a:solidFill>
              <a:latin typeface="Trebuchet MS" pitchFamily="34" charset="0"/>
            </a:endParaRPr>
          </a:p>
        </p:txBody>
      </p:sp>
      <p:sp>
        <p:nvSpPr>
          <p:cNvPr id="6" name="AutoShape 17" descr="그림1"/>
          <p:cNvSpPr>
            <a:spLocks noChangeArrowheads="1"/>
          </p:cNvSpPr>
          <p:nvPr/>
        </p:nvSpPr>
        <p:spPr bwMode="auto">
          <a:xfrm>
            <a:off x="2286004" y="3016277"/>
            <a:ext cx="6296025" cy="1439863"/>
          </a:xfrm>
          <a:prstGeom prst="roundRect">
            <a:avLst>
              <a:gd name="adj" fmla="val 16667"/>
            </a:avLst>
          </a:prstGeom>
          <a:solidFill>
            <a:srgbClr val="0000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lIns="1164435" tIns="45505" rIns="91008" bIns="45505" anchor="ctr"/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ko-KR" altLang="en-US" sz="3200" b="1" dirty="0">
                <a:latin typeface="HY헤드라인M" pitchFamily="18" charset="-127"/>
                <a:ea typeface="HY헤드라인M" pitchFamily="18" charset="-127"/>
              </a:rPr>
              <a:t>한우 암소 개량의 필요성</a:t>
            </a:r>
            <a:endParaRPr lang="en-US" altLang="ko-KR" sz="3200" b="1" dirty="0"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7" name="Rectangle 23"/>
          <p:cNvSpPr>
            <a:spLocks noChangeArrowheads="1"/>
          </p:cNvSpPr>
          <p:nvPr/>
        </p:nvSpPr>
        <p:spPr bwMode="auto">
          <a:xfrm>
            <a:off x="2295525" y="3232150"/>
            <a:ext cx="1081088" cy="1368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08" tIns="45505" rIns="91008" bIns="45505" anchor="ctr"/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en-US" altLang="ko-KR" sz="11700" b="1">
                <a:latin typeface="Arial Narrow" pitchFamily="34" charset="0"/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9592758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0" y="0"/>
          <a:ext cx="10693400" cy="7580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8032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6" y="121088"/>
            <a:ext cx="183923" cy="215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040" tIns="45521" rIns="91040" bIns="45521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16" y="121088"/>
            <a:ext cx="183923" cy="215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040" tIns="45521" rIns="91040" bIns="45521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10" name="Rectangle 3"/>
          <p:cNvSpPr txBox="1">
            <a:spLocks noChangeArrowheads="1"/>
          </p:cNvSpPr>
          <p:nvPr/>
        </p:nvSpPr>
        <p:spPr>
          <a:xfrm>
            <a:off x="6696850" y="6973676"/>
            <a:ext cx="5326062" cy="587375"/>
          </a:xfrm>
          <a:prstGeom prst="rect">
            <a:avLst/>
          </a:prstGeom>
        </p:spPr>
        <p:txBody>
          <a:bodyPr vert="horz" lIns="91040" tIns="45521" rIns="91040" bIns="45521" rtlCol="0">
            <a:normAutofit/>
          </a:bodyPr>
          <a:lstStyle/>
          <a:p>
            <a:pPr algn="ctr" defTabSz="910365" fontAlgn="auto">
              <a:spcBef>
                <a:spcPct val="20000"/>
              </a:spcBef>
              <a:spcAft>
                <a:spcPts val="0"/>
              </a:spcAft>
              <a:defRPr/>
            </a:pPr>
            <a:r>
              <a:rPr kumimoji="0" lang="ko-KR" altLang="en-US" sz="2100" dirty="0">
                <a:solidFill>
                  <a:sysClr val="windowText" lastClr="000000">
                    <a:tint val="75000"/>
                  </a:sysClr>
                </a:solidFill>
                <a:latin typeface="HY헤드라인M" pitchFamily="18" charset="-127"/>
                <a:ea typeface="HY헤드라인M" pitchFamily="18" charset="-127"/>
              </a:rPr>
              <a:t>한국종축개량협회</a:t>
            </a:r>
            <a:endParaRPr kumimoji="0" lang="en-US" altLang="ko-KR" sz="2100" dirty="0">
              <a:solidFill>
                <a:sysClr val="windowText" lastClr="000000">
                  <a:tint val="75000"/>
                </a:sysClr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817290" y="971436"/>
            <a:ext cx="206498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2000" dirty="0" smtClean="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</a:rPr>
              <a:t>1. </a:t>
            </a:r>
            <a:r>
              <a:rPr lang="ko-KR" altLang="en-US" sz="2000" dirty="0" smtClean="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</a:rPr>
              <a:t>사육두수현황</a:t>
            </a:r>
            <a:endParaRPr lang="en-US" altLang="ko-KR" sz="2000" dirty="0" smtClean="0">
              <a:solidFill>
                <a:srgbClr val="000000"/>
              </a:solidFill>
              <a:latin typeface="HY견고딕" pitchFamily="18" charset="-127"/>
              <a:ea typeface="HY견고딕" pitchFamily="18" charset="-127"/>
            </a:endParaRPr>
          </a:p>
        </p:txBody>
      </p:sp>
      <p:pic>
        <p:nvPicPr>
          <p:cNvPr id="12" name="Picture 1" descr="C:\Users\jeoungyh\Desktop\컨설팅자료\컨설팅(사육두수현황)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835695" y="1327050"/>
            <a:ext cx="6428661" cy="6098985"/>
          </a:xfrm>
          <a:prstGeom prst="rect">
            <a:avLst/>
          </a:prstGeom>
          <a:noFill/>
        </p:spPr>
      </p:pic>
      <p:sp>
        <p:nvSpPr>
          <p:cNvPr id="13" name="모서리가 둥근 직사각형 33"/>
          <p:cNvSpPr>
            <a:spLocks noChangeArrowheads="1"/>
          </p:cNvSpPr>
          <p:nvPr/>
        </p:nvSpPr>
        <p:spPr bwMode="auto">
          <a:xfrm>
            <a:off x="323528" y="116434"/>
            <a:ext cx="5544616" cy="576262"/>
          </a:xfrm>
          <a:prstGeom prst="roundRect">
            <a:avLst>
              <a:gd name="adj" fmla="val 16667"/>
            </a:avLst>
          </a:prstGeom>
          <a:noFill/>
          <a:ln w="12700" cap="rnd" algn="ctr">
            <a:noFill/>
            <a:round/>
            <a:headEnd/>
            <a:tailEnd type="triangle" w="med" len="med"/>
          </a:ln>
        </p:spPr>
        <p:txBody>
          <a:bodyPr anchor="ctr"/>
          <a:lstStyle/>
          <a:p>
            <a:pPr algn="dist">
              <a:spcBef>
                <a:spcPct val="50000"/>
              </a:spcBef>
            </a:pPr>
            <a:r>
              <a:rPr lang="ko-KR" altLang="en-US" sz="2600" dirty="0" smtClean="0">
                <a:solidFill>
                  <a:srgbClr val="0000FF"/>
                </a:solidFill>
                <a:latin typeface="HY그래픽M" pitchFamily="18" charset="-127"/>
                <a:ea typeface="HY그래픽M" pitchFamily="18" charset="-127"/>
              </a:rPr>
              <a:t>한우 선형심사 및 현장컨설팅 </a:t>
            </a:r>
            <a:r>
              <a:rPr lang="ko-KR" altLang="en-US" sz="2600" dirty="0" err="1" smtClean="0">
                <a:solidFill>
                  <a:srgbClr val="0000FF"/>
                </a:solidFill>
                <a:latin typeface="HY그래픽M" pitchFamily="18" charset="-127"/>
                <a:ea typeface="HY그래픽M" pitchFamily="18" charset="-127"/>
              </a:rPr>
              <a:t>프로램</a:t>
            </a:r>
            <a:r>
              <a:rPr lang="ko-KR" altLang="en-US" sz="2600" dirty="0" smtClean="0">
                <a:solidFill>
                  <a:srgbClr val="0000FF"/>
                </a:solidFill>
                <a:latin typeface="HY그래픽M" pitchFamily="18" charset="-127"/>
                <a:ea typeface="HY그래픽M" pitchFamily="18" charset="-127"/>
              </a:rPr>
              <a:t> </a:t>
            </a:r>
            <a:endParaRPr lang="en-US" altLang="ko-KR" sz="2600" b="1" dirty="0">
              <a:solidFill>
                <a:srgbClr val="0000FF"/>
              </a:solidFill>
              <a:latin typeface="HY그래픽M" pitchFamily="18" charset="-127"/>
              <a:ea typeface="HY그래픽M" pitchFamily="18" charset="-127"/>
            </a:endParaRPr>
          </a:p>
        </p:txBody>
      </p:sp>
      <p:sp>
        <p:nvSpPr>
          <p:cNvPr id="14" name="모서리가 둥근 직사각형 33"/>
          <p:cNvSpPr>
            <a:spLocks noChangeArrowheads="1"/>
          </p:cNvSpPr>
          <p:nvPr/>
        </p:nvSpPr>
        <p:spPr bwMode="auto">
          <a:xfrm>
            <a:off x="18728" y="166291"/>
            <a:ext cx="5472608" cy="576262"/>
          </a:xfrm>
          <a:prstGeom prst="roundRect">
            <a:avLst>
              <a:gd name="adj" fmla="val 16667"/>
            </a:avLst>
          </a:prstGeom>
          <a:noFill/>
          <a:ln w="12700" cap="rnd" algn="ctr">
            <a:noFill/>
            <a:round/>
            <a:headEnd/>
            <a:tailEnd type="triangle" w="med" len="med"/>
          </a:ln>
        </p:spPr>
        <p:txBody>
          <a:bodyPr anchor="ctr"/>
          <a:lstStyle/>
          <a:p>
            <a:pPr algn="dist">
              <a:spcBef>
                <a:spcPct val="50000"/>
              </a:spcBef>
            </a:pPr>
            <a:r>
              <a:rPr lang="ko-KR" altLang="en-US" sz="2400" b="1" dirty="0" smtClean="0">
                <a:solidFill>
                  <a:schemeClr val="bg1"/>
                </a:solidFill>
                <a:latin typeface="HY그래픽M" pitchFamily="18" charset="-127"/>
                <a:ea typeface="HY그래픽M" pitchFamily="18" charset="-127"/>
              </a:rPr>
              <a:t>한우 선형심사 및 현장컨설팅 프로그램 </a:t>
            </a:r>
            <a:endParaRPr lang="en-US" altLang="ko-KR" sz="2400" b="1" dirty="0">
              <a:solidFill>
                <a:schemeClr val="bg1"/>
              </a:solidFill>
              <a:latin typeface="HY그래픽M" pitchFamily="18" charset="-127"/>
              <a:ea typeface="HY그래픽M" pitchFamily="18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3565173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0" y="0"/>
          <a:ext cx="10693400" cy="7580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8032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6" y="121088"/>
            <a:ext cx="183923" cy="215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040" tIns="45521" rIns="91040" bIns="45521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16" y="121088"/>
            <a:ext cx="183923" cy="215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040" tIns="45521" rIns="91040" bIns="45521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7" name="모서리가 둥근 직사각형 33"/>
          <p:cNvSpPr>
            <a:spLocks noChangeArrowheads="1"/>
          </p:cNvSpPr>
          <p:nvPr/>
        </p:nvSpPr>
        <p:spPr bwMode="auto">
          <a:xfrm>
            <a:off x="9203" y="175816"/>
            <a:ext cx="5472608" cy="576262"/>
          </a:xfrm>
          <a:prstGeom prst="roundRect">
            <a:avLst>
              <a:gd name="adj" fmla="val 16667"/>
            </a:avLst>
          </a:prstGeom>
          <a:noFill/>
          <a:ln w="12700" cap="rnd" algn="ctr">
            <a:noFill/>
            <a:round/>
            <a:headEnd/>
            <a:tailEnd type="triangle" w="med" len="med"/>
          </a:ln>
        </p:spPr>
        <p:txBody>
          <a:bodyPr anchor="ctr"/>
          <a:lstStyle/>
          <a:p>
            <a:pPr algn="dist">
              <a:spcBef>
                <a:spcPct val="50000"/>
              </a:spcBef>
            </a:pPr>
            <a:r>
              <a:rPr lang="ko-KR" altLang="en-US" sz="2400" b="1" dirty="0" smtClean="0">
                <a:solidFill>
                  <a:schemeClr val="bg1"/>
                </a:solidFill>
                <a:latin typeface="HY그래픽M" pitchFamily="18" charset="-127"/>
                <a:ea typeface="HY그래픽M" pitchFamily="18" charset="-127"/>
              </a:rPr>
              <a:t>한우 선형심사 및 현장컨설팅 프로그램 </a:t>
            </a:r>
            <a:endParaRPr lang="en-US" altLang="ko-KR" sz="2400" b="1" dirty="0">
              <a:solidFill>
                <a:schemeClr val="bg1"/>
              </a:solidFill>
              <a:latin typeface="HY그래픽M" pitchFamily="18" charset="-127"/>
              <a:ea typeface="HY그래픽M" pitchFamily="18" charset="-127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643786" y="1043444"/>
            <a:ext cx="266290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2000" dirty="0" smtClean="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</a:rPr>
              <a:t>2. </a:t>
            </a:r>
            <a:r>
              <a:rPr lang="ko-KR" altLang="en-US" sz="2000" dirty="0" smtClean="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</a:rPr>
              <a:t>회원농가 개체내역</a:t>
            </a:r>
            <a:endParaRPr lang="en-US" altLang="ko-KR" sz="2000" dirty="0" smtClean="0">
              <a:solidFill>
                <a:srgbClr val="000000"/>
              </a:solidFill>
              <a:latin typeface="HY견고딕" pitchFamily="18" charset="-127"/>
              <a:ea typeface="HY견고딕" pitchFamily="18" charset="-127"/>
            </a:endParaRPr>
          </a:p>
        </p:txBody>
      </p:sp>
      <p:pic>
        <p:nvPicPr>
          <p:cNvPr id="12" name="Picture 1" descr="C:\Users\jeoungyh\Desktop\컨설팅자료\컨설팅(개체내역)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84201" y="1443554"/>
            <a:ext cx="7876489" cy="611770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65173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0" y="0"/>
          <a:ext cx="10693400" cy="7580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8032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6" y="121088"/>
            <a:ext cx="183923" cy="215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040" tIns="45521" rIns="91040" bIns="45521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16" y="121088"/>
            <a:ext cx="183923" cy="215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040" tIns="45521" rIns="91040" bIns="45521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7" name="모서리가 둥근 직사각형 33"/>
          <p:cNvSpPr>
            <a:spLocks noChangeArrowheads="1"/>
          </p:cNvSpPr>
          <p:nvPr/>
        </p:nvSpPr>
        <p:spPr bwMode="auto">
          <a:xfrm>
            <a:off x="9203" y="175816"/>
            <a:ext cx="5472608" cy="576262"/>
          </a:xfrm>
          <a:prstGeom prst="roundRect">
            <a:avLst>
              <a:gd name="adj" fmla="val 16667"/>
            </a:avLst>
          </a:prstGeom>
          <a:noFill/>
          <a:ln w="12700" cap="rnd" algn="ctr">
            <a:noFill/>
            <a:round/>
            <a:headEnd/>
            <a:tailEnd type="triangle" w="med" len="med"/>
          </a:ln>
        </p:spPr>
        <p:txBody>
          <a:bodyPr anchor="ctr"/>
          <a:lstStyle/>
          <a:p>
            <a:pPr algn="dist">
              <a:spcBef>
                <a:spcPct val="50000"/>
              </a:spcBef>
            </a:pPr>
            <a:r>
              <a:rPr lang="ko-KR" altLang="en-US" sz="2400" b="1" dirty="0" smtClean="0">
                <a:solidFill>
                  <a:schemeClr val="bg1"/>
                </a:solidFill>
                <a:latin typeface="HY그래픽M" pitchFamily="18" charset="-127"/>
                <a:ea typeface="HY그래픽M" pitchFamily="18" charset="-127"/>
              </a:rPr>
              <a:t>한우 선형심사 및 현장컨설팅 프로그램 </a:t>
            </a:r>
            <a:endParaRPr lang="en-US" altLang="ko-KR" sz="2400" b="1" dirty="0">
              <a:solidFill>
                <a:schemeClr val="bg1"/>
              </a:solidFill>
              <a:latin typeface="HY그래픽M" pitchFamily="18" charset="-127"/>
              <a:ea typeface="HY그래픽M" pitchFamily="18" charset="-127"/>
            </a:endParaRPr>
          </a:p>
        </p:txBody>
      </p:sp>
      <p:sp>
        <p:nvSpPr>
          <p:cNvPr id="11" name="직사각형 10"/>
          <p:cNvSpPr/>
          <p:nvPr/>
        </p:nvSpPr>
        <p:spPr>
          <a:xfrm>
            <a:off x="467544" y="1043444"/>
            <a:ext cx="260840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2000" dirty="0" smtClean="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</a:rPr>
              <a:t>3. </a:t>
            </a:r>
            <a:r>
              <a:rPr lang="ko-KR" altLang="en-US" sz="2000" dirty="0" err="1" smtClean="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</a:rPr>
              <a:t>생년별</a:t>
            </a:r>
            <a:r>
              <a:rPr lang="ko-KR" altLang="en-US" sz="2000" dirty="0" smtClean="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</a:rPr>
              <a:t> 개량 추이</a:t>
            </a:r>
            <a:r>
              <a:rPr lang="en-US" altLang="ko-KR" sz="2000" dirty="0" smtClean="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</a:rPr>
              <a:t>]</a:t>
            </a:r>
          </a:p>
        </p:txBody>
      </p:sp>
      <p:pic>
        <p:nvPicPr>
          <p:cNvPr id="12" name="Picture 1" descr="C:\Users\jeoungyh\Desktop\컨설팅자료\컨설팅(생년별개량추이)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39552" y="1443553"/>
            <a:ext cx="9649609" cy="610963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65173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0" y="0"/>
          <a:ext cx="10693400" cy="7580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8032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6" y="121088"/>
            <a:ext cx="183923" cy="215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040" tIns="45521" rIns="91040" bIns="45521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16" y="121088"/>
            <a:ext cx="183923" cy="215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040" tIns="45521" rIns="91040" bIns="45521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7" name="모서리가 둥근 직사각형 33"/>
          <p:cNvSpPr>
            <a:spLocks noChangeArrowheads="1"/>
          </p:cNvSpPr>
          <p:nvPr/>
        </p:nvSpPr>
        <p:spPr bwMode="auto">
          <a:xfrm>
            <a:off x="9203" y="175816"/>
            <a:ext cx="5472608" cy="576262"/>
          </a:xfrm>
          <a:prstGeom prst="roundRect">
            <a:avLst>
              <a:gd name="adj" fmla="val 16667"/>
            </a:avLst>
          </a:prstGeom>
          <a:noFill/>
          <a:ln w="12700" cap="rnd" algn="ctr">
            <a:noFill/>
            <a:round/>
            <a:headEnd/>
            <a:tailEnd type="triangle" w="med" len="med"/>
          </a:ln>
        </p:spPr>
        <p:txBody>
          <a:bodyPr anchor="ctr"/>
          <a:lstStyle/>
          <a:p>
            <a:pPr algn="dist">
              <a:spcBef>
                <a:spcPct val="50000"/>
              </a:spcBef>
            </a:pPr>
            <a:r>
              <a:rPr lang="ko-KR" altLang="en-US" sz="2400" b="1" dirty="0" smtClean="0">
                <a:solidFill>
                  <a:schemeClr val="bg1"/>
                </a:solidFill>
                <a:latin typeface="HY그래픽M" pitchFamily="18" charset="-127"/>
                <a:ea typeface="HY그래픽M" pitchFamily="18" charset="-127"/>
              </a:rPr>
              <a:t>한우 선형심사 및 현장컨설팅 프로그램 </a:t>
            </a:r>
            <a:endParaRPr lang="en-US" altLang="ko-KR" sz="2400" b="1" dirty="0">
              <a:solidFill>
                <a:schemeClr val="bg1"/>
              </a:solidFill>
              <a:latin typeface="HY그래픽M" pitchFamily="18" charset="-127"/>
              <a:ea typeface="HY그래픽M" pitchFamily="18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984081" y="818803"/>
            <a:ext cx="300434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2000" dirty="0" smtClean="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</a:rPr>
              <a:t>4. </a:t>
            </a:r>
            <a:r>
              <a:rPr lang="ko-KR" altLang="en-US" sz="2000" dirty="0" err="1" smtClean="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</a:rPr>
              <a:t>후대축</a:t>
            </a:r>
            <a:r>
              <a:rPr lang="ko-KR" altLang="en-US" sz="2000" dirty="0" smtClean="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</a:rPr>
              <a:t> 도체성적 자료</a:t>
            </a:r>
            <a:endParaRPr lang="en-US" altLang="ko-KR" sz="2000" dirty="0" smtClean="0">
              <a:solidFill>
                <a:srgbClr val="000000"/>
              </a:solidFill>
              <a:latin typeface="HY견고딕" pitchFamily="18" charset="-127"/>
              <a:ea typeface="HY견고딕" pitchFamily="18" charset="-127"/>
            </a:endParaRPr>
          </a:p>
        </p:txBody>
      </p:sp>
      <p:pic>
        <p:nvPicPr>
          <p:cNvPr id="8" name="Picture 1" descr="C:\Users\jeoungyh\Desktop\컨설팅자료\컨설팅(후대및형매)_2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187624" y="1218913"/>
            <a:ext cx="7489445" cy="6117113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65173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0" y="0"/>
          <a:ext cx="10693400" cy="7580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8032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6" y="121088"/>
            <a:ext cx="183923" cy="215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040" tIns="45521" rIns="91040" bIns="45521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16" y="121088"/>
            <a:ext cx="183923" cy="215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040" tIns="45521" rIns="91040" bIns="45521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7" name="모서리가 둥근 직사각형 33"/>
          <p:cNvSpPr>
            <a:spLocks noChangeArrowheads="1"/>
          </p:cNvSpPr>
          <p:nvPr/>
        </p:nvSpPr>
        <p:spPr bwMode="auto">
          <a:xfrm>
            <a:off x="9203" y="175816"/>
            <a:ext cx="5472608" cy="576262"/>
          </a:xfrm>
          <a:prstGeom prst="roundRect">
            <a:avLst>
              <a:gd name="adj" fmla="val 16667"/>
            </a:avLst>
          </a:prstGeom>
          <a:noFill/>
          <a:ln w="12700" cap="rnd" algn="ctr">
            <a:noFill/>
            <a:round/>
            <a:headEnd/>
            <a:tailEnd type="triangle" w="med" len="med"/>
          </a:ln>
        </p:spPr>
        <p:txBody>
          <a:bodyPr anchor="ctr"/>
          <a:lstStyle/>
          <a:p>
            <a:pPr algn="dist">
              <a:spcBef>
                <a:spcPct val="50000"/>
              </a:spcBef>
            </a:pPr>
            <a:r>
              <a:rPr lang="ko-KR" altLang="en-US" sz="2400" b="1" dirty="0" smtClean="0">
                <a:solidFill>
                  <a:schemeClr val="bg1"/>
                </a:solidFill>
                <a:latin typeface="HY그래픽M" pitchFamily="18" charset="-127"/>
                <a:ea typeface="HY그래픽M" pitchFamily="18" charset="-127"/>
              </a:rPr>
              <a:t>한우 선형심사 및 현장컨설팅 프로그램 </a:t>
            </a:r>
            <a:endParaRPr lang="en-US" altLang="ko-KR" sz="2400" b="1" dirty="0">
              <a:solidFill>
                <a:schemeClr val="bg1"/>
              </a:solidFill>
              <a:latin typeface="HY그래픽M" pitchFamily="18" charset="-127"/>
              <a:ea typeface="HY그래픽M" pitchFamily="18" charset="-127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524451" y="852943"/>
            <a:ext cx="246500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2000" dirty="0" smtClean="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</a:rPr>
              <a:t>5. KPN </a:t>
            </a:r>
            <a:r>
              <a:rPr lang="ko-KR" altLang="en-US" sz="2000" dirty="0" smtClean="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</a:rPr>
              <a:t>사용패턴</a:t>
            </a:r>
            <a:endParaRPr lang="en-US" altLang="ko-KR" sz="2000" dirty="0" smtClean="0">
              <a:solidFill>
                <a:srgbClr val="000000"/>
              </a:solidFill>
              <a:latin typeface="HY견고딕" pitchFamily="18" charset="-127"/>
              <a:ea typeface="HY견고딕" pitchFamily="18" charset="-127"/>
            </a:endParaRPr>
          </a:p>
        </p:txBody>
      </p:sp>
      <p:pic>
        <p:nvPicPr>
          <p:cNvPr id="8" name="Picture 1" descr="C:\Users\jeoungyh\Desktop\컨설팅자료\컨설팅(KPN사용패턴)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39552" y="1294283"/>
            <a:ext cx="9487408" cy="599673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65173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0" y="0"/>
          <a:ext cx="10693400" cy="7580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8032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6" y="121088"/>
            <a:ext cx="183923" cy="215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040" tIns="45521" rIns="91040" bIns="45521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16" y="121088"/>
            <a:ext cx="183923" cy="215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040" tIns="45521" rIns="91040" bIns="45521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7" name="모서리가 둥근 직사각형 33"/>
          <p:cNvSpPr>
            <a:spLocks noChangeArrowheads="1"/>
          </p:cNvSpPr>
          <p:nvPr/>
        </p:nvSpPr>
        <p:spPr bwMode="auto">
          <a:xfrm>
            <a:off x="9203" y="175816"/>
            <a:ext cx="5472608" cy="576262"/>
          </a:xfrm>
          <a:prstGeom prst="roundRect">
            <a:avLst>
              <a:gd name="adj" fmla="val 16667"/>
            </a:avLst>
          </a:prstGeom>
          <a:noFill/>
          <a:ln w="12700" cap="rnd" algn="ctr">
            <a:noFill/>
            <a:round/>
            <a:headEnd/>
            <a:tailEnd type="triangle" w="med" len="med"/>
          </a:ln>
        </p:spPr>
        <p:txBody>
          <a:bodyPr anchor="ctr"/>
          <a:lstStyle/>
          <a:p>
            <a:pPr algn="dist">
              <a:spcBef>
                <a:spcPct val="50000"/>
              </a:spcBef>
            </a:pPr>
            <a:r>
              <a:rPr lang="ko-KR" altLang="en-US" sz="2400" b="1" dirty="0" smtClean="0">
                <a:solidFill>
                  <a:schemeClr val="bg1"/>
                </a:solidFill>
                <a:latin typeface="HY그래픽M" pitchFamily="18" charset="-127"/>
                <a:ea typeface="HY그래픽M" pitchFamily="18" charset="-127"/>
              </a:rPr>
              <a:t>한우 선형심사 및 현장컨설팅 프로그램 </a:t>
            </a:r>
            <a:endParaRPr lang="en-US" altLang="ko-KR" sz="2400" b="1" dirty="0">
              <a:solidFill>
                <a:schemeClr val="bg1"/>
              </a:solidFill>
              <a:latin typeface="HY그래픽M" pitchFamily="18" charset="-127"/>
              <a:ea typeface="HY그래픽M" pitchFamily="18" charset="-127"/>
            </a:endParaRPr>
          </a:p>
        </p:txBody>
      </p:sp>
      <p:pic>
        <p:nvPicPr>
          <p:cNvPr id="287747" name="Picture 3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26597" y="1485377"/>
            <a:ext cx="10116260" cy="481553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직사각형 9"/>
          <p:cNvSpPr/>
          <p:nvPr/>
        </p:nvSpPr>
        <p:spPr>
          <a:xfrm>
            <a:off x="524451" y="852943"/>
            <a:ext cx="545231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ko-KR" sz="2000" dirty="0" smtClean="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</a:rPr>
              <a:t>6. </a:t>
            </a:r>
            <a:r>
              <a:rPr lang="ko-KR" altLang="en-US" sz="2000" dirty="0" smtClean="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</a:rPr>
              <a:t>농장암소 </a:t>
            </a:r>
            <a:r>
              <a:rPr lang="ko-KR" altLang="en-US" sz="2000" dirty="0" err="1" smtClean="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</a:rPr>
              <a:t>후대거세우</a:t>
            </a:r>
            <a:r>
              <a:rPr lang="ko-KR" altLang="en-US" sz="2000" dirty="0" smtClean="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</a:rPr>
              <a:t> 도체성적 기본통계량</a:t>
            </a:r>
            <a:r>
              <a:rPr lang="en-US" altLang="ko-KR" sz="2000" dirty="0" smtClean="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65173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0" y="0"/>
          <a:ext cx="10693400" cy="7580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8032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6" y="121088"/>
            <a:ext cx="183923" cy="215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040" tIns="45521" rIns="91040" bIns="45521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16" y="121088"/>
            <a:ext cx="183923" cy="215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040" tIns="45521" rIns="91040" bIns="45521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7" name="모서리가 둥근 직사각형 33"/>
          <p:cNvSpPr>
            <a:spLocks noChangeArrowheads="1"/>
          </p:cNvSpPr>
          <p:nvPr/>
        </p:nvSpPr>
        <p:spPr bwMode="auto">
          <a:xfrm>
            <a:off x="9203" y="175816"/>
            <a:ext cx="5472608" cy="576262"/>
          </a:xfrm>
          <a:prstGeom prst="roundRect">
            <a:avLst>
              <a:gd name="adj" fmla="val 16667"/>
            </a:avLst>
          </a:prstGeom>
          <a:noFill/>
          <a:ln w="12700" cap="rnd" algn="ctr">
            <a:noFill/>
            <a:round/>
            <a:headEnd/>
            <a:tailEnd type="triangle" w="med" len="med"/>
          </a:ln>
        </p:spPr>
        <p:txBody>
          <a:bodyPr anchor="ctr"/>
          <a:lstStyle/>
          <a:p>
            <a:pPr algn="dist">
              <a:spcBef>
                <a:spcPct val="50000"/>
              </a:spcBef>
            </a:pPr>
            <a:r>
              <a:rPr lang="ko-KR" altLang="en-US" sz="2400" b="1" dirty="0" smtClean="0">
                <a:solidFill>
                  <a:schemeClr val="bg1"/>
                </a:solidFill>
                <a:latin typeface="HY그래픽M" pitchFamily="18" charset="-127"/>
                <a:ea typeface="HY그래픽M" pitchFamily="18" charset="-127"/>
              </a:rPr>
              <a:t>한우 선형심사 및 현장컨설팅 프로그램 </a:t>
            </a:r>
            <a:endParaRPr lang="en-US" altLang="ko-KR" sz="2400" b="1" dirty="0">
              <a:solidFill>
                <a:schemeClr val="bg1"/>
              </a:solidFill>
              <a:latin typeface="HY그래픽M" pitchFamily="18" charset="-127"/>
              <a:ea typeface="HY그래픽M" pitchFamily="18" charset="-127"/>
            </a:endParaRPr>
          </a:p>
        </p:txBody>
      </p:sp>
      <p:pic>
        <p:nvPicPr>
          <p:cNvPr id="6" name="Picture 1" descr="C:\Users\jeoungyh\Desktop\컨설팅자료\컨설팅(유전능력순위)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535" y="1412775"/>
            <a:ext cx="10036729" cy="6156985"/>
          </a:xfrm>
          <a:prstGeom prst="rect">
            <a:avLst/>
          </a:prstGeom>
          <a:noFill/>
        </p:spPr>
      </p:pic>
      <p:sp>
        <p:nvSpPr>
          <p:cNvPr id="8" name="직사각형 7"/>
          <p:cNvSpPr/>
          <p:nvPr/>
        </p:nvSpPr>
        <p:spPr>
          <a:xfrm>
            <a:off x="395536" y="1043444"/>
            <a:ext cx="3719288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2000" dirty="0" smtClean="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</a:rPr>
              <a:t>7. </a:t>
            </a:r>
            <a:r>
              <a:rPr lang="ko-KR" altLang="en-US" sz="2000" dirty="0" smtClean="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</a:rPr>
              <a:t>유전능력 순위 및 개량방향</a:t>
            </a:r>
            <a:r>
              <a:rPr lang="en-US" altLang="ko-KR" sz="2000" dirty="0" smtClean="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</a:rPr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3565173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0" y="0"/>
          <a:ext cx="10693400" cy="7580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8032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6" y="121088"/>
            <a:ext cx="183923" cy="215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040" tIns="45521" rIns="91040" bIns="45521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16" y="121088"/>
            <a:ext cx="183923" cy="215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040" tIns="45521" rIns="91040" bIns="45521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7" name="모서리가 둥근 직사각형 33"/>
          <p:cNvSpPr>
            <a:spLocks noChangeArrowheads="1"/>
          </p:cNvSpPr>
          <p:nvPr/>
        </p:nvSpPr>
        <p:spPr bwMode="auto">
          <a:xfrm>
            <a:off x="9203" y="175816"/>
            <a:ext cx="5472608" cy="576262"/>
          </a:xfrm>
          <a:prstGeom prst="roundRect">
            <a:avLst>
              <a:gd name="adj" fmla="val 16667"/>
            </a:avLst>
          </a:prstGeom>
          <a:noFill/>
          <a:ln w="12700" cap="rnd" algn="ctr">
            <a:noFill/>
            <a:round/>
            <a:headEnd/>
            <a:tailEnd type="triangle" w="med" len="med"/>
          </a:ln>
        </p:spPr>
        <p:txBody>
          <a:bodyPr anchor="ctr"/>
          <a:lstStyle/>
          <a:p>
            <a:pPr algn="dist">
              <a:spcBef>
                <a:spcPct val="50000"/>
              </a:spcBef>
            </a:pPr>
            <a:r>
              <a:rPr lang="ko-KR" altLang="en-US" sz="2400" b="1" dirty="0" smtClean="0">
                <a:solidFill>
                  <a:schemeClr val="bg1"/>
                </a:solidFill>
                <a:latin typeface="HY그래픽M" pitchFamily="18" charset="-127"/>
                <a:ea typeface="HY그래픽M" pitchFamily="18" charset="-127"/>
              </a:rPr>
              <a:t>한우 선형심사 및 현장컨설팅 프로그램 </a:t>
            </a:r>
            <a:endParaRPr lang="en-US" altLang="ko-KR" sz="2400" b="1" dirty="0">
              <a:solidFill>
                <a:schemeClr val="bg1"/>
              </a:solidFill>
              <a:latin typeface="HY그래픽M" pitchFamily="18" charset="-127"/>
              <a:ea typeface="HY그래픽M" pitchFamily="18" charset="-127"/>
            </a:endParaRPr>
          </a:p>
        </p:txBody>
      </p:sp>
      <p:sp>
        <p:nvSpPr>
          <p:cNvPr id="8" name="직사각형 7"/>
          <p:cNvSpPr/>
          <p:nvPr/>
        </p:nvSpPr>
        <p:spPr>
          <a:xfrm>
            <a:off x="395536" y="980728"/>
            <a:ext cx="1636987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altLang="ko-KR" sz="2000" dirty="0" smtClean="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</a:rPr>
              <a:t>8. </a:t>
            </a:r>
            <a:r>
              <a:rPr lang="ko-KR" altLang="en-US" sz="2000" dirty="0" smtClean="0">
                <a:solidFill>
                  <a:srgbClr val="000000"/>
                </a:solidFill>
                <a:latin typeface="HY견고딕" pitchFamily="18" charset="-127"/>
                <a:ea typeface="HY견고딕" pitchFamily="18" charset="-127"/>
              </a:rPr>
              <a:t>계획교배 </a:t>
            </a:r>
            <a:endParaRPr lang="en-US" altLang="ko-KR" sz="2000" dirty="0" smtClean="0">
              <a:solidFill>
                <a:srgbClr val="000000"/>
              </a:solidFill>
              <a:latin typeface="HY견고딕" pitchFamily="18" charset="-127"/>
              <a:ea typeface="HY견고딕" pitchFamily="18" charset="-127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2" cstate="print"/>
          <a:srcRect l="280" t="17280" r="70436" b="54194"/>
          <a:stretch>
            <a:fillRect/>
          </a:stretch>
        </p:blipFill>
        <p:spPr bwMode="auto">
          <a:xfrm>
            <a:off x="455003" y="1412775"/>
            <a:ext cx="8249064" cy="312024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" name="Picture 3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331639" y="3805169"/>
            <a:ext cx="9259241" cy="362086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65173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0" y="0"/>
          <a:ext cx="10693400" cy="7580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8032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6" y="121088"/>
            <a:ext cx="183923" cy="215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040" tIns="45521" rIns="91040" bIns="45521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16" y="121088"/>
            <a:ext cx="183923" cy="215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040" tIns="45521" rIns="91040" bIns="45521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7" name="모서리가 둥근 직사각형 33"/>
          <p:cNvSpPr>
            <a:spLocks noChangeArrowheads="1"/>
          </p:cNvSpPr>
          <p:nvPr/>
        </p:nvSpPr>
        <p:spPr bwMode="auto">
          <a:xfrm>
            <a:off x="9203" y="175816"/>
            <a:ext cx="5472608" cy="576262"/>
          </a:xfrm>
          <a:prstGeom prst="roundRect">
            <a:avLst>
              <a:gd name="adj" fmla="val 16667"/>
            </a:avLst>
          </a:prstGeom>
          <a:noFill/>
          <a:ln w="12700" cap="rnd" algn="ctr">
            <a:noFill/>
            <a:round/>
            <a:headEnd/>
            <a:tailEnd type="triangle" w="med" len="med"/>
          </a:ln>
        </p:spPr>
        <p:txBody>
          <a:bodyPr anchor="ctr"/>
          <a:lstStyle/>
          <a:p>
            <a:pPr algn="dist">
              <a:spcBef>
                <a:spcPct val="50000"/>
              </a:spcBef>
            </a:pPr>
            <a:r>
              <a:rPr lang="ko-KR" altLang="en-US" sz="2400" b="1" dirty="0" smtClean="0">
                <a:solidFill>
                  <a:schemeClr val="bg1"/>
                </a:solidFill>
                <a:latin typeface="HY그래픽M" pitchFamily="18" charset="-127"/>
                <a:ea typeface="HY그래픽M" pitchFamily="18" charset="-127"/>
              </a:rPr>
              <a:t>한우 선형심사 및 현장컨설팅 프로그램 </a:t>
            </a:r>
            <a:endParaRPr lang="en-US" altLang="ko-KR" sz="2400" b="1" dirty="0">
              <a:solidFill>
                <a:schemeClr val="bg1"/>
              </a:solidFill>
              <a:latin typeface="HY그래픽M" pitchFamily="18" charset="-127"/>
              <a:ea typeface="HY그래픽M" pitchFamily="18" charset="-127"/>
            </a:endParaRPr>
          </a:p>
        </p:txBody>
      </p:sp>
      <p:sp>
        <p:nvSpPr>
          <p:cNvPr id="11" name="Rectangle 10"/>
          <p:cNvSpPr txBox="1">
            <a:spLocks noChangeArrowheads="1"/>
          </p:cNvSpPr>
          <p:nvPr/>
        </p:nvSpPr>
        <p:spPr bwMode="black">
          <a:xfrm>
            <a:off x="704528" y="3140968"/>
            <a:ext cx="9322692" cy="2034818"/>
          </a:xfrm>
          <a:prstGeom prst="rect">
            <a:avLst/>
          </a:prstGeom>
          <a:noFill/>
          <a:ln>
            <a:noFill/>
          </a:ln>
          <a:effectLst>
            <a:outerShdw dist="17961" dir="2700000" algn="ctr" rotWithShape="0">
              <a:srgbClr val="FFFFFF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algn="ctr" latinLnBrk="1">
              <a:lnSpc>
                <a:spcPct val="120000"/>
              </a:lnSpc>
            </a:pPr>
            <a:endParaRPr lang="ko-KR" altLang="en-US" sz="4400" b="1" dirty="0" smtClean="0">
              <a:ln w="17780" cmpd="sng">
                <a:noFill/>
                <a:prstDash val="solid"/>
                <a:miter lim="800000"/>
              </a:ln>
              <a:gradFill rotWithShape="1">
                <a:gsLst>
                  <a:gs pos="0">
                    <a:srgbClr val="000000">
                      <a:tint val="92000"/>
                      <a:shade val="100000"/>
                      <a:satMod val="150000"/>
                    </a:srgbClr>
                  </a:gs>
                  <a:gs pos="49000">
                    <a:srgbClr val="000000">
                      <a:tint val="89000"/>
                      <a:shade val="90000"/>
                      <a:satMod val="150000"/>
                    </a:srgbClr>
                  </a:gs>
                  <a:gs pos="50000">
                    <a:srgbClr val="000000">
                      <a:tint val="100000"/>
                      <a:shade val="75000"/>
                      <a:satMod val="150000"/>
                    </a:srgbClr>
                  </a:gs>
                  <a:gs pos="95000">
                    <a:srgbClr val="000000">
                      <a:shade val="47000"/>
                      <a:satMod val="150000"/>
                    </a:srgbClr>
                  </a:gs>
                  <a:gs pos="100000">
                    <a:srgbClr val="000000">
                      <a:shade val="39000"/>
                      <a:satMod val="150000"/>
                    </a:srgbClr>
                  </a:gs>
                </a:gsLst>
                <a:lin ang="5400000"/>
              </a:gradFill>
              <a:latin typeface="+mj-lt"/>
              <a:ea typeface="HY헤드라인M" pitchFamily="18" charset="-127"/>
              <a:cs typeface="+mj-cs"/>
            </a:endParaRPr>
          </a:p>
        </p:txBody>
      </p:sp>
      <p:sp>
        <p:nvSpPr>
          <p:cNvPr id="9" name="Rectangle 23"/>
          <p:cNvSpPr>
            <a:spLocks noChangeArrowheads="1"/>
          </p:cNvSpPr>
          <p:nvPr/>
        </p:nvSpPr>
        <p:spPr bwMode="auto">
          <a:xfrm>
            <a:off x="722530" y="3140968"/>
            <a:ext cx="1081088" cy="136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040" tIns="45521" rIns="91040" bIns="45521" anchor="ctr"/>
          <a:lstStyle/>
          <a:p>
            <a:pPr algn="ctr"/>
            <a:r>
              <a:rPr lang="en-US" altLang="ko-KR" sz="11700" b="1" dirty="0" smtClean="0">
                <a:solidFill>
                  <a:schemeClr val="bg1"/>
                </a:solidFill>
                <a:latin typeface="Arial Narrow" pitchFamily="34" charset="0"/>
              </a:rPr>
              <a:t>4</a:t>
            </a:r>
            <a:endParaRPr lang="en-US" altLang="ko-KR" sz="117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  <p:sp>
        <p:nvSpPr>
          <p:cNvPr id="10" name="Rectangle 4"/>
          <p:cNvSpPr txBox="1">
            <a:spLocks noChangeArrowheads="1"/>
          </p:cNvSpPr>
          <p:nvPr/>
        </p:nvSpPr>
        <p:spPr bwMode="auto">
          <a:xfrm>
            <a:off x="1467196" y="2832086"/>
            <a:ext cx="7794971" cy="1710086"/>
          </a:xfrm>
          <a:prstGeom prst="rect">
            <a:avLst/>
          </a:prstGeom>
          <a:solidFill>
            <a:srgbClr val="0000FF"/>
          </a:solidFill>
          <a:ln w="9525">
            <a:noFill/>
            <a:miter lim="800000"/>
            <a:headEnd/>
            <a:tailEnd/>
          </a:ln>
          <a:effectLst>
            <a:outerShdw dist="17961" dir="2700000" algn="ctr" rotWithShape="0">
              <a:srgbClr val="FFFFFF"/>
            </a:outerShdw>
          </a:effectLst>
        </p:spPr>
        <p:txBody>
          <a:bodyPr lIns="91008" tIns="45505" rIns="91008" bIns="45505" anchor="ctr"/>
          <a:lstStyle/>
          <a:p>
            <a:pPr algn="dist">
              <a:lnSpc>
                <a:spcPct val="120000"/>
              </a:lnSpc>
            </a:pPr>
            <a:r>
              <a:rPr lang="ko-KR" altLang="en-US" sz="4000" b="1" dirty="0" smtClean="0">
                <a:ln w="17780" cmpd="sng">
                  <a:noFill/>
                  <a:prstDash val="solid"/>
                  <a:miter lim="800000"/>
                </a:ln>
                <a:solidFill>
                  <a:schemeClr val="bg1"/>
                </a:solidFill>
                <a:ea typeface="HY헤드라인M" pitchFamily="18" charset="-127"/>
              </a:rPr>
              <a:t>      한우 컨설팅 프로그램 시연</a:t>
            </a:r>
          </a:p>
        </p:txBody>
      </p:sp>
      <p:sp>
        <p:nvSpPr>
          <p:cNvPr id="14" name="Rectangle 23"/>
          <p:cNvSpPr>
            <a:spLocks noChangeArrowheads="1"/>
          </p:cNvSpPr>
          <p:nvPr/>
        </p:nvSpPr>
        <p:spPr bwMode="auto">
          <a:xfrm>
            <a:off x="1333500" y="3165475"/>
            <a:ext cx="1081088" cy="1368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91040" tIns="45521" rIns="91040" bIns="45521" anchor="ctr"/>
          <a:lstStyle/>
          <a:p>
            <a:pPr algn="ctr"/>
            <a:r>
              <a:rPr lang="en-US" altLang="ko-KR" sz="11700" b="1" dirty="0" smtClean="0">
                <a:solidFill>
                  <a:schemeClr val="bg1"/>
                </a:solidFill>
                <a:latin typeface="Arial Narrow" pitchFamily="34" charset="0"/>
              </a:rPr>
              <a:t>5</a:t>
            </a:r>
            <a:endParaRPr lang="en-US" altLang="ko-KR" sz="11700" b="1" dirty="0">
              <a:solidFill>
                <a:schemeClr val="bg1"/>
              </a:solidFill>
              <a:latin typeface="Arial Narrow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651733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Bottom)">
                                      <p:cBhvr>
                                        <p:cTn id="1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4" grpId="0"/>
    </p:bld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0" y="0"/>
          <a:ext cx="10693400" cy="7580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8032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16" y="121088"/>
            <a:ext cx="183923" cy="215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040" tIns="45521" rIns="91040" bIns="45521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16" y="121088"/>
            <a:ext cx="183923" cy="2150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040" tIns="45521" rIns="91040" bIns="45521" numCol="1" anchor="ctr" anchorCtr="0" compatLnSpc="1">
            <a:prstTxWarp prst="textNoShape">
              <a:avLst/>
            </a:prstTxWarp>
            <a:spAutoFit/>
          </a:bodyPr>
          <a:lstStyle/>
          <a:p>
            <a:endParaRPr lang="ko-KR" altLang="en-US"/>
          </a:p>
        </p:txBody>
      </p:sp>
      <p:sp>
        <p:nvSpPr>
          <p:cNvPr id="13" name="Rectangle 2"/>
          <p:cNvSpPr txBox="1">
            <a:spLocks noChangeArrowheads="1"/>
          </p:cNvSpPr>
          <p:nvPr/>
        </p:nvSpPr>
        <p:spPr>
          <a:xfrm>
            <a:off x="289514" y="1395365"/>
            <a:ext cx="9962731" cy="4365485"/>
          </a:xfrm>
          <a:prstGeom prst="rect">
            <a:avLst/>
          </a:prstGeom>
        </p:spPr>
        <p:txBody>
          <a:bodyPr vert="horz" lIns="91040" tIns="45521" rIns="91040" bIns="45521" rtlCol="0" anchor="ctr">
            <a:normAutofit fontScale="97500"/>
          </a:bodyPr>
          <a:lstStyle/>
          <a:p>
            <a:pPr algn="ctr" defTabSz="910365" fontAlgn="auto">
              <a:lnSpc>
                <a:spcPct val="210000"/>
              </a:lnSpc>
              <a:spcAft>
                <a:spcPts val="0"/>
              </a:spcAft>
              <a:defRPr/>
            </a:pPr>
            <a:r>
              <a:rPr kumimoji="0" lang="ko-KR" altLang="en-US" sz="5400" dirty="0" smtClean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solidFill>
                  <a:srgbClr val="F79646">
                    <a:lumMod val="50000"/>
                  </a:srgbClr>
                </a:solidFill>
                <a:effectLst>
                  <a:outerShdw blurRad="50800" algn="tl" rotWithShape="0">
                    <a:srgbClr val="000000"/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  <a:cs typeface="+mj-cs"/>
              </a:rPr>
              <a:t>전북한우협동조합</a:t>
            </a:r>
            <a:endParaRPr kumimoji="0" lang="en-US" altLang="ko-KR" sz="5400" dirty="0" smtClean="0">
              <a:ln w="17780" cmpd="sng">
                <a:solidFill>
                  <a:srgbClr val="FFFFFF"/>
                </a:solidFill>
                <a:prstDash val="solid"/>
                <a:miter lim="800000"/>
              </a:ln>
              <a:solidFill>
                <a:srgbClr val="F79646">
                  <a:lumMod val="50000"/>
                </a:srgbClr>
              </a:solidFill>
              <a:effectLst>
                <a:outerShdw blurRad="50800" algn="tl" rotWithShape="0">
                  <a:srgbClr val="000000"/>
                </a:outerShdw>
              </a:effectLst>
              <a:latin typeface="HY견고딕" panose="02030600000101010101" pitchFamily="18" charset="-127"/>
              <a:ea typeface="HY견고딕" panose="02030600000101010101" pitchFamily="18" charset="-127"/>
              <a:cs typeface="+mj-cs"/>
            </a:endParaRPr>
          </a:p>
          <a:p>
            <a:pPr algn="ctr" defTabSz="910365" fontAlgn="auto">
              <a:lnSpc>
                <a:spcPct val="210000"/>
              </a:lnSpc>
              <a:spcAft>
                <a:spcPts val="0"/>
              </a:spcAft>
              <a:defRPr/>
            </a:pPr>
            <a:r>
              <a:rPr kumimoji="0" lang="ko-KR" altLang="en-US" sz="5400" dirty="0" smtClean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solidFill>
                  <a:srgbClr val="F79646">
                    <a:lumMod val="50000"/>
                  </a:srgbClr>
                </a:solidFill>
                <a:effectLst>
                  <a:outerShdw blurRad="50800" algn="tl" rotWithShape="0">
                    <a:srgbClr val="000000"/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  <a:cs typeface="+mj-cs"/>
              </a:rPr>
              <a:t>한우개량 함께 </a:t>
            </a:r>
            <a:r>
              <a:rPr kumimoji="0" lang="ko-KR" altLang="en-US" sz="5400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solidFill>
                  <a:srgbClr val="F79646">
                    <a:lumMod val="50000"/>
                  </a:srgbClr>
                </a:solidFill>
                <a:effectLst>
                  <a:outerShdw blurRad="50800" algn="tl" rotWithShape="0">
                    <a:srgbClr val="000000"/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  <a:cs typeface="+mj-cs"/>
              </a:rPr>
              <a:t>해야 합니다</a:t>
            </a:r>
            <a:r>
              <a:rPr kumimoji="0" lang="en-US" altLang="ko-KR" sz="5400" dirty="0">
                <a:ln w="17780" cmpd="sng">
                  <a:solidFill>
                    <a:srgbClr val="FFFFFF"/>
                  </a:solidFill>
                  <a:prstDash val="solid"/>
                  <a:miter lim="800000"/>
                </a:ln>
                <a:solidFill>
                  <a:srgbClr val="F79646">
                    <a:lumMod val="50000"/>
                  </a:srgbClr>
                </a:solidFill>
                <a:effectLst>
                  <a:outerShdw blurRad="50800" algn="tl" rotWithShape="0">
                    <a:srgbClr val="000000"/>
                  </a:outerShdw>
                </a:effectLst>
                <a:latin typeface="HY견고딕" panose="02030600000101010101" pitchFamily="18" charset="-127"/>
                <a:ea typeface="HY견고딕" panose="02030600000101010101" pitchFamily="18" charset="-127"/>
                <a:cs typeface="+mj-cs"/>
              </a:rPr>
              <a:t>!</a:t>
            </a:r>
          </a:p>
        </p:txBody>
      </p:sp>
      <p:pic>
        <p:nvPicPr>
          <p:cNvPr id="7" name="Picture 2" descr="D:\┃2010 국립축산과학원 백업┃\┃사진 및 로고┃\┃한국종축개량협회┃\종축개량협회로고와_마크.gi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87691" y="6768346"/>
            <a:ext cx="4505709" cy="7823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651733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0" y="0"/>
          <a:ext cx="10693400" cy="757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7238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T="45672" marB="4567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3" name="Text Box 8"/>
          <p:cNvSpPr txBox="1">
            <a:spLocks noChangeArrowheads="1"/>
          </p:cNvSpPr>
          <p:nvPr/>
        </p:nvSpPr>
        <p:spPr bwMode="auto">
          <a:xfrm>
            <a:off x="3" y="217493"/>
            <a:ext cx="6877050" cy="446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86683" tIns="0" rIns="0" bIns="0">
            <a:spAutoFit/>
          </a:bodyPr>
          <a:lstStyle/>
          <a:p>
            <a:pPr>
              <a:defRPr/>
            </a:pPr>
            <a:r>
              <a:rPr lang="en-US" altLang="ko-KR" sz="29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1. </a:t>
            </a:r>
            <a:r>
              <a:rPr lang="ko-KR" altLang="en-US" sz="29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개량이란</a:t>
            </a:r>
            <a:r>
              <a:rPr lang="en-US" altLang="ko-KR" sz="29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?</a:t>
            </a:r>
            <a:endParaRPr lang="ko-KR" altLang="en-US" sz="29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19461" name="Rectangle 1"/>
          <p:cNvSpPr>
            <a:spLocks noChangeArrowheads="1"/>
          </p:cNvSpPr>
          <p:nvPr/>
        </p:nvSpPr>
        <p:spPr bwMode="auto">
          <a:xfrm>
            <a:off x="0" y="44450"/>
            <a:ext cx="18415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86683" tIns="0" rIns="0" bIns="0">
            <a:spAutoFit/>
          </a:bodyPr>
          <a:lstStyle/>
          <a:p>
            <a:pPr>
              <a:defRPr/>
            </a:pPr>
            <a:endParaRPr lang="ko-KR" altLang="en-US" sz="18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굴림"/>
              <a:ea typeface="굴림"/>
            </a:endParaRPr>
          </a:p>
        </p:txBody>
      </p:sp>
      <p:sp>
        <p:nvSpPr>
          <p:cNvPr id="19462" name="Rectangle 2"/>
          <p:cNvSpPr>
            <a:spLocks noChangeArrowheads="1"/>
          </p:cNvSpPr>
          <p:nvPr/>
        </p:nvSpPr>
        <p:spPr bwMode="auto">
          <a:xfrm>
            <a:off x="0" y="44450"/>
            <a:ext cx="18415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86683" tIns="0" rIns="0" bIns="0">
            <a:spAutoFit/>
          </a:bodyPr>
          <a:lstStyle/>
          <a:p>
            <a:pPr>
              <a:defRPr/>
            </a:pPr>
            <a:endParaRPr lang="ko-KR" altLang="en-US" sz="18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굴림"/>
              <a:ea typeface="굴림"/>
            </a:endParaRPr>
          </a:p>
        </p:txBody>
      </p:sp>
      <p:sp>
        <p:nvSpPr>
          <p:cNvPr id="65543" name="Rectangle 3"/>
          <p:cNvSpPr>
            <a:spLocks noChangeArrowheads="1"/>
          </p:cNvSpPr>
          <p:nvPr/>
        </p:nvSpPr>
        <p:spPr bwMode="auto">
          <a:xfrm>
            <a:off x="81115" y="1080332"/>
            <a:ext cx="10369550" cy="6301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24" tIns="45513" rIns="91024" bIns="45513"/>
          <a:lstStyle>
            <a:lvl1pPr marL="342900" indent="-342900"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808038" indent="-3111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244600" indent="-24765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741488" indent="-24765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239963" indent="-24765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697163" indent="-2476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3154363" indent="-2476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611563" indent="-2476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4068763" indent="-2476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29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○ </a:t>
            </a:r>
            <a:r>
              <a:rPr lang="ko-KR" altLang="en-US" sz="29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가축의 개량</a:t>
            </a:r>
            <a:endParaRPr lang="en-US" altLang="ko-KR" sz="29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29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   - </a:t>
            </a:r>
            <a:r>
              <a:rPr lang="ko-KR" altLang="en-US" sz="29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혈통기록 및 검정을 통해 </a:t>
            </a:r>
            <a:r>
              <a:rPr lang="ko-KR" altLang="en-US" sz="290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개체별</a:t>
            </a:r>
            <a:r>
              <a:rPr lang="ko-KR" altLang="en-US" sz="29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우열을 가려 선발 또는</a:t>
            </a:r>
            <a:endParaRPr lang="en-US" altLang="ko-KR" sz="29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29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    </a:t>
            </a:r>
            <a:r>
              <a:rPr lang="ko-KR" altLang="en-US" sz="29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도태하여 우수한 </a:t>
            </a:r>
            <a:r>
              <a:rPr lang="ko-KR" altLang="en-US" sz="290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후대축을</a:t>
            </a:r>
            <a:r>
              <a:rPr lang="ko-KR" altLang="en-US" sz="29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만들어 수익을 향상시키는 일</a:t>
            </a:r>
            <a:endParaRPr lang="en-US" altLang="ko-KR" sz="29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endParaRPr lang="en-US" altLang="ko-KR" sz="29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29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○ </a:t>
            </a:r>
            <a:r>
              <a:rPr lang="ko-KR" altLang="en-US" sz="2900" b="1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한우의 개량</a:t>
            </a:r>
            <a:endParaRPr lang="en-US" altLang="ko-KR" sz="2900" b="1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29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   - </a:t>
            </a:r>
            <a:r>
              <a:rPr lang="ko-KR" altLang="en-US" sz="29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고기 생산량을 늘리기 위해서 체형</a:t>
            </a:r>
            <a:r>
              <a:rPr lang="en-US" altLang="ko-KR" sz="29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29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육량 개량</a:t>
            </a:r>
            <a:endParaRPr lang="en-US" altLang="ko-KR" sz="29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29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   - </a:t>
            </a:r>
            <a:r>
              <a:rPr lang="ko-KR" altLang="en-US" sz="2900" dirty="0" err="1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고급육</a:t>
            </a:r>
            <a:r>
              <a:rPr lang="en-US" altLang="ko-KR" sz="29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(1++)</a:t>
            </a:r>
            <a:r>
              <a:rPr lang="ko-KR" altLang="en-US" sz="29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을 얻기 위해서 육질 개량</a:t>
            </a:r>
            <a:endParaRPr lang="en-US" altLang="ko-KR" sz="29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29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   - </a:t>
            </a:r>
            <a:r>
              <a:rPr lang="ko-KR" altLang="en-US" sz="29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육량 및 육질 향상을 위해서 육량</a:t>
            </a:r>
            <a:r>
              <a:rPr lang="en-US" altLang="ko-KR" sz="29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+</a:t>
            </a:r>
            <a:r>
              <a:rPr lang="ko-KR" altLang="en-US" sz="29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육질 혼합 개량</a:t>
            </a:r>
            <a:endParaRPr lang="en-US" altLang="ko-KR" sz="29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endParaRPr lang="en-US" altLang="ko-KR" sz="2900" dirty="0">
              <a:solidFill>
                <a:srgbClr val="000000"/>
              </a:solidFill>
              <a:latin typeface="맑은 고딕" pitchFamily="50" charset="-127"/>
              <a:ea typeface="맑은 고딕" pitchFamily="50" charset="-127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29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r>
              <a:rPr lang="en-US" altLang="ko-KR" sz="2900" b="1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○ </a:t>
            </a:r>
            <a:r>
              <a:rPr lang="ko-KR" altLang="en-US" sz="2900" b="1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브랜드의 </a:t>
            </a:r>
            <a:r>
              <a:rPr lang="ko-KR" altLang="en-US" sz="2900" b="1" dirty="0" smtClean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개량</a:t>
            </a:r>
            <a:endParaRPr lang="en-US" altLang="ko-KR" sz="2900" b="1" dirty="0">
              <a:solidFill>
                <a:srgbClr val="FF0000"/>
              </a:solidFill>
              <a:latin typeface="맑은 고딕" pitchFamily="50" charset="-127"/>
              <a:ea typeface="맑은 고딕" pitchFamily="50" charset="-127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2900" b="1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    - </a:t>
            </a:r>
            <a:r>
              <a:rPr lang="ko-KR" altLang="en-US" sz="2900" b="1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동일한 품질의 </a:t>
            </a:r>
            <a:r>
              <a:rPr lang="ko-KR" altLang="en-US" sz="2900" b="1" dirty="0" err="1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고급육을</a:t>
            </a:r>
            <a:r>
              <a:rPr lang="ko-KR" altLang="en-US" sz="2900" b="1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 균일하게 생산하여 공급</a:t>
            </a:r>
            <a:endParaRPr lang="en-US" altLang="ko-KR" sz="2900" b="1" dirty="0">
              <a:solidFill>
                <a:srgbClr val="FF0000"/>
              </a:solidFill>
              <a:latin typeface="맑은 고딕" pitchFamily="50" charset="-127"/>
              <a:ea typeface="맑은 고딕" pitchFamily="50" charset="-127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2900" b="1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       -&gt; </a:t>
            </a:r>
            <a:r>
              <a:rPr lang="ko-KR" altLang="en-US" sz="2900" b="1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소비자의 브랜드 신뢰도 향상</a:t>
            </a:r>
            <a:endParaRPr lang="en-US" altLang="ko-KR" sz="2900" b="1" dirty="0">
              <a:solidFill>
                <a:srgbClr val="FF0000"/>
              </a:solidFill>
              <a:latin typeface="맑은 고딕" pitchFamily="50" charset="-127"/>
              <a:ea typeface="맑은 고딕" pitchFamily="50" charset="-127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2900" b="1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    - </a:t>
            </a:r>
            <a:r>
              <a:rPr lang="ko-KR" altLang="en-US" sz="2900" b="1" dirty="0" err="1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후대축</a:t>
            </a:r>
            <a:r>
              <a:rPr lang="ko-KR" altLang="en-US" sz="2900" b="1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 성적의 편차가 작아지도록 </a:t>
            </a:r>
            <a:r>
              <a:rPr lang="ko-KR" altLang="en-US" sz="2900" b="1" dirty="0" err="1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우량번식우</a:t>
            </a:r>
            <a:r>
              <a:rPr lang="ko-KR" altLang="en-US" sz="2900" b="1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 기반 확보</a:t>
            </a:r>
            <a:endParaRPr lang="en-US" altLang="ko-KR" sz="2900" b="1" dirty="0">
              <a:solidFill>
                <a:srgbClr val="FF0000"/>
              </a:solidFill>
              <a:latin typeface="맑은 고딕" pitchFamily="50" charset="-127"/>
              <a:ea typeface="맑은 고딕" pitchFamily="50" charset="-127"/>
            </a:endParaRPr>
          </a:p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2900" b="1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       -&gt; </a:t>
            </a:r>
            <a:r>
              <a:rPr lang="ko-KR" altLang="en-US" sz="2900" b="1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안정적</a:t>
            </a:r>
            <a:r>
              <a:rPr lang="en-US" altLang="ko-KR" sz="2900" b="1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, </a:t>
            </a:r>
            <a:r>
              <a:rPr lang="ko-KR" altLang="en-US" sz="2900" b="1" dirty="0">
                <a:solidFill>
                  <a:srgbClr val="FF0000"/>
                </a:solidFill>
                <a:latin typeface="맑은 고딕" pitchFamily="50" charset="-127"/>
                <a:ea typeface="맑은 고딕" pitchFamily="50" charset="-127"/>
              </a:rPr>
              <a:t>지속적 수익기반 구축</a:t>
            </a:r>
            <a:endParaRPr lang="en-US" altLang="ko-KR" sz="2900" b="1" dirty="0">
              <a:solidFill>
                <a:srgbClr val="FF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</p:spTree>
    <p:extLst>
      <p:ext uri="{BB962C8B-B14F-4D97-AF65-F5344CB8AC3E}">
        <p14:creationId xmlns:p14="http://schemas.microsoft.com/office/powerpoint/2010/main" val="2009003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0" y="0"/>
          <a:ext cx="10693400" cy="757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7238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T="45672" marB="4567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3" name="Text Box 8"/>
          <p:cNvSpPr txBox="1">
            <a:spLocks noChangeArrowheads="1"/>
          </p:cNvSpPr>
          <p:nvPr/>
        </p:nvSpPr>
        <p:spPr bwMode="auto">
          <a:xfrm>
            <a:off x="3" y="217493"/>
            <a:ext cx="6877050" cy="446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86683" tIns="0" rIns="0" bIns="0">
            <a:spAutoFit/>
          </a:bodyPr>
          <a:lstStyle/>
          <a:p>
            <a:pPr>
              <a:defRPr/>
            </a:pPr>
            <a:r>
              <a:rPr lang="en-US" altLang="ko-KR" sz="2900" b="1" dirty="0" smtClean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2. </a:t>
            </a:r>
            <a:r>
              <a:rPr lang="ko-KR" altLang="en-US" sz="29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개량이란</a:t>
            </a:r>
            <a:r>
              <a:rPr lang="en-US" altLang="ko-KR" sz="29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?</a:t>
            </a:r>
            <a:endParaRPr lang="ko-KR" altLang="en-US" sz="29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19461" name="Rectangle 1"/>
          <p:cNvSpPr>
            <a:spLocks noChangeArrowheads="1"/>
          </p:cNvSpPr>
          <p:nvPr/>
        </p:nvSpPr>
        <p:spPr bwMode="auto">
          <a:xfrm>
            <a:off x="0" y="44450"/>
            <a:ext cx="18415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86683" tIns="0" rIns="0" bIns="0">
            <a:spAutoFit/>
          </a:bodyPr>
          <a:lstStyle/>
          <a:p>
            <a:pPr>
              <a:defRPr/>
            </a:pPr>
            <a:endParaRPr lang="ko-KR" altLang="en-US" sz="18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굴림"/>
              <a:ea typeface="굴림"/>
            </a:endParaRPr>
          </a:p>
        </p:txBody>
      </p:sp>
      <p:sp>
        <p:nvSpPr>
          <p:cNvPr id="19462" name="Rectangle 2"/>
          <p:cNvSpPr>
            <a:spLocks noChangeArrowheads="1"/>
          </p:cNvSpPr>
          <p:nvPr/>
        </p:nvSpPr>
        <p:spPr bwMode="auto">
          <a:xfrm>
            <a:off x="0" y="44450"/>
            <a:ext cx="184150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86683" tIns="0" rIns="0" bIns="0">
            <a:spAutoFit/>
          </a:bodyPr>
          <a:lstStyle/>
          <a:p>
            <a:pPr>
              <a:defRPr/>
            </a:pPr>
            <a:endParaRPr lang="ko-KR" altLang="en-US" sz="18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굴림"/>
              <a:ea typeface="굴림"/>
            </a:endParaRPr>
          </a:p>
        </p:txBody>
      </p:sp>
      <p:sp>
        <p:nvSpPr>
          <p:cNvPr id="65543" name="Rectangle 3"/>
          <p:cNvSpPr>
            <a:spLocks noChangeArrowheads="1"/>
          </p:cNvSpPr>
          <p:nvPr/>
        </p:nvSpPr>
        <p:spPr bwMode="auto">
          <a:xfrm>
            <a:off x="81115" y="1080332"/>
            <a:ext cx="10369550" cy="63010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24" tIns="45513" rIns="91024" bIns="45513"/>
          <a:lstStyle>
            <a:lvl1pPr marL="342900" indent="-342900"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808038" indent="-3111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244600" indent="-24765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741488" indent="-24765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239963" indent="-24765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697163" indent="-2476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3154363" indent="-2476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611563" indent="-2476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4068763" indent="-24765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en-US" altLang="ko-KR" sz="2900" dirty="0">
                <a:solidFill>
                  <a:srgbClr val="000000"/>
                </a:solidFill>
                <a:latin typeface="맑은 고딕" pitchFamily="50" charset="-127"/>
                <a:ea typeface="맑은 고딕" pitchFamily="50" charset="-127"/>
              </a:rPr>
              <a:t> </a:t>
            </a:r>
            <a:endParaRPr lang="en-US" altLang="ko-KR" sz="2900" b="1" dirty="0">
              <a:solidFill>
                <a:srgbClr val="FF0000"/>
              </a:solidFill>
              <a:latin typeface="맑은 고딕" pitchFamily="50" charset="-127"/>
              <a:ea typeface="맑은 고딕" pitchFamily="50" charset="-127"/>
            </a:endParaRPr>
          </a:p>
        </p:txBody>
      </p:sp>
      <p:sp>
        <p:nvSpPr>
          <p:cNvPr id="8" name="Rectangle 6"/>
          <p:cNvSpPr>
            <a:spLocks noChangeArrowheads="1"/>
          </p:cNvSpPr>
          <p:nvPr/>
        </p:nvSpPr>
        <p:spPr bwMode="auto">
          <a:xfrm>
            <a:off x="1364296" y="5960565"/>
            <a:ext cx="4248398" cy="912812"/>
          </a:xfrm>
          <a:prstGeom prst="rect">
            <a:avLst/>
          </a:prstGeom>
          <a:noFill/>
          <a:ln w="12700" algn="ctr">
            <a:solidFill>
              <a:srgbClr val="FF6600"/>
            </a:solidFill>
            <a:miter lim="800000"/>
            <a:headEnd/>
            <a:tailEnd/>
          </a:ln>
          <a:effectLst>
            <a:prstShdw prst="shdw17" dist="17961" dir="2700000">
              <a:srgbClr val="993D00"/>
            </a:prstShdw>
          </a:effectLst>
        </p:spPr>
        <p:txBody>
          <a:bodyPr wrap="none" anchor="ctr"/>
          <a:lstStyle/>
          <a:p>
            <a:r>
              <a:rPr lang="ko-KR" altLang="en-US" sz="2000" dirty="0" smtClean="0"/>
              <a:t>번식능력</a:t>
            </a:r>
            <a:r>
              <a:rPr lang="en-US" altLang="ko-KR" sz="2000" dirty="0" smtClean="0"/>
              <a:t>(1</a:t>
            </a:r>
            <a:r>
              <a:rPr lang="ko-KR" altLang="en-US" sz="2000" dirty="0" smtClean="0"/>
              <a:t>년</a:t>
            </a:r>
            <a:r>
              <a:rPr lang="en-US" altLang="ko-KR" sz="2000" dirty="0" smtClean="0"/>
              <a:t>1</a:t>
            </a:r>
            <a:r>
              <a:rPr lang="ko-KR" altLang="en-US" sz="2000" dirty="0" smtClean="0"/>
              <a:t>산</a:t>
            </a:r>
            <a:r>
              <a:rPr lang="en-US" altLang="ko-KR" sz="2000" dirty="0" smtClean="0"/>
              <a:t>), </a:t>
            </a:r>
            <a:r>
              <a:rPr lang="ko-KR" altLang="en-US" sz="2000" dirty="0" smtClean="0"/>
              <a:t>번식간격</a:t>
            </a:r>
            <a:r>
              <a:rPr lang="en-US" altLang="ko-KR" sz="2000" dirty="0" smtClean="0"/>
              <a:t>,</a:t>
            </a:r>
          </a:p>
          <a:p>
            <a:r>
              <a:rPr lang="ko-KR" altLang="en-US" sz="2000" dirty="0" err="1" smtClean="0"/>
              <a:t>생시체중</a:t>
            </a:r>
            <a:r>
              <a:rPr lang="en-US" altLang="ko-KR" sz="2000" dirty="0" smtClean="0"/>
              <a:t>,</a:t>
            </a:r>
            <a:r>
              <a:rPr lang="ko-KR" altLang="en-US" sz="2000" dirty="0" smtClean="0"/>
              <a:t>사료효율</a:t>
            </a:r>
            <a:r>
              <a:rPr lang="en-US" altLang="ko-KR" sz="2000" dirty="0" smtClean="0"/>
              <a:t>, </a:t>
            </a:r>
            <a:r>
              <a:rPr lang="ko-KR" altLang="en-US" sz="2000" dirty="0" err="1" smtClean="0"/>
              <a:t>일당증체량</a:t>
            </a:r>
            <a:r>
              <a:rPr lang="en-US" altLang="ko-KR" sz="2000" dirty="0" smtClean="0"/>
              <a:t> </a:t>
            </a:r>
            <a:endParaRPr lang="en-US" altLang="ko-KR" sz="2000" dirty="0"/>
          </a:p>
        </p:txBody>
      </p:sp>
      <p:sp>
        <p:nvSpPr>
          <p:cNvPr id="9" name="Rectangle 7"/>
          <p:cNvSpPr>
            <a:spLocks noChangeArrowheads="1"/>
          </p:cNvSpPr>
          <p:nvPr/>
        </p:nvSpPr>
        <p:spPr bwMode="auto">
          <a:xfrm>
            <a:off x="6639484" y="5960565"/>
            <a:ext cx="3004517" cy="912812"/>
          </a:xfrm>
          <a:prstGeom prst="rect">
            <a:avLst/>
          </a:prstGeom>
          <a:noFill/>
          <a:ln w="12700" algn="ctr">
            <a:solidFill>
              <a:srgbClr val="FF6600"/>
            </a:solidFill>
            <a:miter lim="800000"/>
            <a:headEnd/>
            <a:tailEnd/>
          </a:ln>
          <a:effectLst>
            <a:prstShdw prst="shdw17" dist="17961" dir="2700000">
              <a:srgbClr val="993D00"/>
            </a:prstShdw>
          </a:effectLst>
        </p:spPr>
        <p:txBody>
          <a:bodyPr wrap="none" anchor="ctr"/>
          <a:lstStyle/>
          <a:p>
            <a:r>
              <a:rPr lang="ko-KR" altLang="en-US" sz="2000" dirty="0" err="1"/>
              <a:t>도체중</a:t>
            </a:r>
            <a:r>
              <a:rPr lang="en-US" altLang="ko-KR" sz="2000" dirty="0"/>
              <a:t>, </a:t>
            </a:r>
            <a:r>
              <a:rPr lang="ko-KR" altLang="en-US" sz="2000" dirty="0" smtClean="0"/>
              <a:t>등심단면적</a:t>
            </a:r>
            <a:r>
              <a:rPr lang="en-US" altLang="ko-KR" sz="2000" dirty="0" smtClean="0"/>
              <a:t>,</a:t>
            </a:r>
            <a:endParaRPr lang="en-US" altLang="ko-KR" sz="2000" dirty="0"/>
          </a:p>
          <a:p>
            <a:r>
              <a:rPr lang="ko-KR" altLang="en-US" sz="2000" dirty="0" err="1"/>
              <a:t>등지방두께</a:t>
            </a:r>
            <a:r>
              <a:rPr lang="en-US" altLang="ko-KR" sz="2000" dirty="0"/>
              <a:t>, </a:t>
            </a:r>
            <a:r>
              <a:rPr lang="ko-KR" altLang="en-US" sz="2000" dirty="0" err="1" smtClean="0"/>
              <a:t>근내지방도</a:t>
            </a:r>
            <a:endParaRPr lang="ko-KR" altLang="en-US" sz="2000" dirty="0"/>
          </a:p>
        </p:txBody>
      </p:sp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746446" y="873308"/>
            <a:ext cx="9280773" cy="1512168"/>
          </a:xfrm>
          <a:prstGeom prst="rect">
            <a:avLst/>
          </a:prstGeom>
          <a:noFill/>
          <a:ln w="12700" algn="ctr">
            <a:solidFill>
              <a:srgbClr val="FF6600"/>
            </a:solidFill>
            <a:miter lim="800000"/>
            <a:headEnd/>
            <a:tailEnd/>
          </a:ln>
          <a:effectLst>
            <a:prstShdw prst="shdw17" dist="17961" dir="2700000">
              <a:srgbClr val="993D00"/>
            </a:prstShdw>
          </a:effectLst>
        </p:spPr>
        <p:txBody>
          <a:bodyPr wrap="none" anchor="ctr"/>
          <a:lstStyle/>
          <a:p>
            <a:pPr>
              <a:lnSpc>
                <a:spcPts val="3500"/>
              </a:lnSpc>
            </a:pPr>
            <a:r>
              <a:rPr lang="ko-KR" altLang="en-US" sz="2800" b="1" dirty="0" smtClean="0">
                <a:solidFill>
                  <a:srgbClr val="FF0000"/>
                </a:solidFill>
                <a:latin typeface="HY헤드라인M" pitchFamily="18" charset="-127"/>
                <a:ea typeface="HY헤드라인M" pitchFamily="18" charset="-127"/>
              </a:rPr>
              <a:t> 개량</a:t>
            </a:r>
            <a:r>
              <a:rPr lang="ko-KR" altLang="en-US" sz="2800" b="1" dirty="0" smtClean="0">
                <a:latin typeface="HY헤드라인M" pitchFamily="18" charset="-127"/>
                <a:ea typeface="HY헤드라인M" pitchFamily="18" charset="-127"/>
              </a:rPr>
              <a:t>은 </a:t>
            </a:r>
            <a:r>
              <a:rPr lang="ko-KR" altLang="en-US" sz="2800" b="1" dirty="0" smtClean="0">
                <a:solidFill>
                  <a:schemeClr val="accent1">
                    <a:lumMod val="50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좋은 것</a:t>
            </a:r>
            <a:r>
              <a:rPr lang="ko-KR" altLang="en-US" sz="2800" b="1" dirty="0" smtClean="0">
                <a:latin typeface="HY헤드라인M" pitchFamily="18" charset="-127"/>
                <a:ea typeface="HY헤드라인M" pitchFamily="18" charset="-127"/>
              </a:rPr>
              <a:t>을 찾고</a:t>
            </a:r>
            <a:r>
              <a:rPr lang="en-US" altLang="ko-KR" sz="2800" b="1" dirty="0" smtClean="0">
                <a:latin typeface="HY헤드라인M" pitchFamily="18" charset="-127"/>
                <a:ea typeface="HY헤드라인M" pitchFamily="18" charset="-127"/>
              </a:rPr>
              <a:t>(</a:t>
            </a:r>
            <a:r>
              <a:rPr lang="ko-KR" altLang="en-US" sz="2800" b="1" dirty="0" smtClean="0">
                <a:solidFill>
                  <a:srgbClr val="FF0000"/>
                </a:solidFill>
                <a:latin typeface="HY헤드라인M" pitchFamily="18" charset="-127"/>
                <a:ea typeface="HY헤드라인M" pitchFamily="18" charset="-127"/>
              </a:rPr>
              <a:t>선발</a:t>
            </a:r>
            <a:r>
              <a:rPr lang="en-US" altLang="ko-KR" sz="2800" b="1" dirty="0" smtClean="0">
                <a:latin typeface="HY헤드라인M" pitchFamily="18" charset="-127"/>
                <a:ea typeface="HY헤드라인M" pitchFamily="18" charset="-127"/>
              </a:rPr>
              <a:t>), </a:t>
            </a:r>
            <a:r>
              <a:rPr lang="ko-KR" altLang="en-US" sz="2800" b="1" dirty="0" smtClean="0">
                <a:solidFill>
                  <a:schemeClr val="accent1">
                    <a:lumMod val="50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나쁜 것</a:t>
            </a:r>
            <a:r>
              <a:rPr lang="ko-KR" altLang="en-US" sz="2800" b="1" dirty="0" smtClean="0">
                <a:latin typeface="HY헤드라인M" pitchFamily="18" charset="-127"/>
                <a:ea typeface="HY헤드라인M" pitchFamily="18" charset="-127"/>
              </a:rPr>
              <a:t>을 버리고</a:t>
            </a:r>
            <a:r>
              <a:rPr lang="en-US" altLang="ko-KR" sz="2800" b="1" dirty="0" smtClean="0">
                <a:latin typeface="HY헤드라인M" pitchFamily="18" charset="-127"/>
                <a:ea typeface="HY헤드라인M" pitchFamily="18" charset="-127"/>
              </a:rPr>
              <a:t>, (</a:t>
            </a:r>
            <a:r>
              <a:rPr lang="ko-KR" altLang="en-US" sz="2800" b="1" dirty="0" smtClean="0">
                <a:solidFill>
                  <a:srgbClr val="FF0000"/>
                </a:solidFill>
                <a:latin typeface="HY헤드라인M" pitchFamily="18" charset="-127"/>
                <a:ea typeface="HY헤드라인M" pitchFamily="18" charset="-127"/>
              </a:rPr>
              <a:t>도태</a:t>
            </a:r>
            <a:r>
              <a:rPr lang="en-US" altLang="ko-KR" sz="2800" b="1" dirty="0" smtClean="0">
                <a:latin typeface="HY헤드라인M" pitchFamily="18" charset="-127"/>
                <a:ea typeface="HY헤드라인M" pitchFamily="18" charset="-127"/>
              </a:rPr>
              <a:t>),</a:t>
            </a:r>
          </a:p>
          <a:p>
            <a:pPr>
              <a:lnSpc>
                <a:spcPts val="3500"/>
              </a:lnSpc>
            </a:pPr>
            <a:r>
              <a:rPr lang="en-US" altLang="ko-KR" sz="2800" b="1" dirty="0" smtClean="0">
                <a:latin typeface="HY헤드라인M" pitchFamily="18" charset="-127"/>
                <a:ea typeface="HY헤드라인M" pitchFamily="18" charset="-127"/>
              </a:rPr>
              <a:t> </a:t>
            </a:r>
            <a:r>
              <a:rPr lang="ko-KR" altLang="en-US" sz="2800" b="1" dirty="0" smtClean="0">
                <a:solidFill>
                  <a:schemeClr val="accent1">
                    <a:lumMod val="50000"/>
                  </a:schemeClr>
                </a:solidFill>
                <a:latin typeface="HY헤드라인M" pitchFamily="18" charset="-127"/>
                <a:ea typeface="HY헤드라인M" pitchFamily="18" charset="-127"/>
              </a:rPr>
              <a:t>우수한 후대송아지</a:t>
            </a:r>
            <a:r>
              <a:rPr lang="ko-KR" altLang="en-US" sz="2800" b="1" dirty="0" smtClean="0">
                <a:latin typeface="HY헤드라인M" pitchFamily="18" charset="-127"/>
                <a:ea typeface="HY헤드라인M" pitchFamily="18" charset="-127"/>
              </a:rPr>
              <a:t>를 얻는 것</a:t>
            </a:r>
            <a:r>
              <a:rPr lang="en-US" altLang="ko-KR" sz="2800" b="1" dirty="0" smtClean="0">
                <a:latin typeface="HY헤드라인M" pitchFamily="18" charset="-127"/>
                <a:ea typeface="HY헤드라인M" pitchFamily="18" charset="-127"/>
              </a:rPr>
              <a:t>(</a:t>
            </a:r>
            <a:r>
              <a:rPr lang="ko-KR" altLang="en-US" sz="2800" b="1" dirty="0" smtClean="0">
                <a:solidFill>
                  <a:srgbClr val="FF0000"/>
                </a:solidFill>
                <a:latin typeface="HY헤드라인M" pitchFamily="18" charset="-127"/>
                <a:ea typeface="HY헤드라인M" pitchFamily="18" charset="-127"/>
              </a:rPr>
              <a:t>계획교배</a:t>
            </a:r>
            <a:r>
              <a:rPr lang="en-US" altLang="ko-KR" sz="2800" b="1" dirty="0" smtClean="0">
                <a:latin typeface="HY헤드라인M" pitchFamily="18" charset="-127"/>
                <a:ea typeface="HY헤드라인M" pitchFamily="18" charset="-127"/>
              </a:rPr>
              <a:t>)</a:t>
            </a:r>
          </a:p>
          <a:p>
            <a:pPr>
              <a:lnSpc>
                <a:spcPts val="3500"/>
              </a:lnSpc>
            </a:pPr>
            <a:r>
              <a:rPr lang="en-US" altLang="ko-KR" sz="2400" b="1" dirty="0" smtClean="0">
                <a:solidFill>
                  <a:srgbClr val="00B050"/>
                </a:solidFill>
                <a:latin typeface="HY헤드라인M" pitchFamily="18" charset="-127"/>
                <a:ea typeface="HY헤드라인M" pitchFamily="18" charset="-127"/>
              </a:rPr>
              <a:t>“</a:t>
            </a:r>
            <a:r>
              <a:rPr lang="ko-KR" altLang="en-US" sz="2400" b="1" dirty="0" smtClean="0">
                <a:solidFill>
                  <a:srgbClr val="00B050"/>
                </a:solidFill>
                <a:latin typeface="HY헤드라인M" pitchFamily="18" charset="-127"/>
                <a:ea typeface="HY헤드라인M" pitchFamily="18" charset="-127"/>
              </a:rPr>
              <a:t>경제형질의 </a:t>
            </a:r>
            <a:r>
              <a:rPr lang="ko-KR" altLang="en-US" sz="2400" b="1" dirty="0">
                <a:solidFill>
                  <a:srgbClr val="00B050"/>
                </a:solidFill>
                <a:latin typeface="HY헤드라인M" pitchFamily="18" charset="-127"/>
                <a:ea typeface="HY헤드라인M" pitchFamily="18" charset="-127"/>
              </a:rPr>
              <a:t>유전능력을 높이는 </a:t>
            </a:r>
            <a:r>
              <a:rPr lang="ko-KR" altLang="en-US" sz="2400" b="1" dirty="0" smtClean="0">
                <a:solidFill>
                  <a:srgbClr val="00B050"/>
                </a:solidFill>
                <a:latin typeface="HY헤드라인M" pitchFamily="18" charset="-127"/>
                <a:ea typeface="HY헤드라인M" pitchFamily="18" charset="-127"/>
              </a:rPr>
              <a:t>것</a:t>
            </a:r>
            <a:r>
              <a:rPr lang="en-US" altLang="ko-KR" sz="2400" b="1" dirty="0" smtClean="0">
                <a:solidFill>
                  <a:srgbClr val="00B050"/>
                </a:solidFill>
                <a:latin typeface="HY헤드라인M" pitchFamily="18" charset="-127"/>
                <a:ea typeface="HY헤드라인M" pitchFamily="18" charset="-127"/>
              </a:rPr>
              <a:t>”</a:t>
            </a:r>
            <a:r>
              <a:rPr lang="ko-KR" altLang="en-US" sz="2400" b="1" dirty="0" smtClean="0">
                <a:solidFill>
                  <a:srgbClr val="00B050"/>
                </a:solidFill>
                <a:latin typeface="HY헤드라인M" pitchFamily="18" charset="-127"/>
                <a:ea typeface="HY헤드라인M" pitchFamily="18" charset="-127"/>
              </a:rPr>
              <a:t> </a:t>
            </a:r>
            <a:endParaRPr lang="ko-KR" altLang="en-US" sz="2400" b="1" dirty="0">
              <a:solidFill>
                <a:srgbClr val="00B050"/>
              </a:solidFill>
              <a:latin typeface="HY헤드라인M" pitchFamily="18" charset="-127"/>
              <a:ea typeface="HY헤드라인M" pitchFamily="18" charset="-127"/>
            </a:endParaRPr>
          </a:p>
        </p:txBody>
      </p:sp>
      <p:pic>
        <p:nvPicPr>
          <p:cNvPr id="11" name="그림 10" descr="2014_3_농림축산식품부장관상_신영덕_110IMG_9758.JP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336810" y="2595559"/>
            <a:ext cx="3465385" cy="32202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그림 11" descr="2015전남국제농업박람회 전시한우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11796" y="2595560"/>
            <a:ext cx="4910991" cy="3186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90035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표 1"/>
          <p:cNvGraphicFramePr>
            <a:graphicFrameLocks noGrp="1"/>
          </p:cNvGraphicFramePr>
          <p:nvPr/>
        </p:nvGraphicFramePr>
        <p:xfrm>
          <a:off x="0" y="0"/>
          <a:ext cx="10693400" cy="75723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693400"/>
              </a:tblGrid>
              <a:tr h="757238">
                <a:tc>
                  <a:txBody>
                    <a:bodyPr/>
                    <a:lstStyle/>
                    <a:p>
                      <a:pPr latinLnBrk="1"/>
                      <a:endParaRPr lang="ko-KR" altLang="en-US" sz="2000" dirty="0"/>
                    </a:p>
                  </a:txBody>
                  <a:tcPr marT="45672" marB="45672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FF"/>
                    </a:solidFill>
                  </a:tcPr>
                </a:tc>
              </a:tr>
            </a:tbl>
          </a:graphicData>
        </a:graphic>
      </p:graphicFrame>
      <p:sp>
        <p:nvSpPr>
          <p:cNvPr id="3" name="Text Box 8"/>
          <p:cNvSpPr txBox="1">
            <a:spLocks noChangeArrowheads="1"/>
          </p:cNvSpPr>
          <p:nvPr/>
        </p:nvSpPr>
        <p:spPr bwMode="auto">
          <a:xfrm>
            <a:off x="3" y="217493"/>
            <a:ext cx="6877050" cy="446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86683" tIns="0" rIns="0" bIns="0">
            <a:spAutoFit/>
          </a:bodyPr>
          <a:lstStyle/>
          <a:p>
            <a:pPr>
              <a:defRPr/>
            </a:pPr>
            <a:r>
              <a:rPr lang="en-US" altLang="ko-KR" sz="29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2. </a:t>
            </a:r>
            <a:r>
              <a:rPr lang="ko-KR" altLang="en-US" sz="29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암소개량</a:t>
            </a:r>
            <a:r>
              <a:rPr lang="en-US" altLang="ko-KR" sz="29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? </a:t>
            </a:r>
            <a:r>
              <a:rPr lang="ko-KR" altLang="en-US" sz="29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왜</a:t>
            </a:r>
            <a:r>
              <a:rPr lang="en-US" altLang="ko-KR" sz="2900" b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HY견고딕" pitchFamily="18" charset="-127"/>
                <a:ea typeface="HY견고딕" pitchFamily="18" charset="-127"/>
              </a:rPr>
              <a:t>?</a:t>
            </a:r>
            <a:endParaRPr lang="ko-KR" altLang="en-US" sz="29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66565" name="Rectangle 1"/>
          <p:cNvSpPr>
            <a:spLocks noChangeArrowheads="1"/>
          </p:cNvSpPr>
          <p:nvPr/>
        </p:nvSpPr>
        <p:spPr bwMode="auto">
          <a:xfrm>
            <a:off x="17" y="121097"/>
            <a:ext cx="183890" cy="2150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24" tIns="45513" rIns="91024" bIns="45513" anchor="ctr">
            <a:spAutoFit/>
          </a:bodyPr>
          <a:lstStyle>
            <a:lvl1pPr eaLnBrk="0" hangingPunct="0">
              <a:spcBef>
                <a:spcPct val="20000"/>
              </a:spcBef>
              <a:buChar char="•"/>
              <a:defRPr kumimoji="1" sz="1700">
                <a:solidFill>
                  <a:schemeClr val="bg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har char="–"/>
              <a:defRPr kumimoji="1" sz="30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kumimoji="1" sz="26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kumimoji="1" sz="2200">
                <a:solidFill>
                  <a:schemeClr val="tx1"/>
                </a:solidFill>
                <a:latin typeface="굴림" pitchFamily="50" charset="-127"/>
                <a:ea typeface="굴림" pitchFamily="50" charset="-127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ko-KR" altLang="en-US" sz="800">
              <a:solidFill>
                <a:srgbClr val="000000"/>
              </a:solidFill>
              <a:latin typeface="Trebuchet MS" pitchFamily="34" charset="0"/>
            </a:endParaRPr>
          </a:p>
        </p:txBody>
      </p:sp>
      <p:sp>
        <p:nvSpPr>
          <p:cNvPr id="20486" name="Rectangle 2"/>
          <p:cNvSpPr>
            <a:spLocks noChangeArrowheads="1"/>
          </p:cNvSpPr>
          <p:nvPr/>
        </p:nvSpPr>
        <p:spPr bwMode="auto">
          <a:xfrm>
            <a:off x="0" y="-33333"/>
            <a:ext cx="184150" cy="44627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286683" tIns="0" rIns="0" bIns="0">
            <a:spAutoFit/>
          </a:bodyPr>
          <a:lstStyle/>
          <a:p>
            <a:pPr>
              <a:defRPr/>
            </a:pPr>
            <a:endParaRPr lang="ko-KR" altLang="en-US" sz="2900" b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HY견고딕" pitchFamily="18" charset="-127"/>
              <a:ea typeface="HY견고딕" pitchFamily="18" charset="-127"/>
            </a:endParaRPr>
          </a:p>
        </p:txBody>
      </p:sp>
      <p:sp>
        <p:nvSpPr>
          <p:cNvPr id="15" name="Rectangle 2"/>
          <p:cNvSpPr txBox="1">
            <a:spLocks noChangeArrowheads="1"/>
          </p:cNvSpPr>
          <p:nvPr/>
        </p:nvSpPr>
        <p:spPr bwMode="auto">
          <a:xfrm>
            <a:off x="891208" y="900311"/>
            <a:ext cx="9406045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91024" tIns="45513" rIns="91024" bIns="45513" anchor="ctr"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>
              <a:defRPr/>
            </a:pPr>
            <a:r>
              <a:rPr lang="ko-KR" altLang="en-US" sz="4000" b="1" kern="0" spc="50" dirty="0">
                <a:ln w="11430"/>
                <a:solidFill>
                  <a:srgbClr val="C0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HY헤드라인M" pitchFamily="18" charset="-127"/>
                <a:ea typeface="HY헤드라인M" pitchFamily="18" charset="-127"/>
                <a:cs typeface="굴림" pitchFamily="50" charset="-127"/>
              </a:rPr>
              <a:t>반쪽개량</a:t>
            </a:r>
            <a:r>
              <a:rPr lang="en-US" altLang="ko-KR" sz="4000" b="1" kern="0" spc="50" dirty="0">
                <a:ln w="11430"/>
                <a:solidFill>
                  <a:srgbClr val="C0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HY헤드라인M" pitchFamily="18" charset="-127"/>
                <a:ea typeface="HY헤드라인M" pitchFamily="18" charset="-127"/>
                <a:cs typeface="굴림" pitchFamily="50" charset="-127"/>
              </a:rPr>
              <a:t>! </a:t>
            </a:r>
            <a:r>
              <a:rPr lang="ko-KR" altLang="en-US" sz="4000" b="1" kern="0" spc="50" dirty="0">
                <a:ln w="11430"/>
                <a:solidFill>
                  <a:srgbClr val="C0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HY헤드라인M" pitchFamily="18" charset="-127"/>
                <a:ea typeface="HY헤드라인M" pitchFamily="18" charset="-127"/>
                <a:cs typeface="굴림" pitchFamily="50" charset="-127"/>
              </a:rPr>
              <a:t>정액</a:t>
            </a:r>
            <a:r>
              <a:rPr lang="en-US" altLang="ko-KR" sz="4000" b="1" kern="0" spc="50" dirty="0">
                <a:ln w="11430"/>
                <a:solidFill>
                  <a:srgbClr val="C0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HY헤드라인M" pitchFamily="18" charset="-127"/>
                <a:ea typeface="HY헤드라인M" pitchFamily="18" charset="-127"/>
                <a:cs typeface="굴림" pitchFamily="50" charset="-127"/>
              </a:rPr>
              <a:t>(</a:t>
            </a:r>
            <a:r>
              <a:rPr lang="ko-KR" altLang="en-US" sz="4000" b="1" kern="0" spc="50" dirty="0">
                <a:ln w="11430"/>
                <a:solidFill>
                  <a:srgbClr val="C0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HY헤드라인M" pitchFamily="18" charset="-127"/>
                <a:ea typeface="HY헤드라인M" pitchFamily="18" charset="-127"/>
                <a:cs typeface="굴림" pitchFamily="50" charset="-127"/>
              </a:rPr>
              <a:t>수소</a:t>
            </a:r>
            <a:r>
              <a:rPr lang="en-US" altLang="ko-KR" sz="4000" b="1" kern="0" spc="50" dirty="0">
                <a:ln w="11430"/>
                <a:solidFill>
                  <a:srgbClr val="C0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HY헤드라인M" pitchFamily="18" charset="-127"/>
                <a:ea typeface="HY헤드라인M" pitchFamily="18" charset="-127"/>
                <a:cs typeface="굴림" pitchFamily="50" charset="-127"/>
              </a:rPr>
              <a:t>)</a:t>
            </a:r>
            <a:r>
              <a:rPr lang="ko-KR" altLang="en-US" sz="4000" b="1" kern="0" spc="50" dirty="0">
                <a:ln w="11430"/>
                <a:solidFill>
                  <a:srgbClr val="C00000"/>
                </a:solidFill>
                <a:effectLst>
                  <a:outerShdw blurRad="76200" dist="50800" dir="5400000" algn="tl" rotWithShape="0">
                    <a:srgbClr val="000000">
                      <a:alpha val="65000"/>
                    </a:srgbClr>
                  </a:outerShdw>
                </a:effectLst>
                <a:latin typeface="HY헤드라인M" pitchFamily="18" charset="-127"/>
                <a:ea typeface="HY헤드라인M" pitchFamily="18" charset="-127"/>
                <a:cs typeface="굴림" pitchFamily="50" charset="-127"/>
              </a:rPr>
              <a:t> 위주의 개량 정책</a:t>
            </a:r>
          </a:p>
        </p:txBody>
      </p:sp>
      <p:pic>
        <p:nvPicPr>
          <p:cNvPr id="66568" name="Picture 2" descr="C:\Users\greatman\Desktop\한우캐릭터이미지사진\hanwoo1.jpg"/>
          <p:cNvPicPr>
            <a:picLocks noChangeAspect="1" noChangeArrowheads="1"/>
          </p:cNvPicPr>
          <p:nvPr/>
        </p:nvPicPr>
        <p:blipFill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47975" y="1879600"/>
            <a:ext cx="1500188" cy="172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569" name="Picture 3" descr="C:\Users\greatman\Desktop\한우캐릭터이미지사진\hanwoo2.jp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91288" y="1879600"/>
            <a:ext cx="1285876" cy="1746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6570" name="Picture 4" descr="C:\Users\greatman\Desktop\한우캐릭터이미지사진\hanwoo3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05380" y="4040215"/>
            <a:ext cx="1617663" cy="1976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6571" name="Text Box 4"/>
          <p:cNvSpPr txBox="1">
            <a:spLocks noChangeArrowheads="1"/>
          </p:cNvSpPr>
          <p:nvPr/>
        </p:nvSpPr>
        <p:spPr bwMode="auto">
          <a:xfrm>
            <a:off x="2825766" y="3594113"/>
            <a:ext cx="1741945" cy="5843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24" tIns="45513" rIns="91024" bIns="45513">
            <a:spAutoFit/>
          </a:bodyPr>
          <a:lstStyle/>
          <a:p>
            <a:r>
              <a:rPr lang="ko-KR" altLang="en-US" sz="3200" u="sng">
                <a:solidFill>
                  <a:srgbClr val="000000"/>
                </a:solidFill>
                <a:latin typeface="휴먼모음T" pitchFamily="18" charset="-127"/>
                <a:ea typeface="휴먼모음T" pitchFamily="18" charset="-127"/>
              </a:rPr>
              <a:t>수소</a:t>
            </a:r>
            <a:r>
              <a:rPr lang="en-US" altLang="ko-KR" sz="3200" u="sng">
                <a:solidFill>
                  <a:srgbClr val="000000"/>
                </a:solidFill>
                <a:latin typeface="휴먼모음T" pitchFamily="18" charset="-127"/>
                <a:ea typeface="휴먼모음T" pitchFamily="18" charset="-127"/>
              </a:rPr>
              <a:t>:KPN</a:t>
            </a:r>
            <a:endParaRPr lang="ko-KR" altLang="en-US" sz="3200" u="sng">
              <a:solidFill>
                <a:srgbClr val="000000"/>
              </a:solidFill>
              <a:latin typeface="휴먼모음T" pitchFamily="18" charset="-127"/>
              <a:ea typeface="휴먼모음T" pitchFamily="18" charset="-127"/>
            </a:endParaRPr>
          </a:p>
        </p:txBody>
      </p:sp>
      <p:sp>
        <p:nvSpPr>
          <p:cNvPr id="66572" name="Text Box 4"/>
          <p:cNvSpPr txBox="1">
            <a:spLocks noChangeArrowheads="1"/>
          </p:cNvSpPr>
          <p:nvPr/>
        </p:nvSpPr>
        <p:spPr bwMode="auto">
          <a:xfrm>
            <a:off x="6553203" y="3594100"/>
            <a:ext cx="1152525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24" tIns="45513" rIns="91024" bIns="45513">
            <a:spAutoFit/>
          </a:bodyPr>
          <a:lstStyle/>
          <a:p>
            <a:r>
              <a:rPr lang="ko-KR" altLang="en-US" sz="2400">
                <a:solidFill>
                  <a:srgbClr val="000000"/>
                </a:solidFill>
                <a:latin typeface="휴먼모음T" pitchFamily="18" charset="-127"/>
                <a:ea typeface="휴먼모음T" pitchFamily="18" charset="-127"/>
              </a:rPr>
              <a:t>암소</a:t>
            </a:r>
            <a:r>
              <a:rPr lang="en-US" altLang="ko-KR" sz="2400">
                <a:solidFill>
                  <a:srgbClr val="000000"/>
                </a:solidFill>
                <a:latin typeface="휴먼모음T" pitchFamily="18" charset="-127"/>
                <a:ea typeface="휴먼모음T" pitchFamily="18" charset="-127"/>
              </a:rPr>
              <a:t>: ?</a:t>
            </a:r>
            <a:endParaRPr lang="ko-KR" altLang="en-US" sz="2400">
              <a:solidFill>
                <a:srgbClr val="000000"/>
              </a:solidFill>
              <a:latin typeface="휴먼모음T" pitchFamily="18" charset="-127"/>
              <a:ea typeface="휴먼모음T" pitchFamily="18" charset="-127"/>
            </a:endParaRPr>
          </a:p>
        </p:txBody>
      </p:sp>
      <p:sp>
        <p:nvSpPr>
          <p:cNvPr id="66573" name="Text Box 4"/>
          <p:cNvSpPr txBox="1">
            <a:spLocks noChangeArrowheads="1"/>
          </p:cNvSpPr>
          <p:nvPr/>
        </p:nvSpPr>
        <p:spPr bwMode="auto">
          <a:xfrm>
            <a:off x="4537087" y="5965839"/>
            <a:ext cx="2535432" cy="4612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024" tIns="45513" rIns="91024" bIns="45513">
            <a:spAutoFit/>
          </a:bodyPr>
          <a:lstStyle/>
          <a:p>
            <a:r>
              <a:rPr lang="ko-KR" altLang="en-US" sz="2400">
                <a:solidFill>
                  <a:srgbClr val="000000"/>
                </a:solidFill>
                <a:latin typeface="휴먼모음T" pitchFamily="18" charset="-127"/>
                <a:ea typeface="휴먼모음T" pitchFamily="18" charset="-127"/>
              </a:rPr>
              <a:t>송아지 </a:t>
            </a:r>
            <a:r>
              <a:rPr lang="en-US" altLang="ko-KR" sz="2400">
                <a:solidFill>
                  <a:srgbClr val="000000"/>
                </a:solidFill>
                <a:latin typeface="휴먼모음T" pitchFamily="18" charset="-127"/>
                <a:ea typeface="휴먼모음T" pitchFamily="18" charset="-127"/>
              </a:rPr>
              <a:t>: ? (50%)</a:t>
            </a:r>
            <a:endParaRPr lang="ko-KR" altLang="en-US" sz="2400">
              <a:solidFill>
                <a:srgbClr val="000000"/>
              </a:solidFill>
              <a:latin typeface="휴먼모음T" pitchFamily="18" charset="-127"/>
              <a:ea typeface="휴먼모음T" pitchFamily="18" charset="-127"/>
            </a:endParaRPr>
          </a:p>
        </p:txBody>
      </p:sp>
      <p:sp>
        <p:nvSpPr>
          <p:cNvPr id="66574" name="Text Box 5"/>
          <p:cNvSpPr txBox="1">
            <a:spLocks noChangeArrowheads="1"/>
          </p:cNvSpPr>
          <p:nvPr/>
        </p:nvSpPr>
        <p:spPr bwMode="auto">
          <a:xfrm>
            <a:off x="5062538" y="2308240"/>
            <a:ext cx="785812" cy="9229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024" tIns="45513" rIns="91024" bIns="45513">
            <a:spAutoFit/>
          </a:bodyPr>
          <a:lstStyle/>
          <a:p>
            <a:pPr>
              <a:spcBef>
                <a:spcPct val="50000"/>
              </a:spcBef>
            </a:pPr>
            <a:r>
              <a:rPr lang="en-US" altLang="ko-KR" sz="5400">
                <a:solidFill>
                  <a:srgbClr val="C00000"/>
                </a:solidFill>
              </a:rPr>
              <a:t>X</a:t>
            </a:r>
          </a:p>
        </p:txBody>
      </p:sp>
      <p:sp>
        <p:nvSpPr>
          <p:cNvPr id="23" name="아래쪽 화살표 22"/>
          <p:cNvSpPr/>
          <p:nvPr/>
        </p:nvSpPr>
        <p:spPr bwMode="auto">
          <a:xfrm>
            <a:off x="5187979" y="3451225"/>
            <a:ext cx="500063" cy="498476"/>
          </a:xfrm>
          <a:prstGeom prst="downArrow">
            <a:avLst/>
          </a:prstGeom>
          <a:solidFill>
            <a:srgbClr val="FF0000"/>
          </a:solidFill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lIns="91024" tIns="45513" rIns="91024" bIns="45513"/>
          <a:lstStyle/>
          <a:p>
            <a:pPr marL="341329" indent="-341329">
              <a:defRPr/>
            </a:pPr>
            <a:endParaRPr lang="ko-KR" altLang="en-US">
              <a:solidFill>
                <a:srgbClr val="00000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34939" y="6505589"/>
            <a:ext cx="10567986" cy="830579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lIns="91024" tIns="45513" rIns="91024" bIns="45513">
            <a:spAutoFit/>
          </a:bodyPr>
          <a:lstStyle/>
          <a:p>
            <a:pPr>
              <a:defRPr/>
            </a:pPr>
            <a:r>
              <a:rPr lang="ko-KR" altLang="en-US" sz="2400" dirty="0">
                <a:solidFill>
                  <a:srgbClr val="0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수소 </a:t>
            </a:r>
            <a:r>
              <a:rPr lang="en-US" altLang="ko-KR" sz="2400" dirty="0">
                <a:solidFill>
                  <a:srgbClr val="0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: </a:t>
            </a:r>
            <a:r>
              <a:rPr lang="ko-KR" altLang="en-US" sz="2400" dirty="0">
                <a:solidFill>
                  <a:srgbClr val="0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개량속도가 빠름</a:t>
            </a:r>
            <a:r>
              <a:rPr lang="en-US" altLang="ko-KR" sz="2400" dirty="0">
                <a:solidFill>
                  <a:srgbClr val="0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400" dirty="0">
                <a:solidFill>
                  <a:srgbClr val="0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하지만 내가 개량할 수 없음</a:t>
            </a:r>
            <a:r>
              <a:rPr lang="en-US" altLang="ko-KR" sz="2400" dirty="0">
                <a:solidFill>
                  <a:srgbClr val="0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.</a:t>
            </a:r>
          </a:p>
          <a:p>
            <a:pPr>
              <a:defRPr/>
            </a:pPr>
            <a:r>
              <a:rPr lang="ko-KR" altLang="en-US" sz="2400" dirty="0">
                <a:solidFill>
                  <a:srgbClr val="0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암소 </a:t>
            </a:r>
            <a:r>
              <a:rPr lang="en-US" altLang="ko-KR" sz="2400" dirty="0">
                <a:solidFill>
                  <a:srgbClr val="0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: </a:t>
            </a:r>
            <a:r>
              <a:rPr lang="ko-KR" altLang="en-US" sz="2400" dirty="0">
                <a:solidFill>
                  <a:srgbClr val="0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개량속도가 느림</a:t>
            </a:r>
            <a:r>
              <a:rPr lang="en-US" altLang="ko-KR" sz="2400" dirty="0">
                <a:solidFill>
                  <a:srgbClr val="0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, </a:t>
            </a:r>
            <a:r>
              <a:rPr lang="ko-KR" altLang="en-US" sz="2400" dirty="0">
                <a:solidFill>
                  <a:srgbClr val="0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하지만 내가 개량할 수 있고 영구적으로 남아있음</a:t>
            </a:r>
            <a:r>
              <a:rPr lang="en-US" altLang="ko-KR" sz="2400" dirty="0">
                <a:solidFill>
                  <a:srgbClr val="000000"/>
                </a:solidFill>
                <a:latin typeface="HY견고딕" panose="02030600000101010101" pitchFamily="18" charset="-127"/>
                <a:ea typeface="HY견고딕" panose="02030600000101010101" pitchFamily="18" charset="-127"/>
              </a:rPr>
              <a:t>.</a:t>
            </a:r>
            <a:endParaRPr lang="ko-KR" altLang="en-US" sz="2400" dirty="0">
              <a:solidFill>
                <a:srgbClr val="000000"/>
              </a:solidFill>
              <a:latin typeface="HY견고딕" panose="02030600000101010101" pitchFamily="18" charset="-127"/>
              <a:ea typeface="HY견고딕" panose="02030600000101010101" pitchFamily="18" charset="-127"/>
            </a:endParaRPr>
          </a:p>
        </p:txBody>
      </p:sp>
      <p:pic>
        <p:nvPicPr>
          <p:cNvPr id="21506" name="Picture 2" descr="염색체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3202" y="4178300"/>
            <a:ext cx="4057649" cy="1333501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66975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UBTIT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8mfcMCIUaHUqqFiGqzb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8mfcMCIUaHUqqFiGqzb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8mfcMCIUaHUqqFiGqzb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8mfcMCIUaHUqqFiGqzbg"/>
</p:tagLst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2.jpeg"/></Relationships>
</file>

<file path=ppt/theme/_rels/theme5.xml.rels><?xml version="1.0" encoding="UTF-8" standalone="yes"?>
<Relationships xmlns="http://schemas.openxmlformats.org/package/2006/relationships"><Relationship Id="rId1" Type="http://schemas.openxmlformats.org/officeDocument/2006/relationships/image" Target="../media/image2.jpeg"/></Relationships>
</file>

<file path=ppt/theme/theme1.xml><?xml version="1.0" encoding="utf-8"?>
<a:theme xmlns:a="http://schemas.openxmlformats.org/drawingml/2006/main" name="4_SEC GOS Template 2">
  <a:themeElements>
    <a:clrScheme name="4_SEC GOS Template 2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SEC GOS Template 2">
      <a:majorFont>
        <a:latin typeface="굴림"/>
        <a:ea typeface="굴림"/>
        <a:cs typeface="Arial"/>
      </a:majorFont>
      <a:minorFont>
        <a:latin typeface="굴림"/>
        <a:ea typeface="굴림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8575" cap="flat" cmpd="sng" algn="ctr">
          <a:solidFill>
            <a:srgbClr val="FF0000"/>
          </a:solidFill>
          <a:prstDash val="sysDash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  <a:spAutoFit/>
      </a:bodyPr>
      <a:lstStyle>
        <a:defPPr marL="457200" marR="0" indent="-457200" algn="l" defTabSz="914400" rtl="0" eaLnBrk="1" fontAlgn="base" latinLnBrk="1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ea typeface="굴림" pitchFamily="50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457200" marR="0" indent="-457200" algn="l" defTabSz="914400" rtl="0" eaLnBrk="1" fontAlgn="base" latinLnBrk="1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en-US" sz="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ea typeface="굴림" pitchFamily="50" charset="-127"/>
          </a:defRPr>
        </a:defPPr>
      </a:lstStyle>
    </a:lnDef>
  </a:objectDefaults>
  <a:extraClrSchemeLst>
    <a:extraClrScheme>
      <a:clrScheme name="4_SEC GOS Template 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SEC GOS Template 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SEC GOS Template 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SEC GOS Template 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SEC GOS Template 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SEC GOS Template 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SEC GOS Template 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SEC GOS Template 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SEC GOS Template 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SEC GOS Template 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SEC GOS Template 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SEC GOS Template 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4_Office 테마">
  <a:themeElements>
    <a:clrScheme name="사용자 지정 1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39639D"/>
      </a:hlink>
      <a:folHlink>
        <a:srgbClr val="343434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1.xml><?xml version="1.0" encoding="utf-8"?>
<a:theme xmlns:a="http://schemas.openxmlformats.org/drawingml/2006/main" name="5_Office 테마">
  <a:themeElements>
    <a:clrScheme name="사용자 지정 1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39639D"/>
      </a:hlink>
      <a:folHlink>
        <a:srgbClr val="343434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3.xml><?xml version="1.0" encoding="utf-8"?>
<a:theme xmlns:a="http://schemas.openxmlformats.org/drawingml/2006/main" name="Office 테마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오렌지">
  <a:themeElements>
    <a:clrScheme name="오렌지">
      <a:dk1>
        <a:sysClr val="windowText" lastClr="000000"/>
      </a:dk1>
      <a:lt1>
        <a:sysClr val="window" lastClr="FFFFFF"/>
      </a:lt1>
      <a:dk2>
        <a:srgbClr val="575F6D"/>
      </a:dk2>
      <a:lt2>
        <a:srgbClr val="FFF39D"/>
      </a:lt2>
      <a:accent1>
        <a:srgbClr val="FE8637"/>
      </a:accent1>
      <a:accent2>
        <a:srgbClr val="7598D9"/>
      </a:accent2>
      <a:accent3>
        <a:srgbClr val="B32C16"/>
      </a:accent3>
      <a:accent4>
        <a:srgbClr val="F5CD2D"/>
      </a:accent4>
      <a:accent5>
        <a:srgbClr val="AEBAD5"/>
      </a:accent5>
      <a:accent6>
        <a:srgbClr val="777C84"/>
      </a:accent6>
      <a:hlink>
        <a:srgbClr val="D2611C"/>
      </a:hlink>
      <a:folHlink>
        <a:srgbClr val="3B435B"/>
      </a:folHlink>
    </a:clrScheme>
    <a:fontScheme name="오렌지">
      <a:majorFont>
        <a:latin typeface="Century Schoolbook"/>
        <a:ea typeface=""/>
        <a:cs typeface=""/>
        <a:font script="Jpan" typeface="ＭＳ Ｐ明朝"/>
        <a:font script="Hang" typeface="휴먼매직체"/>
        <a:font script="Hans" typeface="华文楷体"/>
        <a:font script="Hant" typeface="新細明體"/>
        <a:font script="Arab" typeface="Times New Roman"/>
        <a:font script="Hebr" typeface="Times New Roman"/>
        <a:font script="Thai" typeface="Kodchiang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entury Schoolbook"/>
        <a:ea typeface=""/>
        <a:cs typeface=""/>
        <a:font script="Jpan" typeface="ＭＳ Ｐ明朝"/>
        <a:font script="Hang" typeface="휴먼매직체"/>
        <a:font script="Hans" typeface="宋体"/>
        <a:font script="Hant" typeface="新細明體"/>
        <a:font script="Arab" typeface="Times New Roman"/>
        <a:font script="Hebr" typeface="Times New Roman"/>
        <a:font script="Thai" typeface="Kodchiang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오렌지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60000"/>
              </a:schemeClr>
            </a:gs>
            <a:gs pos="30000">
              <a:schemeClr val="phClr">
                <a:tint val="38000"/>
                <a:satMod val="260000"/>
              </a:schemeClr>
            </a:gs>
            <a:gs pos="75000">
              <a:schemeClr val="phClr">
                <a:tint val="55000"/>
                <a:satMod val="255000"/>
              </a:schemeClr>
            </a:gs>
            <a:gs pos="100000">
              <a:schemeClr val="phClr">
                <a:tint val="70000"/>
                <a:satMod val="255000"/>
              </a:schemeClr>
            </a:gs>
          </a:gsLst>
          <a:path path="circle">
            <a:fillToRect l="5000" t="100000" r="120000" b="10000"/>
          </a:path>
        </a:gradFill>
        <a:gradFill rotWithShape="1">
          <a:gsLst>
            <a:gs pos="0">
              <a:schemeClr val="phClr">
                <a:shade val="63000"/>
                <a:satMod val="165000"/>
              </a:schemeClr>
            </a:gs>
            <a:gs pos="30000">
              <a:schemeClr val="phClr">
                <a:shade val="58000"/>
                <a:satMod val="165000"/>
              </a:schemeClr>
            </a:gs>
            <a:gs pos="75000">
              <a:schemeClr val="phClr">
                <a:shade val="30000"/>
                <a:satMod val="175000"/>
              </a:schemeClr>
            </a:gs>
            <a:gs pos="100000">
              <a:schemeClr val="phClr">
                <a:shade val="15000"/>
                <a:satMod val="175000"/>
              </a:schemeClr>
            </a:gs>
          </a:gsLst>
          <a:path path="circle">
            <a:fillToRect l="5000" t="100000" r="120000" b="10000"/>
          </a:path>
        </a:gradFill>
      </a:fillStyleLst>
      <a:lnStyleLst>
        <a:ln w="12700" cap="flat" cmpd="sng" algn="ctr">
          <a:solidFill>
            <a:schemeClr val="phClr">
              <a:shade val="70000"/>
              <a:satMod val="15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4925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0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20000" dir="5400000" rotWithShape="0">
              <a:srgbClr val="000000">
                <a:alpha val="42000"/>
              </a:srgbClr>
            </a:outerShdw>
          </a:effectLst>
        </a:effectStyle>
        <a:effectStyle>
          <a:effectLst>
            <a:outerShdw blurRad="50800" dist="20000" dir="5400000" rotWithShape="0">
              <a:srgbClr val="000000">
                <a:alpha val="4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0"/>
            </a:lightRig>
          </a:scene3d>
          <a:sp3d>
            <a:bevelT w="47625" h="69850"/>
            <a:contourClr>
              <a:schemeClr val="lt1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58000"/>
                <a:satMod val="125000"/>
              </a:schemeClr>
            </a:gs>
            <a:gs pos="40000">
              <a:schemeClr val="phClr">
                <a:tint val="90000"/>
                <a:shade val="90000"/>
                <a:satMod val="120000"/>
              </a:schemeClr>
            </a:gs>
            <a:gs pos="100000">
              <a:schemeClr val="phClr">
                <a:tint val="50000"/>
              </a:schemeClr>
            </a:gs>
          </a:gsLst>
          <a:lin ang="16200000" scaled="1"/>
        </a:gradFill>
        <a:blipFill>
          <a:blip xmlns:r="http://schemas.openxmlformats.org/officeDocument/2006/relationships" r:embed="rId1">
            <a:duotone>
              <a:schemeClr val="phClr">
                <a:shade val="80000"/>
              </a:schemeClr>
              <a:schemeClr val="phClr">
                <a:tint val="91000"/>
              </a:schemeClr>
            </a:duotone>
          </a:blip>
          <a:tile tx="0" ty="0" sx="40000" sy="50000" flip="y" algn="tl"/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671TGp_Globe_light - 복사본">
  <a:themeElements>
    <a:clrScheme name="Default Design 3">
      <a:dk1>
        <a:srgbClr val="000000"/>
      </a:dk1>
      <a:lt1>
        <a:srgbClr val="9DB8CF"/>
      </a:lt1>
      <a:dk2>
        <a:srgbClr val="000000"/>
      </a:dk2>
      <a:lt2>
        <a:srgbClr val="FFFFFF"/>
      </a:lt2>
      <a:accent1>
        <a:srgbClr val="7EB7E6"/>
      </a:accent1>
      <a:accent2>
        <a:srgbClr val="868FE2"/>
      </a:accent2>
      <a:accent3>
        <a:srgbClr val="CCD8E4"/>
      </a:accent3>
      <a:accent4>
        <a:srgbClr val="000000"/>
      </a:accent4>
      <a:accent5>
        <a:srgbClr val="C0D8F0"/>
      </a:accent5>
      <a:accent6>
        <a:srgbClr val="7981CD"/>
      </a:accent6>
      <a:hlink>
        <a:srgbClr val="64C489"/>
      </a:hlink>
      <a:folHlink>
        <a:srgbClr val="4FBDB8"/>
      </a:folHlink>
    </a:clrScheme>
    <a:fontScheme name="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0C990"/>
        </a:lt1>
        <a:dk2>
          <a:srgbClr val="000000"/>
        </a:dk2>
        <a:lt2>
          <a:srgbClr val="FFFFFF"/>
        </a:lt2>
        <a:accent1>
          <a:srgbClr val="FBAD5F"/>
        </a:accent1>
        <a:accent2>
          <a:srgbClr val="A7D35F"/>
        </a:accent2>
        <a:accent3>
          <a:srgbClr val="F6E1C6"/>
        </a:accent3>
        <a:accent4>
          <a:srgbClr val="000000"/>
        </a:accent4>
        <a:accent5>
          <a:srgbClr val="FDD3B6"/>
        </a:accent5>
        <a:accent6>
          <a:srgbClr val="97BF55"/>
        </a:accent6>
        <a:hlink>
          <a:srgbClr val="EE9F8A"/>
        </a:hlink>
        <a:folHlink>
          <a:srgbClr val="F0DD6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A7D1C1"/>
        </a:lt1>
        <a:dk2>
          <a:srgbClr val="000000"/>
        </a:dk2>
        <a:lt2>
          <a:srgbClr val="FFFFFF"/>
        </a:lt2>
        <a:accent1>
          <a:srgbClr val="9FD680"/>
        </a:accent1>
        <a:accent2>
          <a:srgbClr val="70B088"/>
        </a:accent2>
        <a:accent3>
          <a:srgbClr val="D0E5DD"/>
        </a:accent3>
        <a:accent4>
          <a:srgbClr val="000000"/>
        </a:accent4>
        <a:accent5>
          <a:srgbClr val="CDE8C0"/>
        </a:accent5>
        <a:accent6>
          <a:srgbClr val="659F7B"/>
        </a:accent6>
        <a:hlink>
          <a:srgbClr val="7BC7B5"/>
        </a:hlink>
        <a:folHlink>
          <a:srgbClr val="DEC17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9DB8CF"/>
        </a:lt1>
        <a:dk2>
          <a:srgbClr val="000000"/>
        </a:dk2>
        <a:lt2>
          <a:srgbClr val="FFFFFF"/>
        </a:lt2>
        <a:accent1>
          <a:srgbClr val="7EB7E6"/>
        </a:accent1>
        <a:accent2>
          <a:srgbClr val="868FE2"/>
        </a:accent2>
        <a:accent3>
          <a:srgbClr val="CCD8E4"/>
        </a:accent3>
        <a:accent4>
          <a:srgbClr val="000000"/>
        </a:accent4>
        <a:accent5>
          <a:srgbClr val="C0D8F0"/>
        </a:accent5>
        <a:accent6>
          <a:srgbClr val="7981CD"/>
        </a:accent6>
        <a:hlink>
          <a:srgbClr val="64C489"/>
        </a:hlink>
        <a:folHlink>
          <a:srgbClr val="4FBDB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5_SEC GOS Template 2">
  <a:themeElements>
    <a:clrScheme name="4_SEC GOS Template 2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4_SEC GOS Template 2">
      <a:majorFont>
        <a:latin typeface="굴림"/>
        <a:ea typeface="굴림"/>
        <a:cs typeface="Arial"/>
      </a:majorFont>
      <a:minorFont>
        <a:latin typeface="굴림"/>
        <a:ea typeface="굴림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8575" cap="flat" cmpd="sng" algn="ctr">
          <a:solidFill>
            <a:srgbClr val="FF0000"/>
          </a:solidFill>
          <a:prstDash val="sysDash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  <a:spAutoFit/>
      </a:bodyPr>
      <a:lstStyle>
        <a:defPPr marL="457200" marR="0" indent="-457200" algn="l" defTabSz="914400" rtl="0" eaLnBrk="1" fontAlgn="base" latinLnBrk="1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sz="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ea typeface="굴림" pitchFamily="50" charset="-127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457200" marR="0" indent="-457200" algn="l" defTabSz="914400" rtl="0" eaLnBrk="1" fontAlgn="base" latinLnBrk="1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1" lang="en-US" sz="7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Trebuchet MS" pitchFamily="34" charset="0"/>
            <a:ea typeface="굴림" pitchFamily="50" charset="-127"/>
          </a:defRPr>
        </a:defPPr>
      </a:lstStyle>
    </a:lnDef>
  </a:objectDefaults>
  <a:extraClrSchemeLst>
    <a:extraClrScheme>
      <a:clrScheme name="4_SEC GOS Template 2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SEC GOS Template 2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SEC GOS Template 2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SEC GOS Template 2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SEC GOS Template 2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4_SEC GOS Template 2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SEC GOS Template 2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SEC GOS Template 2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SEC GOS Template 2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SEC GOS Template 2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SEC GOS Template 2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4_SEC GOS Template 2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오렌지">
  <a:themeElements>
    <a:clrScheme name="오렌지">
      <a:dk1>
        <a:sysClr val="windowText" lastClr="000000"/>
      </a:dk1>
      <a:lt1>
        <a:sysClr val="window" lastClr="FFFFFF"/>
      </a:lt1>
      <a:dk2>
        <a:srgbClr val="575F6D"/>
      </a:dk2>
      <a:lt2>
        <a:srgbClr val="FFF39D"/>
      </a:lt2>
      <a:accent1>
        <a:srgbClr val="FE8637"/>
      </a:accent1>
      <a:accent2>
        <a:srgbClr val="7598D9"/>
      </a:accent2>
      <a:accent3>
        <a:srgbClr val="B32C16"/>
      </a:accent3>
      <a:accent4>
        <a:srgbClr val="F5CD2D"/>
      </a:accent4>
      <a:accent5>
        <a:srgbClr val="AEBAD5"/>
      </a:accent5>
      <a:accent6>
        <a:srgbClr val="777C84"/>
      </a:accent6>
      <a:hlink>
        <a:srgbClr val="D2611C"/>
      </a:hlink>
      <a:folHlink>
        <a:srgbClr val="3B435B"/>
      </a:folHlink>
    </a:clrScheme>
    <a:fontScheme name="오렌지">
      <a:majorFont>
        <a:latin typeface="Century Schoolbook"/>
        <a:ea typeface=""/>
        <a:cs typeface=""/>
        <a:font script="Jpan" typeface="ＭＳ Ｐ明朝"/>
        <a:font script="Hang" typeface="휴먼매직체"/>
        <a:font script="Hans" typeface="华文楷体"/>
        <a:font script="Hant" typeface="新細明體"/>
        <a:font script="Arab" typeface="Times New Roman"/>
        <a:font script="Hebr" typeface="Times New Roman"/>
        <a:font script="Thai" typeface="Kodchiang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entury Schoolbook"/>
        <a:ea typeface=""/>
        <a:cs typeface=""/>
        <a:font script="Jpan" typeface="ＭＳ Ｐ明朝"/>
        <a:font script="Hang" typeface="휴먼매직체"/>
        <a:font script="Hans" typeface="宋体"/>
        <a:font script="Hant" typeface="新細明體"/>
        <a:font script="Arab" typeface="Times New Roman"/>
        <a:font script="Hebr" typeface="Times New Roman"/>
        <a:font script="Thai" typeface="Kodchiang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오렌지">
      <a:fillStyleLst>
        <a:solidFill>
          <a:schemeClr val="phClr"/>
        </a:solidFill>
        <a:gradFill rotWithShape="1">
          <a:gsLst>
            <a:gs pos="0">
              <a:schemeClr val="phClr">
                <a:tint val="35000"/>
                <a:satMod val="260000"/>
              </a:schemeClr>
            </a:gs>
            <a:gs pos="30000">
              <a:schemeClr val="phClr">
                <a:tint val="38000"/>
                <a:satMod val="260000"/>
              </a:schemeClr>
            </a:gs>
            <a:gs pos="75000">
              <a:schemeClr val="phClr">
                <a:tint val="55000"/>
                <a:satMod val="255000"/>
              </a:schemeClr>
            </a:gs>
            <a:gs pos="100000">
              <a:schemeClr val="phClr">
                <a:tint val="70000"/>
                <a:satMod val="255000"/>
              </a:schemeClr>
            </a:gs>
          </a:gsLst>
          <a:path path="circle">
            <a:fillToRect l="5000" t="100000" r="120000" b="10000"/>
          </a:path>
        </a:gradFill>
        <a:gradFill rotWithShape="1">
          <a:gsLst>
            <a:gs pos="0">
              <a:schemeClr val="phClr">
                <a:shade val="63000"/>
                <a:satMod val="165000"/>
              </a:schemeClr>
            </a:gs>
            <a:gs pos="30000">
              <a:schemeClr val="phClr">
                <a:shade val="58000"/>
                <a:satMod val="165000"/>
              </a:schemeClr>
            </a:gs>
            <a:gs pos="75000">
              <a:schemeClr val="phClr">
                <a:shade val="30000"/>
                <a:satMod val="175000"/>
              </a:schemeClr>
            </a:gs>
            <a:gs pos="100000">
              <a:schemeClr val="phClr">
                <a:shade val="15000"/>
                <a:satMod val="175000"/>
              </a:schemeClr>
            </a:gs>
          </a:gsLst>
          <a:path path="circle">
            <a:fillToRect l="5000" t="100000" r="120000" b="10000"/>
          </a:path>
        </a:gradFill>
      </a:fillStyleLst>
      <a:lnStyleLst>
        <a:ln w="12700" cap="flat" cmpd="sng" algn="ctr">
          <a:solidFill>
            <a:schemeClr val="phClr">
              <a:shade val="70000"/>
              <a:satMod val="15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4925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0800" dist="25000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50800" dist="20000" dir="5400000" rotWithShape="0">
              <a:srgbClr val="000000">
                <a:alpha val="42000"/>
              </a:srgbClr>
            </a:outerShdw>
          </a:effectLst>
        </a:effectStyle>
        <a:effectStyle>
          <a:effectLst>
            <a:outerShdw blurRad="50800" dist="20000" dir="5400000" rotWithShape="0">
              <a:srgbClr val="000000">
                <a:alpha val="4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0"/>
            </a:lightRig>
          </a:scene3d>
          <a:sp3d>
            <a:bevelT w="47625" h="69850"/>
            <a:contourClr>
              <a:schemeClr val="lt1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58000"/>
                <a:satMod val="125000"/>
              </a:schemeClr>
            </a:gs>
            <a:gs pos="40000">
              <a:schemeClr val="phClr">
                <a:tint val="90000"/>
                <a:shade val="90000"/>
                <a:satMod val="120000"/>
              </a:schemeClr>
            </a:gs>
            <a:gs pos="100000">
              <a:schemeClr val="phClr">
                <a:tint val="50000"/>
              </a:schemeClr>
            </a:gs>
          </a:gsLst>
          <a:lin ang="16200000" scaled="1"/>
        </a:gradFill>
        <a:blipFill>
          <a:blip xmlns:r="http://schemas.openxmlformats.org/officeDocument/2006/relationships" r:embed="rId1">
            <a:duotone>
              <a:schemeClr val="phClr">
                <a:shade val="80000"/>
              </a:schemeClr>
              <a:schemeClr val="phClr">
                <a:tint val="91000"/>
              </a:schemeClr>
            </a:duotone>
          </a:blip>
          <a:tile tx="0" ty="0" sx="40000" sy="50000" flip="y" algn="tl"/>
        </a:blip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2_671TGp_Globe_light - 복사본">
  <a:themeElements>
    <a:clrScheme name="Default Design 3">
      <a:dk1>
        <a:srgbClr val="000000"/>
      </a:dk1>
      <a:lt1>
        <a:srgbClr val="9DB8CF"/>
      </a:lt1>
      <a:dk2>
        <a:srgbClr val="000000"/>
      </a:dk2>
      <a:lt2>
        <a:srgbClr val="FFFFFF"/>
      </a:lt2>
      <a:accent1>
        <a:srgbClr val="7EB7E6"/>
      </a:accent1>
      <a:accent2>
        <a:srgbClr val="868FE2"/>
      </a:accent2>
      <a:accent3>
        <a:srgbClr val="CCD8E4"/>
      </a:accent3>
      <a:accent4>
        <a:srgbClr val="000000"/>
      </a:accent4>
      <a:accent5>
        <a:srgbClr val="C0D8F0"/>
      </a:accent5>
      <a:accent6>
        <a:srgbClr val="7981CD"/>
      </a:accent6>
      <a:hlink>
        <a:srgbClr val="64C489"/>
      </a:hlink>
      <a:folHlink>
        <a:srgbClr val="4FBDB8"/>
      </a:folHlink>
    </a:clrScheme>
    <a:fontScheme name="Default Desig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Default Design 1">
        <a:dk1>
          <a:srgbClr val="000000"/>
        </a:dk1>
        <a:lt1>
          <a:srgbClr val="F0C990"/>
        </a:lt1>
        <a:dk2>
          <a:srgbClr val="000000"/>
        </a:dk2>
        <a:lt2>
          <a:srgbClr val="FFFFFF"/>
        </a:lt2>
        <a:accent1>
          <a:srgbClr val="FBAD5F"/>
        </a:accent1>
        <a:accent2>
          <a:srgbClr val="A7D35F"/>
        </a:accent2>
        <a:accent3>
          <a:srgbClr val="F6E1C6"/>
        </a:accent3>
        <a:accent4>
          <a:srgbClr val="000000"/>
        </a:accent4>
        <a:accent5>
          <a:srgbClr val="FDD3B6"/>
        </a:accent5>
        <a:accent6>
          <a:srgbClr val="97BF55"/>
        </a:accent6>
        <a:hlink>
          <a:srgbClr val="EE9F8A"/>
        </a:hlink>
        <a:folHlink>
          <a:srgbClr val="F0DD6B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A7D1C1"/>
        </a:lt1>
        <a:dk2>
          <a:srgbClr val="000000"/>
        </a:dk2>
        <a:lt2>
          <a:srgbClr val="FFFFFF"/>
        </a:lt2>
        <a:accent1>
          <a:srgbClr val="9FD680"/>
        </a:accent1>
        <a:accent2>
          <a:srgbClr val="70B088"/>
        </a:accent2>
        <a:accent3>
          <a:srgbClr val="D0E5DD"/>
        </a:accent3>
        <a:accent4>
          <a:srgbClr val="000000"/>
        </a:accent4>
        <a:accent5>
          <a:srgbClr val="CDE8C0"/>
        </a:accent5>
        <a:accent6>
          <a:srgbClr val="659F7B"/>
        </a:accent6>
        <a:hlink>
          <a:srgbClr val="7BC7B5"/>
        </a:hlink>
        <a:folHlink>
          <a:srgbClr val="DEC17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9DB8CF"/>
        </a:lt1>
        <a:dk2>
          <a:srgbClr val="000000"/>
        </a:dk2>
        <a:lt2>
          <a:srgbClr val="FFFFFF"/>
        </a:lt2>
        <a:accent1>
          <a:srgbClr val="7EB7E6"/>
        </a:accent1>
        <a:accent2>
          <a:srgbClr val="868FE2"/>
        </a:accent2>
        <a:accent3>
          <a:srgbClr val="CCD8E4"/>
        </a:accent3>
        <a:accent4>
          <a:srgbClr val="000000"/>
        </a:accent4>
        <a:accent5>
          <a:srgbClr val="C0D8F0"/>
        </a:accent5>
        <a:accent6>
          <a:srgbClr val="7981CD"/>
        </a:accent6>
        <a:hlink>
          <a:srgbClr val="64C489"/>
        </a:hlink>
        <a:folHlink>
          <a:srgbClr val="4FBDB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Office 테마">
  <a:themeElements>
    <a:clrScheme name="사용자 지정 1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39639D"/>
      </a:hlink>
      <a:folHlink>
        <a:srgbClr val="343434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1_Office 테마">
  <a:themeElements>
    <a:clrScheme name="사용자 지정 1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39639D"/>
      </a:hlink>
      <a:folHlink>
        <a:srgbClr val="343434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3_Office 테마">
  <a:themeElements>
    <a:clrScheme name="사용자 지정 1">
      <a:dk1>
        <a:sysClr val="windowText" lastClr="000000"/>
      </a:dk1>
      <a:lt1>
        <a:sysClr val="window" lastClr="FFFFFF"/>
      </a:lt1>
      <a:dk2>
        <a:srgbClr val="464646"/>
      </a:dk2>
      <a:lt2>
        <a:srgbClr val="DEF5FA"/>
      </a:lt2>
      <a:accent1>
        <a:srgbClr val="2DA2BF"/>
      </a:accent1>
      <a:accent2>
        <a:srgbClr val="DA1F28"/>
      </a:accent2>
      <a:accent3>
        <a:srgbClr val="EB641B"/>
      </a:accent3>
      <a:accent4>
        <a:srgbClr val="39639D"/>
      </a:accent4>
      <a:accent5>
        <a:srgbClr val="474B78"/>
      </a:accent5>
      <a:accent6>
        <a:srgbClr val="7D3C4A"/>
      </a:accent6>
      <a:hlink>
        <a:srgbClr val="39639D"/>
      </a:hlink>
      <a:folHlink>
        <a:srgbClr val="343434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1335</TotalTime>
  <Words>2589</Words>
  <Application>Microsoft Office PowerPoint</Application>
  <PresentationFormat>사용자 지정</PresentationFormat>
  <Paragraphs>675</Paragraphs>
  <Slides>69</Slides>
  <Notes>8</Notes>
  <HiddenSlides>0</HiddenSlides>
  <MMClips>0</MMClips>
  <ScaleCrop>false</ScaleCrop>
  <HeadingPairs>
    <vt:vector size="8" baseType="variant">
      <vt:variant>
        <vt:lpstr>사용한 글꼴</vt:lpstr>
      </vt:variant>
      <vt:variant>
        <vt:i4>20</vt:i4>
      </vt:variant>
      <vt:variant>
        <vt:lpstr>테마</vt:lpstr>
      </vt:variant>
      <vt:variant>
        <vt:i4>11</vt:i4>
      </vt:variant>
      <vt:variant>
        <vt:lpstr>포함된 OLE 서버</vt:lpstr>
      </vt:variant>
      <vt:variant>
        <vt:i4>1</vt:i4>
      </vt:variant>
      <vt:variant>
        <vt:lpstr>슬라이드 제목</vt:lpstr>
      </vt:variant>
      <vt:variant>
        <vt:i4>69</vt:i4>
      </vt:variant>
    </vt:vector>
  </HeadingPairs>
  <TitlesOfParts>
    <vt:vector size="101" baseType="lpstr">
      <vt:lpstr>HY견고딕</vt:lpstr>
      <vt:lpstr>HY그래픽M</vt:lpstr>
      <vt:lpstr>HY중고딕</vt:lpstr>
      <vt:lpstr>HY헤드라인M</vt:lpstr>
      <vt:lpstr>굴림</vt:lpstr>
      <vt:lpstr>나눔고딕</vt:lpstr>
      <vt:lpstr>맑은 고딕</vt:lpstr>
      <vt:lpstr>태 나무</vt:lpstr>
      <vt:lpstr>한양신명조</vt:lpstr>
      <vt:lpstr>휴먼매직체</vt:lpstr>
      <vt:lpstr>휴먼명조</vt:lpstr>
      <vt:lpstr>휴먼모음T</vt:lpstr>
      <vt:lpstr>Arial</vt:lpstr>
      <vt:lpstr>Arial Narrow</vt:lpstr>
      <vt:lpstr>Century Schoolbook</vt:lpstr>
      <vt:lpstr>Tahoma</vt:lpstr>
      <vt:lpstr>Times New Roman</vt:lpstr>
      <vt:lpstr>Trebuchet MS</vt:lpstr>
      <vt:lpstr>Wingdings</vt:lpstr>
      <vt:lpstr>Wingdings 2</vt:lpstr>
      <vt:lpstr>4_SEC GOS Template 2</vt:lpstr>
      <vt:lpstr>오렌지</vt:lpstr>
      <vt:lpstr>671TGp_Globe_light - 복사본</vt:lpstr>
      <vt:lpstr>5_SEC GOS Template 2</vt:lpstr>
      <vt:lpstr>3_오렌지</vt:lpstr>
      <vt:lpstr>2_671TGp_Globe_light - 복사본</vt:lpstr>
      <vt:lpstr>Office 테마</vt:lpstr>
      <vt:lpstr>1_Office 테마</vt:lpstr>
      <vt:lpstr>3_Office 테마</vt:lpstr>
      <vt:lpstr>4_Office 테마</vt:lpstr>
      <vt:lpstr>5_Office 테마</vt:lpstr>
      <vt:lpstr>차트</vt:lpstr>
      <vt:lpstr>PowerPoint 프레젠테이션</vt:lpstr>
      <vt:lpstr>목  차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농가의 단계별 해야 할 일</vt:lpstr>
      <vt:lpstr>PowerPoint 프레젠테이션</vt:lpstr>
      <vt:lpstr>기록을 해 봅시다</vt:lpstr>
      <vt:lpstr>기록관리</vt:lpstr>
      <vt:lpstr>기록관리(필수항목)</vt:lpstr>
      <vt:lpstr>기록관리(권장항목)</vt:lpstr>
      <vt:lpstr>기록관리(번식기록)</vt:lpstr>
      <vt:lpstr>기록관리(도축성적)</vt:lpstr>
      <vt:lpstr>PowerPoint 프레젠테이션</vt:lpstr>
      <vt:lpstr>혈통등록은 왜하죠?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한우 개량의 비중도</vt:lpstr>
      <vt:lpstr>PowerPoint 프레젠테이션</vt:lpstr>
      <vt:lpstr>PowerPoint 프레젠테이션</vt:lpstr>
      <vt:lpstr>PowerPoint 프레젠테이션</vt:lpstr>
      <vt:lpstr>저능력 암소 도태 -&gt; 불량 유전자 제거 </vt:lpstr>
      <vt:lpstr>PowerPoint 프레젠테이션</vt:lpstr>
      <vt:lpstr>PowerPoint 프레젠테이션</vt:lpstr>
      <vt:lpstr>좋은 암소 보유 -&gt; 후대 암소 보유(반복)</vt:lpstr>
      <vt:lpstr>좋은 암소 보유 -&gt; 후대 암소 보유(반복)</vt:lpstr>
      <vt:lpstr>우리나라 한우 유전적 개량추세</vt:lpstr>
      <vt:lpstr>좋은 암소 보유 -&gt; 후대 암소 보유(반복)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  <vt:lpstr>PowerPoint 프레젠테이션</vt:lpstr>
    </vt:vector>
  </TitlesOfParts>
  <Company>Accenture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HN SDP Partnership</dc:title>
  <dc:creator>NHN &amp; Accenture</dc:creator>
  <cp:lastModifiedBy>USER</cp:lastModifiedBy>
  <cp:revision>4167</cp:revision>
  <dcterms:created xsi:type="dcterms:W3CDTF">2005-04-28T04:38:12Z</dcterms:created>
  <dcterms:modified xsi:type="dcterms:W3CDTF">2018-03-29T07:15:37Z</dcterms:modified>
</cp:coreProperties>
</file>